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4.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5.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6.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8.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9.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0.xml" ContentType="application/vnd.openxmlformats-officedocument.theme+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1.xml" ContentType="application/vnd.openxmlformats-officedocument.theme+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2.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theme/theme13.xml" ContentType="application/vnd.openxmlformats-officedocument.theme+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theme/theme14.xml" ContentType="application/vnd.openxmlformats-officedocument.theme+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theme/theme15.xml" ContentType="application/vnd.openxmlformats-officedocument.theme+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theme/theme16.xml" ContentType="application/vnd.openxmlformats-officedocument.theme+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17.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747" r:id="rId11"/>
    <p:sldMasterId id="2147485767" r:id="rId12"/>
    <p:sldMasterId id="2147486055" r:id="rId13"/>
    <p:sldMasterId id="2147486298" r:id="rId14"/>
    <p:sldMasterId id="2147486392" r:id="rId15"/>
    <p:sldMasterId id="2147486507" r:id="rId16"/>
    <p:sldMasterId id="2147486699" r:id="rId17"/>
    <p:sldMasterId id="2147486709" r:id="rId18"/>
    <p:sldMasterId id="2147486717" r:id="rId19"/>
    <p:sldMasterId id="2147486788" r:id="rId20"/>
    <p:sldMasterId id="2147486791" r:id="rId21"/>
    <p:sldMasterId id="2147486794" r:id="rId22"/>
    <p:sldMasterId id="2147486798" r:id="rId23"/>
    <p:sldMasterId id="2147486874" r:id="rId24"/>
    <p:sldMasterId id="2147486950" r:id="rId25"/>
    <p:sldMasterId id="2147486963" r:id="rId26"/>
    <p:sldMasterId id="2147487035" r:id="rId27"/>
    <p:sldMasterId id="2147487073" r:id="rId28"/>
  </p:sldMasterIdLst>
  <p:notesMasterIdLst>
    <p:notesMasterId r:id="rId66"/>
  </p:notesMasterIdLst>
  <p:handoutMasterIdLst>
    <p:handoutMasterId r:id="rId67"/>
  </p:handoutMasterIdLst>
  <p:sldIdLst>
    <p:sldId id="2147478680" r:id="rId29"/>
    <p:sldId id="2147478739" r:id="rId30"/>
    <p:sldId id="2147478709" r:id="rId31"/>
    <p:sldId id="2147478736" r:id="rId32"/>
    <p:sldId id="2147478682" r:id="rId33"/>
    <p:sldId id="2147478725" r:id="rId34"/>
    <p:sldId id="2147478699" r:id="rId35"/>
    <p:sldId id="2147478731" r:id="rId36"/>
    <p:sldId id="2147478701" r:id="rId37"/>
    <p:sldId id="2147478735" r:id="rId38"/>
    <p:sldId id="2147478732" r:id="rId39"/>
    <p:sldId id="2147478730" r:id="rId40"/>
    <p:sldId id="2147478727" r:id="rId41"/>
    <p:sldId id="2147478733" r:id="rId42"/>
    <p:sldId id="2147478708" r:id="rId43"/>
    <p:sldId id="2147469872" r:id="rId44"/>
    <p:sldId id="2147478675" r:id="rId45"/>
    <p:sldId id="2147478672" r:id="rId46"/>
    <p:sldId id="2147478677" r:id="rId47"/>
    <p:sldId id="2147469871" r:id="rId48"/>
    <p:sldId id="2147469451" r:id="rId49"/>
    <p:sldId id="2076136642" r:id="rId50"/>
    <p:sldId id="257" r:id="rId51"/>
    <p:sldId id="2076138290" r:id="rId52"/>
    <p:sldId id="2147478685" r:id="rId53"/>
    <p:sldId id="2076138309" r:id="rId54"/>
    <p:sldId id="2076136672" r:id="rId55"/>
    <p:sldId id="276" r:id="rId56"/>
    <p:sldId id="2147469810" r:id="rId57"/>
    <p:sldId id="2147478684" r:id="rId58"/>
    <p:sldId id="2147469809" r:id="rId59"/>
    <p:sldId id="2147469812" r:id="rId60"/>
    <p:sldId id="2147469950" r:id="rId61"/>
    <p:sldId id="2147478167" r:id="rId62"/>
    <p:sldId id="2147478168" r:id="rId63"/>
    <p:sldId id="2147469834" r:id="rId64"/>
    <p:sldId id="2147469816" r:id="rId65"/>
  </p:sldIdLst>
  <p:sldSz cx="12192000" cy="6858000"/>
  <p:notesSz cx="7315200" cy="9601200"/>
  <p:custDataLst>
    <p:custData r:id="rId4"/>
    <p:custData r:id="rId6"/>
    <p:custData r:id="rId5"/>
    <p:custData r:id="rId7"/>
    <p:custData r:id="rId8"/>
    <p:custData r:id="rId9"/>
    <p:custData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o More with Less" id="{67914773-CAAD-4E4C-B0CA-F59ADD05E351}">
          <p14:sldIdLst>
            <p14:sldId id="2147478680"/>
            <p14:sldId id="2147478739"/>
            <p14:sldId id="2147478709"/>
            <p14:sldId id="2147478736"/>
          </p14:sldIdLst>
        </p14:section>
        <p14:section name="Simplify Vendor Management" id="{801B9234-C4D0-4CF2-934F-4D6403382147}">
          <p14:sldIdLst>
            <p14:sldId id="2147478682"/>
            <p14:sldId id="2147478725"/>
            <p14:sldId id="2147478699"/>
            <p14:sldId id="2147478731"/>
          </p14:sldIdLst>
        </p14:section>
        <p14:section name="Reduce Threats with AI and Automation" id="{DFECA012-CB43-447D-B6CB-4B7277120B1B}">
          <p14:sldIdLst>
            <p14:sldId id="2147478701"/>
            <p14:sldId id="2147478735"/>
            <p14:sldId id="2147478732"/>
          </p14:sldIdLst>
        </p14:section>
        <p14:section name="Improve Operational Efficiency" id="{AF2E4C85-F0C9-4783-81C5-AA4619D507F6}">
          <p14:sldIdLst>
            <p14:sldId id="2147478730"/>
            <p14:sldId id="2147478727"/>
            <p14:sldId id="2147478733"/>
            <p14:sldId id="2147478708"/>
            <p14:sldId id="2147469872"/>
            <p14:sldId id="2147478675"/>
            <p14:sldId id="2147478672"/>
            <p14:sldId id="2147478677"/>
            <p14:sldId id="2147469871"/>
            <p14:sldId id="2147469451"/>
          </p14:sldIdLst>
        </p14:section>
        <p14:section name="Customer stories" id="{873F0759-9FF1-4282-8CDB-981813AE44C4}">
          <p14:sldIdLst>
            <p14:sldId id="2076136642"/>
            <p14:sldId id="257"/>
            <p14:sldId id="2076138290"/>
            <p14:sldId id="2147478685"/>
            <p14:sldId id="2076138309"/>
            <p14:sldId id="2076136672"/>
            <p14:sldId id="276"/>
            <p14:sldId id="2147469810"/>
            <p14:sldId id="2147478684"/>
            <p14:sldId id="2147469809"/>
            <p14:sldId id="2147469812"/>
          </p14:sldIdLst>
        </p14:section>
        <p14:section name="Microsoft Difference" id="{D375EEB8-43E3-4CC3-9F52-DFAFABBE1F69}">
          <p14:sldIdLst>
            <p14:sldId id="2147469950"/>
            <p14:sldId id="2147478167"/>
            <p14:sldId id="2147478168"/>
            <p14:sldId id="2147469834"/>
            <p14:sldId id="2147469816"/>
          </p14:sldIdLst>
        </p14:section>
      </p14:sectionLst>
    </p:ext>
    <p:ext uri="{EFAFB233-063F-42B5-8137-9DF3F51BA10A}">
      <p15:sldGuideLst xmlns:p15="http://schemas.microsoft.com/office/powerpoint/2012/main">
        <p15:guide id="1" orient="horz" pos="1248"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E476B500-96B4-125C-A191-D01A856763A0}" name="Madhu Prasha" initials="MP" userId="S::madhuprasha@microsoft.com::c5e4799d-c604-40b2-816d-b29e2e401fb9" providerId="AD"/>
  <p188:author id="{EED93C06-6FBA-8CA4-1F26-A3DB0B570C46}" name="Irina Nechaeva" initials="IN" userId="S::nechaeva@microsoft.com::d3a725e3-8a82-4f2a-a1a4-5e27f82e1b20" providerId="AD"/>
  <p188:author id="{9BB70F29-F5A0-0548-C4F7-A38FF9EA613A}" name="Parri Munsell" initials="PM" userId="S::parrim@microsoft.com::61c228f0-aebe-4219-bceb-285b19fcb913" providerId="AD"/>
  <p188:author id="{BE902633-72E8-578D-491E-5FD855C6458C}" name="Nathalia Bittar" initials="NB" userId="S::nathbi@microsoft.com::c60baafa-e017-4667-a8b5-8e5a4652a730" providerId="AD"/>
  <p188:author id="{05DB2C48-0A71-ABFA-5204-EF9F767DC807}" name="Mara Bales (CELA)" initials="M(" userId="S::marenson@microsoft.com::bef2f0a2-de80-40a8-8d96-6b34c9dc9935" providerId="AD"/>
  <p188:author id="{BBA1F04A-48CA-496F-36BE-162349E36BD6}" name="Nikki Thomas" initials="NT" userId="S::nikkit@microsoft.com::378dd60c-eaa3-491a-be22-c71b57f090c4" providerId="AD"/>
  <p188:author id="{4B25AB4E-2608-0A2A-D9AF-96E21A2593FE}" name="Amelie Darchicourt" initials="AD" userId="S::amdarchi@microsoft.com::398ad25c-8068-45b9-a097-95315194a6d6" providerId="AD"/>
  <p188:author id="{E7C91050-C836-59D3-90AA-C97964AC0B08}" name="Maria Mei" initials="MM" userId="S::hamei@microsoft.com::934822b2-4063-4ed3-907d-270ef4c4deb6" providerId="AD"/>
  <p188:author id="{70C8606B-80A4-8BCD-DD92-103CAC2532FA}" name="Silvina Gils-Carbo" initials="SG" userId="S::silvina.gils-carbo@sappington.co::37f44192-3634-4653-bf42-6073b9c0375d" providerId="AD"/>
  <p188:author id="{4FF89D73-A9FB-4DE0-AB55-253A0A3959FF}" name="Mara Bales (CELA)" initials="" userId="marenson@microsoft.com" providerId="O365"/>
  <p188:author id="{51AB797A-AFA0-0028-373D-320EC2A006F7}" name="Shelli Strand" initials="SS" userId="S::shellistrand@microsoft.com::8d55a1e5-faf5-483b-af78-f7ab69e1ce53" providerId="AD"/>
  <p188:author id="{08EF688D-0A56-3CA0-92A9-80ACACA84812}" name="Susan Aznoff (Snodgrass Annand PLLC)" initials="SP" userId="S::v-saznoff@microsoft.com::63f60b63-9d6f-4eca-a957-c1b02bf72d34" providerId="AD"/>
  <p188:author id="{25FFD796-5F71-FEEC-1BDD-42660064E801}" name="Tim Goggin" initials="TG" userId="S::tim.goggin@sappington.co::c3de2f91-86d2-40ca-b797-ee797e682955" providerId="AD"/>
  <p188:author id="{4A178A9B-BF36-C040-D371-964A26D9D405}" name="Ryan McGee" initials="RM" userId="S::rmcgee@microsoft.com::76efa8fb-c74a-417a-a3b1-794eb28409e6" providerId="AD"/>
  <p188:author id="{4F5528BE-08F7-440C-9CC9-080968F10BAD}" name="Kristen Paff" initials="KP" userId="Kristen Paff" providerId="None"/>
  <p188:author id="{78757CC7-480D-8B59-8FE9-81D8C3C85CF4}" name="Susan Aznoff (SNODGRASS ANNAND PLLC FORMERLY)" initials="SF" userId="S::v-suazno@microsoft.com::c0a526a9-e867-46b3-9653-7278b22ff610" providerId="AD"/>
  <p188:author id="{8ACB45D4-F1A5-2367-A9A2-3600F13418B1}" name="Alym Rayani" initials="AR" userId="S::arayani@ntdev.microsoft.com::2077c20f-5ac3-4cd4-abce-ca9148c3f70b" providerId="AD"/>
  <p188:author id="{D7E34DDD-B65C-39B7-9BA1-7ABC63389FD9}" name="Chris Hallum" initials="CH" userId="S::challum@ntdev.microsoft.com::bee68a56-813e-4ffb-9c9a-1123e1ec2447" providerId="AD"/>
  <p188:author id="{374C73DE-D0A1-D686-A0F8-6E56D860D9F9}" name="Sondra Webber (SIMPLE CONCEPTS CONSULTING LLC)" initials="SW" userId="S::v-sowebber@microsoft.com::33e28b15-1c4c-49dc-b22d-3adc25de2be7" providerId="AD"/>
  <p188:author id="{A3685CF4-148D-C89D-BC5A-34BFCC19A6B1}" name="Jeffrey Hirsch" initials="JH" userId="4ec3828dd990733f" providerId="Windows Live"/>
  <p188:author id="{0A2AF7F7-FE0E-3291-AADF-717FB67AC3CC}" name="Justin Mader" initials="JM" userId="Justin Mader" providerId="None"/>
  <p188:author id="{980E56F9-667B-2E0C-88BE-82F446BCE856}" name="Sondra Webber" initials="SW" userId="S::sondra@simple-concepts.com::92318b72-5481-4456-9052-c3ffe82edece" providerId="AD"/>
  <p188:author id="{2BB71EFA-A6A7-581A-FA72-8E4E1A27C099}" name="Jason Lee" initials="JL" userId="S::jason.lee@sappington.co::c6956e0c-2b23-4825-9ad3-c3b2a2c4d6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im Goggin" initials="TG" lastIdx="25" clrIdx="0">
    <p:extLst>
      <p:ext uri="{19B8F6BF-5375-455C-9EA6-DF929625EA0E}">
        <p15:presenceInfo xmlns:p15="http://schemas.microsoft.com/office/powerpoint/2012/main" userId="Tim Goggin" providerId="None"/>
      </p:ext>
    </p:extLst>
  </p:cmAuthor>
  <p:cmAuthor id="2" name="Silvina Gils-Carbo" initials="SG" lastIdx="3" clrIdx="1">
    <p:extLst>
      <p:ext uri="{19B8F6BF-5375-455C-9EA6-DF929625EA0E}">
        <p15:presenceInfo xmlns:p15="http://schemas.microsoft.com/office/powerpoint/2012/main" userId="S::silvina.gils-carbo@sappington.co::37f44192-3634-4653-bf42-6073b9c0375d" providerId="AD"/>
      </p:ext>
    </p:extLst>
  </p:cmAuthor>
  <p:cmAuthor id="3" name="Gretchen Fuller" initials="GF" lastIdx="1" clrIdx="2">
    <p:extLst>
      <p:ext uri="{19B8F6BF-5375-455C-9EA6-DF929625EA0E}">
        <p15:presenceInfo xmlns:p15="http://schemas.microsoft.com/office/powerpoint/2012/main" userId="S::gretchen.fuller@sappington.co::dfc391d5-6b3b-4567-af35-fe99bd1a518d" providerId="AD"/>
      </p:ext>
    </p:extLst>
  </p:cmAuthor>
  <p:cmAuthor id="4" name="Sondra Webber" initials="SW" lastIdx="2" clrIdx="3">
    <p:extLst>
      <p:ext uri="{19B8F6BF-5375-455C-9EA6-DF929625EA0E}">
        <p15:presenceInfo xmlns:p15="http://schemas.microsoft.com/office/powerpoint/2012/main" userId="S::sondra@simple-concepts.com::92318b72-5481-4456-9052-c3ffe82edec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AEA"/>
    <a:srgbClr val="243A5E"/>
    <a:srgbClr val="0E7C10"/>
    <a:srgbClr val="F2F2F2"/>
    <a:srgbClr val="EEAD0E"/>
    <a:srgbClr val="0D4D0D"/>
    <a:srgbClr val="C18D10"/>
    <a:srgbClr val="FFB800"/>
    <a:srgbClr val="9329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54" autoAdjust="0"/>
    <p:restoredTop sz="44727" autoAdjust="0"/>
  </p:normalViewPr>
  <p:slideViewPr>
    <p:cSldViewPr snapToGrid="0">
      <p:cViewPr varScale="1">
        <p:scale>
          <a:sx n="49" d="100"/>
          <a:sy n="49" d="100"/>
        </p:scale>
        <p:origin x="2910" y="36"/>
      </p:cViewPr>
      <p:guideLst>
        <p:guide orient="horz" pos="1248"/>
        <p:guide pos="3840"/>
      </p:guideLst>
    </p:cSldViewPr>
  </p:slideViewPr>
  <p:outlineViewPr>
    <p:cViewPr>
      <p:scale>
        <a:sx n="33" d="100"/>
        <a:sy n="33" d="100"/>
      </p:scale>
      <p:origin x="0" y="-31788"/>
    </p:cViewPr>
  </p:outlineViewPr>
  <p:notesTextViewPr>
    <p:cViewPr>
      <p:scale>
        <a:sx n="1" d="1"/>
        <a:sy n="1" d="1"/>
      </p:scale>
      <p:origin x="0" y="0"/>
    </p:cViewPr>
  </p:notesTextViewPr>
  <p:sorterViewPr>
    <p:cViewPr>
      <p:scale>
        <a:sx n="100" d="100"/>
        <a:sy n="100" d="100"/>
      </p:scale>
      <p:origin x="0" y="-1396"/>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16.xml"/><Relationship Id="rId21" Type="http://schemas.openxmlformats.org/officeDocument/2006/relationships/slideMaster" Target="slideMasters/slideMaster11.xml"/><Relationship Id="rId42" Type="http://schemas.openxmlformats.org/officeDocument/2006/relationships/slide" Target="slides/slide14.xml"/><Relationship Id="rId47" Type="http://schemas.openxmlformats.org/officeDocument/2006/relationships/slide" Target="slides/slide19.xml"/><Relationship Id="rId63" Type="http://schemas.openxmlformats.org/officeDocument/2006/relationships/slide" Target="slides/slide35.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6.xml"/><Relationship Id="rId29" Type="http://schemas.openxmlformats.org/officeDocument/2006/relationships/slide" Target="slides/slide1.xml"/><Relationship Id="rId11" Type="http://schemas.openxmlformats.org/officeDocument/2006/relationships/slideMaster" Target="slideMasters/slideMaster1.xml"/><Relationship Id="rId24" Type="http://schemas.openxmlformats.org/officeDocument/2006/relationships/slideMaster" Target="slideMasters/slideMaster1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openxmlformats.org/officeDocument/2006/relationships/slide" Target="slides/slide25.xml"/><Relationship Id="rId58" Type="http://schemas.openxmlformats.org/officeDocument/2006/relationships/slide" Target="slides/slide30.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customXml" Target="../customXml/item5.xml"/><Relationship Id="rId61" Type="http://schemas.openxmlformats.org/officeDocument/2006/relationships/slide" Target="slides/slide33.xml"/><Relationship Id="rId19" Type="http://schemas.openxmlformats.org/officeDocument/2006/relationships/slideMaster" Target="slideMasters/slideMaster9.xml"/><Relationship Id="rId14" Type="http://schemas.openxmlformats.org/officeDocument/2006/relationships/slideMaster" Target="slideMasters/slideMaster4.xml"/><Relationship Id="rId22" Type="http://schemas.openxmlformats.org/officeDocument/2006/relationships/slideMaster" Target="slideMasters/slideMaster12.xml"/><Relationship Id="rId27" Type="http://schemas.openxmlformats.org/officeDocument/2006/relationships/slideMaster" Target="slideMasters/slideMaster17.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slide" Target="slides/slide20.xml"/><Relationship Id="rId56" Type="http://schemas.openxmlformats.org/officeDocument/2006/relationships/slide" Target="slides/slide28.xml"/><Relationship Id="rId64" Type="http://schemas.openxmlformats.org/officeDocument/2006/relationships/slide" Target="slides/slide36.xml"/><Relationship Id="rId69"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23.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2.xml"/><Relationship Id="rId17" Type="http://schemas.openxmlformats.org/officeDocument/2006/relationships/slideMaster" Target="slideMasters/slideMaster7.xml"/><Relationship Id="rId25" Type="http://schemas.openxmlformats.org/officeDocument/2006/relationships/slideMaster" Target="slideMasters/slideMaster1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slide" Target="slides/slide31.xml"/><Relationship Id="rId67" Type="http://schemas.openxmlformats.org/officeDocument/2006/relationships/handoutMaster" Target="handoutMasters/handoutMaster1.xml"/><Relationship Id="rId20" Type="http://schemas.openxmlformats.org/officeDocument/2006/relationships/slideMaster" Target="slideMasters/slideMaster10.xml"/><Relationship Id="rId41" Type="http://schemas.openxmlformats.org/officeDocument/2006/relationships/slide" Target="slides/slide13.xml"/><Relationship Id="rId54" Type="http://schemas.openxmlformats.org/officeDocument/2006/relationships/slide" Target="slides/slide26.xml"/><Relationship Id="rId62" Type="http://schemas.openxmlformats.org/officeDocument/2006/relationships/slide" Target="slides/slide34.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5.xml"/><Relationship Id="rId23" Type="http://schemas.openxmlformats.org/officeDocument/2006/relationships/slideMaster" Target="slideMasters/slideMaster13.xml"/><Relationship Id="rId28" Type="http://schemas.openxmlformats.org/officeDocument/2006/relationships/slideMaster" Target="slideMasters/slideMaster18.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slide" Target="slides/slide29.xml"/><Relationship Id="rId10" Type="http://schemas.openxmlformats.org/officeDocument/2006/relationships/customXml" Target="../customXml/item10.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slide" Target="slides/slide32.xml"/><Relationship Id="rId65" Type="http://schemas.openxmlformats.org/officeDocument/2006/relationships/slide" Target="slides/slide37.xml"/><Relationship Id="rId73"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3.xml"/><Relationship Id="rId18" Type="http://schemas.openxmlformats.org/officeDocument/2006/relationships/slideMaster" Target="slideMasters/slideMaster8.xml"/><Relationship Id="rId39" Type="http://schemas.openxmlformats.org/officeDocument/2006/relationships/slide" Target="slides/slide11.xml"/><Relationship Id="rId34" Type="http://schemas.openxmlformats.org/officeDocument/2006/relationships/slide" Target="slides/slide6.xml"/><Relationship Id="rId50" Type="http://schemas.openxmlformats.org/officeDocument/2006/relationships/slide" Target="slides/slide22.xml"/><Relationship Id="rId55" Type="http://schemas.openxmlformats.org/officeDocument/2006/relationships/slide" Target="slides/slide27.xml"/><Relationship Id="rId7" Type="http://schemas.openxmlformats.org/officeDocument/2006/relationships/customXml" Target="../customXml/item7.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Stockbrugger" userId="3f44872f-6cd1-451c-9c96-2bf2a2d138ad" providerId="ADAL" clId="{F9BB9319-58AB-470D-BAC9-9BBEB4B1140D}"/>
    <pc:docChg chg="delSld modSection">
      <pc:chgData name="Brian Stockbrugger" userId="3f44872f-6cd1-451c-9c96-2bf2a2d138ad" providerId="ADAL" clId="{F9BB9319-58AB-470D-BAC9-9BBEB4B1140D}" dt="2022-09-01T13:19:56.528" v="0" actId="2696"/>
      <pc:docMkLst>
        <pc:docMk/>
      </pc:docMkLst>
      <pc:sldChg chg="del">
        <pc:chgData name="Brian Stockbrugger" userId="3f44872f-6cd1-451c-9c96-2bf2a2d138ad" providerId="ADAL" clId="{F9BB9319-58AB-470D-BAC9-9BBEB4B1140D}" dt="2022-09-01T13:19:56.528" v="0" actId="2696"/>
        <pc:sldMkLst>
          <pc:docMk/>
          <pc:sldMk cId="2614279551" sldId="261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22D745B-F44E-084D-9BB1-9F5EEF66E454}"/>
              </a:ext>
            </a:extLst>
          </p:cNvPr>
          <p:cNvSpPr>
            <a:spLocks noGrp="1"/>
          </p:cNvSpPr>
          <p:nvPr>
            <p:ph type="hdr" sz="quarter"/>
          </p:nvPr>
        </p:nvSpPr>
        <p:spPr>
          <a:xfrm>
            <a:off x="1" y="2"/>
            <a:ext cx="4297003" cy="3866785"/>
          </a:xfrm>
          <a:prstGeom prst="rect">
            <a:avLst/>
          </a:prstGeom>
        </p:spPr>
        <p:txBody>
          <a:bodyPr vert="horz" lIns="324608" tIns="162303" rIns="324608" bIns="162303" rtlCol="0"/>
          <a:lstStyle>
            <a:lvl1pPr algn="l">
              <a:defRPr sz="4300"/>
            </a:lvl1pPr>
          </a:lstStyle>
          <a:p>
            <a:endParaRPr lang="en-US"/>
          </a:p>
        </p:txBody>
      </p:sp>
      <p:sp>
        <p:nvSpPr>
          <p:cNvPr id="3" name="Date Placeholder 2">
            <a:extLst>
              <a:ext uri="{FF2B5EF4-FFF2-40B4-BE49-F238E27FC236}">
                <a16:creationId xmlns:a16="http://schemas.microsoft.com/office/drawing/2014/main" id="{AFC35BC7-8B42-ED44-A95D-7ADBC584B3DA}"/>
              </a:ext>
            </a:extLst>
          </p:cNvPr>
          <p:cNvSpPr>
            <a:spLocks noGrp="1"/>
          </p:cNvSpPr>
          <p:nvPr>
            <p:ph type="dt" sz="quarter" idx="1"/>
          </p:nvPr>
        </p:nvSpPr>
        <p:spPr>
          <a:xfrm>
            <a:off x="5616863" y="2"/>
            <a:ext cx="4297003" cy="3866785"/>
          </a:xfrm>
          <a:prstGeom prst="rect">
            <a:avLst/>
          </a:prstGeom>
        </p:spPr>
        <p:txBody>
          <a:bodyPr vert="horz" lIns="324608" tIns="162303" rIns="324608" bIns="162303" rtlCol="0"/>
          <a:lstStyle>
            <a:lvl1pPr algn="r">
              <a:defRPr sz="4300"/>
            </a:lvl1pPr>
          </a:lstStyle>
          <a:p>
            <a:fld id="{B241FB9D-E893-6949-B865-1007FAC827A6}" type="datetimeFigureOut">
              <a:rPr lang="en-US" smtClean="0"/>
              <a:t>8/31/2022</a:t>
            </a:fld>
            <a:endParaRPr lang="en-US"/>
          </a:p>
        </p:txBody>
      </p:sp>
      <p:sp>
        <p:nvSpPr>
          <p:cNvPr id="4" name="Footer Placeholder 3">
            <a:extLst>
              <a:ext uri="{FF2B5EF4-FFF2-40B4-BE49-F238E27FC236}">
                <a16:creationId xmlns:a16="http://schemas.microsoft.com/office/drawing/2014/main" id="{EBED0AA6-D798-F24B-89ED-95B2FF84CB91}"/>
              </a:ext>
            </a:extLst>
          </p:cNvPr>
          <p:cNvSpPr>
            <a:spLocks noGrp="1"/>
          </p:cNvSpPr>
          <p:nvPr>
            <p:ph type="ftr" sz="quarter" idx="2"/>
          </p:nvPr>
        </p:nvSpPr>
        <p:spPr>
          <a:xfrm>
            <a:off x="1" y="73072172"/>
            <a:ext cx="4297003" cy="3866765"/>
          </a:xfrm>
          <a:prstGeom prst="rect">
            <a:avLst/>
          </a:prstGeom>
        </p:spPr>
        <p:txBody>
          <a:bodyPr vert="horz" lIns="324608" tIns="162303" rIns="324608" bIns="162303" rtlCol="0" anchor="b"/>
          <a:lstStyle>
            <a:lvl1pPr algn="l">
              <a:defRPr sz="4300"/>
            </a:lvl1pPr>
          </a:lstStyle>
          <a:p>
            <a:endParaRPr lang="en-US"/>
          </a:p>
        </p:txBody>
      </p:sp>
      <p:sp>
        <p:nvSpPr>
          <p:cNvPr id="5" name="Slide Number Placeholder 4">
            <a:extLst>
              <a:ext uri="{FF2B5EF4-FFF2-40B4-BE49-F238E27FC236}">
                <a16:creationId xmlns:a16="http://schemas.microsoft.com/office/drawing/2014/main" id="{253EDBC2-2C0C-8E45-A693-13FDF06FB3A0}"/>
              </a:ext>
            </a:extLst>
          </p:cNvPr>
          <p:cNvSpPr>
            <a:spLocks noGrp="1"/>
          </p:cNvSpPr>
          <p:nvPr>
            <p:ph type="sldNum" sz="quarter" idx="3"/>
          </p:nvPr>
        </p:nvSpPr>
        <p:spPr>
          <a:xfrm>
            <a:off x="5616863" y="73072172"/>
            <a:ext cx="4297003" cy="3866765"/>
          </a:xfrm>
          <a:prstGeom prst="rect">
            <a:avLst/>
          </a:prstGeom>
        </p:spPr>
        <p:txBody>
          <a:bodyPr vert="horz" lIns="324608" tIns="162303" rIns="324608" bIns="162303" rtlCol="0" anchor="b"/>
          <a:lstStyle>
            <a:lvl1pPr algn="r">
              <a:defRPr sz="4300"/>
            </a:lvl1pPr>
          </a:lstStyle>
          <a:p>
            <a:fld id="{5EACBCAB-09F2-7049-AF4E-72F844CD72A5}" type="slidenum">
              <a:rPr lang="en-US" smtClean="0"/>
              <a:t>‹#›</a:t>
            </a:fld>
            <a:endParaRPr lang="en-US"/>
          </a:p>
        </p:txBody>
      </p:sp>
    </p:spTree>
    <p:extLst>
      <p:ext uri="{BB962C8B-B14F-4D97-AF65-F5344CB8AC3E}">
        <p14:creationId xmlns:p14="http://schemas.microsoft.com/office/powerpoint/2010/main" val="21765820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4297003" cy="9551277"/>
          </a:xfrm>
          <a:prstGeom prst="rect">
            <a:avLst/>
          </a:prstGeom>
        </p:spPr>
        <p:txBody>
          <a:bodyPr vert="horz" lIns="324608" tIns="162303" rIns="324608" bIns="162303" rtlCol="0"/>
          <a:lstStyle>
            <a:lvl1pPr algn="l">
              <a:defRPr sz="4300"/>
            </a:lvl1pPr>
          </a:lstStyle>
          <a:p>
            <a:endParaRPr lang="en-US"/>
          </a:p>
        </p:txBody>
      </p:sp>
      <p:sp>
        <p:nvSpPr>
          <p:cNvPr id="3" name="Date Placeholder 2"/>
          <p:cNvSpPr>
            <a:spLocks noGrp="1"/>
          </p:cNvSpPr>
          <p:nvPr>
            <p:ph type="dt" idx="1"/>
          </p:nvPr>
        </p:nvSpPr>
        <p:spPr>
          <a:xfrm>
            <a:off x="5616863" y="2"/>
            <a:ext cx="4297003" cy="9551277"/>
          </a:xfrm>
          <a:prstGeom prst="rect">
            <a:avLst/>
          </a:prstGeom>
        </p:spPr>
        <p:txBody>
          <a:bodyPr vert="horz" lIns="324608" tIns="162303" rIns="324608" bIns="162303" rtlCol="0"/>
          <a:lstStyle>
            <a:lvl1pPr algn="r">
              <a:defRPr sz="4300"/>
            </a:lvl1pPr>
          </a:lstStyle>
          <a:p>
            <a:fld id="{7060E93D-064C-4F5E-A20B-DF973D3F9FD1}" type="datetimeFigureOut">
              <a:rPr lang="en-US" smtClean="0"/>
              <a:t>8/31/2022</a:t>
            </a:fld>
            <a:endParaRPr lang="en-US"/>
          </a:p>
        </p:txBody>
      </p:sp>
      <p:sp>
        <p:nvSpPr>
          <p:cNvPr id="4" name="Slide Image Placeholder 3"/>
          <p:cNvSpPr>
            <a:spLocks noGrp="1" noRot="1" noChangeAspect="1"/>
          </p:cNvSpPr>
          <p:nvPr>
            <p:ph type="sldImg" idx="2"/>
          </p:nvPr>
        </p:nvSpPr>
        <p:spPr>
          <a:xfrm>
            <a:off x="-52150963" y="23796625"/>
            <a:ext cx="114215863" cy="64246125"/>
          </a:xfrm>
          <a:prstGeom prst="rect">
            <a:avLst/>
          </a:prstGeom>
          <a:noFill/>
          <a:ln w="12700">
            <a:solidFill>
              <a:prstClr val="black"/>
            </a:solidFill>
          </a:ln>
        </p:spPr>
        <p:txBody>
          <a:bodyPr vert="horz" lIns="324608" tIns="162303" rIns="324608" bIns="162303" rtlCol="0" anchor="ctr"/>
          <a:lstStyle/>
          <a:p>
            <a:endParaRPr lang="en-US"/>
          </a:p>
        </p:txBody>
      </p:sp>
      <p:sp>
        <p:nvSpPr>
          <p:cNvPr id="5" name="Notes Placeholder 4"/>
          <p:cNvSpPr>
            <a:spLocks noGrp="1"/>
          </p:cNvSpPr>
          <p:nvPr>
            <p:ph type="body" sz="quarter" idx="3"/>
          </p:nvPr>
        </p:nvSpPr>
        <p:spPr>
          <a:xfrm>
            <a:off x="991616" y="91612842"/>
            <a:ext cx="7932929" cy="74955961"/>
          </a:xfrm>
          <a:prstGeom prst="rect">
            <a:avLst/>
          </a:prstGeom>
        </p:spPr>
        <p:txBody>
          <a:bodyPr vert="horz" lIns="324608" tIns="162303" rIns="324608" bIns="1623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180813103"/>
            <a:ext cx="4297003" cy="9551258"/>
          </a:xfrm>
          <a:prstGeom prst="rect">
            <a:avLst/>
          </a:prstGeom>
        </p:spPr>
        <p:txBody>
          <a:bodyPr vert="horz" lIns="324608" tIns="162303" rIns="324608" bIns="162303" rtlCol="0" anchor="b"/>
          <a:lstStyle>
            <a:lvl1pPr algn="l">
              <a:defRPr sz="4300"/>
            </a:lvl1pPr>
          </a:lstStyle>
          <a:p>
            <a:endParaRPr lang="en-US"/>
          </a:p>
        </p:txBody>
      </p:sp>
      <p:sp>
        <p:nvSpPr>
          <p:cNvPr id="7" name="Slide Number Placeholder 6"/>
          <p:cNvSpPr>
            <a:spLocks noGrp="1"/>
          </p:cNvSpPr>
          <p:nvPr>
            <p:ph type="sldNum" sz="quarter" idx="5"/>
          </p:nvPr>
        </p:nvSpPr>
        <p:spPr>
          <a:xfrm>
            <a:off x="5616863" y="180813103"/>
            <a:ext cx="4297003" cy="9551258"/>
          </a:xfrm>
          <a:prstGeom prst="rect">
            <a:avLst/>
          </a:prstGeom>
        </p:spPr>
        <p:txBody>
          <a:bodyPr vert="horz" lIns="324608" tIns="162303" rIns="324608" bIns="162303" rtlCol="0" anchor="b"/>
          <a:lstStyle>
            <a:lvl1pPr algn="r">
              <a:defRPr sz="4300"/>
            </a:lvl1pPr>
          </a:lstStyle>
          <a:p>
            <a:fld id="{BCCA3AF7-B6E8-4FA6-8DC5-D653885B5CBA}" type="slidenum">
              <a:rPr lang="en-US" smtClean="0"/>
              <a:t>‹#›</a:t>
            </a:fld>
            <a:endParaRPr lang="en-US"/>
          </a:p>
        </p:txBody>
      </p:sp>
    </p:spTree>
    <p:extLst>
      <p:ext uri="{BB962C8B-B14F-4D97-AF65-F5344CB8AC3E}">
        <p14:creationId xmlns:p14="http://schemas.microsoft.com/office/powerpoint/2010/main" val="29855525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techcommunity.microsoft.com/t5/microsoft-defender-for-endpoint/mitre-evaluation-highlights-industry-leading-edr-capabilities-in/ba-p/369831"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query.prod.cms.rt.microsoft.com/cms/api/am/binary/RE3i5Ev" TargetMode="External"/><Relationship Id="rId4" Type="http://schemas.openxmlformats.org/officeDocument/2006/relationships/hyperlink" Target="https://www.microsoft.com/security/blog/2020/02/20/azure-sentinel-uncovers-real-threats-hidden-billions-low-fidelity-signal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ustomers.microsoft.com/en-us/story/1393723474425028635-smith-nephew-manufacturing-microsoft-36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vc.transform.microsoft.com/"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vc.transform.microsoft.com/"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vc.transform.microsoft.com/"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vc.transform.microsoft.com/hom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microsoft.com/en-us/investor/earnings/FY-2022-Q4/press-release-webcast"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www.microsoft.com/en-us/investor/events/fy-2022/earnings-fy-2022-q2.aspx" TargetMode="External"/><Relationship Id="rId5" Type="http://schemas.openxmlformats.org/officeDocument/2006/relationships/hyperlink" Target="https://www.microsoft.com/en-us/security/business/microsoft-digital-defense-report" TargetMode="External"/><Relationship Id="rId4" Type="http://schemas.openxmlformats.org/officeDocument/2006/relationships/hyperlink" Target="https://www.microsoft.com/en-us/investor/events/fy-2022/earnings-fy-2022-q4.aspx"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microsoft.com/security/blog/2020/02/20/azure-sentinel-uncovers-real-threats-hidden-billions-low-fidelity-signal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ecurityworldmarket.com/na/News/Business-News/gartner-identifies-top-security--risk-trends-for-2021#:~:text=Gartner%20identifies%20top%20security%20%26%20risk%20trends%20for,rise%20in%20ID%20theft.%20...%20More%20items...%20"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b="1" dirty="0"/>
              <a:t>Key slide takeaway</a:t>
            </a:r>
            <a:r>
              <a:rPr lang="en-US" sz="2100" dirty="0"/>
              <a:t>: Today we’re going to talk about how Microsoft Security can help your organization do more with less with Microsoft Security. </a:t>
            </a:r>
          </a:p>
        </p:txBody>
      </p:sp>
      <p:sp>
        <p:nvSpPr>
          <p:cNvPr id="4" name="Header Placeholder 3"/>
          <p:cNvSpPr>
            <a:spLocks noGrp="1"/>
          </p:cNvSpPr>
          <p:nvPr>
            <p:ph type="hdr" sz="quarter" idx="10"/>
          </p:nvPr>
        </p:nvSpPr>
        <p:spPr/>
        <p:txBody>
          <a:bodyPr/>
          <a:lstStyle/>
          <a:p>
            <a:pPr defTabSz="1620826">
              <a:defRPr/>
            </a:pPr>
            <a:endParaRPr lang="en-US" sz="210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1011965" defTabSz="161861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620826">
              <a:defRPr/>
            </a:pPr>
            <a:fld id="{38EEC551-8CDA-4EB6-89BB-2A86C9F091C8}" type="datetime8">
              <a:rPr lang="en-US" sz="2100">
                <a:solidFill>
                  <a:prstClr val="black"/>
                </a:solidFill>
                <a:latin typeface="Segoe UI" pitchFamily="34" charset="0"/>
              </a:rPr>
              <a:pPr defTabSz="1620826">
                <a:defRPr/>
              </a:pPr>
              <a:t>8/31/2022 4:33 PM</a:t>
            </a:fld>
            <a:endParaRPr lang="en-US" sz="210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1620826">
              <a:defRPr/>
            </a:pPr>
            <a:fld id="{B4008EB6-D09E-4580-8CD6-DDB14511944F}" type="slidenum">
              <a:rPr lang="en-US" sz="2100">
                <a:solidFill>
                  <a:prstClr val="black"/>
                </a:solidFill>
                <a:latin typeface="Segoe UI" pitchFamily="34" charset="0"/>
              </a:rPr>
              <a:pPr defTabSz="1620826">
                <a:defRPr/>
              </a:pPr>
              <a:t>1</a:t>
            </a:fld>
            <a:endParaRPr lang="en-US" sz="2100">
              <a:solidFill>
                <a:prstClr val="black"/>
              </a:solidFill>
              <a:latin typeface="Segoe UI" pitchFamily="34" charset="0"/>
            </a:endParaRPr>
          </a:p>
        </p:txBody>
      </p:sp>
    </p:spTree>
    <p:extLst>
      <p:ext uri="{BB962C8B-B14F-4D97-AF65-F5344CB8AC3E}">
        <p14:creationId xmlns:p14="http://schemas.microsoft.com/office/powerpoint/2010/main" val="2042906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3500" b="1" dirty="0"/>
              <a:t>Key slide takeaway</a:t>
            </a:r>
            <a:r>
              <a:rPr lang="en-US" sz="3500" dirty="0"/>
              <a:t>:  </a:t>
            </a:r>
            <a:r>
              <a:rPr lang="en-US" sz="3500" dirty="0">
                <a:solidFill>
                  <a:srgbClr val="404040"/>
                </a:solidFill>
                <a:latin typeface="Calibri" panose="020F0502020204030204" pitchFamily="34" charset="0"/>
                <a:ea typeface="Calibri" panose="020F0502020204030204" pitchFamily="34" charset="0"/>
                <a:cs typeface="Arial" panose="020B0604020202020204" pitchFamily="34" charset="0"/>
              </a:rPr>
              <a:t>We’ve built our products and services to share important threat data with each other, enabling them to automatically correlate data and deliver contextual alerts for more effective threat detection and response. </a:t>
            </a:r>
            <a:endParaRPr lang="en-US" sz="3500" dirty="0">
              <a:latin typeface="Calibri" panose="020F0502020204030204" pitchFamily="34" charset="0"/>
              <a:ea typeface="Calibri" panose="020F0502020204030204" pitchFamily="34" charset="0"/>
              <a:cs typeface="Arial" panose="020B0604020202020204" pitchFamily="34" charset="0"/>
            </a:endParaRPr>
          </a:p>
          <a:p>
            <a:endParaRPr lang="en-US" sz="3500" dirty="0"/>
          </a:p>
          <a:p>
            <a:r>
              <a:rPr lang="en-US" sz="3500" b="1" dirty="0"/>
              <a:t>Main points to cover:</a:t>
            </a:r>
          </a:p>
          <a:p>
            <a:pPr marL="297929" indent="-297929" defTabSz="1588896">
              <a:spcAft>
                <a:spcPts val="1043"/>
              </a:spcAft>
              <a:buFont typeface="Wingdings" panose="05000000000000000000" pitchFamily="2" charset="2"/>
              <a:buChar char="§"/>
              <a:defRPr/>
            </a:pPr>
            <a:r>
              <a:rPr lang="en-US" sz="3500" dirty="0">
                <a:solidFill>
                  <a:srgbClr val="000000"/>
                </a:solidFill>
                <a:latin typeface="Segoe UI Semilight" panose="020B0402040204020203" pitchFamily="34" charset="0"/>
                <a:cs typeface="Segoe UI Semilight" panose="020B0402040204020203" pitchFamily="34" charset="0"/>
              </a:rPr>
              <a:t>Detect and respond faster and more accurately to attacks and insider risks </a:t>
            </a:r>
          </a:p>
          <a:p>
            <a:pPr marL="297929" indent="-297929" defTabSz="1588896">
              <a:spcAft>
                <a:spcPts val="1043"/>
              </a:spcAft>
              <a:buFont typeface="Wingdings" panose="05000000000000000000" pitchFamily="2" charset="2"/>
              <a:buChar char="§"/>
              <a:defRPr/>
            </a:pPr>
            <a:r>
              <a:rPr lang="en-US" sz="3500" dirty="0">
                <a:solidFill>
                  <a:srgbClr val="000000"/>
                </a:solidFill>
                <a:latin typeface="Segoe UI Semilight" panose="020B0402040204020203" pitchFamily="34" charset="0"/>
                <a:cs typeface="Segoe UI Semilight" panose="020B0402040204020203" pitchFamily="34" charset="0"/>
              </a:rPr>
              <a:t>Protect and govern your sensitive data</a:t>
            </a:r>
          </a:p>
          <a:p>
            <a:pPr marL="297929" indent="-297929" defTabSz="1588896">
              <a:spcAft>
                <a:spcPts val="1043"/>
              </a:spcAft>
              <a:buFont typeface="Wingdings" panose="05000000000000000000" pitchFamily="2" charset="2"/>
              <a:buChar char="§"/>
              <a:defRPr/>
            </a:pPr>
            <a:r>
              <a:rPr lang="en-US" sz="3500" dirty="0">
                <a:solidFill>
                  <a:srgbClr val="000000"/>
                </a:solidFill>
                <a:latin typeface="Segoe UI Semilight" panose="020B0402040204020203" pitchFamily="34" charset="0"/>
                <a:cs typeface="Segoe UI Semilight" panose="020B0402040204020203" pitchFamily="34" charset="0"/>
              </a:rPr>
              <a:t>Manage and govern your on-premises, multi-cloud, and software-as-a-service (SaaS) data</a:t>
            </a:r>
          </a:p>
          <a:p>
            <a:pPr marL="297929" indent="-297929" defTabSz="1588896">
              <a:spcAft>
                <a:spcPts val="1043"/>
              </a:spcAft>
              <a:buFont typeface="Wingdings" panose="05000000000000000000" pitchFamily="2" charset="2"/>
              <a:buChar char="§"/>
              <a:defRPr/>
            </a:pPr>
            <a:r>
              <a:rPr lang="en-US" sz="3500" dirty="0">
                <a:solidFill>
                  <a:srgbClr val="000000"/>
                </a:solidFill>
                <a:latin typeface="Segoe UI Semilight" panose="020B0402040204020203" pitchFamily="34" charset="0"/>
                <a:cs typeface="Segoe UI Semilight" panose="020B0402040204020203" pitchFamily="34" charset="0"/>
              </a:rPr>
              <a:t>Improve compliance, monitor and remediate potentially risky activity, and safely enable productive work for employees using multiple devices in multiple locations.</a:t>
            </a:r>
          </a:p>
          <a:p>
            <a:endParaRPr lang="en-US" sz="3500" dirty="0"/>
          </a:p>
          <a:p>
            <a:pPr defTabSz="1588953">
              <a:lnSpc>
                <a:spcPct val="106000"/>
              </a:lnSpc>
              <a:spcBef>
                <a:spcPts val="1043"/>
              </a:spcBef>
              <a:spcAft>
                <a:spcPts val="1390"/>
              </a:spcAft>
              <a:defRPr/>
            </a:pPr>
            <a:r>
              <a:rPr lang="en-US" sz="3500" dirty="0"/>
              <a:t>Here are some savings other organizations have realized, from </a:t>
            </a:r>
            <a:r>
              <a:rPr lang="en-US" sz="3500" dirty="0">
                <a:latin typeface="Segoe UI Light" pitchFamily="34" charset="0"/>
              </a:rPr>
              <a:t>Forrester Consulting “Total Economic Impact” studies that show how Microsoft Security helped customers reduced the total cost of risk while saving on automation and process improvements:</a:t>
            </a:r>
            <a:endParaRPr lang="en-US" sz="3500" dirty="0"/>
          </a:p>
          <a:p>
            <a:pPr marL="595857" indent="-595857" defTabSz="1588896">
              <a:buFont typeface="Arial" panose="020B0604020202020204" pitchFamily="34" charset="0"/>
              <a:buChar char="•"/>
              <a:defRPr/>
            </a:pPr>
            <a:r>
              <a:rPr lang="en-US" sz="3500" dirty="0">
                <a:solidFill>
                  <a:srgbClr val="000000"/>
                </a:solidFill>
                <a:latin typeface="Segoe UI Semibold" panose="020B0702040204020203" pitchFamily="34" charset="0"/>
                <a:cs typeface="Segoe UI Semibold" panose="020B0702040204020203" pitchFamily="34" charset="0"/>
              </a:rPr>
              <a:t>60% </a:t>
            </a:r>
            <a:r>
              <a:rPr lang="en-US" sz="3500" dirty="0">
                <a:solidFill>
                  <a:srgbClr val="000000"/>
                </a:solidFill>
                <a:latin typeface="Segoe UI"/>
              </a:rPr>
              <a:t>reduced risk of material breach, </a:t>
            </a:r>
            <a:r>
              <a:rPr lang="en-US" sz="3500" dirty="0">
                <a:solidFill>
                  <a:srgbClr val="000000"/>
                </a:solidFill>
                <a:latin typeface="Segoe UI Semibold" panose="020B0702040204020203" pitchFamily="34" charset="0"/>
                <a:cs typeface="Segoe UI Semibold" panose="020B0702040204020203" pitchFamily="34" charset="0"/>
              </a:rPr>
              <a:t>65% </a:t>
            </a:r>
            <a:r>
              <a:rPr lang="en-US" sz="3500" dirty="0">
                <a:solidFill>
                  <a:srgbClr val="000000"/>
                </a:solidFill>
                <a:latin typeface="Segoe UI"/>
              </a:rPr>
              <a:t>less time to investigate threats, and </a:t>
            </a:r>
            <a:r>
              <a:rPr lang="en-US" sz="3500" dirty="0">
                <a:solidFill>
                  <a:srgbClr val="000000"/>
                </a:solidFill>
                <a:latin typeface="Segoe UI Semibold" panose="020B0702040204020203" pitchFamily="34" charset="0"/>
                <a:cs typeface="Segoe UI Semibold" panose="020B0702040204020203" pitchFamily="34" charset="0"/>
              </a:rPr>
              <a:t>88% </a:t>
            </a:r>
            <a:r>
              <a:rPr lang="en-US" sz="3500" dirty="0">
                <a:solidFill>
                  <a:srgbClr val="000000"/>
                </a:solidFill>
                <a:latin typeface="Segoe UI"/>
              </a:rPr>
              <a:t>less time</a:t>
            </a:r>
            <a:r>
              <a:rPr lang="en-US" sz="3500" dirty="0">
                <a:solidFill>
                  <a:srgbClr val="000000"/>
                </a:solidFill>
                <a:latin typeface="Segoe UI Semibold" panose="020B0702040204020203" pitchFamily="34" charset="0"/>
                <a:cs typeface="Segoe UI Semibold" panose="020B0702040204020203" pitchFamily="34" charset="0"/>
              </a:rPr>
              <a:t> </a:t>
            </a:r>
            <a:r>
              <a:rPr lang="en-US" sz="3500" dirty="0">
                <a:solidFill>
                  <a:srgbClr val="000000"/>
                </a:solidFill>
                <a:latin typeface="Segoe UI"/>
              </a:rPr>
              <a:t>responding to threats with </a:t>
            </a:r>
            <a:r>
              <a:rPr lang="nn-NO" sz="3500" dirty="0">
                <a:solidFill>
                  <a:srgbClr val="000000"/>
                </a:solidFill>
                <a:latin typeface="Segoe UI Semibold" panose="020B0702040204020203" pitchFamily="34" charset="0"/>
                <a:cs typeface="Segoe UI Semibold" panose="020B0702040204020203" pitchFamily="34" charset="0"/>
              </a:rPr>
              <a:t>Microsoft Sentinel, Microsoft 365 Defender,</a:t>
            </a:r>
            <a:r>
              <a:rPr lang="nn-NO" sz="3500" dirty="0">
                <a:solidFill>
                  <a:srgbClr val="000000"/>
                </a:solidFill>
                <a:latin typeface="Segoe UI"/>
              </a:rPr>
              <a:t> and </a:t>
            </a:r>
            <a:r>
              <a:rPr lang="nn-NO" sz="3500" dirty="0">
                <a:solidFill>
                  <a:srgbClr val="000000"/>
                </a:solidFill>
                <a:latin typeface="Segoe UI Semibold" panose="020B0702040204020203" pitchFamily="34" charset="0"/>
                <a:cs typeface="Segoe UI Semibold" panose="020B0702040204020203" pitchFamily="34" charset="0"/>
              </a:rPr>
              <a:t>Microsoft </a:t>
            </a:r>
            <a:r>
              <a:rPr lang="en-US" sz="3500" dirty="0">
                <a:solidFill>
                  <a:srgbClr val="000000"/>
                </a:solidFill>
                <a:latin typeface="Segoe UI Semibold" panose="020B0702040204020203" pitchFamily="34" charset="0"/>
                <a:cs typeface="Segoe UI Semibold" panose="020B0702040204020203" pitchFamily="34" charset="0"/>
              </a:rPr>
              <a:t>Defender for Cloud</a:t>
            </a:r>
            <a:r>
              <a:rPr lang="en-US" sz="3500" b="1" dirty="0">
                <a:solidFill>
                  <a:srgbClr val="000000"/>
                </a:solidFill>
                <a:latin typeface="Segoe UI"/>
              </a:rPr>
              <a:t> </a:t>
            </a:r>
            <a:r>
              <a:rPr lang="en-US" sz="1400" dirty="0">
                <a:solidFill>
                  <a:srgbClr val="000000"/>
                </a:solidFill>
                <a:latin typeface="Segoe UI"/>
              </a:rPr>
              <a:t>3</a:t>
            </a:r>
          </a:p>
          <a:p>
            <a:pPr marL="595857" indent="-595857" defTabSz="1588896">
              <a:buFont typeface="Arial" panose="020B0604020202020204" pitchFamily="34" charset="0"/>
              <a:buChar char="•"/>
              <a:defRPr/>
            </a:pPr>
            <a:r>
              <a:rPr lang="en-US" sz="3500" dirty="0">
                <a:solidFill>
                  <a:srgbClr val="000000"/>
                </a:solidFill>
                <a:latin typeface="Segoe UI Semibold" panose="020B0702040204020203" pitchFamily="34" charset="0"/>
                <a:cs typeface="Segoe UI Semibold" panose="020B0702040204020203" pitchFamily="34" charset="0"/>
              </a:rPr>
              <a:t>96% </a:t>
            </a:r>
            <a:r>
              <a:rPr lang="en-US" sz="3500" dirty="0">
                <a:gradFill>
                  <a:gsLst>
                    <a:gs pos="1000">
                      <a:srgbClr val="000000"/>
                    </a:gs>
                    <a:gs pos="99000">
                      <a:srgbClr val="000000">
                        <a:alpha val="83000"/>
                      </a:srgbClr>
                    </a:gs>
                  </a:gsLst>
                  <a:lin ang="16200000" scaled="1"/>
                </a:gradFill>
                <a:latin typeface="Segoe UI"/>
                <a:cs typeface="Calibri" panose="020F0502020204030204" pitchFamily="34" charset="0"/>
              </a:rPr>
              <a:t>less time spent monitoring potential suspicious activity with </a:t>
            </a:r>
            <a:r>
              <a:rPr lang="en-US" sz="3500" dirty="0">
                <a:solidFill>
                  <a:srgbClr val="000000"/>
                </a:solidFill>
                <a:latin typeface="Segoe UI Semibold" panose="020B0702040204020203" pitchFamily="34" charset="0"/>
                <a:cs typeface="Segoe UI Semibold" panose="020B0702040204020203" pitchFamily="34" charset="0"/>
              </a:rPr>
              <a:t>Microsoft Purview </a:t>
            </a:r>
            <a:r>
              <a:rPr lang="en-US" sz="35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4</a:t>
            </a:r>
          </a:p>
          <a:p>
            <a:pPr marL="595857" indent="-595857" defTabSz="1588896">
              <a:buFont typeface="Arial" panose="020B0604020202020204" pitchFamily="34" charset="0"/>
              <a:buChar char="•"/>
              <a:defRPr/>
            </a:pPr>
            <a:r>
              <a:rPr lang="en-US" sz="3500" dirty="0">
                <a:solidFill>
                  <a:srgbClr val="000000"/>
                </a:solidFill>
                <a:latin typeface="Segoe UI Semibold" panose="020B0702040204020203" pitchFamily="34" charset="0"/>
                <a:cs typeface="Segoe UI Semibold" panose="020B0702040204020203" pitchFamily="34" charset="0"/>
              </a:rPr>
              <a:t>$10.5 million </a:t>
            </a:r>
            <a:r>
              <a:rPr lang="en-US" sz="3500" dirty="0">
                <a:gradFill>
                  <a:gsLst>
                    <a:gs pos="1000">
                      <a:srgbClr val="000000"/>
                    </a:gs>
                    <a:gs pos="99000">
                      <a:srgbClr val="000000">
                        <a:alpha val="83000"/>
                      </a:srgbClr>
                    </a:gs>
                  </a:gsLst>
                  <a:lin ang="16200000" scaled="1"/>
                </a:gradFill>
                <a:latin typeface="Segoe UI"/>
                <a:cs typeface="Calibri" panose="020F0502020204030204" pitchFamily="34" charset="0"/>
              </a:rPr>
              <a:t>additional end user productivity from  automation and process improvements in </a:t>
            </a:r>
            <a:r>
              <a:rPr lang="en-US" sz="3500" dirty="0">
                <a:solidFill>
                  <a:srgbClr val="000000"/>
                </a:solidFill>
                <a:latin typeface="Segoe UI Semibold" panose="020B0702040204020203" pitchFamily="34" charset="0"/>
                <a:cs typeface="Segoe UI Semibold" panose="020B0702040204020203" pitchFamily="34" charset="0"/>
              </a:rPr>
              <a:t>Microsoft 365 Defender </a:t>
            </a:r>
            <a:r>
              <a:rPr lang="en-US" sz="35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5</a:t>
            </a:r>
          </a:p>
          <a:p>
            <a:pPr marL="595857" indent="-595857" defTabSz="1588896">
              <a:buFont typeface="Arial" panose="020B0604020202020204" pitchFamily="34" charset="0"/>
              <a:buChar char="•"/>
              <a:defRPr/>
            </a:pPr>
            <a:r>
              <a:rPr lang="en-US" sz="3500" dirty="0">
                <a:solidFill>
                  <a:srgbClr val="000000"/>
                </a:solidFill>
                <a:latin typeface="Segoe UI Semibold" panose="020B0702040204020203" pitchFamily="34" charset="0"/>
                <a:cs typeface="Segoe UI Semibold" panose="020B0702040204020203" pitchFamily="34" charset="0"/>
              </a:rPr>
              <a:t>90% </a:t>
            </a:r>
            <a:r>
              <a:rPr lang="en-US" sz="3500" dirty="0">
                <a:gradFill>
                  <a:gsLst>
                    <a:gs pos="1000">
                      <a:srgbClr val="000000"/>
                    </a:gs>
                    <a:gs pos="99000">
                      <a:srgbClr val="000000">
                        <a:alpha val="83000"/>
                      </a:srgbClr>
                    </a:gs>
                  </a:gsLst>
                  <a:lin ang="16200000" scaled="1"/>
                </a:gradFill>
                <a:latin typeface="Segoe UI"/>
                <a:cs typeface="Calibri" panose="020F0502020204030204" pitchFamily="34" charset="0"/>
              </a:rPr>
              <a:t>reduction in noise,</a:t>
            </a:r>
            <a:r>
              <a:rPr lang="en-US" sz="3500" b="1" dirty="0">
                <a:gradFill>
                  <a:gsLst>
                    <a:gs pos="1000">
                      <a:srgbClr val="000000"/>
                    </a:gs>
                    <a:gs pos="99000">
                      <a:srgbClr val="000000">
                        <a:alpha val="83000"/>
                      </a:srgbClr>
                    </a:gs>
                  </a:gsLst>
                  <a:lin ang="16200000" scaled="1"/>
                </a:gradFill>
                <a:latin typeface="Segoe UI"/>
                <a:cs typeface="Calibri" panose="020F0502020204030204" pitchFamily="34" charset="0"/>
              </a:rPr>
              <a:t> </a:t>
            </a:r>
            <a:r>
              <a:rPr lang="en-US" sz="3500" dirty="0">
                <a:gradFill>
                  <a:gsLst>
                    <a:gs pos="1000">
                      <a:srgbClr val="000000"/>
                    </a:gs>
                    <a:gs pos="99000">
                      <a:srgbClr val="000000">
                        <a:alpha val="83000"/>
                      </a:srgbClr>
                    </a:gs>
                  </a:gsLst>
                  <a:lin ang="16200000" scaled="1"/>
                </a:gradFill>
                <a:latin typeface="Segoe UI"/>
                <a:cs typeface="Calibri" panose="020F0502020204030204" pitchFamily="34" charset="0"/>
              </a:rPr>
              <a:t>elevating the most critical issues with </a:t>
            </a:r>
            <a:r>
              <a:rPr lang="en-US" sz="3500" dirty="0">
                <a:solidFill>
                  <a:srgbClr val="000000"/>
                </a:solidFill>
                <a:latin typeface="Segoe UI Semibold" panose="020B0702040204020203" pitchFamily="34" charset="0"/>
                <a:cs typeface="Segoe UI Semibold" panose="020B0702040204020203" pitchFamily="34" charset="0"/>
              </a:rPr>
              <a:t>Microsoft Sentinel </a:t>
            </a:r>
            <a:r>
              <a:rPr lang="en-US" sz="35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6</a:t>
            </a:r>
            <a:endParaRPr lang="en-US" sz="3500" dirty="0">
              <a:gradFill>
                <a:gsLst>
                  <a:gs pos="1000">
                    <a:srgbClr val="000000"/>
                  </a:gs>
                  <a:gs pos="99000">
                    <a:srgbClr val="000000">
                      <a:alpha val="83000"/>
                    </a:srgbClr>
                  </a:gs>
                </a:gsLst>
                <a:lin ang="16200000" scaled="1"/>
              </a:gradFill>
              <a:latin typeface="Segoe UI"/>
              <a:cs typeface="Calibri" panose="020F0502020204030204" pitchFamily="34" charset="0"/>
            </a:endParaRPr>
          </a:p>
          <a:p>
            <a:endParaRPr lang="en-US" sz="3500" b="1" dirty="0"/>
          </a:p>
          <a:p>
            <a:r>
              <a:rPr lang="en-US" sz="3500" dirty="0"/>
              <a:t>And more -- </a:t>
            </a:r>
          </a:p>
          <a:p>
            <a:pPr marL="496548" indent="-496548">
              <a:lnSpc>
                <a:spcPct val="106000"/>
              </a:lnSpc>
              <a:spcAft>
                <a:spcPts val="1043"/>
              </a:spcAft>
              <a:buFont typeface="Arial" panose="020B0604020202020204" pitchFamily="34" charset="0"/>
              <a:buChar char="•"/>
            </a:pPr>
            <a:r>
              <a:rPr lang="en-US" sz="3100" dirty="0">
                <a:solidFill>
                  <a:srgbClr val="404040"/>
                </a:solidFill>
                <a:latin typeface="Calibri" panose="020F0502020204030204" pitchFamily="34" charset="0"/>
                <a:ea typeface="Calibri" panose="020F0502020204030204" pitchFamily="34" charset="0"/>
                <a:cs typeface="Arial" panose="020B0604020202020204" pitchFamily="34" charset="0"/>
              </a:rPr>
              <a:t>A head-to-head evaluation by MITRE, a research firm that tests security tools, found that Microsoft detected the most emergent threats. Those threats, such as credential dumping, process injection, and input capture, would be invisible to conventional tools. </a:t>
            </a:r>
            <a:r>
              <a:rPr lang="en-US" sz="31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3"/>
              </a:rPr>
              <a:t>MITRE evaluation highlights industry-leading EDR capabilities in Windows Defender ATP, Microsoft Tech Community, Mar 2019</a:t>
            </a:r>
            <a:r>
              <a:rPr lang="en-US" sz="3100" dirty="0">
                <a:latin typeface="Calibri" panose="020F0502020204030204" pitchFamily="34" charset="0"/>
                <a:ea typeface="Calibri" panose="020F0502020204030204" pitchFamily="34" charset="0"/>
                <a:cs typeface="Arial" panose="020B0604020202020204" pitchFamily="34" charset="0"/>
              </a:rPr>
              <a:t> </a:t>
            </a:r>
          </a:p>
          <a:p>
            <a:pPr marL="496548" indent="-496548" defTabSz="1588953">
              <a:lnSpc>
                <a:spcPct val="106000"/>
              </a:lnSpc>
              <a:spcBef>
                <a:spcPts val="1043"/>
              </a:spcBef>
              <a:spcAft>
                <a:spcPts val="1390"/>
              </a:spcAft>
              <a:buFont typeface="Arial" panose="020B0604020202020204" pitchFamily="34" charset="0"/>
              <a:buChar char="•"/>
              <a:defRPr/>
            </a:pPr>
            <a:r>
              <a:rPr lang="en-US" sz="3100" b="1" dirty="0">
                <a:solidFill>
                  <a:srgbClr val="404040"/>
                </a:solidFill>
                <a:latin typeface="Calibri" panose="020F0502020204030204" pitchFamily="34" charset="0"/>
                <a:ea typeface="Calibri" panose="020F0502020204030204" pitchFamily="34" charset="0"/>
                <a:cs typeface="Arial" panose="020B0604020202020204" pitchFamily="34" charset="0"/>
              </a:rPr>
              <a:t>Microsoft Sentinel</a:t>
            </a:r>
            <a:r>
              <a:rPr lang="en-US" sz="3100" dirty="0">
                <a:solidFill>
                  <a:srgbClr val="404040"/>
                </a:solidFill>
                <a:latin typeface="Calibri" panose="020F0502020204030204" pitchFamily="34" charset="0"/>
                <a:ea typeface="Calibri" panose="020F0502020204030204" pitchFamily="34" charset="0"/>
                <a:cs typeface="Arial" panose="020B0604020202020204" pitchFamily="34" charset="0"/>
              </a:rPr>
              <a:t>’s Fusion Technology, a machine learning technique, finds threats that fly under the radar. It combines data from disparate data sets across both Microsoft and partner sources, then uses graph-based machine learning and a probabilistic kill chain to product high-fidelity alerts. This process reduces alert fatigue by 90%, allowing SecOps teams to only spend time on real, actionable alerts. </a:t>
            </a:r>
            <a:r>
              <a:rPr lang="en-US" sz="31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4"/>
              </a:rPr>
              <a:t>Microsoft blog: Azure Sentinel uncovers the real threats hidden in billions of low fidelity signals</a:t>
            </a:r>
            <a:r>
              <a:rPr lang="en-US" sz="3100" u="sng" dirty="0">
                <a:solidFill>
                  <a:srgbClr val="0563C1"/>
                </a:solidFill>
                <a:latin typeface="Calibri" panose="020F0502020204030204" pitchFamily="34" charset="0"/>
                <a:ea typeface="Calibri" panose="020F0502020204030204" pitchFamily="34" charset="0"/>
                <a:cs typeface="Arial" panose="020B0604020202020204" pitchFamily="34" charset="0"/>
              </a:rPr>
              <a:t>, Feb 2020</a:t>
            </a:r>
            <a:endParaRPr lang="en-US" sz="3100" dirty="0">
              <a:latin typeface="Calibri" panose="020F0502020204030204" pitchFamily="34" charset="0"/>
              <a:ea typeface="Calibri" panose="020F0502020204030204" pitchFamily="34" charset="0"/>
              <a:cs typeface="Arial" panose="020B0604020202020204" pitchFamily="34" charset="0"/>
            </a:endParaRPr>
          </a:p>
          <a:p>
            <a:pPr marL="496548" indent="-496548">
              <a:lnSpc>
                <a:spcPct val="106000"/>
              </a:lnSpc>
              <a:spcBef>
                <a:spcPts val="1043"/>
              </a:spcBef>
              <a:spcAft>
                <a:spcPts val="1390"/>
              </a:spcAft>
              <a:buFont typeface="Arial" panose="020B0604020202020204" pitchFamily="34" charset="0"/>
              <a:buChar char="•"/>
            </a:pPr>
            <a:r>
              <a:rPr lang="en-US" sz="3100" dirty="0">
                <a:solidFill>
                  <a:srgbClr val="404040"/>
                </a:solidFill>
                <a:latin typeface="Calibri" panose="020F0502020204030204" pitchFamily="34" charset="0"/>
                <a:ea typeface="Calibri" panose="020F0502020204030204" pitchFamily="34" charset="0"/>
                <a:cs typeface="Arial" panose="020B0604020202020204" pitchFamily="34" charset="0"/>
              </a:rPr>
              <a:t>It is important to end the attack before any damage occurs. In a recent study, Forrester found that our security technology automatically remediates 97 percent of all endpoint attacks detected in customer environments. That automation frees up teams to focus on resolving the most complicated cases. </a:t>
            </a:r>
            <a:r>
              <a:rPr lang="en-US" sz="3100" dirty="0">
                <a:latin typeface="Calibri" panose="020F0502020204030204" pitchFamily="34" charset="0"/>
                <a:ea typeface="Calibri" panose="020F0502020204030204" pitchFamily="34" charset="0"/>
                <a:cs typeface="Arial" panose="020B0604020202020204" pitchFamily="34" charset="0"/>
              </a:rPr>
              <a:t> </a:t>
            </a:r>
            <a:r>
              <a:rPr lang="en-US" sz="31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5"/>
              </a:rPr>
              <a:t>The Total Economic Impact of Microsoft Defender ATP, Forrester, Apr 2019</a:t>
            </a:r>
            <a:r>
              <a:rPr lang="en-US" sz="3100" dirty="0">
                <a:solidFill>
                  <a:srgbClr val="3B3838"/>
                </a:solidFill>
                <a:latin typeface="Calibri" panose="020F0502020204030204" pitchFamily="34" charset="0"/>
                <a:ea typeface="Calibri" panose="020F0502020204030204" pitchFamily="34" charset="0"/>
                <a:cs typeface="Arial" panose="020B0604020202020204" pitchFamily="34" charset="0"/>
              </a:rPr>
              <a:t> </a:t>
            </a:r>
          </a:p>
          <a:p>
            <a:pPr marL="496548" indent="-496548" defTabSz="1588953">
              <a:lnSpc>
                <a:spcPct val="106000"/>
              </a:lnSpc>
              <a:spcBef>
                <a:spcPts val="1043"/>
              </a:spcBef>
              <a:spcAft>
                <a:spcPts val="1390"/>
              </a:spcAft>
              <a:buFont typeface="Arial" panose="020B0604020202020204" pitchFamily="34" charset="0"/>
              <a:buChar char="•"/>
              <a:defRPr/>
            </a:pPr>
            <a:r>
              <a:rPr lang="en-US" sz="3100" b="1" dirty="0">
                <a:solidFill>
                  <a:srgbClr val="404040"/>
                </a:solidFill>
                <a:latin typeface="Calibri" panose="020F0502020204030204" pitchFamily="34" charset="0"/>
                <a:ea typeface="Calibri" panose="020F0502020204030204" pitchFamily="34" charset="0"/>
                <a:cs typeface="Arial" panose="020B0604020202020204" pitchFamily="34" charset="0"/>
              </a:rPr>
              <a:t>Insider Risk</a:t>
            </a:r>
            <a:r>
              <a:rPr lang="en-US" sz="3100" dirty="0">
                <a:solidFill>
                  <a:srgbClr val="404040"/>
                </a:solidFill>
                <a:latin typeface="Calibri" panose="020F0502020204030204" pitchFamily="34" charset="0"/>
                <a:ea typeface="Calibri" panose="020F0502020204030204" pitchFamily="34" charset="0"/>
                <a:cs typeface="Arial" panose="020B0604020202020204" pitchFamily="34" charset="0"/>
              </a:rPr>
              <a:t> templates use machine learning and intelligence to correlate signals to identify hidden patterns and risks that traditional or manual methods might miss.</a:t>
            </a:r>
            <a:endParaRPr lang="en-US" sz="3100" dirty="0">
              <a:latin typeface="Calibri" panose="020F0502020204030204" pitchFamily="34" charset="0"/>
              <a:ea typeface="Calibri" panose="020F0502020204030204" pitchFamily="34" charset="0"/>
              <a:cs typeface="Arial" panose="020B0604020202020204" pitchFamily="34" charset="0"/>
            </a:endParaRPr>
          </a:p>
          <a:p>
            <a:pPr defTabSz="1588953">
              <a:lnSpc>
                <a:spcPct val="106000"/>
              </a:lnSpc>
              <a:spcBef>
                <a:spcPts val="1043"/>
              </a:spcBef>
              <a:spcAft>
                <a:spcPts val="1390"/>
              </a:spcAft>
              <a:defRPr/>
            </a:pPr>
            <a:endParaRPr lang="en-US" sz="3100" dirty="0">
              <a:solidFill>
                <a:srgbClr val="404040"/>
              </a:solidFill>
              <a:latin typeface="Calibri" panose="020F0502020204030204" pitchFamily="34" charset="0"/>
              <a:cs typeface="Arial" panose="020B0604020202020204" pitchFamily="34" charset="0"/>
            </a:endParaRPr>
          </a:p>
          <a:p>
            <a:pPr>
              <a:lnSpc>
                <a:spcPct val="106000"/>
              </a:lnSpc>
              <a:spcBef>
                <a:spcPts val="1043"/>
              </a:spcBef>
              <a:spcAft>
                <a:spcPts val="1390"/>
              </a:spcAft>
            </a:pPr>
            <a:r>
              <a:rPr lang="en-US" sz="3100" dirty="0">
                <a:solidFill>
                  <a:srgbClr val="404040"/>
                </a:solidFill>
                <a:latin typeface="Calibri" panose="020F0502020204030204" pitchFamily="34" charset="0"/>
                <a:ea typeface="Calibri" panose="020F0502020204030204" pitchFamily="34" charset="0"/>
                <a:cs typeface="Arial" panose="020B0604020202020204" pitchFamily="34" charset="0"/>
              </a:rPr>
              <a:t>Citations </a:t>
            </a:r>
            <a:endParaRPr lang="en-US" sz="31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4"/>
            </a:endParaRPr>
          </a:p>
          <a:p>
            <a:pPr marL="397238" indent="-397238" defTabSz="1234716">
              <a:buFontTx/>
              <a:buAutoNum type="arabicPeriod"/>
              <a:defRPr/>
            </a:pPr>
            <a:r>
              <a:rPr lang="en-US" sz="14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4"/>
              </a:rPr>
              <a:t>Microsoft blog: Azure Sentinel uncovers the real threats hidden in billions of low fidelity signals</a:t>
            </a:r>
            <a:r>
              <a:rPr lang="en-US" sz="1400" u="sng" dirty="0">
                <a:solidFill>
                  <a:srgbClr val="0563C1"/>
                </a:solidFill>
                <a:latin typeface="Calibri" panose="020F0502020204030204" pitchFamily="34" charset="0"/>
                <a:ea typeface="Calibri" panose="020F0502020204030204" pitchFamily="34" charset="0"/>
                <a:cs typeface="Arial" panose="020B0604020202020204" pitchFamily="34" charset="0"/>
              </a:rPr>
              <a:t>, Feb 2020</a:t>
            </a:r>
          </a:p>
          <a:p>
            <a:pPr marL="397238" indent="-397238" defTabSz="1234716">
              <a:buFontTx/>
              <a:buAutoNum type="arabicPeriod"/>
              <a:defRPr/>
            </a:pPr>
            <a:r>
              <a:rPr lang="en-US" sz="14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5"/>
              </a:rPr>
              <a:t>The Total Economic Impact of Microsoft Defender ATP, Forrester, Apr 2019</a:t>
            </a:r>
            <a:r>
              <a:rPr lang="en-US" sz="1400" dirty="0">
                <a:solidFill>
                  <a:srgbClr val="3B3838"/>
                </a:solidFill>
                <a:latin typeface="Calibri" panose="020F0502020204030204" pitchFamily="34" charset="0"/>
                <a:ea typeface="Calibri" panose="020F0502020204030204" pitchFamily="34" charset="0"/>
                <a:cs typeface="Arial" panose="020B0604020202020204" pitchFamily="34" charset="0"/>
              </a:rPr>
              <a:t> </a:t>
            </a:r>
          </a:p>
          <a:p>
            <a:pPr marL="397238" indent="-397238" defTabSz="1234716">
              <a:buAutoNum type="arabicPeriod"/>
              <a:defRPr/>
            </a:pPr>
            <a:r>
              <a:rPr lang="en-US" sz="1400" kern="0" dirty="0">
                <a:gradFill>
                  <a:gsLst>
                    <a:gs pos="83000">
                      <a:srgbClr val="282828"/>
                    </a:gs>
                    <a:gs pos="100000">
                      <a:srgbClr val="282828"/>
                    </a:gs>
                  </a:gsLst>
                  <a:lin ang="5400000" scaled="1"/>
                </a:gradFill>
                <a:latin typeface="Segoe UI"/>
              </a:rPr>
              <a:t>Forrester Consulting, “</a:t>
            </a:r>
            <a:r>
              <a:rPr lang="en-US" sz="1400" dirty="0">
                <a:solidFill>
                  <a:srgbClr val="000000"/>
                </a:solidFill>
                <a:latin typeface="Segoe UI"/>
              </a:rPr>
              <a:t>The Total Economic Impact™ Of </a:t>
            </a:r>
            <a:r>
              <a:rPr lang="en-US" sz="1400" dirty="0"/>
              <a:t>™ </a:t>
            </a:r>
            <a:r>
              <a:rPr lang="en-US" sz="1400" kern="0" dirty="0">
                <a:gradFill>
                  <a:gsLst>
                    <a:gs pos="83000">
                      <a:srgbClr val="282828"/>
                    </a:gs>
                    <a:gs pos="100000">
                      <a:srgbClr val="282828"/>
                    </a:gs>
                  </a:gsLst>
                  <a:lin ang="5400000" scaled="1"/>
                </a:gradFill>
                <a:latin typeface="Segoe UI"/>
              </a:rPr>
              <a:t>Microsoft </a:t>
            </a:r>
            <a:r>
              <a:rPr lang="en-US" sz="1400" dirty="0"/>
              <a:t> SIEM and XDR”, August 2022, </a:t>
            </a:r>
            <a:r>
              <a:rPr lang="en-US" sz="1400" kern="0" dirty="0">
                <a:gradFill>
                  <a:gsLst>
                    <a:gs pos="83000">
                      <a:srgbClr val="282828"/>
                    </a:gs>
                    <a:gs pos="100000">
                      <a:srgbClr val="282828"/>
                    </a:gs>
                  </a:gsLst>
                  <a:lin ang="5400000" scaled="1"/>
                </a:gradFill>
                <a:latin typeface="Segoe UI"/>
              </a:rPr>
              <a:t>commissioned by Microsoft</a:t>
            </a:r>
          </a:p>
          <a:p>
            <a:pPr marL="397238" indent="-397238" defTabSz="1234716">
              <a:buAutoNum type="arabicPeriod"/>
              <a:defRPr/>
            </a:pPr>
            <a:r>
              <a:rPr lang="en-US" sz="1400" kern="0" dirty="0">
                <a:gradFill>
                  <a:gsLst>
                    <a:gs pos="83000">
                      <a:srgbClr val="282828"/>
                    </a:gs>
                    <a:gs pos="100000">
                      <a:srgbClr val="282828"/>
                    </a:gs>
                  </a:gsLst>
                  <a:lin ang="5400000" scaled="1"/>
                </a:gradFill>
                <a:latin typeface="Segoe UI"/>
              </a:rPr>
              <a:t>Forrester Consulting, “The Total Economic Impact</a:t>
            </a:r>
            <a:r>
              <a:rPr lang="en-US" sz="1400" dirty="0">
                <a:solidFill>
                  <a:srgbClr val="000000"/>
                </a:solidFill>
                <a:latin typeface="Segoe UI"/>
              </a:rPr>
              <a:t> ™</a:t>
            </a:r>
            <a:r>
              <a:rPr lang="en-US" sz="1400" kern="0" dirty="0">
                <a:gradFill>
                  <a:gsLst>
                    <a:gs pos="83000">
                      <a:srgbClr val="282828"/>
                    </a:gs>
                    <a:gs pos="100000">
                      <a:srgbClr val="282828"/>
                    </a:gs>
                  </a:gsLst>
                  <a:lin ang="5400000" scaled="1"/>
                </a:gradFill>
                <a:latin typeface="Segoe UI"/>
              </a:rPr>
              <a:t> Of Microsoft 365 E5 Compliance,” February, 2021, commissioned by Microsoft</a:t>
            </a:r>
          </a:p>
          <a:p>
            <a:pPr marL="595857" indent="-595857">
              <a:buFont typeface="Arial" panose="020B0604020202020204" pitchFamily="34" charset="0"/>
              <a:buChar char="•"/>
            </a:pPr>
            <a:endParaRPr lang="en-US" sz="3500" dirty="0">
              <a:latin typeface="Segoe UI" panose="020B0502040204020203"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defTabSz="33740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2067343" defTabSz="3066172" eaLnBrk="0" hangingPunct="0">
              <a:defRPr/>
            </a:pPr>
            <a:r>
              <a:rPr lang="en-US" sz="1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3374097">
              <a:defRPr/>
            </a:pPr>
            <a:fld id="{38EEC551-8CDA-4EB6-89BB-2A86C9F091C8}" type="datetime8">
              <a:rPr lang="en-US">
                <a:solidFill>
                  <a:prstClr val="black"/>
                </a:solidFill>
                <a:latin typeface="Segoe UI" pitchFamily="34" charset="0"/>
              </a:rPr>
              <a:pPr defTabSz="3374097">
                <a:defRPr/>
              </a:pPr>
              <a:t>8/31/2022 4:33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3374097">
              <a:defRPr/>
            </a:pPr>
            <a:fld id="{B4008EB6-D09E-4580-8CD6-DDB14511944F}" type="slidenum">
              <a:rPr lang="en-US">
                <a:solidFill>
                  <a:prstClr val="black"/>
                </a:solidFill>
                <a:latin typeface="Segoe UI" pitchFamily="34" charset="0"/>
              </a:rPr>
              <a:pPr defTabSz="3374097">
                <a:defRPr/>
              </a:pPr>
              <a:t>10</a:t>
            </a:fld>
            <a:endParaRPr lang="en-US">
              <a:solidFill>
                <a:prstClr val="black"/>
              </a:solidFill>
              <a:latin typeface="Segoe UI" pitchFamily="34" charset="0"/>
            </a:endParaRPr>
          </a:p>
        </p:txBody>
      </p:sp>
    </p:spTree>
    <p:extLst>
      <p:ext uri="{BB962C8B-B14F-4D97-AF65-F5344CB8AC3E}">
        <p14:creationId xmlns:p14="http://schemas.microsoft.com/office/powerpoint/2010/main" val="804552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1600" b="1" dirty="0"/>
              <a:t>Key slide takeaway</a:t>
            </a:r>
            <a:r>
              <a:rPr lang="en-US" sz="1600" dirty="0"/>
              <a:t>: </a:t>
            </a:r>
            <a:r>
              <a:rPr lang="en-US" sz="1600" dirty="0">
                <a:latin typeface="Segoe UI Light" pitchFamily="34" charset="0"/>
              </a:rPr>
              <a:t>Forrester Consulting “Total Economic Impact” studies show that Microsoft Security helped customers reduced the total cost of risk while saving on automation and process improvements. </a:t>
            </a:r>
          </a:p>
          <a:p>
            <a:pPr defTabSz="1588953">
              <a:defRPr/>
            </a:pPr>
            <a:endParaRPr lang="en-US" sz="1600" b="1" dirty="0"/>
          </a:p>
          <a:p>
            <a:pPr defTabSz="1588953">
              <a:defRPr/>
            </a:pPr>
            <a:r>
              <a:rPr lang="en-US" sz="1600" b="1" dirty="0"/>
              <a:t>Main points to cover: </a:t>
            </a:r>
            <a:r>
              <a:rPr lang="en-US" sz="1600" dirty="0">
                <a:solidFill>
                  <a:srgbClr val="212121"/>
                </a:solidFill>
                <a:latin typeface="Gartner sans"/>
              </a:rPr>
              <a:t>Microsoft Security can help your organization: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costs by reducing risk of breach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cloud security breach risk and decrease time to mitigate cloud threats by </a:t>
            </a:r>
            <a:r>
              <a:rPr lang="en-US" sz="3100" dirty="0">
                <a:gradFill>
                  <a:gsLst>
                    <a:gs pos="1000">
                      <a:schemeClr val="tx1"/>
                    </a:gs>
                    <a:gs pos="99000">
                      <a:schemeClr val="tx1">
                        <a:alpha val="83000"/>
                      </a:schemeClr>
                    </a:gs>
                  </a:gsLst>
                  <a:lin ang="16200000" scaled="1"/>
                </a:gradFill>
                <a:cs typeface="Calibri" panose="020F0502020204030204" pitchFamily="34" charset="0"/>
              </a:rPr>
              <a:t>centrally managing cloud platform security operations </a:t>
            </a:r>
            <a:endPar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ing risk of a security breach by reducing the complexity of IAM solutions </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false positives</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risk of a security breach by automating upgrades and improve visibility </a:t>
            </a:r>
            <a:endParaRPr lang="en-US" sz="1600" b="1" dirty="0">
              <a:latin typeface="Segoe UI Light" pitchFamily="34" charset="0"/>
            </a:endParaRPr>
          </a:p>
          <a:p>
            <a:pPr defTabSz="1588953">
              <a:defRPr/>
            </a:pPr>
            <a:endParaRPr lang="en-US" sz="1600" b="1" dirty="0">
              <a:latin typeface="Segoe UI Light" pitchFamily="34" charset="0"/>
            </a:endParaRPr>
          </a:p>
          <a:p>
            <a:pPr defTabSz="1588953">
              <a:defRPr/>
            </a:pPr>
            <a:r>
              <a:rPr lang="en-US" sz="1600" b="1" dirty="0">
                <a:latin typeface="Segoe UI Light" pitchFamily="34" charset="0"/>
              </a:rPr>
              <a:t>Citations: </a:t>
            </a:r>
          </a:p>
          <a:p>
            <a:pPr defTabSz="1588953">
              <a:defRPr/>
            </a:pPr>
            <a:r>
              <a:rPr lang="en-US" sz="1600" b="1" i="1" dirty="0">
                <a:solidFill>
                  <a:srgbClr val="FF0000"/>
                </a:solidFill>
              </a:rPr>
              <a:t>[Cloud security p</a:t>
            </a:r>
            <a:r>
              <a:rPr lang="en-US" sz="1600" b="1" i="1" dirty="0">
                <a:latin typeface="Calibri" panose="020F0502020204030204" pitchFamily="34" charset="0"/>
                <a:ea typeface="Calibri" panose="020F0502020204030204" pitchFamily="34" charset="0"/>
              </a:rPr>
              <a:t>roduct name references in the Forrester reports may vary due to the name changes as of Nov 02, 2021]</a:t>
            </a:r>
            <a:endParaRPr lang="en-US" sz="1600" b="1" i="1" dirty="0">
              <a:solidFill>
                <a:srgbClr val="FF0000"/>
              </a:solidFill>
            </a:endParaRPr>
          </a:p>
          <a:p>
            <a:pPr defTabSz="1234716">
              <a:defRPr/>
            </a:pPr>
            <a:r>
              <a:rPr lang="en-US" sz="1400" kern="0" dirty="0">
                <a:gradFill>
                  <a:gsLst>
                    <a:gs pos="83000">
                      <a:srgbClr val="282828"/>
                    </a:gs>
                    <a:gs pos="100000">
                      <a:srgbClr val="282828"/>
                    </a:gs>
                  </a:gsLst>
                  <a:lin ang="5400000" scaled="1"/>
                </a:gradFill>
                <a:latin typeface="Segoe UI"/>
              </a:rPr>
              <a:t>1. Forrester Consulting, “The Total Economic Impact Of Microsoft 365 E5 Compliance,” February, 2021, commissioned by Microsoft</a:t>
            </a:r>
          </a:p>
          <a:p>
            <a:pPr defTabSz="1234716">
              <a:defRPr/>
            </a:pPr>
            <a:r>
              <a:rPr lang="en-US" sz="1400" kern="0" dirty="0">
                <a:gradFill>
                  <a:gsLst>
                    <a:gs pos="83000">
                      <a:srgbClr val="282828"/>
                    </a:gs>
                    <a:gs pos="100000">
                      <a:srgbClr val="282828"/>
                    </a:gs>
                  </a:gsLst>
                  <a:lin ang="5400000" scaled="1"/>
                </a:gradFill>
                <a:latin typeface="Segoe UI"/>
              </a:rPr>
              <a:t>2. Forrester Consulting, “The Total Economic Impact Of Microsoft Azure Security Center,” June, 2021, commissioned by Microsoft </a:t>
            </a:r>
          </a:p>
          <a:p>
            <a:pPr defTabSz="1234716">
              <a:defRPr/>
            </a:pPr>
            <a:r>
              <a:rPr lang="en-US" sz="1400" kern="0" dirty="0">
                <a:gradFill>
                  <a:gsLst>
                    <a:gs pos="83000">
                      <a:srgbClr val="282828"/>
                    </a:gs>
                    <a:gs pos="100000">
                      <a:srgbClr val="282828"/>
                    </a:gs>
                  </a:gsLst>
                  <a:lin ang="5400000" scaled="1"/>
                </a:gradFill>
                <a:latin typeface="Segoe UI"/>
              </a:rPr>
              <a:t>3. Forrester Consulting, “The Total Economic Impact Of Microsoft Azure Active Directory,” August, 2020, commissioned by Microsoft </a:t>
            </a:r>
          </a:p>
          <a:p>
            <a:pPr defTabSz="1234716">
              <a:defRPr/>
            </a:pPr>
            <a:r>
              <a:rPr lang="en-US" sz="1400" kern="0" dirty="0">
                <a:gradFill>
                  <a:gsLst>
                    <a:gs pos="83000">
                      <a:srgbClr val="282828"/>
                    </a:gs>
                    <a:gs pos="100000">
                      <a:srgbClr val="282828"/>
                    </a:gs>
                  </a:gsLst>
                  <a:lin ang="5400000" scaled="1"/>
                </a:gradFill>
                <a:latin typeface="Segoe UI"/>
              </a:rPr>
              <a:t>4. Forrester Consulting, “The Total Economic Impact Of Microsoft Azure Sentinel,” November, 2020, commissioned by Microsoft </a:t>
            </a:r>
          </a:p>
          <a:p>
            <a:pPr defTabSz="1234716">
              <a:defRPr/>
            </a:pPr>
            <a:r>
              <a:rPr lang="en-US" sz="1400" kern="0" dirty="0">
                <a:gradFill>
                  <a:gsLst>
                    <a:gs pos="83000">
                      <a:srgbClr val="282828"/>
                    </a:gs>
                    <a:gs pos="100000">
                      <a:srgbClr val="282828"/>
                    </a:gs>
                  </a:gsLst>
                  <a:lin ang="5400000" scaled="1"/>
                </a:gradFill>
                <a:latin typeface="Segoe UI"/>
              </a:rPr>
              <a:t>5. Forrester Consulting, “The Total Economic Impact Of Microsoft Azure Network Security” May, 2021, commissioned by Microsoft </a:t>
            </a:r>
          </a:p>
          <a:p>
            <a:pPr rtl="0" fontAlgn="base"/>
            <a:endParaRPr lang="en-US" sz="1700" dirty="0">
              <a:latin typeface="Segoe UI Light" pitchFamily="34" charset="0"/>
            </a:endParaRPr>
          </a:p>
          <a:p>
            <a:pPr rtl="0" fontAlgn="base"/>
            <a:r>
              <a:rPr lang="en-US" sz="1700" dirty="0">
                <a:latin typeface="Segoe UI Light" pitchFamily="34" charset="0"/>
              </a:rPr>
              <a:t>Quote from customer case study: </a:t>
            </a:r>
          </a:p>
          <a:p>
            <a:pPr rtl="0" fontAlgn="base"/>
            <a:r>
              <a:rPr lang="en-US" sz="2100" dirty="0">
                <a:hlinkClick r:id="rId3"/>
              </a:rPr>
              <a:t>Microsoft Customer Story-A healthy edge: Medical technology leader </a:t>
            </a:r>
            <a:r>
              <a:rPr lang="en-US" sz="2100" dirty="0" err="1">
                <a:hlinkClick r:id="rId3"/>
              </a:rPr>
              <a:t>Smith+Nephew</a:t>
            </a:r>
            <a:r>
              <a:rPr lang="en-US" sz="2100" dirty="0">
                <a:hlinkClick r:id="rId3"/>
              </a:rPr>
              <a:t> uses Microsoft 365 to innovate</a:t>
            </a:r>
            <a:endParaRPr lang="en-US" sz="1700" dirty="0">
              <a:latin typeface="Segoe UI Light" pitchFamily="34" charset="0"/>
            </a:endParaRPr>
          </a:p>
          <a:p>
            <a:r>
              <a:rPr lang="en-US" dirty="0"/>
              <a:t>https://customers.microsoft.com/en-us/story/1393723474425028635-smith-nephew-manufacturing-microsoft-365</a:t>
            </a:r>
          </a:p>
          <a:p>
            <a:endParaRPr lang="en-US" dirty="0"/>
          </a:p>
        </p:txBody>
      </p:sp>
      <p:sp>
        <p:nvSpPr>
          <p:cNvPr id="4" name="Header Placeholder 3"/>
          <p:cNvSpPr>
            <a:spLocks noGrp="1"/>
          </p:cNvSpPr>
          <p:nvPr>
            <p:ph type="hdr" sz="quarter"/>
          </p:nvPr>
        </p:nvSpPr>
        <p:spPr/>
        <p:txBody>
          <a:bodyPr/>
          <a:lstStyle/>
          <a:p>
            <a:pPr defTabSz="1588953">
              <a:defRPr/>
            </a:pPr>
            <a:endParaRPr lang="en-US" sz="2100">
              <a:solidFill>
                <a:prstClr val="black"/>
              </a:solidFill>
              <a:latin typeface="Calibri" panose="020F0502020204030204"/>
            </a:endParaRPr>
          </a:p>
        </p:txBody>
      </p:sp>
      <p:sp>
        <p:nvSpPr>
          <p:cNvPr id="5" name="Footer Placeholder 4"/>
          <p:cNvSpPr>
            <a:spLocks noGrp="1"/>
          </p:cNvSpPr>
          <p:nvPr>
            <p:ph type="ftr" sz="quarter" idx="4"/>
          </p:nvPr>
        </p:nvSpPr>
        <p:spPr/>
        <p:txBody>
          <a:bodyPr/>
          <a:lstStyle/>
          <a:p>
            <a:pPr defTabSz="158843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1588953">
              <a:defRPr/>
            </a:pPr>
            <a:fld id="{386CE63F-9E7F-4C04-9D0D-FCA25A8E9E86}" type="datetime8">
              <a:rPr lang="en-US" sz="2100">
                <a:solidFill>
                  <a:prstClr val="black"/>
                </a:solidFill>
                <a:latin typeface="Calibri" panose="020F0502020204030204"/>
              </a:rPr>
              <a:pPr defTabSz="1588953">
                <a:defRPr/>
              </a:pPr>
              <a:t>8/31/2022 4:33 PM</a:t>
            </a:fld>
            <a:endParaRPr lang="en-US" sz="2100">
              <a:solidFill>
                <a:prstClr val="black"/>
              </a:solidFill>
              <a:latin typeface="Calibri" panose="020F0502020204030204"/>
            </a:endParaRPr>
          </a:p>
        </p:txBody>
      </p:sp>
      <p:sp>
        <p:nvSpPr>
          <p:cNvPr id="7" name="Slide Number Placeholder 6"/>
          <p:cNvSpPr>
            <a:spLocks noGrp="1"/>
          </p:cNvSpPr>
          <p:nvPr>
            <p:ph type="sldNum" sz="quarter" idx="5"/>
          </p:nvPr>
        </p:nvSpPr>
        <p:spPr/>
        <p:txBody>
          <a:bodyPr/>
          <a:lstStyle/>
          <a:p>
            <a:pPr defTabSz="1588953">
              <a:defRPr/>
            </a:pPr>
            <a:fld id="{B4008EB6-D09E-4580-8CD6-DDB14511944F}" type="slidenum">
              <a:rPr lang="en-US" sz="2100">
                <a:solidFill>
                  <a:prstClr val="black"/>
                </a:solidFill>
                <a:latin typeface="Calibri" panose="020F0502020204030204"/>
              </a:rPr>
              <a:pPr defTabSz="1588953">
                <a:defRPr/>
              </a:pPr>
              <a:t>11</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1834910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1043"/>
              </a:spcAft>
            </a:pPr>
            <a:r>
              <a:rPr lang="en-US" sz="2100" b="1" dirty="0"/>
              <a:t>Key slide takeaway</a:t>
            </a:r>
            <a:r>
              <a:rPr lang="en-US" sz="2100" dirty="0"/>
              <a:t>:  </a:t>
            </a:r>
            <a:r>
              <a:rPr lang="en-US" sz="2100" dirty="0">
                <a:solidFill>
                  <a:srgbClr val="404040"/>
                </a:solidFill>
                <a:latin typeface="Calibri" panose="020F0502020204030204" pitchFamily="34" charset="0"/>
                <a:ea typeface="Calibri" panose="020F0502020204030204" pitchFamily="34" charset="0"/>
                <a:cs typeface="Arial" panose="020B0604020202020204" pitchFamily="34" charset="0"/>
              </a:rPr>
              <a:t>Integrated workflows help ensure that the right people across security, HR, legal, and compliance are involved to quickly investigate and act once a risk has been identified.</a:t>
            </a:r>
            <a:endParaRPr lang="en-US" sz="2100" dirty="0">
              <a:latin typeface="Calibri" panose="020F0502020204030204" pitchFamily="34" charset="0"/>
              <a:ea typeface="Calibri" panose="020F0502020204030204" pitchFamily="34" charset="0"/>
              <a:cs typeface="Arial" panose="020B0604020202020204" pitchFamily="34" charset="0"/>
            </a:endParaRPr>
          </a:p>
          <a:p>
            <a:pPr defTabSz="1588953">
              <a:defRPr/>
            </a:pPr>
            <a:endParaRPr lang="en-US" sz="2100" dirty="0"/>
          </a:p>
          <a:p>
            <a:pPr defTabSz="1588953" fontAlgn="base">
              <a:defRPr/>
            </a:pPr>
            <a:r>
              <a:rPr lang="en-US" sz="2100" b="1" dirty="0"/>
              <a:t>Main points to cover:  </a:t>
            </a:r>
          </a:p>
          <a:p>
            <a:pPr marL="496548" indent="-496548" defTabSz="1588953" fontAlgn="base">
              <a:buFont typeface="Arial" panose="020B0604020202020204" pitchFamily="34" charset="0"/>
              <a:buChar char="•"/>
              <a:defRPr/>
            </a:pPr>
            <a:r>
              <a:rPr lang="en-US" sz="2100" dirty="0">
                <a:solidFill>
                  <a:srgbClr val="404040"/>
                </a:solidFill>
                <a:latin typeface="Calibri" panose="020F0502020204030204" pitchFamily="34" charset="0"/>
                <a:ea typeface="Yu Mincho" panose="02020400000000000000" pitchFamily="18" charset="-128"/>
              </a:rPr>
              <a:t>Organizations struggle to navigate the ever-evolving threat landscape in which ransomware attacks increased by 150% in 2021, 579 password attacks are carried out every second, and nation-state attacks are also on the rise.</a:t>
            </a:r>
            <a:r>
              <a:rPr lang="en-US" dirty="0">
                <a:solidFill>
                  <a:srgbClr val="404040"/>
                </a:solidFill>
                <a:latin typeface="Calibri" panose="020F0502020204030204" pitchFamily="34" charset="0"/>
                <a:ea typeface="Yu Mincho" panose="02020400000000000000" pitchFamily="18" charset="-128"/>
              </a:rPr>
              <a:t> (1)</a:t>
            </a:r>
            <a:endParaRPr lang="en-US" sz="2100" dirty="0">
              <a:solidFill>
                <a:srgbClr val="404040"/>
              </a:solidFill>
              <a:latin typeface="Calibri" panose="020F0502020204030204" pitchFamily="34" charset="0"/>
              <a:ea typeface="Yu Mincho" panose="02020400000000000000" pitchFamily="18" charset="-128"/>
            </a:endParaRPr>
          </a:p>
          <a:p>
            <a:pPr marL="496548" indent="-496548" fontAlgn="base">
              <a:buFont typeface="Arial" panose="020B0604020202020204" pitchFamily="34" charset="0"/>
              <a:buChar char="•"/>
            </a:pPr>
            <a:r>
              <a:rPr lang="en-US" sz="2100" dirty="0">
                <a:solidFill>
                  <a:srgbClr val="404040"/>
                </a:solidFill>
                <a:latin typeface="Calibri" panose="020F0502020204030204" pitchFamily="34" charset="0"/>
                <a:ea typeface="Yu Mincho" panose="02020400000000000000" pitchFamily="18" charset="-128"/>
              </a:rPr>
              <a:t>At the same time, the pandemic accelerated digital transformation faster than anyone could’ve expected over the past two years. </a:t>
            </a:r>
          </a:p>
          <a:p>
            <a:pPr marL="496548" indent="-496548" fontAlgn="base">
              <a:buFont typeface="Arial" panose="020B0604020202020204" pitchFamily="34" charset="0"/>
              <a:buChar char="•"/>
            </a:pPr>
            <a:r>
              <a:rPr lang="en-US" sz="2100" dirty="0">
                <a:solidFill>
                  <a:srgbClr val="404040"/>
                </a:solidFill>
                <a:latin typeface="Calibri" panose="020F0502020204030204" pitchFamily="34" charset="0"/>
                <a:ea typeface="Yu Mincho" panose="02020400000000000000" pitchFamily="18" charset="-128"/>
              </a:rPr>
              <a:t>Breaches are more expensive when remote work is a factor, and also in organizations who haven’t implemented a strong zero trust foundation. (2) </a:t>
            </a:r>
          </a:p>
          <a:p>
            <a:pPr marL="496548" indent="-496548" fontAlgn="base">
              <a:buFont typeface="Arial" panose="020B0604020202020204" pitchFamily="34" charset="0"/>
              <a:buChar char="•"/>
            </a:pPr>
            <a:r>
              <a:rPr lang="en-US" sz="2100" dirty="0">
                <a:solidFill>
                  <a:srgbClr val="404040"/>
                </a:solidFill>
                <a:latin typeface="Calibri" panose="020F0502020204030204" pitchFamily="34" charset="0"/>
                <a:ea typeface="Yu Mincho" panose="02020400000000000000" pitchFamily="18" charset="-128"/>
              </a:rPr>
              <a:t>Organizations are constantly adding new cloud solutions, applications, and experiences to support more dynamic workforce and growing business needs, expanding attack surfaces for adversaries to take advantage of. </a:t>
            </a:r>
          </a:p>
          <a:p>
            <a:pPr marL="496548" indent="-496548" defTabSz="1588953" fontAlgn="base">
              <a:buFont typeface="Arial" panose="020B0604020202020204" pitchFamily="34" charset="0"/>
              <a:buChar char="•"/>
              <a:defRPr/>
            </a:pPr>
            <a:r>
              <a:rPr lang="en-US" sz="2100" dirty="0">
                <a:solidFill>
                  <a:srgbClr val="404040"/>
                </a:solidFill>
                <a:latin typeface="Calibri" panose="020F0502020204030204" pitchFamily="34" charset="0"/>
                <a:ea typeface="Yu Mincho" panose="02020400000000000000" pitchFamily="18" charset="-128"/>
              </a:rPr>
              <a:t>Besides significant business disruptions, these attacks also result in devasting economic damages that the cost of cybercrime is expected to grow at 15% year over year, reaching $10.5 trillion by 2025. (3) </a:t>
            </a:r>
          </a:p>
          <a:p>
            <a:pPr defTabSz="1620826">
              <a:lnSpc>
                <a:spcPct val="90000"/>
              </a:lnSpc>
              <a:spcAft>
                <a:spcPts val="591"/>
              </a:spcAft>
              <a:defRPr/>
            </a:pPr>
            <a:endParaRPr lang="en-US" sz="2100" dirty="0">
              <a:latin typeface="Segoe UI Light" pitchFamily="34" charset="0"/>
            </a:endParaRPr>
          </a:p>
          <a:p>
            <a:pPr defTabSz="1620826">
              <a:lnSpc>
                <a:spcPct val="90000"/>
              </a:lnSpc>
              <a:spcAft>
                <a:spcPts val="591"/>
              </a:spcAft>
              <a:defRPr/>
            </a:pPr>
            <a:endParaRPr lang="en-US" sz="2100" dirty="0">
              <a:latin typeface="Segoe UI Light" pitchFamily="34" charset="0"/>
            </a:endParaRPr>
          </a:p>
          <a:p>
            <a:r>
              <a:rPr lang="en-US" sz="2100" dirty="0"/>
              <a:t>Citations: </a:t>
            </a:r>
          </a:p>
          <a:p>
            <a:pPr defTabSz="1620826">
              <a:spcBef>
                <a:spcPct val="20000"/>
              </a:spcBef>
              <a:buSzPct val="90000"/>
              <a:defRPr/>
            </a:pPr>
            <a:r>
              <a:rPr lang="en-US" sz="2100" baseline="30000" dirty="0">
                <a:solidFill>
                  <a:srgbClr val="FFFFFF"/>
                </a:solidFill>
                <a:latin typeface="Segoe UI" panose="020B0502040204020203" pitchFamily="34" charset="0"/>
              </a:rPr>
              <a:t>1 </a:t>
            </a:r>
            <a:r>
              <a:rPr lang="en-US" sz="2100" dirty="0">
                <a:latin typeface="Calibri" panose="020F0502020204030204" pitchFamily="34" charset="0"/>
                <a:ea typeface="Calibri" panose="020F0502020204030204" pitchFamily="34" charset="0"/>
                <a:cs typeface="Arial" panose="020B0604020202020204" pitchFamily="34" charset="0"/>
              </a:rPr>
              <a:t>https://www.bloomberg.com/news/videos/2021-12-09/microsoft-fires-back-at-crowdstrike-on-cybersecurity-video</a:t>
            </a:r>
          </a:p>
          <a:p>
            <a:pPr defTabSz="1620826">
              <a:spcBef>
                <a:spcPct val="20000"/>
              </a:spcBef>
              <a:buSzPct val="90000"/>
              <a:defRPr/>
            </a:pPr>
            <a:r>
              <a:rPr lang="en-US" sz="2100" baseline="30000" dirty="0">
                <a:solidFill>
                  <a:srgbClr val="FFFFFF"/>
                </a:solidFill>
                <a:latin typeface="Segoe UI" panose="020B0502040204020203" pitchFamily="34" charset="0"/>
              </a:rPr>
              <a:t>2 </a:t>
            </a:r>
            <a:r>
              <a:rPr lang="en-US" sz="2100" dirty="0" err="1">
                <a:solidFill>
                  <a:srgbClr val="FFFFFF"/>
                </a:solidFill>
                <a:latin typeface="Segoe UI" panose="020B0502040204020203" pitchFamily="34" charset="0"/>
              </a:rPr>
              <a:t>Ponemon</a:t>
            </a:r>
            <a:r>
              <a:rPr lang="en-US" sz="2100" dirty="0">
                <a:solidFill>
                  <a:srgbClr val="FFFFFF"/>
                </a:solidFill>
                <a:latin typeface="Segoe UI" panose="020B0502040204020203" pitchFamily="34" charset="0"/>
              </a:rPr>
              <a:t> Institute Cost of Breach Data 2021</a:t>
            </a:r>
          </a:p>
          <a:p>
            <a:r>
              <a:rPr lang="en-US" sz="2100" dirty="0">
                <a:latin typeface="Calibri" panose="020F0502020204030204" pitchFamily="34" charset="0"/>
                <a:ea typeface="Calibri" panose="020F0502020204030204" pitchFamily="34" charset="0"/>
                <a:cs typeface="Arial" panose="020B0604020202020204" pitchFamily="34" charset="0"/>
              </a:rPr>
              <a:t>https://cybersecurityventures.com/hackerpocalypse-cybercrime-report-2016/</a:t>
            </a:r>
          </a:p>
          <a:p>
            <a:endParaRPr lang="en-US" dirty="0"/>
          </a:p>
        </p:txBody>
      </p:sp>
      <p:sp>
        <p:nvSpPr>
          <p:cNvPr id="4" name="Slide Number Placeholder 3"/>
          <p:cNvSpPr>
            <a:spLocks noGrp="1"/>
          </p:cNvSpPr>
          <p:nvPr>
            <p:ph type="sldNum" sz="quarter" idx="5"/>
          </p:nvPr>
        </p:nvSpPr>
        <p:spPr/>
        <p:txBody>
          <a:bodyPr/>
          <a:lstStyle/>
          <a:p>
            <a:pPr defTabSz="1588896">
              <a:defRPr/>
            </a:pPr>
            <a:fld id="{BCCA3AF7-B6E8-4FA6-8DC5-D653885B5CBA}" type="slidenum">
              <a:rPr lang="en-US" sz="2100">
                <a:solidFill>
                  <a:prstClr val="black"/>
                </a:solidFill>
                <a:latin typeface="Segoe UI" pitchFamily="34" charset="0"/>
              </a:rPr>
              <a:pPr defTabSz="1588896">
                <a:defRPr/>
              </a:pPr>
              <a:t>12</a:t>
            </a:fld>
            <a:endParaRPr lang="en-US" sz="2100">
              <a:solidFill>
                <a:prstClr val="black"/>
              </a:solidFill>
              <a:latin typeface="Segoe UI" pitchFamily="34" charset="0"/>
            </a:endParaRPr>
          </a:p>
        </p:txBody>
      </p:sp>
    </p:spTree>
    <p:extLst>
      <p:ext uri="{BB962C8B-B14F-4D97-AF65-F5344CB8AC3E}">
        <p14:creationId xmlns:p14="http://schemas.microsoft.com/office/powerpoint/2010/main" val="7919462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500" b="1" dirty="0"/>
              <a:t>Key slide takeaway</a:t>
            </a:r>
            <a:r>
              <a:rPr lang="en-US" sz="3500" dirty="0"/>
              <a:t>: Microsoft Security provides significant value leading to a cost-effective, consolidated security environment.</a:t>
            </a:r>
          </a:p>
          <a:p>
            <a:endParaRPr lang="en-US" sz="3500" dirty="0"/>
          </a:p>
          <a:p>
            <a:r>
              <a:rPr lang="en-US" sz="3500" b="1" dirty="0"/>
              <a:t>Main points to cover:</a:t>
            </a:r>
            <a:endParaRPr lang="en-US" sz="3500" dirty="0">
              <a:gradFill>
                <a:gsLst>
                  <a:gs pos="1000">
                    <a:srgbClr val="000000"/>
                  </a:gs>
                  <a:gs pos="99000">
                    <a:srgbClr val="000000">
                      <a:alpha val="83000"/>
                    </a:srgbClr>
                  </a:gs>
                </a:gsLst>
                <a:lin ang="16200000" scaled="1"/>
              </a:gradFill>
              <a:latin typeface="Segoe UI"/>
              <a:cs typeface="Calibri" panose="020F0502020204030204" pitchFamily="34" charset="0"/>
            </a:endParaRPr>
          </a:p>
          <a:p>
            <a:pPr defTabSz="1588896">
              <a:defRPr/>
            </a:pPr>
            <a:r>
              <a:rPr lang="en-US" sz="3500" dirty="0">
                <a:solidFill>
                  <a:srgbClr val="000000"/>
                </a:solidFill>
                <a:latin typeface="Segoe UI Semilight" panose="020B0402040204020203" pitchFamily="34" charset="0"/>
                <a:cs typeface="Segoe UI Semilight" panose="020B0402040204020203" pitchFamily="34" charset="0"/>
              </a:rPr>
              <a:t>Potential cost savings:  </a:t>
            </a:r>
          </a:p>
          <a:p>
            <a:pPr defTabSz="1588896">
              <a:defRPr/>
            </a:pPr>
            <a:r>
              <a:rPr lang="en-US" sz="3500" dirty="0"/>
              <a:t>Forrester Consulting showed organizations saved substantially by moving to Microsoft Security </a:t>
            </a:r>
            <a:endParaRPr lang="en-US" sz="3500" dirty="0">
              <a:solidFill>
                <a:srgbClr val="000000"/>
              </a:solidFill>
              <a:latin typeface="Segoe UI Semilight" panose="020B0402040204020203" pitchFamily="34" charset="0"/>
              <a:cs typeface="Segoe UI Semilight" panose="020B0402040204020203" pitchFamily="34" charset="0"/>
            </a:endParaRPr>
          </a:p>
          <a:p>
            <a:pPr marL="496548" indent="-496548" defTabSz="1588953">
              <a:buFont typeface="Arial" panose="020B0604020202020204" pitchFamily="34" charset="0"/>
              <a:buChar char="•"/>
              <a:defRPr/>
            </a:pPr>
            <a:r>
              <a:rPr lang="en-US" sz="3500" dirty="0">
                <a:solidFill>
                  <a:srgbClr val="000000"/>
                </a:solidFill>
                <a:latin typeface="Segoe UI Semibold"/>
              </a:rPr>
              <a:t>73% </a:t>
            </a:r>
            <a:r>
              <a:rPr lang="en-US" sz="35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improved efficiency of network-related IT work with </a:t>
            </a:r>
            <a:r>
              <a:rPr lang="en-US" sz="3500" dirty="0">
                <a:solidFill>
                  <a:srgbClr val="000000"/>
                </a:solidFill>
                <a:latin typeface="Segoe UI Semibold"/>
              </a:rPr>
              <a:t>Azure Network Security </a:t>
            </a:r>
            <a:r>
              <a:rPr lang="en-US" sz="35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7</a:t>
            </a:r>
          </a:p>
          <a:p>
            <a:pPr marL="496548" indent="-496548" defTabSz="1588953">
              <a:buFont typeface="Arial" panose="020B0604020202020204" pitchFamily="34" charset="0"/>
              <a:buChar char="•"/>
              <a:defRPr/>
            </a:pPr>
            <a:r>
              <a:rPr lang="en-US" sz="3500" dirty="0">
                <a:solidFill>
                  <a:srgbClr val="000000"/>
                </a:solidFill>
                <a:latin typeface="Segoe UI Semibold"/>
              </a:rPr>
              <a:t>67% </a:t>
            </a:r>
            <a:r>
              <a:rPr lang="en-US" sz="3500" dirty="0">
                <a:gradFill>
                  <a:gsLst>
                    <a:gs pos="1000">
                      <a:srgbClr val="000000"/>
                    </a:gs>
                    <a:gs pos="99000">
                      <a:srgbClr val="000000">
                        <a:alpha val="83000"/>
                      </a:srgbClr>
                    </a:gs>
                  </a:gsLst>
                  <a:lin ang="16200000" scaled="1"/>
                </a:gradFill>
                <a:latin typeface="Segoe UI"/>
                <a:cs typeface="Calibri" panose="020F0502020204030204" pitchFamily="34" charset="0"/>
              </a:rPr>
              <a:t>reduced time to deployment with </a:t>
            </a:r>
            <a:r>
              <a:rPr lang="en-US" sz="3500" dirty="0">
                <a:solidFill>
                  <a:srgbClr val="000000"/>
                </a:solidFill>
                <a:latin typeface="Segoe UI Semibold"/>
              </a:rPr>
              <a:t>Microsoft Sentinel </a:t>
            </a:r>
            <a:r>
              <a:rPr lang="en-US" sz="35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8</a:t>
            </a:r>
            <a:endParaRPr lang="en-US" sz="3500" dirty="0">
              <a:solidFill>
                <a:srgbClr val="000000"/>
              </a:solidFill>
              <a:latin typeface="Segoe UI"/>
            </a:endParaRPr>
          </a:p>
          <a:p>
            <a:pPr marL="496548" indent="-496548" defTabSz="1588953">
              <a:buFont typeface="Arial" panose="020B0604020202020204" pitchFamily="34" charset="0"/>
              <a:buChar char="•"/>
              <a:defRPr/>
            </a:pPr>
            <a:r>
              <a:rPr lang="en-US" sz="3500" dirty="0">
                <a:solidFill>
                  <a:srgbClr val="000000"/>
                </a:solidFill>
                <a:latin typeface="Segoe UI Semibold"/>
              </a:rPr>
              <a:t>75% </a:t>
            </a:r>
            <a:r>
              <a:rPr lang="en-US" sz="3500" dirty="0">
                <a:gradFill>
                  <a:gsLst>
                    <a:gs pos="1000">
                      <a:srgbClr val="000000"/>
                    </a:gs>
                    <a:gs pos="99000">
                      <a:srgbClr val="000000">
                        <a:alpha val="83000"/>
                      </a:srgbClr>
                    </a:gs>
                  </a:gsLst>
                  <a:lin ang="16200000" scaled="1"/>
                </a:gradFill>
                <a:latin typeface="Segoe UI"/>
                <a:cs typeface="Calibri" panose="020F0502020204030204" pitchFamily="34" charset="0"/>
              </a:rPr>
              <a:t>reduction in password requests after introducing Self-service Single-Sign-On (SSO) wi</a:t>
            </a:r>
            <a:r>
              <a:rPr lang="en-US" sz="3500" dirty="0">
                <a:solidFill>
                  <a:srgbClr val="000000"/>
                </a:solidFill>
                <a:latin typeface="Segoe UI"/>
              </a:rPr>
              <a:t>th </a:t>
            </a:r>
            <a:r>
              <a:rPr lang="en-US" sz="3500" dirty="0">
                <a:solidFill>
                  <a:srgbClr val="000000"/>
                </a:solidFill>
                <a:latin typeface="Segoe UI Semibold"/>
              </a:rPr>
              <a:t>Azure Active Directory </a:t>
            </a:r>
            <a:r>
              <a:rPr lang="en-US" sz="3500" dirty="0">
                <a:solidFill>
                  <a:srgbClr val="000000"/>
                </a:solidFill>
                <a:latin typeface="Segoe UI"/>
              </a:rPr>
              <a:t> 9</a:t>
            </a:r>
          </a:p>
          <a:p>
            <a:pPr marL="496548" indent="-496548" defTabSz="1588953">
              <a:buFont typeface="Arial" panose="020B0604020202020204" pitchFamily="34" charset="0"/>
              <a:buChar char="•"/>
              <a:defRPr/>
            </a:pPr>
            <a:r>
              <a:rPr lang="en-US" sz="3500" dirty="0">
                <a:solidFill>
                  <a:srgbClr val="000000"/>
                </a:solidFill>
                <a:latin typeface="Segoe UI Semibold"/>
              </a:rPr>
              <a:t>$479,000 </a:t>
            </a:r>
            <a:r>
              <a:rPr lang="en-US" sz="35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in human capital freed up by redeploying IT time with </a:t>
            </a:r>
            <a:r>
              <a:rPr lang="en-US" sz="3500" dirty="0">
                <a:solidFill>
                  <a:srgbClr val="000000"/>
                </a:solidFill>
                <a:latin typeface="Segoe UI Semibold"/>
              </a:rPr>
              <a:t>Microsoft Endpoint Manager</a:t>
            </a:r>
            <a:r>
              <a:rPr lang="en-US" sz="35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 10</a:t>
            </a:r>
          </a:p>
          <a:p>
            <a:pPr defTabSz="1588953">
              <a:defRPr/>
            </a:pPr>
            <a:endParaRPr lang="en-US" sz="3500" dirty="0">
              <a:solidFill>
                <a:srgbClr val="000000"/>
              </a:solidFill>
              <a:latin typeface="Segoe UI Semilight" panose="020B0402040204020203" pitchFamily="34" charset="0"/>
              <a:cs typeface="Segoe UI Semilight" panose="020B0402040204020203" pitchFamily="34" charset="0"/>
            </a:endParaRPr>
          </a:p>
          <a:p>
            <a:pPr defTabSz="1588953">
              <a:defRPr/>
            </a:pPr>
            <a:endParaRPr lang="en-US" sz="3500" dirty="0">
              <a:solidFill>
                <a:srgbClr val="000000"/>
              </a:solidFill>
              <a:latin typeface="Segoe UI Semilight" panose="020B0402040204020203" pitchFamily="34" charset="0"/>
              <a:cs typeface="Segoe UI Semilight" panose="020B0402040204020203" pitchFamily="34" charset="0"/>
            </a:endParaRPr>
          </a:p>
          <a:p>
            <a:pPr defTabSz="1588953">
              <a:defRPr/>
            </a:pPr>
            <a:r>
              <a:rPr lang="en-US" sz="3500" dirty="0">
                <a:solidFill>
                  <a:srgbClr val="000000"/>
                </a:solidFill>
                <a:latin typeface="Segoe UI Semilight" panose="020B0402040204020203" pitchFamily="34" charset="0"/>
                <a:cs typeface="Segoe UI Semilight" panose="020B0402040204020203" pitchFamily="34" charset="0"/>
              </a:rPr>
              <a:t>Citations </a:t>
            </a:r>
          </a:p>
          <a:p>
            <a:pPr defTabSz="1234716">
              <a:defRPr/>
            </a:pPr>
            <a:r>
              <a:rPr lang="en-US" sz="3500" kern="0" dirty="0">
                <a:gradFill>
                  <a:gsLst>
                    <a:gs pos="83000">
                      <a:srgbClr val="282828"/>
                    </a:gs>
                    <a:gs pos="100000">
                      <a:srgbClr val="282828"/>
                    </a:gs>
                  </a:gsLst>
                  <a:lin ang="5400000" scaled="1"/>
                </a:gradFill>
                <a:latin typeface="Segoe UI"/>
              </a:rPr>
              <a:t>7 Forrester Consulting, “The Total Economic Impact</a:t>
            </a:r>
            <a:r>
              <a:rPr lang="en-US" sz="3500" dirty="0">
                <a:solidFill>
                  <a:srgbClr val="000000"/>
                </a:solidFill>
                <a:latin typeface="Segoe UI"/>
              </a:rPr>
              <a:t> ™</a:t>
            </a:r>
            <a:r>
              <a:rPr lang="en-US" sz="3500" kern="0" dirty="0">
                <a:gradFill>
                  <a:gsLst>
                    <a:gs pos="83000">
                      <a:srgbClr val="282828"/>
                    </a:gs>
                    <a:gs pos="100000">
                      <a:srgbClr val="282828"/>
                    </a:gs>
                  </a:gsLst>
                  <a:lin ang="5400000" scaled="1"/>
                </a:gradFill>
                <a:latin typeface="Segoe UI"/>
              </a:rPr>
              <a:t> Of Microsoft Azure Network Security” May, 2021, commissioned by Microsoft</a:t>
            </a:r>
          </a:p>
          <a:p>
            <a:pPr defTabSz="1234716">
              <a:defRPr/>
            </a:pPr>
            <a:r>
              <a:rPr lang="en-US" sz="3500" kern="0" dirty="0">
                <a:gradFill>
                  <a:gsLst>
                    <a:gs pos="83000">
                      <a:srgbClr val="282828"/>
                    </a:gs>
                    <a:gs pos="100000">
                      <a:srgbClr val="282828"/>
                    </a:gs>
                  </a:gsLst>
                  <a:lin ang="5400000" scaled="1"/>
                </a:gradFill>
                <a:latin typeface="Segoe UI"/>
              </a:rPr>
              <a:t>8. Forrester Consulting, “The Total Economic Impact</a:t>
            </a:r>
            <a:r>
              <a:rPr lang="en-US" sz="3500" dirty="0">
                <a:solidFill>
                  <a:srgbClr val="000000"/>
                </a:solidFill>
                <a:latin typeface="Segoe UI"/>
              </a:rPr>
              <a:t> ™</a:t>
            </a:r>
            <a:r>
              <a:rPr lang="en-US" sz="3500" kern="0" dirty="0">
                <a:gradFill>
                  <a:gsLst>
                    <a:gs pos="83000">
                      <a:srgbClr val="282828"/>
                    </a:gs>
                    <a:gs pos="100000">
                      <a:srgbClr val="282828"/>
                    </a:gs>
                  </a:gsLst>
                  <a:lin ang="5400000" scaled="1"/>
                </a:gradFill>
                <a:latin typeface="Segoe UI"/>
              </a:rPr>
              <a:t> Of Microsoft Azure Sentinel,” November, 2020, commissioned by Microsoft </a:t>
            </a:r>
          </a:p>
          <a:p>
            <a:pPr defTabSz="1234716">
              <a:defRPr/>
            </a:pPr>
            <a:r>
              <a:rPr lang="en-US" sz="3500" kern="0" dirty="0">
                <a:gradFill>
                  <a:gsLst>
                    <a:gs pos="83000">
                      <a:srgbClr val="282828"/>
                    </a:gs>
                    <a:gs pos="100000">
                      <a:srgbClr val="282828"/>
                    </a:gs>
                  </a:gsLst>
                  <a:lin ang="5400000" scaled="1"/>
                </a:gradFill>
                <a:latin typeface="Segoe UI"/>
              </a:rPr>
              <a:t>9. Forrester Consulting, “</a:t>
            </a:r>
            <a:r>
              <a:rPr lang="en-US" sz="3500" dirty="0">
                <a:solidFill>
                  <a:srgbClr val="000000"/>
                </a:solidFill>
                <a:latin typeface="Segoe UI"/>
              </a:rPr>
              <a:t>The Total Economic Impact™ Of Zero Trust Solutions From Microsoft”, </a:t>
            </a:r>
            <a:r>
              <a:rPr lang="en-US" sz="3500" kern="0" dirty="0">
                <a:gradFill>
                  <a:gsLst>
                    <a:gs pos="83000">
                      <a:srgbClr val="282828"/>
                    </a:gs>
                    <a:gs pos="100000">
                      <a:srgbClr val="282828"/>
                    </a:gs>
                  </a:gsLst>
                  <a:lin ang="5400000" scaled="1"/>
                </a:gradFill>
                <a:latin typeface="Segoe UI"/>
              </a:rPr>
              <a:t>December 2021, commissioned by Microsoft</a:t>
            </a:r>
          </a:p>
          <a:p>
            <a:pPr defTabSz="1234716">
              <a:defRPr/>
            </a:pPr>
            <a:r>
              <a:rPr lang="en-US" sz="3500" kern="0" dirty="0">
                <a:gradFill>
                  <a:gsLst>
                    <a:gs pos="83000">
                      <a:srgbClr val="282828"/>
                    </a:gs>
                    <a:gs pos="100000">
                      <a:srgbClr val="282828"/>
                    </a:gs>
                  </a:gsLst>
                  <a:lin ang="5400000" scaled="1"/>
                </a:gradFill>
                <a:latin typeface="Segoe UI"/>
              </a:rPr>
              <a:t>10. Forrester Consulting, “The Total Economic Impact</a:t>
            </a:r>
            <a:r>
              <a:rPr lang="en-US" sz="3500" dirty="0">
                <a:solidFill>
                  <a:srgbClr val="000000"/>
                </a:solidFill>
                <a:latin typeface="Segoe UI"/>
              </a:rPr>
              <a:t> ™</a:t>
            </a:r>
            <a:r>
              <a:rPr lang="en-US" sz="3500" kern="0" dirty="0">
                <a:gradFill>
                  <a:gsLst>
                    <a:gs pos="83000">
                      <a:srgbClr val="282828"/>
                    </a:gs>
                    <a:gs pos="100000">
                      <a:srgbClr val="282828"/>
                    </a:gs>
                  </a:gsLst>
                  <a:lin ang="5400000" scaled="1"/>
                </a:gradFill>
                <a:latin typeface="Segoe UI"/>
              </a:rPr>
              <a:t> Of Microsoft Endpoint Manager,” April 2021, commissioned by Microsoft </a:t>
            </a:r>
          </a:p>
          <a:p>
            <a:pPr defTabSz="1234716">
              <a:defRPr/>
            </a:pPr>
            <a:endParaRPr lang="en-US" sz="3500" dirty="0">
              <a:solidFill>
                <a:srgbClr val="000000"/>
              </a:soli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defTabSz="33740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2067343" defTabSz="3066172" eaLnBrk="0" hangingPunct="0">
              <a:defRPr/>
            </a:pPr>
            <a:r>
              <a:rPr lang="en-US" sz="1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3374097">
              <a:defRPr/>
            </a:pPr>
            <a:fld id="{38EEC551-8CDA-4EB6-89BB-2A86C9F091C8}" type="datetime8">
              <a:rPr lang="en-US">
                <a:solidFill>
                  <a:prstClr val="black"/>
                </a:solidFill>
                <a:latin typeface="Segoe UI" pitchFamily="34" charset="0"/>
              </a:rPr>
              <a:pPr defTabSz="3374097">
                <a:defRPr/>
              </a:pPr>
              <a:t>8/31/2022 4:33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3374097">
              <a:defRPr/>
            </a:pPr>
            <a:fld id="{B4008EB6-D09E-4580-8CD6-DDB14511944F}" type="slidenum">
              <a:rPr lang="en-US">
                <a:solidFill>
                  <a:prstClr val="black"/>
                </a:solidFill>
                <a:latin typeface="Segoe UI" pitchFamily="34" charset="0"/>
              </a:rPr>
              <a:pPr defTabSz="3374097">
                <a:defRPr/>
              </a:pPr>
              <a:t>13</a:t>
            </a:fld>
            <a:endParaRPr lang="en-US">
              <a:solidFill>
                <a:prstClr val="black"/>
              </a:solidFill>
              <a:latin typeface="Segoe UI" pitchFamily="34" charset="0"/>
            </a:endParaRPr>
          </a:p>
        </p:txBody>
      </p:sp>
    </p:spTree>
    <p:extLst>
      <p:ext uri="{BB962C8B-B14F-4D97-AF65-F5344CB8AC3E}">
        <p14:creationId xmlns:p14="http://schemas.microsoft.com/office/powerpoint/2010/main" val="1488061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1600" b="1" dirty="0"/>
              <a:t>Key slide takeaway</a:t>
            </a:r>
            <a:r>
              <a:rPr lang="en-US" sz="1600" dirty="0"/>
              <a:t>: </a:t>
            </a:r>
            <a:r>
              <a:rPr lang="en-US" sz="1600" dirty="0">
                <a:latin typeface="Segoe UI Light" pitchFamily="34" charset="0"/>
              </a:rPr>
              <a:t>Forrester Consulting “Total Economic Impact” studies show that Microsoft Security helped customers achieve efficiencies and reduce time spent maintaining their security.  </a:t>
            </a:r>
          </a:p>
          <a:p>
            <a:pPr defTabSz="1588953">
              <a:defRPr/>
            </a:pPr>
            <a:endParaRPr lang="en-US" sz="1600" dirty="0">
              <a:solidFill>
                <a:srgbClr val="212121"/>
              </a:solidFill>
              <a:latin typeface="Gartner sans"/>
            </a:endParaRPr>
          </a:p>
          <a:p>
            <a:pPr defTabSz="1588953">
              <a:defRPr/>
            </a:pPr>
            <a:r>
              <a:rPr lang="en-US" sz="1600" b="1" dirty="0"/>
              <a:t>Main points to cover: </a:t>
            </a:r>
            <a:r>
              <a:rPr lang="en-US" sz="1600" dirty="0">
                <a:solidFill>
                  <a:srgbClr val="212121"/>
                </a:solidFill>
                <a:latin typeface="Gartner sans"/>
              </a:rPr>
              <a:t>Microsoft Security can help your organization: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eploy IT time to free up human capital, which can be applied to under-resourced projects</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Save time to deployment with pre-built SIEM content and out-of-the box functionality </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time spent on security policy and compliance management </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password reset requests by enabling self-service</a:t>
            </a:r>
            <a:r>
              <a:rPr lang="en-US" sz="3100" baseline="300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 </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Improve efficiency of network-related IT work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Decrease the time spent on ongoing monitoring and checking indicators of potential suspicious activity</a:t>
            </a:r>
            <a:endParaRPr lang="en-US" sz="1600" dirty="0">
              <a:solidFill>
                <a:srgbClr val="212121"/>
              </a:solidFill>
              <a:latin typeface="Gartner sans"/>
            </a:endParaRPr>
          </a:p>
          <a:p>
            <a:pPr defTabSz="1588953">
              <a:defRPr/>
            </a:pPr>
            <a:endParaRPr lang="en-US" sz="1600" dirty="0">
              <a:solidFill>
                <a:srgbClr val="212121"/>
              </a:solidFill>
              <a:latin typeface="Gartner sans"/>
            </a:endParaRPr>
          </a:p>
          <a:p>
            <a:pPr defTabSz="1588953">
              <a:defRPr/>
            </a:pPr>
            <a:r>
              <a:rPr lang="en-US" sz="1600" dirty="0">
                <a:solidFill>
                  <a:srgbClr val="212121"/>
                </a:solidFill>
                <a:latin typeface="Gartner sans"/>
              </a:rPr>
              <a:t>Citations: </a:t>
            </a:r>
          </a:p>
          <a:p>
            <a:pPr defTabSz="1588953">
              <a:defRPr/>
            </a:pPr>
            <a:r>
              <a:rPr lang="en-US" sz="1600" b="1" i="1" dirty="0">
                <a:solidFill>
                  <a:srgbClr val="FF0000"/>
                </a:solidFill>
              </a:rPr>
              <a:t>[Cloud security p</a:t>
            </a:r>
            <a:r>
              <a:rPr lang="en-US" sz="1600" b="1" i="1" dirty="0">
                <a:latin typeface="Calibri" panose="020F0502020204030204" pitchFamily="34" charset="0"/>
                <a:ea typeface="Calibri" panose="020F0502020204030204" pitchFamily="34" charset="0"/>
              </a:rPr>
              <a:t>roduct name references in the Forrester reports may vary due to the name changes as of Nov 02, 2021]</a:t>
            </a:r>
            <a:endParaRPr lang="en-US" sz="1600" b="1" i="1" dirty="0">
              <a:solidFill>
                <a:srgbClr val="FF0000"/>
              </a:solidFill>
            </a:endParaRPr>
          </a:p>
          <a:p>
            <a:pPr defTabSz="1234716">
              <a:defRPr/>
            </a:pPr>
            <a:r>
              <a:rPr lang="en-US" sz="1400" kern="0" dirty="0">
                <a:gradFill>
                  <a:gsLst>
                    <a:gs pos="83000">
                      <a:srgbClr val="282828"/>
                    </a:gs>
                    <a:gs pos="100000">
                      <a:srgbClr val="282828"/>
                    </a:gs>
                  </a:gsLst>
                  <a:lin ang="5400000" scaled="1"/>
                </a:gradFill>
                <a:latin typeface="Segoe UI"/>
              </a:rPr>
              <a:t>1. Forrester Consulting, “The Total Economic Impact Of Microsoft Endpoint Manager,” April 2021, commissioned by Microsoft </a:t>
            </a:r>
          </a:p>
          <a:p>
            <a:pPr defTabSz="1234716">
              <a:defRPr/>
            </a:pPr>
            <a:r>
              <a:rPr lang="en-US" sz="1400" kern="0" dirty="0">
                <a:gradFill>
                  <a:gsLst>
                    <a:gs pos="83000">
                      <a:srgbClr val="282828"/>
                    </a:gs>
                    <a:gs pos="100000">
                      <a:srgbClr val="282828"/>
                    </a:gs>
                  </a:gsLst>
                  <a:lin ang="5400000" scaled="1"/>
                </a:gradFill>
                <a:latin typeface="Segoe UI"/>
              </a:rPr>
              <a:t>2. Forrester Consulting, “The Total Economic Impact Of Microsoft Azure Sentinel,” November, 2020, commissioned by Microsoft </a:t>
            </a:r>
          </a:p>
          <a:p>
            <a:pPr defTabSz="1234716">
              <a:defRPr/>
            </a:pPr>
            <a:r>
              <a:rPr lang="en-US" sz="1400" kern="0" dirty="0">
                <a:gradFill>
                  <a:gsLst>
                    <a:gs pos="83000">
                      <a:srgbClr val="282828"/>
                    </a:gs>
                    <a:gs pos="100000">
                      <a:srgbClr val="282828"/>
                    </a:gs>
                  </a:gsLst>
                  <a:lin ang="5400000" scaled="1"/>
                </a:gradFill>
                <a:latin typeface="Segoe UI"/>
              </a:rPr>
              <a:t>3. Forrester Consulting, “The Total Economic Impact Of Microsoft Azure Security Center,” June, 2021, commissioned by Microsoft </a:t>
            </a:r>
          </a:p>
          <a:p>
            <a:pPr defTabSz="1234716">
              <a:defRPr/>
            </a:pPr>
            <a:r>
              <a:rPr lang="en-US" sz="1400" kern="0" dirty="0">
                <a:gradFill>
                  <a:gsLst>
                    <a:gs pos="83000">
                      <a:srgbClr val="282828"/>
                    </a:gs>
                    <a:gs pos="100000">
                      <a:srgbClr val="282828"/>
                    </a:gs>
                  </a:gsLst>
                  <a:lin ang="5400000" scaled="1"/>
                </a:gradFill>
                <a:latin typeface="Segoe UI"/>
              </a:rPr>
              <a:t>4. Forrester Consulting, “The Total Economic Impact Of Microsoft Azure Active Directory,” August, 2020, commissioned by Microsoft </a:t>
            </a:r>
          </a:p>
          <a:p>
            <a:pPr defTabSz="1234716">
              <a:defRPr/>
            </a:pPr>
            <a:r>
              <a:rPr lang="en-US" sz="1400" kern="0" dirty="0">
                <a:gradFill>
                  <a:gsLst>
                    <a:gs pos="83000">
                      <a:srgbClr val="282828"/>
                    </a:gs>
                    <a:gs pos="100000">
                      <a:srgbClr val="282828"/>
                    </a:gs>
                  </a:gsLst>
                  <a:lin ang="5400000" scaled="1"/>
                </a:gradFill>
                <a:latin typeface="Segoe UI"/>
              </a:rPr>
              <a:t>5. Forrester Consulting, “The Total Economic Impact Of Microsoft Azure Network Security” May, 2021, commissioned by Microsoft</a:t>
            </a:r>
          </a:p>
          <a:p>
            <a:pPr defTabSz="1234716">
              <a:defRPr/>
            </a:pPr>
            <a:r>
              <a:rPr lang="en-US" sz="1400" kern="0" dirty="0">
                <a:gradFill>
                  <a:gsLst>
                    <a:gs pos="83000">
                      <a:srgbClr val="282828"/>
                    </a:gs>
                    <a:gs pos="100000">
                      <a:srgbClr val="282828"/>
                    </a:gs>
                  </a:gsLst>
                  <a:lin ang="5400000" scaled="1"/>
                </a:gradFill>
                <a:latin typeface="Segoe UI"/>
              </a:rPr>
              <a:t>6. Forrester Consulting, “The Total Economic Impact Of Microsoft 365 E5 Compliance,” February, 2021, commissioned by Microsoft</a:t>
            </a:r>
            <a:endParaRPr lang="en-US" sz="1600" dirty="0">
              <a:latin typeface="Segoe UI Light" pitchFamily="34" charset="0"/>
            </a:endParaRPr>
          </a:p>
          <a:p>
            <a:pPr rtl="0" fontAlgn="base"/>
            <a:endParaRPr lang="en-US" sz="1600" dirty="0">
              <a:latin typeface="Segoe UI Light" pitchFamily="34" charset="0"/>
            </a:endParaRPr>
          </a:p>
          <a:p>
            <a:endParaRPr lang="en-US" dirty="0"/>
          </a:p>
        </p:txBody>
      </p:sp>
      <p:sp>
        <p:nvSpPr>
          <p:cNvPr id="4" name="Header Placeholder 3"/>
          <p:cNvSpPr>
            <a:spLocks noGrp="1"/>
          </p:cNvSpPr>
          <p:nvPr>
            <p:ph type="hdr" sz="quarter"/>
          </p:nvPr>
        </p:nvSpPr>
        <p:spPr/>
        <p:txBody>
          <a:bodyPr/>
          <a:lstStyle/>
          <a:p>
            <a:pPr defTabSz="1588953">
              <a:defRPr/>
            </a:pPr>
            <a:endParaRPr lang="en-US" sz="2100">
              <a:solidFill>
                <a:prstClr val="black"/>
              </a:solidFill>
              <a:latin typeface="Calibri" panose="020F0502020204030204"/>
            </a:endParaRPr>
          </a:p>
        </p:txBody>
      </p:sp>
      <p:sp>
        <p:nvSpPr>
          <p:cNvPr id="5" name="Footer Placeholder 4"/>
          <p:cNvSpPr>
            <a:spLocks noGrp="1"/>
          </p:cNvSpPr>
          <p:nvPr>
            <p:ph type="ftr" sz="quarter" idx="4"/>
          </p:nvPr>
        </p:nvSpPr>
        <p:spPr/>
        <p:txBody>
          <a:bodyPr/>
          <a:lstStyle/>
          <a:p>
            <a:pPr defTabSz="158843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1588953">
              <a:defRPr/>
            </a:pPr>
            <a:fld id="{386CE63F-9E7F-4C04-9D0D-FCA25A8E9E86}" type="datetime8">
              <a:rPr lang="en-US" sz="2100">
                <a:solidFill>
                  <a:prstClr val="black"/>
                </a:solidFill>
                <a:latin typeface="Calibri" panose="020F0502020204030204"/>
              </a:rPr>
              <a:pPr defTabSz="1588953">
                <a:defRPr/>
              </a:pPr>
              <a:t>8/31/2022 4:33 PM</a:t>
            </a:fld>
            <a:endParaRPr lang="en-US" sz="2100">
              <a:solidFill>
                <a:prstClr val="black"/>
              </a:solidFill>
              <a:latin typeface="Calibri" panose="020F0502020204030204"/>
            </a:endParaRPr>
          </a:p>
        </p:txBody>
      </p:sp>
      <p:sp>
        <p:nvSpPr>
          <p:cNvPr id="7" name="Slide Number Placeholder 6"/>
          <p:cNvSpPr>
            <a:spLocks noGrp="1"/>
          </p:cNvSpPr>
          <p:nvPr>
            <p:ph type="sldNum" sz="quarter" idx="5"/>
          </p:nvPr>
        </p:nvSpPr>
        <p:spPr/>
        <p:txBody>
          <a:bodyPr/>
          <a:lstStyle/>
          <a:p>
            <a:pPr defTabSz="1588953">
              <a:defRPr/>
            </a:pPr>
            <a:fld id="{B4008EB6-D09E-4580-8CD6-DDB14511944F}" type="slidenum">
              <a:rPr lang="en-US" sz="2100">
                <a:solidFill>
                  <a:prstClr val="black"/>
                </a:solidFill>
                <a:latin typeface="Calibri" panose="020F0502020204030204"/>
              </a:rPr>
              <a:pPr defTabSz="1588953">
                <a:defRPr/>
              </a:pPr>
              <a:t>14</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23109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b="1"/>
              <a:t>Key slide takeaway</a:t>
            </a:r>
            <a:r>
              <a:rPr lang="en-US" sz="2100"/>
              <a:t>: Today we’re going to talk about how Microsoft Security can help your organization do more with less with Microsoft Security. </a:t>
            </a:r>
          </a:p>
        </p:txBody>
      </p:sp>
      <p:sp>
        <p:nvSpPr>
          <p:cNvPr id="4" name="Header Placeholder 3"/>
          <p:cNvSpPr>
            <a:spLocks noGrp="1"/>
          </p:cNvSpPr>
          <p:nvPr>
            <p:ph type="hdr" sz="quarter" idx="10"/>
          </p:nvPr>
        </p:nvSpPr>
        <p:spPr/>
        <p:txBody>
          <a:bodyPr/>
          <a:lstStyle/>
          <a:p>
            <a:pPr defTabSz="1620826">
              <a:defRPr/>
            </a:pPr>
            <a:endParaRPr lang="en-US" sz="210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1011965" defTabSz="161861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620826">
              <a:defRPr/>
            </a:pPr>
            <a:fld id="{38EEC551-8CDA-4EB6-89BB-2A86C9F091C8}" type="datetime8">
              <a:rPr lang="en-US" sz="2100">
                <a:solidFill>
                  <a:prstClr val="black"/>
                </a:solidFill>
                <a:latin typeface="Segoe UI" pitchFamily="34" charset="0"/>
              </a:rPr>
              <a:pPr defTabSz="1620826">
                <a:defRPr/>
              </a:pPr>
              <a:t>8/31/2022 4:33 PM</a:t>
            </a:fld>
            <a:endParaRPr lang="en-US" sz="210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1620826">
              <a:defRPr/>
            </a:pPr>
            <a:fld id="{B4008EB6-D09E-4580-8CD6-DDB14511944F}" type="slidenum">
              <a:rPr lang="en-US" sz="2100">
                <a:solidFill>
                  <a:prstClr val="black"/>
                </a:solidFill>
                <a:latin typeface="Segoe UI" pitchFamily="34" charset="0"/>
              </a:rPr>
              <a:pPr defTabSz="1620826">
                <a:defRPr/>
              </a:pPr>
              <a:t>15</a:t>
            </a:fld>
            <a:endParaRPr lang="en-US" sz="2100">
              <a:solidFill>
                <a:prstClr val="black"/>
              </a:solidFill>
              <a:latin typeface="Segoe UI" pitchFamily="34" charset="0"/>
            </a:endParaRPr>
          </a:p>
        </p:txBody>
      </p:sp>
    </p:spTree>
    <p:extLst>
      <p:ext uri="{BB962C8B-B14F-4D97-AF65-F5344CB8AC3E}">
        <p14:creationId xmlns:p14="http://schemas.microsoft.com/office/powerpoint/2010/main" val="26304485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1600" b="1" dirty="0"/>
              <a:t>Key slide takeaway</a:t>
            </a:r>
            <a:r>
              <a:rPr lang="en-US" sz="1600" dirty="0"/>
              <a:t>: Organizations of every size can achieve sizable cost savings across five categories – vendor license consolidation, IT administration and deployment savings, reducing the total cost of risk, saving on automation and process improvements, and moving SIEM expenses from Capex to </a:t>
            </a:r>
            <a:r>
              <a:rPr lang="en-US" sz="1600" dirty="0" err="1"/>
              <a:t>Opex</a:t>
            </a:r>
            <a:r>
              <a:rPr lang="en-US" sz="1600" dirty="0"/>
              <a:t>. </a:t>
            </a:r>
          </a:p>
          <a:p>
            <a:pPr defTabSz="1588953">
              <a:defRPr/>
            </a:pPr>
            <a:endParaRPr lang="en-US" sz="1600" b="1" dirty="0"/>
          </a:p>
          <a:p>
            <a:pPr defTabSz="1588953">
              <a:defRPr/>
            </a:pPr>
            <a:r>
              <a:rPr lang="en-US" sz="1600" b="1" dirty="0"/>
              <a:t>Main points to cover: </a:t>
            </a:r>
          </a:p>
          <a:p>
            <a:pPr marL="297929" indent="-297929" defTabSz="1588953">
              <a:buFont typeface="Arial" panose="020B0604020202020204" pitchFamily="34" charset="0"/>
              <a:buChar char="•"/>
              <a:defRPr/>
            </a:pPr>
            <a:r>
              <a:rPr lang="en-US" sz="1600" dirty="0">
                <a:solidFill>
                  <a:srgbClr val="000000"/>
                </a:solidFill>
                <a:latin typeface="Segoe UI"/>
              </a:rPr>
              <a:t>Savings shown are rounded estimates based on commissioned Forrester TEI studies and the Microsoft Value calculator, and illustrate first year costs for 20,000, 10,000 and 5,000 employee organizations licensing Microsoft 365 E5 Security and Microsoft 365 E5 Compliance, with Microsoft Sentinel 500 GB daily log absorption. </a:t>
            </a:r>
            <a:endParaRPr lang="en-US" sz="1600" dirty="0">
              <a:latin typeface="Segoe UI Light" pitchFamily="34" charset="0"/>
            </a:endParaRPr>
          </a:p>
          <a:p>
            <a:pPr marL="297929" indent="-297929" defTabSz="1588953">
              <a:buFont typeface="Arial" panose="020B0604020202020204" pitchFamily="34" charset="0"/>
              <a:buChar char="•"/>
              <a:defRPr/>
            </a:pPr>
            <a:r>
              <a:rPr lang="en-US" sz="1600" dirty="0">
                <a:latin typeface="Segoe UI Light" pitchFamily="34" charset="0"/>
              </a:rPr>
              <a:t>Our cost savings are different for every customer based upon their size, deployment schedule, cloud adoption maturity, &amp; software landscape, etc. </a:t>
            </a:r>
          </a:p>
          <a:p>
            <a:pPr marL="297929" indent="-297929" defTabSz="1588953">
              <a:buFont typeface="Arial" panose="020B0604020202020204" pitchFamily="34" charset="0"/>
              <a:buChar char="•"/>
              <a:defRPr/>
            </a:pPr>
            <a:r>
              <a:rPr lang="en-US" sz="1600" dirty="0">
                <a:latin typeface="Segoe UI Light" pitchFamily="34" charset="0"/>
              </a:rPr>
              <a:t>We have the tools, to help you to understand exactly what these costs are, across these cost savings buckets, based upon your specific company criteria. </a:t>
            </a:r>
            <a:endParaRPr lang="en-US" sz="1600" dirty="0">
              <a:solidFill>
                <a:srgbClr val="000000"/>
              </a:solidFill>
              <a:latin typeface="Segoe UI"/>
            </a:endParaRPr>
          </a:p>
          <a:p>
            <a:pPr defTabSz="1588953">
              <a:defRPr/>
            </a:pPr>
            <a:endParaRPr lang="en-US" sz="1600" dirty="0">
              <a:solidFill>
                <a:srgbClr val="212121"/>
              </a:solidFill>
              <a:latin typeface="Gartner sans"/>
            </a:endParaRPr>
          </a:p>
          <a:p>
            <a:pPr defTabSz="1588953">
              <a:defRPr/>
            </a:pPr>
            <a:endParaRPr lang="en-US" sz="1600" dirty="0">
              <a:solidFill>
                <a:srgbClr val="212121"/>
              </a:solidFill>
              <a:latin typeface="Gartner sans"/>
            </a:endParaRPr>
          </a:p>
          <a:p>
            <a:pPr defTabSz="1588953">
              <a:defRPr/>
            </a:pPr>
            <a:r>
              <a:rPr lang="en-US" sz="1600" dirty="0">
                <a:solidFill>
                  <a:srgbClr val="212121"/>
                </a:solidFill>
                <a:latin typeface="Gartner sans"/>
              </a:rPr>
              <a:t>Citations: </a:t>
            </a:r>
            <a:br>
              <a:rPr lang="en-US" altLang="ja-JP" sz="1400" dirty="0">
                <a:solidFill>
                  <a:srgbClr val="75757A"/>
                </a:solidFill>
                <a:latin typeface="Segoe UI" panose="020B0502040204020203" pitchFamily="34" charset="0"/>
              </a:rPr>
            </a:br>
            <a:r>
              <a:rPr lang="en-US" sz="1400" dirty="0">
                <a:solidFill>
                  <a:srgbClr val="75757A"/>
                </a:solidFill>
                <a:latin typeface="Segoe UI" panose="020B0502040204020203" pitchFamily="34" charset="0"/>
              </a:rPr>
              <a:t>*Moving from upfront Capital Expenditures to Operational Expenditure for easier Cash Flow</a:t>
            </a:r>
            <a:endParaRPr lang="en-US" sz="1400" dirty="0">
              <a:solidFill>
                <a:srgbClr val="737373"/>
              </a:solidFill>
              <a:latin typeface="Segoe UI"/>
            </a:endParaRPr>
          </a:p>
          <a:p>
            <a:pPr marL="102067" defTabSz="1620357" fontAlgn="base">
              <a:spcBef>
                <a:spcPts val="348"/>
              </a:spcBef>
              <a:spcAft>
                <a:spcPts val="348"/>
              </a:spcAft>
              <a:defRPr/>
            </a:pPr>
            <a:endParaRPr lang="en-US" sz="1600" b="1" dirty="0">
              <a:latin typeface="Segoe UI Light" pitchFamily="34" charset="0"/>
            </a:endParaRPr>
          </a:p>
        </p:txBody>
      </p:sp>
      <p:sp>
        <p:nvSpPr>
          <p:cNvPr id="4" name="Slide Number Placeholder 3"/>
          <p:cNvSpPr>
            <a:spLocks noGrp="1"/>
          </p:cNvSpPr>
          <p:nvPr>
            <p:ph type="sldNum" sz="quarter" idx="5"/>
          </p:nvPr>
        </p:nvSpPr>
        <p:spPr/>
        <p:txBody>
          <a:bodyPr/>
          <a:lstStyle/>
          <a:p>
            <a:pPr defTabSz="1588953">
              <a:defRPr/>
            </a:pPr>
            <a:fld id="{5F2D3714-B553-A044-BA72-366907BA36B5}" type="slidenum">
              <a:rPr lang="en-US" sz="2100">
                <a:solidFill>
                  <a:prstClr val="black"/>
                </a:solidFill>
                <a:latin typeface="Calibri" panose="020F0502020204030204"/>
              </a:rPr>
              <a:pPr defTabSz="1588953">
                <a:defRPr/>
              </a:pPr>
              <a:t>16</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3826651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2100" b="1" dirty="0"/>
              <a:t>Key slide takeaway</a:t>
            </a:r>
            <a:r>
              <a:rPr lang="en-US" sz="2100" dirty="0"/>
              <a:t>: Organizations of every size can achieve sizable cost savings through vendor consolidation, reducing IT administration and deployment expenditures, and moving SIEM expenses from Capex to </a:t>
            </a:r>
            <a:r>
              <a:rPr lang="en-US" sz="2100" dirty="0" err="1"/>
              <a:t>Opex</a:t>
            </a:r>
            <a:r>
              <a:rPr lang="en-US" sz="2100" dirty="0"/>
              <a:t>. </a:t>
            </a:r>
          </a:p>
          <a:p>
            <a:pPr defTabSz="1588953">
              <a:defRPr/>
            </a:pPr>
            <a:endParaRPr lang="en-US" sz="2100" b="1" dirty="0"/>
          </a:p>
          <a:p>
            <a:pPr defTabSz="1588953">
              <a:defRPr/>
            </a:pPr>
            <a:r>
              <a:rPr lang="en-US" sz="2100" b="1" dirty="0"/>
              <a:t>Main points to cover: </a:t>
            </a:r>
          </a:p>
          <a:p>
            <a:pPr marL="297929" indent="-297929" defTabSz="1588953">
              <a:buFont typeface="Arial" panose="020B0604020202020204" pitchFamily="34" charset="0"/>
              <a:buChar char="•"/>
              <a:defRPr/>
            </a:pPr>
            <a:r>
              <a:rPr lang="en-US" sz="2100" dirty="0">
                <a:solidFill>
                  <a:srgbClr val="000000"/>
                </a:solidFill>
                <a:latin typeface="Segoe UI"/>
              </a:rPr>
              <a:t>Savings shown are rounded estimates based on commissioned Forrester TEI studies and the Microsoft Value calculator, and illustrate annual costs for 20,000, 10,000 and 5,000 employee organizations licensing Microsoft 365 E5 Security and Microsoft 365 E5 Compliance, with Microsoft Sentinel 500 GB daily log absorption. </a:t>
            </a:r>
            <a:endParaRPr lang="en-US" sz="2100" dirty="0">
              <a:latin typeface="Segoe UI Light" pitchFamily="34" charset="0"/>
            </a:endParaRPr>
          </a:p>
          <a:p>
            <a:pPr marL="297929" indent="-297929" defTabSz="1588953">
              <a:buFont typeface="Arial" panose="020B0604020202020204" pitchFamily="34" charset="0"/>
              <a:buChar char="•"/>
              <a:defRPr/>
            </a:pPr>
            <a:r>
              <a:rPr lang="en-US" sz="2100" dirty="0">
                <a:latin typeface="Segoe UI Light" pitchFamily="34" charset="0"/>
              </a:rPr>
              <a:t>Cost savings are different for every customer based upon their size, deployment schedule, cloud adoption maturity, &amp; software landscape, etc. </a:t>
            </a:r>
          </a:p>
          <a:p>
            <a:pPr marL="297929" indent="-297929" defTabSz="1588953">
              <a:buFont typeface="Arial" panose="020B0604020202020204" pitchFamily="34" charset="0"/>
              <a:buChar char="•"/>
              <a:defRPr/>
            </a:pPr>
            <a:r>
              <a:rPr lang="en-US" sz="2100" dirty="0">
                <a:latin typeface="Segoe UI Light" pitchFamily="34" charset="0"/>
              </a:rPr>
              <a:t>We have the tools to help you to understand exactly what these costs are, across these cost savings buckets, based upon your specific company criteria. </a:t>
            </a:r>
            <a:endParaRPr lang="en-US" sz="2100" dirty="0">
              <a:solidFill>
                <a:srgbClr val="000000"/>
              </a:solidFill>
              <a:latin typeface="Segoe UI"/>
            </a:endParaRPr>
          </a:p>
          <a:p>
            <a:pPr defTabSz="1588953">
              <a:defRPr/>
            </a:pPr>
            <a:r>
              <a:rPr lang="en-US" sz="2100" dirty="0">
                <a:hlinkClick r:id="rId3"/>
              </a:rPr>
              <a:t>Microsoft Value Calculator</a:t>
            </a:r>
            <a:endParaRPr lang="en-US" sz="2100" dirty="0"/>
          </a:p>
          <a:p>
            <a:pPr defTabSz="1588953">
              <a:defRPr/>
            </a:pPr>
            <a:endParaRPr lang="en-US" sz="2100" dirty="0">
              <a:solidFill>
                <a:srgbClr val="75757A"/>
              </a:solidFill>
              <a:latin typeface="Segoe UI" panose="020B0502040204020203" pitchFamily="34" charset="0"/>
            </a:endParaRPr>
          </a:p>
          <a:p>
            <a:pPr defTabSz="1588953">
              <a:defRPr/>
            </a:pPr>
            <a:r>
              <a:rPr lang="en-US" sz="2100" dirty="0">
                <a:solidFill>
                  <a:srgbClr val="75757A"/>
                </a:solidFill>
                <a:latin typeface="Segoe UI" panose="020B0502040204020203" pitchFamily="34" charset="0"/>
              </a:rPr>
              <a:t>Citations: </a:t>
            </a:r>
          </a:p>
          <a:p>
            <a:pPr defTabSz="1620826">
              <a:spcBef>
                <a:spcPct val="20000"/>
              </a:spcBef>
              <a:buSzPct val="90000"/>
              <a:defRPr/>
            </a:pPr>
            <a:r>
              <a:rPr lang="en-US" sz="2100" dirty="0">
                <a:solidFill>
                  <a:srgbClr val="000000"/>
                </a:solidFill>
                <a:latin typeface="Segoe UI"/>
              </a:rPr>
              <a:t>*Moving from upfront Capital Expenditures to Operational Expenditure for easier Cash Flow</a:t>
            </a:r>
          </a:p>
          <a:p>
            <a:pPr defTabSz="1620826">
              <a:spcBef>
                <a:spcPct val="20000"/>
              </a:spcBef>
              <a:buSzPct val="90000"/>
              <a:defRPr/>
            </a:pPr>
            <a:r>
              <a:rPr lang="en-US" sz="2100" dirty="0">
                <a:solidFill>
                  <a:srgbClr val="000000"/>
                </a:solidFill>
                <a:latin typeface="Segoe UI"/>
              </a:rPr>
              <a:t>Rounded estimates based on commissioned Forrester TEI studies and Microsoft Value calculator and illustrate annual costs for a 20,000, 10,000 and 5,000 employee organizations with Azure Sentinel 500 GB daily log absorption. C</a:t>
            </a:r>
            <a:r>
              <a:rPr lang="en-US" altLang="ja-JP" sz="2100" dirty="0">
                <a:solidFill>
                  <a:srgbClr val="000000"/>
                </a:solidFill>
                <a:latin typeface="Segoe UI"/>
                <a:cs typeface="Segoe UI"/>
              </a:rPr>
              <a:t>ontact your Microsoft representative for estimates for your organization. </a:t>
            </a:r>
            <a:endParaRPr lang="en-US" sz="2100" dirty="0">
              <a:solidFill>
                <a:srgbClr val="000000"/>
              </a:solidFill>
              <a:latin typeface="Segoe UI"/>
            </a:endParaRPr>
          </a:p>
          <a:p>
            <a:pPr defTabSz="1620826">
              <a:spcBef>
                <a:spcPct val="20000"/>
              </a:spcBef>
              <a:buSzPct val="90000"/>
              <a:defRPr/>
            </a:pPr>
            <a:endParaRPr lang="en-US" sz="2100" dirty="0">
              <a:solidFill>
                <a:srgbClr val="000000"/>
              </a:solidFill>
              <a:latin typeface="Segoe UI"/>
            </a:endParaRPr>
          </a:p>
          <a:p>
            <a:pPr defTabSz="1588953">
              <a:defRPr/>
            </a:pPr>
            <a:endParaRPr lang="en-US" sz="1600" dirty="0">
              <a:solidFill>
                <a:srgbClr val="75757A"/>
              </a:solidFill>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1588953">
              <a:defRPr/>
            </a:pPr>
            <a:fld id="{5F2D3714-B553-A044-BA72-366907BA36B5}" type="slidenum">
              <a:rPr lang="en-US" sz="2100">
                <a:solidFill>
                  <a:prstClr val="black"/>
                </a:solidFill>
                <a:latin typeface="Calibri" panose="020F0502020204030204"/>
              </a:rPr>
              <a:pPr defTabSz="1588953">
                <a:defRPr/>
              </a:pPr>
              <a:t>17</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3960361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2100" b="1"/>
              <a:t>Key slide takeaway</a:t>
            </a:r>
            <a:r>
              <a:rPr lang="en-US" sz="2100"/>
              <a:t>: Organizations of every size can achieve sizable cost savings, including reducing the cost of risk and saving on automation and process improvements. </a:t>
            </a:r>
          </a:p>
          <a:p>
            <a:pPr defTabSz="1588953">
              <a:defRPr/>
            </a:pPr>
            <a:endParaRPr lang="en-US" sz="2100" b="1"/>
          </a:p>
          <a:p>
            <a:pPr defTabSz="1588953">
              <a:defRPr/>
            </a:pPr>
            <a:r>
              <a:rPr lang="en-US" sz="2100" b="1"/>
              <a:t>Main points to cover: </a:t>
            </a:r>
          </a:p>
          <a:p>
            <a:pPr marL="297929" indent="-297929" defTabSz="1588953">
              <a:buFont typeface="Arial" panose="020B0604020202020204" pitchFamily="34" charset="0"/>
              <a:buChar char="•"/>
              <a:defRPr/>
            </a:pPr>
            <a:r>
              <a:rPr lang="en-US" sz="2100">
                <a:solidFill>
                  <a:srgbClr val="000000"/>
                </a:solidFill>
                <a:latin typeface="Segoe UI"/>
              </a:rPr>
              <a:t>Savings shown are rounded estimates based on commissioned Forrester TEI studies and the Microsoft Value calculator, and illustrate annual costs for 20,000, 10,000 and 5,000 employee organizations licensing Microsoft 365 E5 Security and Microsoft 365 E5 Compliance, with Microsoft Sentinel 500 GB daily log absorption. </a:t>
            </a:r>
            <a:endParaRPr lang="en-US" sz="2100">
              <a:latin typeface="Segoe UI Light" pitchFamily="34" charset="0"/>
            </a:endParaRPr>
          </a:p>
          <a:p>
            <a:pPr marL="297929" indent="-297929" defTabSz="1588953">
              <a:buFont typeface="Arial" panose="020B0604020202020204" pitchFamily="34" charset="0"/>
              <a:buChar char="•"/>
              <a:defRPr/>
            </a:pPr>
            <a:r>
              <a:rPr lang="en-US" sz="2100">
                <a:latin typeface="Segoe UI Light" pitchFamily="34" charset="0"/>
              </a:rPr>
              <a:t>Cost savings are different for every customer based upon their size, deployment schedule, cloud adoption maturity, &amp; software landscape, etc. </a:t>
            </a:r>
          </a:p>
          <a:p>
            <a:pPr marL="297929" indent="-297929" defTabSz="1588953">
              <a:buFont typeface="Arial" panose="020B0604020202020204" pitchFamily="34" charset="0"/>
              <a:buChar char="•"/>
              <a:defRPr/>
            </a:pPr>
            <a:r>
              <a:rPr lang="en-US" sz="2100">
                <a:latin typeface="Segoe UI Light" pitchFamily="34" charset="0"/>
              </a:rPr>
              <a:t>We have the tools to help you to understand exactly what these costs are, across these cost savings buckets, based upon your specific company criteria. </a:t>
            </a:r>
            <a:endParaRPr lang="en-US" sz="2100">
              <a:solidFill>
                <a:srgbClr val="000000"/>
              </a:solidFill>
              <a:latin typeface="Segoe UI"/>
            </a:endParaRPr>
          </a:p>
          <a:p>
            <a:pPr defTabSz="1588953">
              <a:defRPr/>
            </a:pPr>
            <a:r>
              <a:rPr lang="en-US" sz="2100">
                <a:hlinkClick r:id="rId3"/>
              </a:rPr>
              <a:t>Microsoft Value Calculator</a:t>
            </a:r>
            <a:endParaRPr lang="en-US" sz="2100"/>
          </a:p>
          <a:p>
            <a:pPr defTabSz="1588953">
              <a:defRPr/>
            </a:pPr>
            <a:endParaRPr lang="en-US" sz="2100"/>
          </a:p>
          <a:p>
            <a:pPr defTabSz="1588953">
              <a:defRPr/>
            </a:pPr>
            <a:r>
              <a:rPr lang="en-US" sz="2100">
                <a:solidFill>
                  <a:srgbClr val="75757A"/>
                </a:solidFill>
                <a:latin typeface="Segoe UI" panose="020B0502040204020203" pitchFamily="34" charset="0"/>
              </a:rPr>
              <a:t>Citations: </a:t>
            </a:r>
          </a:p>
          <a:p>
            <a:pPr defTabSz="1620826">
              <a:spcBef>
                <a:spcPct val="20000"/>
              </a:spcBef>
              <a:buSzPct val="90000"/>
              <a:defRPr/>
            </a:pPr>
            <a:r>
              <a:rPr lang="en-US" sz="2100">
                <a:solidFill>
                  <a:srgbClr val="000000"/>
                </a:solidFill>
                <a:latin typeface="Segoe UI"/>
              </a:rPr>
              <a:t>Rounded estimates based on commissioned Forrester TEI studies and Microsoft Value calculator and illustrate annual costs for a 20,000, 10,000 and 5,000 employee organizations with Azure Sentinel 500 GB daily log absorption. C</a:t>
            </a:r>
            <a:r>
              <a:rPr lang="en-US" altLang="ja-JP" sz="2100">
                <a:solidFill>
                  <a:srgbClr val="000000"/>
                </a:solidFill>
                <a:latin typeface="Segoe UI"/>
                <a:cs typeface="Segoe UI"/>
              </a:rPr>
              <a:t>ontact your Microsoft representative for estimates for your organization. </a:t>
            </a:r>
            <a:endParaRPr lang="en-US" sz="2100">
              <a:solidFill>
                <a:srgbClr val="000000"/>
              </a:solidFill>
              <a:latin typeface="Segoe UI"/>
            </a:endParaRPr>
          </a:p>
          <a:p>
            <a:pPr defTabSz="1588953">
              <a:defRPr/>
            </a:pPr>
            <a:endParaRPr lang="en-US" sz="1900"/>
          </a:p>
        </p:txBody>
      </p:sp>
      <p:sp>
        <p:nvSpPr>
          <p:cNvPr id="4" name="Slide Number Placeholder 3"/>
          <p:cNvSpPr>
            <a:spLocks noGrp="1"/>
          </p:cNvSpPr>
          <p:nvPr>
            <p:ph type="sldNum" sz="quarter" idx="5"/>
          </p:nvPr>
        </p:nvSpPr>
        <p:spPr/>
        <p:txBody>
          <a:bodyPr/>
          <a:lstStyle/>
          <a:p>
            <a:pPr defTabSz="1588953">
              <a:defRPr/>
            </a:pPr>
            <a:fld id="{5F2D3714-B553-A044-BA72-366907BA36B5}" type="slidenum">
              <a:rPr lang="en-US" sz="2100">
                <a:solidFill>
                  <a:prstClr val="black"/>
                </a:solidFill>
                <a:latin typeface="Calibri" panose="020F0502020204030204"/>
              </a:rPr>
              <a:pPr defTabSz="1588953">
                <a:defRPr/>
              </a:pPr>
              <a:t>18</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4054866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1600" b="1" dirty="0"/>
              <a:t>Key slide takeaway</a:t>
            </a:r>
            <a:r>
              <a:rPr lang="en-US" sz="1600" dirty="0"/>
              <a:t>: Organizations of every size can achieve sizable cost savings, including reducing IT and administration efforts and saving on automation and process improvements. </a:t>
            </a:r>
          </a:p>
          <a:p>
            <a:pPr defTabSz="1588953">
              <a:defRPr/>
            </a:pPr>
            <a:endParaRPr lang="en-US" sz="1600" b="1" dirty="0"/>
          </a:p>
          <a:p>
            <a:pPr defTabSz="1588953">
              <a:defRPr/>
            </a:pPr>
            <a:r>
              <a:rPr lang="en-US" sz="1600" b="1" dirty="0"/>
              <a:t>Main points to cover: </a:t>
            </a:r>
          </a:p>
          <a:p>
            <a:pPr marL="297929" indent="-297929" defTabSz="1588953">
              <a:buFont typeface="Arial" panose="020B0604020202020204" pitchFamily="34" charset="0"/>
              <a:buChar char="•"/>
              <a:defRPr/>
            </a:pPr>
            <a:r>
              <a:rPr lang="en-US" sz="1600" dirty="0">
                <a:solidFill>
                  <a:srgbClr val="000000"/>
                </a:solidFill>
                <a:latin typeface="Segoe UI"/>
              </a:rPr>
              <a:t>Savings shown are rounded estimates based on commissioned Forrester TEI studies and the Microsoft Value calculator, and illustrate annual costs for 20,000, 10,000 and 5,000 employee organizations licensing Microsoft 365 E5 Security and Microsoft 365 E5 Compliance, with Microsoft Sentinel 500 GB daily log absorption. </a:t>
            </a:r>
            <a:endParaRPr lang="en-US" sz="1600" dirty="0">
              <a:latin typeface="Segoe UI Light" pitchFamily="34" charset="0"/>
            </a:endParaRPr>
          </a:p>
          <a:p>
            <a:pPr marL="297929" indent="-297929" defTabSz="1588953">
              <a:buFont typeface="Arial" panose="020B0604020202020204" pitchFamily="34" charset="0"/>
              <a:buChar char="•"/>
              <a:defRPr/>
            </a:pPr>
            <a:r>
              <a:rPr lang="en-US" sz="1600" dirty="0">
                <a:latin typeface="Segoe UI Light" pitchFamily="34" charset="0"/>
              </a:rPr>
              <a:t>Cost savings are different for every customer based upon their size, deployment schedule, cloud adoption maturity, &amp; software landscape, etc. </a:t>
            </a:r>
          </a:p>
          <a:p>
            <a:pPr marL="297929" indent="-297929" defTabSz="1588953">
              <a:buFont typeface="Arial" panose="020B0604020202020204" pitchFamily="34" charset="0"/>
              <a:buChar char="•"/>
              <a:defRPr/>
            </a:pPr>
            <a:r>
              <a:rPr lang="en-US" sz="1600" dirty="0">
                <a:latin typeface="Segoe UI Light" pitchFamily="34" charset="0"/>
              </a:rPr>
              <a:t>We have the tools to help you to understand exactly what these costs are, across these cost savings buckets, based upon your specific company criteria. </a:t>
            </a:r>
            <a:endParaRPr lang="en-US" sz="1600" dirty="0">
              <a:solidFill>
                <a:srgbClr val="000000"/>
              </a:solidFill>
              <a:latin typeface="Segoe UI"/>
            </a:endParaRPr>
          </a:p>
          <a:p>
            <a:pPr defTabSz="1588953">
              <a:defRPr/>
            </a:pPr>
            <a:r>
              <a:rPr lang="en-US" sz="1900" dirty="0">
                <a:hlinkClick r:id="rId3"/>
              </a:rPr>
              <a:t>Microsoft Value Calculator</a:t>
            </a:r>
            <a:endParaRPr lang="en-US" sz="1900" dirty="0"/>
          </a:p>
          <a:p>
            <a:pPr defTabSz="1588953">
              <a:defRPr/>
            </a:pPr>
            <a:endParaRPr lang="en-US" sz="1900" dirty="0"/>
          </a:p>
          <a:p>
            <a:pPr defTabSz="1588953">
              <a:defRPr/>
            </a:pPr>
            <a:r>
              <a:rPr lang="en-US" sz="1900" dirty="0">
                <a:solidFill>
                  <a:srgbClr val="75757A"/>
                </a:solidFill>
                <a:latin typeface="Segoe UI" panose="020B0502040204020203" pitchFamily="34" charset="0"/>
              </a:rPr>
              <a:t>Citations: </a:t>
            </a:r>
          </a:p>
          <a:p>
            <a:pPr defTabSz="1588953">
              <a:defRPr/>
            </a:pPr>
            <a:r>
              <a:rPr lang="en-US" sz="1900" dirty="0">
                <a:solidFill>
                  <a:srgbClr val="000000"/>
                </a:solidFill>
                <a:latin typeface="Segoe UI"/>
              </a:rPr>
              <a:t>Rounded estimates based on commissioned Forrester TEI studies and Microsoft Value calculator and illustrate annual costs for a 20,000, 10,000 and 5,000 employee organizations with Azure Sentinel 500 GB daily log absorption. C</a:t>
            </a:r>
            <a:r>
              <a:rPr lang="en-US" altLang="ja-JP" sz="1900" dirty="0">
                <a:solidFill>
                  <a:srgbClr val="000000"/>
                </a:solidFill>
                <a:latin typeface="Segoe UI"/>
                <a:cs typeface="Segoe UI"/>
              </a:rPr>
              <a:t>ontact your Microsoft representative for estimates for your organization. </a:t>
            </a:r>
            <a:endParaRPr lang="en-US" sz="1900" dirty="0">
              <a:solidFill>
                <a:srgbClr val="000000"/>
              </a:solidFill>
              <a:latin typeface="Segoe UI"/>
            </a:endParaRPr>
          </a:p>
          <a:p>
            <a:pPr defTabSz="1588953">
              <a:defRPr/>
            </a:pPr>
            <a:endParaRPr lang="en-US" sz="1900" dirty="0"/>
          </a:p>
        </p:txBody>
      </p:sp>
      <p:sp>
        <p:nvSpPr>
          <p:cNvPr id="4" name="Slide Number Placeholder 3"/>
          <p:cNvSpPr>
            <a:spLocks noGrp="1"/>
          </p:cNvSpPr>
          <p:nvPr>
            <p:ph type="sldNum" sz="quarter" idx="5"/>
          </p:nvPr>
        </p:nvSpPr>
        <p:spPr/>
        <p:txBody>
          <a:bodyPr/>
          <a:lstStyle/>
          <a:p>
            <a:pPr defTabSz="1588953">
              <a:defRPr/>
            </a:pPr>
            <a:fld id="{5F2D3714-B553-A044-BA72-366907BA36B5}" type="slidenum">
              <a:rPr lang="en-US" sz="2100">
                <a:solidFill>
                  <a:prstClr val="black"/>
                </a:solidFill>
                <a:latin typeface="Calibri" panose="020F0502020204030204"/>
              </a:rPr>
              <a:pPr defTabSz="1588953">
                <a:defRPr/>
              </a:pPr>
              <a:t>19</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2458172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2100" b="1" dirty="0"/>
              <a:t>Key slide takeaway</a:t>
            </a:r>
            <a:r>
              <a:rPr lang="en-US" sz="2100" dirty="0"/>
              <a:t>: </a:t>
            </a:r>
            <a:r>
              <a:rPr lang="en-US" sz="2100" dirty="0">
                <a:latin typeface="+mj-lt"/>
                <a:cs typeface="Segoe UI" pitchFamily="34" charset="0"/>
              </a:rPr>
              <a:t>CISOs are under pressure to contain costs from their boards. </a:t>
            </a:r>
            <a:r>
              <a:rPr lang="en-US" sz="2100" dirty="0"/>
              <a:t>Security costs are rising as security breaches and threats multiply, and meanwhile companies are being asked to “do more with less.” </a:t>
            </a:r>
            <a:endParaRPr lang="en-US" sz="2100" dirty="0">
              <a:latin typeface="+mj-lt"/>
              <a:cs typeface="Segoe UI" pitchFamily="34" charset="0"/>
            </a:endParaRPr>
          </a:p>
          <a:p>
            <a:pPr defTabSz="1588953">
              <a:defRPr/>
            </a:pPr>
            <a:endParaRPr lang="en-US" sz="2100" dirty="0">
              <a:solidFill>
                <a:srgbClr val="212121"/>
              </a:solidFill>
              <a:latin typeface="Gartner sans"/>
            </a:endParaRPr>
          </a:p>
          <a:p>
            <a:pPr defTabSz="1588953">
              <a:defRPr/>
            </a:pPr>
            <a:r>
              <a:rPr lang="en-US" sz="2100" b="1" dirty="0"/>
              <a:t>Main points to cover:</a:t>
            </a:r>
          </a:p>
          <a:p>
            <a:pPr marL="297929" indent="-297929" defTabSz="1588953">
              <a:buFont typeface="Arial" panose="020B0604020202020204" pitchFamily="34" charset="0"/>
              <a:buChar char="•"/>
              <a:defRPr/>
            </a:pPr>
            <a:r>
              <a:rPr lang="en-US" sz="2100" dirty="0"/>
              <a:t>Security breaches can lead to losses in many forms, including employee and customer downtime from revenue generating activities. </a:t>
            </a:r>
          </a:p>
          <a:p>
            <a:pPr marL="297929" indent="-297929" defTabSz="1588953">
              <a:buFont typeface="Arial" panose="020B0604020202020204" pitchFamily="34" charset="0"/>
              <a:buChar char="•"/>
              <a:defRPr/>
            </a:pPr>
            <a:r>
              <a:rPr lang="en-US" sz="2100" dirty="0">
                <a:solidFill>
                  <a:srgbClr val="212121"/>
                </a:solidFill>
                <a:latin typeface="Gartner sans"/>
              </a:rPr>
              <a:t>Boards want to see ROI after years of increased security investments </a:t>
            </a:r>
          </a:p>
          <a:p>
            <a:pPr marL="297929" indent="-297929" defTabSz="1588953">
              <a:buFont typeface="Arial" panose="020B0604020202020204" pitchFamily="34" charset="0"/>
              <a:buChar char="•"/>
              <a:defRPr/>
            </a:pPr>
            <a:r>
              <a:rPr lang="en-US" sz="2100" dirty="0">
                <a:solidFill>
                  <a:srgbClr val="212121"/>
                </a:solidFill>
                <a:latin typeface="Gartner sans"/>
              </a:rPr>
              <a:t>Improved threat protection is a key way to reduce costs </a:t>
            </a:r>
          </a:p>
          <a:p>
            <a:pPr defTabSz="1588953">
              <a:defRPr/>
            </a:pPr>
            <a:endParaRPr lang="en-US" sz="2100" dirty="0">
              <a:solidFill>
                <a:srgbClr val="212121"/>
              </a:solidFill>
              <a:latin typeface="Gartner sans"/>
            </a:endParaRPr>
          </a:p>
          <a:p>
            <a:pPr defTabSz="1588953">
              <a:defRPr/>
            </a:pPr>
            <a:endParaRPr lang="en-US" sz="2100" dirty="0">
              <a:solidFill>
                <a:srgbClr val="212121"/>
              </a:solidFill>
              <a:latin typeface="Gartner sans"/>
            </a:endParaRPr>
          </a:p>
          <a:p>
            <a:pPr defTabSz="1588953">
              <a:defRPr/>
            </a:pPr>
            <a:r>
              <a:rPr lang="en-US" sz="2100" dirty="0">
                <a:solidFill>
                  <a:srgbClr val="212121"/>
                </a:solidFill>
                <a:latin typeface="Gartner sans"/>
              </a:rPr>
              <a:t>Citations: </a:t>
            </a:r>
            <a:endParaRPr lang="en-US" b="0" i="0" dirty="0">
              <a:solidFill>
                <a:srgbClr val="212121"/>
              </a:solidFill>
              <a:effectLst/>
              <a:latin typeface="Gartner sans"/>
            </a:endParaRPr>
          </a:p>
          <a:p>
            <a:pPr defTabSz="1620826">
              <a:spcBef>
                <a:spcPct val="20000"/>
              </a:spcBef>
              <a:buSzPct val="90000"/>
              <a:defRPr/>
            </a:pPr>
            <a:r>
              <a:rPr lang="en-US" sz="2100" b="1" baseline="30000" dirty="0">
                <a:solidFill>
                  <a:srgbClr val="000000"/>
                </a:solidFill>
                <a:latin typeface="Segoe UI" panose="020B0502040204020203" pitchFamily="34" charset="0"/>
              </a:rPr>
              <a:t>1 </a:t>
            </a:r>
            <a:r>
              <a:rPr lang="en-US" sz="2100" dirty="0">
                <a:solidFill>
                  <a:srgbClr val="000000"/>
                </a:solidFill>
                <a:latin typeface="Segoe UI"/>
              </a:rPr>
              <a:t>“The Urgency to Treat Cybersecurity as a Business Decision” February, 2020</a:t>
            </a:r>
          </a:p>
          <a:p>
            <a:pPr defTabSz="1620826">
              <a:spcBef>
                <a:spcPct val="20000"/>
              </a:spcBef>
              <a:buSzPct val="90000"/>
              <a:defRPr/>
            </a:pPr>
            <a:r>
              <a:rPr lang="en-US" sz="2100" b="1" baseline="30000" dirty="0">
                <a:solidFill>
                  <a:srgbClr val="000000"/>
                </a:solidFill>
                <a:latin typeface="Segoe UI" panose="020B0502040204020203" pitchFamily="34" charset="0"/>
              </a:rPr>
              <a:t>2  </a:t>
            </a:r>
            <a:r>
              <a:rPr lang="en-US" sz="2100" dirty="0">
                <a:solidFill>
                  <a:srgbClr val="242424"/>
                </a:solidFill>
                <a:latin typeface="-apple-system"/>
              </a:rPr>
              <a:t>March 2022 survey of 501 US Security Decision Makers commissioned by Microsoft from agency, Vital Findings</a:t>
            </a:r>
            <a:endParaRPr lang="en-US" sz="2100" dirty="0">
              <a:solidFill>
                <a:srgbClr val="000000"/>
              </a:solidFill>
              <a:latin typeface="Segoe UI"/>
            </a:endParaRPr>
          </a:p>
          <a:p>
            <a:pPr defTabSz="1620826">
              <a:spcBef>
                <a:spcPct val="20000"/>
              </a:spcBef>
              <a:buSzPct val="90000"/>
              <a:defRPr/>
            </a:pPr>
            <a:r>
              <a:rPr lang="en-US" sz="2100" b="1" baseline="30000" dirty="0">
                <a:solidFill>
                  <a:srgbClr val="000000"/>
                </a:solidFill>
                <a:latin typeface="Segoe UI" panose="020B0502040204020203" pitchFamily="34" charset="0"/>
              </a:rPr>
              <a:t>3 </a:t>
            </a:r>
            <a:r>
              <a:rPr lang="en-US" sz="2100" dirty="0">
                <a:solidFill>
                  <a:srgbClr val="000000"/>
                </a:solidFill>
                <a:latin typeface="Segoe UI"/>
              </a:rPr>
              <a:t>Microsoft Pandemic CISO Survey” 2020</a:t>
            </a:r>
            <a:endParaRPr lang="en-US" sz="2100" i="1" dirty="0">
              <a:solidFill>
                <a:srgbClr val="000000"/>
              </a:solidFill>
              <a:latin typeface="Segoe UI"/>
            </a:endParaRPr>
          </a:p>
          <a:p>
            <a:endParaRPr lang="en-US" dirty="0"/>
          </a:p>
        </p:txBody>
      </p:sp>
      <p:sp>
        <p:nvSpPr>
          <p:cNvPr id="4" name="Slide Number Placeholder 3"/>
          <p:cNvSpPr>
            <a:spLocks noGrp="1"/>
          </p:cNvSpPr>
          <p:nvPr>
            <p:ph type="sldNum" sz="quarter" idx="5"/>
          </p:nvPr>
        </p:nvSpPr>
        <p:spPr/>
        <p:txBody>
          <a:bodyPr/>
          <a:lstStyle/>
          <a:p>
            <a:pPr defTabSz="1588953">
              <a:defRPr/>
            </a:pPr>
            <a:fld id="{BCCA3AF7-B6E8-4FA6-8DC5-D653885B5CBA}" type="slidenum">
              <a:rPr lang="en-US">
                <a:solidFill>
                  <a:prstClr val="black"/>
                </a:solidFill>
                <a:latin typeface="Calibri" panose="020F0502020204030204"/>
              </a:rPr>
              <a:pPr defTabSz="1588953">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1586324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400" b="1" dirty="0"/>
              <a:t>Key slide takeaway</a:t>
            </a:r>
            <a:r>
              <a:rPr lang="en-US" sz="9400" dirty="0"/>
              <a:t>: Next steps</a:t>
            </a:r>
          </a:p>
          <a:p>
            <a:endParaRPr lang="en-US" sz="9400" dirty="0"/>
          </a:p>
          <a:p>
            <a:r>
              <a:rPr lang="en-US" sz="9400" b="1" dirty="0"/>
              <a:t>Main points to cover:</a:t>
            </a:r>
            <a:endParaRPr lang="en-US" sz="4900" dirty="0"/>
          </a:p>
          <a:p>
            <a:r>
              <a:rPr lang="en-US" sz="4900" dirty="0"/>
              <a:t>We have a couple of great ways to learn more how Microsoft Security can provide this type of savings, while strengthening your security posture.</a:t>
            </a:r>
          </a:p>
          <a:p>
            <a:pPr marL="608638" indent="-608638">
              <a:buFont typeface="Arial" panose="020B0604020202020204" pitchFamily="34" charset="0"/>
              <a:buChar char="•"/>
            </a:pPr>
            <a:r>
              <a:rPr lang="en-US" sz="4900" dirty="0"/>
              <a:t>First, we have a great Security Workshop where we spend some time assessing your current security posture, and then provide ways that you can improve through Microsoft Security.</a:t>
            </a:r>
          </a:p>
          <a:p>
            <a:pPr marL="608638" indent="-608638">
              <a:buFont typeface="Arial" panose="020B0604020202020204" pitchFamily="34" charset="0"/>
              <a:buChar char="•"/>
            </a:pPr>
            <a:r>
              <a:rPr lang="en-US" sz="4900" dirty="0"/>
              <a:t>Secondly, you can get a customized Security ROI report from the </a:t>
            </a:r>
            <a:r>
              <a:rPr lang="en-US" sz="4900" dirty="0">
                <a:solidFill>
                  <a:schemeClr val="accent1">
                    <a:lumMod val="40000"/>
                    <a:lumOff val="60000"/>
                  </a:schemeClr>
                </a:solidFill>
                <a:latin typeface="+mj-lt"/>
                <a:hlinkClick r:id="rId3">
                  <a:extLst>
                    <a:ext uri="{A12FA001-AC4F-418D-AE19-62706E023703}">
                      <ahyp:hlinkClr xmlns:ahyp="http://schemas.microsoft.com/office/drawing/2018/hyperlinkcolor" val="tx"/>
                    </a:ext>
                  </a:extLst>
                </a:hlinkClick>
              </a:rPr>
              <a:t>Microsoft Value Calculator</a:t>
            </a:r>
            <a:r>
              <a:rPr lang="en-US" sz="4900" dirty="0">
                <a:solidFill>
                  <a:schemeClr val="accent1">
                    <a:lumMod val="40000"/>
                    <a:lumOff val="60000"/>
                  </a:schemeClr>
                </a:solidFill>
                <a:latin typeface="+mj-lt"/>
              </a:rPr>
              <a:t>, showing h</a:t>
            </a:r>
            <a:r>
              <a:rPr lang="en-US" sz="4900" dirty="0"/>
              <a:t>ow your organization can benefit from Microsoft Security. </a:t>
            </a:r>
          </a:p>
          <a:p>
            <a:pPr marL="608638" indent="-608638">
              <a:buFont typeface="Arial" panose="020B0604020202020204" pitchFamily="34" charset="0"/>
              <a:buChar char="•"/>
            </a:pPr>
            <a:endParaRPr lang="en-US" sz="4900" dirty="0"/>
          </a:p>
          <a:p>
            <a:pPr marL="608638" indent="-608638">
              <a:buFont typeface="Arial" panose="020B0604020202020204" pitchFamily="34" charset="0"/>
              <a:buChar char="•"/>
            </a:pPr>
            <a:endParaRPr lang="en-US" sz="4900" dirty="0"/>
          </a:p>
          <a:p>
            <a:r>
              <a:rPr lang="en-US" sz="4900" dirty="0"/>
              <a:t>Security Workshops - https://m365partneraccelerator.azurewebsites.net </a:t>
            </a:r>
          </a:p>
          <a:p>
            <a:endParaRPr lang="en-US" sz="4900" dirty="0"/>
          </a:p>
          <a:p>
            <a:r>
              <a:rPr lang="en-US" sz="4900" dirty="0"/>
              <a:t>Value Calculator: </a:t>
            </a:r>
          </a:p>
          <a:p>
            <a:pPr marL="297929" indent="-297929">
              <a:buFont typeface="Arial" panose="020B0604020202020204" pitchFamily="34" charset="0"/>
              <a:buChar char="•"/>
            </a:pPr>
            <a:r>
              <a:rPr lang="en-US" sz="4900" dirty="0"/>
              <a:t>Internal link: https://vc.transform.microsoft.com</a:t>
            </a:r>
          </a:p>
          <a:p>
            <a:pPr marL="297929" indent="-297929">
              <a:buFont typeface="Arial" panose="020B0604020202020204" pitchFamily="34" charset="0"/>
              <a:buChar char="•"/>
            </a:pPr>
            <a:r>
              <a:rPr lang="en-US" sz="4900" dirty="0"/>
              <a:t>External link: https://roi.transform.microsoft.com</a:t>
            </a:r>
          </a:p>
        </p:txBody>
      </p:sp>
      <p:sp>
        <p:nvSpPr>
          <p:cNvPr id="4" name="Slide Number Placeholder 3"/>
          <p:cNvSpPr>
            <a:spLocks noGrp="1"/>
          </p:cNvSpPr>
          <p:nvPr>
            <p:ph type="sldNum" sz="quarter" idx="5"/>
          </p:nvPr>
        </p:nvSpPr>
        <p:spPr/>
        <p:txBody>
          <a:bodyPr/>
          <a:lstStyle/>
          <a:p>
            <a:pPr defTabSz="1588953">
              <a:defRPr/>
            </a:pPr>
            <a:fld id="{BCCA3AF7-B6E8-4FA6-8DC5-D653885B5CBA}" type="slidenum">
              <a:rPr lang="en-US">
                <a:solidFill>
                  <a:prstClr val="black"/>
                </a:solidFill>
                <a:latin typeface="Calibri" panose="020F0502020204030204"/>
              </a:rPr>
              <a:pPr defTabSz="1588953">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2345748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CA3AF7-B6E8-4FA6-8DC5-D653885B5CBA}" type="slidenum">
              <a:rPr lang="en-US" smtClean="0"/>
              <a:t>21</a:t>
            </a:fld>
            <a:endParaRPr lang="en-US"/>
          </a:p>
        </p:txBody>
      </p:sp>
    </p:spTree>
    <p:extLst>
      <p:ext uri="{BB962C8B-B14F-4D97-AF65-F5344CB8AC3E}">
        <p14:creationId xmlns:p14="http://schemas.microsoft.com/office/powerpoint/2010/main" val="2653099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ndParaRPr>
          </a:p>
        </p:txBody>
      </p:sp>
      <p:sp>
        <p:nvSpPr>
          <p:cNvPr id="4" name="Slide Number Placeholder 3"/>
          <p:cNvSpPr>
            <a:spLocks noGrp="1"/>
          </p:cNvSpPr>
          <p:nvPr>
            <p:ph type="sldNum" sz="quarter" idx="10"/>
          </p:nvPr>
        </p:nvSpPr>
        <p:spPr/>
        <p:txBody>
          <a:bodyPr/>
          <a:lstStyle/>
          <a:p>
            <a:pPr defTabSz="1588953">
              <a:defRPr/>
            </a:pPr>
            <a:fld id="{D66B4E54-1861-4E5E-81F8-86436A78C73F}" type="slidenum">
              <a:rPr lang="en-US" sz="2100">
                <a:solidFill>
                  <a:prstClr val="black"/>
                </a:solidFill>
                <a:latin typeface="Calibri" panose="020F0502020204030204"/>
              </a:rPr>
              <a:pPr defTabSz="1588953">
                <a:defRPr/>
              </a:pPr>
              <a:t>22</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1172311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ndParaRPr>
          </a:p>
        </p:txBody>
      </p:sp>
      <p:sp>
        <p:nvSpPr>
          <p:cNvPr id="4" name="Slide Number Placeholder 3"/>
          <p:cNvSpPr>
            <a:spLocks noGrp="1"/>
          </p:cNvSpPr>
          <p:nvPr>
            <p:ph type="sldNum" sz="quarter" idx="10"/>
          </p:nvPr>
        </p:nvSpPr>
        <p:spPr/>
        <p:txBody>
          <a:bodyPr/>
          <a:lstStyle/>
          <a:p>
            <a:pPr defTabSz="1588953">
              <a:defRPr/>
            </a:pPr>
            <a:fld id="{D66B4E54-1861-4E5E-81F8-86436A78C73F}" type="slidenum">
              <a:rPr lang="en-US" sz="2100">
                <a:solidFill>
                  <a:prstClr val="black"/>
                </a:solidFill>
                <a:latin typeface="Calibri" panose="020F0502020204030204"/>
              </a:rPr>
              <a:pPr defTabSz="1588953">
                <a:defRPr/>
              </a:pPr>
              <a:t>23</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39084479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 name="Shape 1914"/>
          <p:cNvSpPr>
            <a:spLocks noGrp="1" noRot="1" noChangeAspect="1"/>
          </p:cNvSpPr>
          <p:nvPr>
            <p:ph type="sldImg"/>
          </p:nvPr>
        </p:nvSpPr>
        <p:spPr>
          <a:xfrm>
            <a:off x="4452938" y="960438"/>
            <a:ext cx="8534400" cy="4800600"/>
          </a:xfrm>
          <a:prstGeom prst="rect">
            <a:avLst/>
          </a:prstGeom>
        </p:spPr>
        <p:txBody>
          <a:bodyPr/>
          <a:lstStyle/>
          <a:p>
            <a:endParaRPr/>
          </a:p>
        </p:txBody>
      </p:sp>
      <p:sp>
        <p:nvSpPr>
          <p:cNvPr id="1915" name="Shape 1915"/>
          <p:cNvSpPr>
            <a:spLocks noGrp="1"/>
          </p:cNvSpPr>
          <p:nvPr>
            <p:ph type="body" sz="quarter" idx="1"/>
          </p:nvPr>
        </p:nvSpPr>
        <p:spPr>
          <a:prstGeom prst="rect">
            <a:avLst/>
          </a:prstGeom>
        </p:spPr>
        <p:txBody>
          <a:bodyPr/>
          <a:lstStyle/>
          <a:p>
            <a:r>
              <a:rPr b="1" dirty="0"/>
              <a:t>Talk track</a:t>
            </a:r>
            <a:r>
              <a:rPr dirty="0"/>
              <a:t>:</a:t>
            </a:r>
          </a:p>
          <a:p>
            <a:endParaRPr dirty="0"/>
          </a:p>
          <a:p>
            <a:pPr>
              <a:lnSpc>
                <a:spcPct val="107000"/>
              </a:lnSpc>
              <a:defRPr sz="1800">
                <a:latin typeface="Calibri"/>
                <a:ea typeface="Calibri"/>
                <a:cs typeface="Calibri"/>
                <a:sym typeface="Calibri"/>
              </a:defRPr>
            </a:pPr>
            <a:r>
              <a:rPr lang="en-US" dirty="0"/>
              <a:t>Now let’s take a look at how Drax Group, a major generator of electricity within the United Kingdom, redefined its security strategy. As part of the nation’s critical infrastructure, Drax is a significant target for attackers, and it is incredibly important for them to have effective security tools. Instead of assembling its security solution from multiple vendors’ products and services, Drax adopted a holistic security ecosystem and standardized on Microsoft Security solutions. It was also far simpler and more cost-effective to train their employees to navigate Microsoft Security solutions as they have used Office 365 for years. The standardization has enabled Drax to maintain a high level of security around the company’s data, devices, and employees. Drax uses our integrated SIEM and XDR solution to create a single pane of glass capability of showing them in real time the attacks they were detecting and preventing while also increasing visibility and control. Besides leveraging Microsoft Defender for Identity and Azure Active Directory to strengthen its identity-first security strategy, they also rely on our compliance solutions to stay compliant with Europe’s GDPR legislation.</a:t>
            </a:r>
            <a:endParaRPr dirty="0"/>
          </a:p>
          <a:p>
            <a:pPr>
              <a:defRPr sz="1800"/>
            </a:pPr>
            <a:endParaRPr dirty="0"/>
          </a:p>
          <a:p>
            <a:pPr>
              <a:defRPr sz="1800"/>
            </a:pPr>
            <a:r>
              <a:rPr lang="en-US" dirty="0"/>
              <a:t>https://customers.microsoft.com/en-gb/story/1371005622559944055-drax-group-energy-integrated-threat-protection</a:t>
            </a:r>
            <a:endParaRPr dirty="0"/>
          </a:p>
        </p:txBody>
      </p:sp>
    </p:spTree>
    <p:extLst>
      <p:ext uri="{BB962C8B-B14F-4D97-AF65-F5344CB8AC3E}">
        <p14:creationId xmlns:p14="http://schemas.microsoft.com/office/powerpoint/2010/main" val="14064037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 name="Shape 1914"/>
          <p:cNvSpPr>
            <a:spLocks noGrp="1" noRot="1" noChangeAspect="1"/>
          </p:cNvSpPr>
          <p:nvPr>
            <p:ph type="sldImg"/>
          </p:nvPr>
        </p:nvSpPr>
        <p:spPr>
          <a:xfrm>
            <a:off x="4452938" y="960438"/>
            <a:ext cx="8534400" cy="4800600"/>
          </a:xfrm>
          <a:prstGeom prst="rect">
            <a:avLst/>
          </a:prstGeom>
        </p:spPr>
        <p:txBody>
          <a:bodyPr/>
          <a:lstStyle/>
          <a:p>
            <a:endParaRPr/>
          </a:p>
        </p:txBody>
      </p:sp>
      <p:sp>
        <p:nvSpPr>
          <p:cNvPr id="1915" name="Shape 1915"/>
          <p:cNvSpPr>
            <a:spLocks noGrp="1"/>
          </p:cNvSpPr>
          <p:nvPr>
            <p:ph type="body" sz="quarter" idx="1"/>
          </p:nvPr>
        </p:nvSpPr>
        <p:spPr>
          <a:prstGeom prst="rect">
            <a:avLst/>
          </a:prstGeom>
        </p:spPr>
        <p:txBody>
          <a:bodyPr/>
          <a:lstStyle/>
          <a:p>
            <a:r>
              <a:rPr lang="en-US" b="1"/>
              <a:t>Note</a:t>
            </a:r>
            <a:r>
              <a:rPr lang="en-US" b="0"/>
              <a:t>: We have two customer examples to illustrate the second customer promise ‘simplify the complex’ and presenter has the freedom to choose the option that is more relevant to the customers</a:t>
            </a:r>
            <a:endParaRPr lang="en-US" b="1"/>
          </a:p>
          <a:p>
            <a:endParaRPr lang="en-US"/>
          </a:p>
          <a:p>
            <a:r>
              <a:rPr b="1"/>
              <a:t>Talk track</a:t>
            </a:r>
            <a:r>
              <a:t>:</a:t>
            </a:r>
          </a:p>
          <a:p>
            <a:endParaRPr/>
          </a:p>
          <a:p>
            <a:pPr>
              <a:lnSpc>
                <a:spcPct val="107000"/>
              </a:lnSpc>
              <a:defRPr sz="1800">
                <a:latin typeface="Calibri"/>
                <a:ea typeface="Calibri"/>
                <a:cs typeface="Calibri"/>
                <a:sym typeface="Calibri"/>
              </a:defRPr>
            </a:pPr>
            <a:r>
              <a:t>Now let’s take a look at how US regional health care provider MVP Health Care increased security effectiveness and employee productivity. To protect the sensitive health information of its members and be compliant with regulations, over the years, MVP Health Care has employed over 300 different vendor solutions. Many of these were designed for specialized functions, working in silos, and they have become difficult to manage and scale. MVP Health Care turned to Microsoft for an end-to-end security solution to replace its 300 third-party solutions for a simpler, more proactive, and easily managed security posture while saving time, money, and resources. As part of its deployment, MVP Health Care also switched to Azure Sentinel from previous vendor Splunk to remove management complexity and provide visibility across their entire environment. Azure Sentinel simplifies and expedites tasks as alerts from various Microsoft security products are chained together in an actionable way, allowing the team to easily look up data or follow up on alert. </a:t>
            </a:r>
          </a:p>
          <a:p>
            <a:pPr>
              <a:lnSpc>
                <a:spcPct val="107000"/>
              </a:lnSpc>
              <a:defRPr sz="1800">
                <a:latin typeface="Calibri"/>
                <a:ea typeface="Calibri"/>
                <a:cs typeface="Calibri"/>
                <a:sym typeface="Calibri"/>
              </a:defRPr>
            </a:pPr>
            <a:r>
              <a:t> </a:t>
            </a:r>
          </a:p>
          <a:p>
            <a:pPr>
              <a:defRPr sz="1800"/>
            </a:pPr>
            <a:endParaRPr/>
          </a:p>
          <a:p>
            <a:pPr>
              <a:defRPr sz="1800"/>
            </a:pPr>
            <a:r>
              <a:t>https://customers.microsoft.com/en-us/story/1338663105513343966-mvp-health-care-health-payor-integrated-threat-protection</a:t>
            </a:r>
          </a:p>
          <a:p>
            <a:pPr>
              <a:lnSpc>
                <a:spcPct val="107000"/>
              </a:lnSpc>
              <a:spcBef>
                <a:spcPts val="1390"/>
              </a:spcBef>
              <a:defRPr sz="1800">
                <a:latin typeface="Calibri"/>
                <a:ea typeface="Calibri"/>
                <a:cs typeface="Calibri"/>
                <a:sym typeface="Calibri"/>
              </a:defRPr>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5" name="Shape 1985"/>
          <p:cNvSpPr>
            <a:spLocks noGrp="1" noRot="1" noChangeAspect="1"/>
          </p:cNvSpPr>
          <p:nvPr>
            <p:ph type="sldImg"/>
          </p:nvPr>
        </p:nvSpPr>
        <p:spPr>
          <a:xfrm>
            <a:off x="4452938" y="960438"/>
            <a:ext cx="8534400" cy="4800600"/>
          </a:xfrm>
          <a:prstGeom prst="rect">
            <a:avLst/>
          </a:prstGeom>
        </p:spPr>
        <p:txBody>
          <a:bodyPr/>
          <a:lstStyle/>
          <a:p>
            <a:endParaRPr/>
          </a:p>
        </p:txBody>
      </p:sp>
      <p:sp>
        <p:nvSpPr>
          <p:cNvPr id="1986" name="Shape 1986"/>
          <p:cNvSpPr>
            <a:spLocks noGrp="1"/>
          </p:cNvSpPr>
          <p:nvPr>
            <p:ph type="body" sz="quarter" idx="1"/>
          </p:nvPr>
        </p:nvSpPr>
        <p:spPr>
          <a:prstGeom prst="rect">
            <a:avLst/>
          </a:prstGeom>
        </p:spPr>
        <p:txBody>
          <a:bodyPr/>
          <a:lstStyle/>
          <a:p>
            <a:r>
              <a:rPr lang="en-US" b="1"/>
              <a:t>Talk track:</a:t>
            </a:r>
          </a:p>
          <a:p>
            <a:endParaRPr lang="en-US" b="1"/>
          </a:p>
          <a:p>
            <a:pPr defTabSz="1588953">
              <a:defRPr/>
            </a:pPr>
            <a:r>
              <a:rPr lang="en-US"/>
              <a:t>What does it mean to say that security can grow your future? It’s a recognition of the fact that managing risk enables an organization to unlock new opportunities and respond quickly to changing conditions.</a:t>
            </a:r>
          </a:p>
          <a:p>
            <a:endParaRPr lang="en-US" b="1"/>
          </a:p>
          <a:p>
            <a:r>
              <a:rPr lang="en-US" b="0"/>
              <a:t>The Finnish Tax Administration is a global leader in digital taxation. Because the administration handles a wide selection of different data per customer, failing to adequately protect all the sensitive data could have catastrophic effects on the organization and the customers. Even though on-premises provides higher security measures, it cannot keep up with the evolving business needs. As a result, the administration resorted to Microsoft for a more safe and secure cloud. They leverage Microsoft Security solutions such as Microsoft Defender for Endpoints to quickly detect potential threats and identify false positives, reducing triage time significantly. The time saved is spent on further configuring the Microsoft portfolio and driving the cultural change to put security first, allowing the organization to continuously improve its security posture.</a:t>
            </a:r>
          </a:p>
          <a:p>
            <a:endParaRPr lang="en-US"/>
          </a:p>
          <a:p>
            <a:r>
              <a:rPr lang="en-US"/>
              <a:t>https://customers.microsoft.com/en-us/story/1353094605959672931-verohallinto-government-azure-en-finland</a:t>
            </a:r>
            <a:endParaRPr/>
          </a:p>
        </p:txBody>
      </p:sp>
    </p:spTree>
    <p:extLst>
      <p:ext uri="{BB962C8B-B14F-4D97-AF65-F5344CB8AC3E}">
        <p14:creationId xmlns:p14="http://schemas.microsoft.com/office/powerpoint/2010/main" val="21425426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CA3AF7-B6E8-4FA6-8DC5-D653885B5CBA}" type="slidenum">
              <a:rPr lang="en-US" smtClean="0"/>
              <a:t>33</a:t>
            </a:fld>
            <a:endParaRPr lang="en-US"/>
          </a:p>
        </p:txBody>
      </p:sp>
    </p:spTree>
    <p:extLst>
      <p:ext uri="{BB962C8B-B14F-4D97-AF65-F5344CB8AC3E}">
        <p14:creationId xmlns:p14="http://schemas.microsoft.com/office/powerpoint/2010/main" val="42483400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endParaRPr lang="en-US" dirty="0"/>
          </a:p>
          <a:p>
            <a:r>
              <a:rPr lang="en-US" dirty="0"/>
              <a:t>•“Microsoft serves billions of customers globally, allowing us to aggregate security data from a broad and diverse spectrum of companies, organizations, and consumers. Informed by over 24 trillion security signals per day, our unique position helps us generate a high-fidelity picture of the current state of cybersecurity, including indicators that help us predict what attackers will do next.” --Digital Defense Report Microsoft Oct 2021</a:t>
            </a:r>
            <a:endParaRPr lang="en-US" dirty="0">
              <a:ea typeface="Calibri"/>
              <a:cs typeface="Calibri"/>
            </a:endParaRPr>
          </a:p>
          <a:p>
            <a:r>
              <a:rPr lang="en-US" dirty="0"/>
              <a:t>•“Microsoft has made significant and ongoing investments to increase and improve the knowledge we derive from our threat signals. These investments deliver the highly synthesized and integrated insights that we share here. Our goal in aggregating these learnings is to help organizations understand the ways in which cybercriminals are continually shifting their modes of attack—and determine the best ways to combat those attacks.” --Digital Defense Report Microsoft Oct 2021</a:t>
            </a:r>
            <a:endParaRPr lang="en-US" dirty="0">
              <a:ea typeface="Calibri"/>
              <a:cs typeface="Calibri"/>
            </a:endParaRPr>
          </a:p>
          <a:p>
            <a:r>
              <a:rPr lang="en-US" b="1" dirty="0"/>
              <a:t>Source of Facts Below: </a:t>
            </a:r>
            <a:endParaRPr lang="en-US" dirty="0"/>
          </a:p>
          <a:p>
            <a:r>
              <a:rPr lang="en-US" dirty="0"/>
              <a:t>•Our primary competitive advantage </a:t>
            </a:r>
            <a:r>
              <a:rPr lang="en-US" b="0" i="0" dirty="0">
                <a:effectLst/>
              </a:rPr>
              <a:t>is </a:t>
            </a:r>
            <a:r>
              <a:rPr lang="en-US" dirty="0"/>
              <a:t>that we deliver end-to-end solutions spanning security, compliance, identity, device management, and privacy, across clouds and platforms. These solutions are also consistently recognized as a market leader by Gartner, Forrester and IDC.</a:t>
            </a:r>
            <a:endParaRPr lang="en-US" dirty="0">
              <a:ea typeface="Calibri"/>
              <a:cs typeface="Calibri"/>
            </a:endParaRPr>
          </a:p>
          <a:p>
            <a:r>
              <a:rPr lang="en-US" dirty="0"/>
              <a:t>•43 trillion threat signals each day combined with </a:t>
            </a:r>
            <a:r>
              <a:rPr lang="en-US" b="0" i="0" dirty="0">
                <a:effectLst/>
              </a:rPr>
              <a:t>the </a:t>
            </a:r>
            <a:r>
              <a:rPr lang="en-US" dirty="0"/>
              <a:t>intelligence we track by monitoring more than 40 nation-state groups </a:t>
            </a:r>
            <a:r>
              <a:rPr lang="en-US" b="0" i="0" dirty="0">
                <a:effectLst/>
              </a:rPr>
              <a:t>and </a:t>
            </a:r>
            <a:r>
              <a:rPr lang="en-US" dirty="0"/>
              <a:t>over 140 threat groups.</a:t>
            </a:r>
            <a:endParaRPr lang="en-US" dirty="0">
              <a:ea typeface="Calibri"/>
              <a:cs typeface="Calibri"/>
            </a:endParaRPr>
          </a:p>
          <a:p>
            <a:r>
              <a:rPr lang="en-US" dirty="0"/>
              <a:t>•8,500 </a:t>
            </a:r>
            <a:r>
              <a:rPr lang="en-US" b="0" i="0" dirty="0">
                <a:effectLst/>
              </a:rPr>
              <a:t>security </a:t>
            </a:r>
            <a:r>
              <a:rPr lang="en-US" dirty="0"/>
              <a:t>defenders dedicated to thwarting advanced cyberattacks</a:t>
            </a:r>
            <a:r>
              <a:rPr lang="en-US" b="0" i="0" dirty="0">
                <a:effectLst/>
              </a:rPr>
              <a:t>. we </a:t>
            </a:r>
            <a:r>
              <a:rPr lang="en-US" dirty="0"/>
              <a:t>continue </a:t>
            </a:r>
            <a:r>
              <a:rPr lang="en-US" b="0" i="0" dirty="0">
                <a:effectLst/>
              </a:rPr>
              <a:t>to </a:t>
            </a:r>
            <a:r>
              <a:rPr lang="en-US" dirty="0"/>
              <a:t>disrupt cyberattacks </a:t>
            </a:r>
            <a:r>
              <a:rPr lang="en-US" b="0" i="0" dirty="0">
                <a:effectLst/>
              </a:rPr>
              <a:t>and </a:t>
            </a:r>
            <a:r>
              <a:rPr lang="en-US" dirty="0"/>
              <a:t>share threat intelligence with governments, as well as other public sector agencies.</a:t>
            </a:r>
            <a:endParaRPr lang="en-US" dirty="0">
              <a:ea typeface="Calibri"/>
              <a:cs typeface="Calibri"/>
            </a:endParaRPr>
          </a:p>
          <a:p>
            <a:r>
              <a:rPr lang="en-US" dirty="0"/>
              <a:t>•785,000+ customers trust </a:t>
            </a:r>
            <a:r>
              <a:rPr lang="en-US" b="0" i="0" dirty="0">
                <a:effectLst/>
              </a:rPr>
              <a:t>our </a:t>
            </a:r>
            <a:r>
              <a:rPr lang="en-US" dirty="0"/>
              <a:t>security solutions and rely on Microsoft </a:t>
            </a:r>
            <a:r>
              <a:rPr lang="en-US" b="0" i="0" dirty="0">
                <a:effectLst/>
              </a:rPr>
              <a:t>to protect </a:t>
            </a:r>
            <a:r>
              <a:rPr lang="en-US" dirty="0"/>
              <a:t>their multi-cloud </a:t>
            </a:r>
            <a:r>
              <a:rPr lang="en-US" b="0" i="0" dirty="0">
                <a:effectLst/>
              </a:rPr>
              <a:t>and </a:t>
            </a:r>
            <a:r>
              <a:rPr lang="en-US" dirty="0"/>
              <a:t>multi-platform infrastructure.</a:t>
            </a:r>
            <a:endParaRPr lang="en-US" dirty="0">
              <a:ea typeface="Calibri"/>
              <a:cs typeface="Calibri"/>
            </a:endParaRPr>
          </a:p>
          <a:p>
            <a:r>
              <a:rPr lang="en-US" dirty="0"/>
              <a:t>•We recognize security is a team sport </a:t>
            </a:r>
            <a:r>
              <a:rPr lang="en-US" i="0" dirty="0">
                <a:effectLst/>
              </a:rPr>
              <a:t>and </a:t>
            </a:r>
            <a:r>
              <a:rPr lang="en-US" dirty="0"/>
              <a:t>have over 15,000 partners in </a:t>
            </a:r>
            <a:r>
              <a:rPr lang="en-US" dirty="0">
                <a:effectLst/>
              </a:rPr>
              <a:t>our </a:t>
            </a:r>
            <a:r>
              <a:rPr lang="en-US" dirty="0"/>
              <a:t>security ecosystem.</a:t>
            </a:r>
          </a:p>
          <a:p>
            <a:endParaRPr lang="en-US" dirty="0">
              <a:ea typeface="Calibri"/>
              <a:cs typeface="Calibri"/>
            </a:endParaRPr>
          </a:p>
          <a:p>
            <a:r>
              <a:rPr lang="en-US" dirty="0">
                <a:ea typeface="Calibri"/>
                <a:cs typeface="Calibri"/>
              </a:rPr>
              <a:t>Source:</a:t>
            </a:r>
          </a:p>
          <a:p>
            <a:pPr marL="794476" indent="-794476">
              <a:buAutoNum type="arabicPeriod"/>
            </a:pPr>
            <a:r>
              <a:rPr lang="en-US" sz="2100" dirty="0">
                <a:hlinkClick r:id="rId3">
                  <a:extLst>
                    <a:ext uri="{A12FA001-AC4F-418D-AE19-62706E023703}">
                      <ahyp:hlinkClr xmlns:ahyp="http://schemas.microsoft.com/office/drawing/2018/hyperlinkcolor" val="tx"/>
                    </a:ext>
                  </a:extLst>
                </a:hlinkClick>
              </a:rPr>
              <a:t>FY22 Q4 - Press Releases - Investor Relations – Microsoft</a:t>
            </a:r>
            <a:endParaRPr lang="en-US" sz="2100" dirty="0"/>
          </a:p>
          <a:p>
            <a:pPr marL="794476" indent="-794476">
              <a:buAutoNum type="arabicPeriod"/>
            </a:pPr>
            <a:r>
              <a:rPr lang="en-US" sz="2100" dirty="0">
                <a:latin typeface="Segoe UI" panose="020B0502040204020203" pitchFamily="34" charset="0"/>
                <a:hlinkClick r:id="rId4">
                  <a:extLst>
                    <a:ext uri="{A12FA001-AC4F-418D-AE19-62706E023703}">
                      <ahyp:hlinkClr xmlns:ahyp="http://schemas.microsoft.com/office/drawing/2018/hyperlinkcolor" val="tx"/>
                    </a:ext>
                  </a:extLst>
                </a:hlinkClick>
              </a:rPr>
              <a:t>Microsoft FY22 Q4 Earnings Report</a:t>
            </a:r>
            <a:r>
              <a:rPr lang="en-US" sz="2100" dirty="0">
                <a:latin typeface="Segoe UI" panose="020B0502040204020203" pitchFamily="34" charset="0"/>
              </a:rPr>
              <a:t> </a:t>
            </a:r>
          </a:p>
          <a:p>
            <a:pPr marL="794476" indent="-794476">
              <a:buAutoNum type="arabicPeriod"/>
            </a:pPr>
            <a:r>
              <a:rPr lang="en-US" sz="2100" dirty="0">
                <a:hlinkClick r:id="rId5">
                  <a:extLst>
                    <a:ext uri="{A12FA001-AC4F-418D-AE19-62706E023703}">
                      <ahyp:hlinkClr xmlns:ahyp="http://schemas.microsoft.com/office/drawing/2018/hyperlinkcolor" val="tx"/>
                    </a:ext>
                  </a:extLst>
                </a:hlinkClick>
              </a:rPr>
              <a:t>Microsoft Digital Defense Report – Microsoft Security</a:t>
            </a:r>
            <a:endParaRPr lang="en-US" sz="2100" dirty="0"/>
          </a:p>
          <a:p>
            <a:pPr marL="794476" indent="-794476">
              <a:buAutoNum type="arabicPeriod"/>
            </a:pPr>
            <a:r>
              <a:rPr lang="en-US" sz="2100" dirty="0">
                <a:hlinkClick r:id="rId6">
                  <a:extLst>
                    <a:ext uri="{A12FA001-AC4F-418D-AE19-62706E023703}">
                      <ahyp:hlinkClr xmlns:ahyp="http://schemas.microsoft.com/office/drawing/2018/hyperlinkcolor" val="tx"/>
                    </a:ext>
                  </a:extLst>
                </a:hlinkClick>
              </a:rPr>
              <a:t>FY22 Q2 Earnings Call</a:t>
            </a:r>
            <a:r>
              <a:rPr lang="en-US" sz="2100" dirty="0"/>
              <a:t> </a:t>
            </a:r>
          </a:p>
          <a:p>
            <a:endParaRPr lang="en-US"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BCCA3AF7-B6E8-4FA6-8DC5-D653885B5CBA}" type="slidenum">
              <a:rPr lang="en-US" smtClean="0"/>
              <a:t>34</a:t>
            </a:fld>
            <a:endParaRPr lang="en-US"/>
          </a:p>
        </p:txBody>
      </p:sp>
    </p:spTree>
    <p:extLst>
      <p:ext uri="{BB962C8B-B14F-4D97-AF65-F5344CB8AC3E}">
        <p14:creationId xmlns:p14="http://schemas.microsoft.com/office/powerpoint/2010/main" val="3293482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896">
              <a:lnSpc>
                <a:spcPct val="90000"/>
              </a:lnSpc>
              <a:spcAft>
                <a:spcPts val="579"/>
              </a:spcAft>
              <a:defRPr/>
            </a:pPr>
            <a:r>
              <a:rPr lang="en-US" b="1"/>
              <a:t>Talk track:</a:t>
            </a:r>
            <a:endParaRPr lang="en-US"/>
          </a:p>
          <a:p>
            <a:pPr marL="297929" indent="-297929">
              <a:buFont typeface="Arial" panose="020B0604020202020204" pitchFamily="34" charset="0"/>
              <a:buChar char="•"/>
            </a:pPr>
            <a:r>
              <a:rPr lang="en-US"/>
              <a:t>Our security researchers focus on a wide range of topics to not only enhance Microsoft Security offerings but also improve the security of Microsoft ecosystem as a whole.</a:t>
            </a:r>
          </a:p>
          <a:p>
            <a:pPr marL="297929" indent="-297929">
              <a:buFont typeface="Arial" panose="020B0604020202020204" pitchFamily="34" charset="0"/>
              <a:buChar char="•"/>
            </a:pPr>
            <a:r>
              <a:rPr lang="en-US"/>
              <a:t>These world-class research and intelligence teams become an extension to our customers’ security teams.</a:t>
            </a:r>
          </a:p>
          <a:p>
            <a:pPr marL="297929" indent="-297929">
              <a:buFont typeface="Arial" panose="020B0604020202020204" pitchFamily="34" charset="0"/>
              <a:buChar char="•"/>
            </a:pPr>
            <a:endParaRPr lang="en-US"/>
          </a:p>
          <a:p>
            <a:r>
              <a:rPr lang="en-US" b="1"/>
              <a:t>Discovery Question:</a:t>
            </a:r>
          </a:p>
          <a:p>
            <a:pPr marL="297929" indent="-297929">
              <a:buFont typeface="Arial" panose="020B0604020202020204" pitchFamily="34" charset="0"/>
              <a:buChar char="•"/>
            </a:pPr>
            <a:r>
              <a:rPr lang="en-US"/>
              <a:t>[Insert Customer Name] Are there any of these areas of the threat landscape you have a particular interest in?</a:t>
            </a:r>
          </a:p>
          <a:p>
            <a:pPr marL="297929" indent="-297929" defTabSz="1588953">
              <a:buFont typeface="Arial" panose="020B0604020202020204" pitchFamily="34" charset="0"/>
              <a:buChar char="•"/>
              <a:defRPr/>
            </a:pPr>
            <a:r>
              <a:rPr lang="en-US"/>
              <a:t>Based on your feedback, I’d like to highlight a few of our research and intelligence capabilities to give you a better sense of what we focus on: </a:t>
            </a:r>
            <a:r>
              <a:rPr lang="en-US">
                <a:highlight>
                  <a:srgbClr val="FFFF00"/>
                </a:highlight>
              </a:rPr>
              <a:t>(can pick a couple, not a must to go through the entire list)</a:t>
            </a:r>
          </a:p>
          <a:p>
            <a:endParaRPr lang="en-US"/>
          </a:p>
          <a:p>
            <a:r>
              <a:rPr lang="en-US" b="1"/>
              <a:t>Choose Below:</a:t>
            </a:r>
          </a:p>
          <a:p>
            <a:pPr marL="297929" indent="-297929">
              <a:buFont typeface="Arial" panose="020B0604020202020204" pitchFamily="34" charset="0"/>
              <a:buChar char="•"/>
            </a:pPr>
            <a:r>
              <a:rPr lang="en-US"/>
              <a:t>We are focused on </a:t>
            </a:r>
            <a:r>
              <a:rPr lang="en-US" b="1"/>
              <a:t>incident response</a:t>
            </a:r>
            <a:r>
              <a:rPr lang="en-US"/>
              <a:t>. We have a team called Detection and Response Team (DART) that our large enterprise customers can call on for help when there is an incident. Additionally, this team also actively tracks </a:t>
            </a:r>
            <a:r>
              <a:rPr lang="en-US" b="1"/>
              <a:t>nation-state threats </a:t>
            </a:r>
            <a:r>
              <a:rPr lang="en-US"/>
              <a:t>to understand what techniques they’re using and who they’re targeting next so we can better defend ourselves and our customers. </a:t>
            </a:r>
          </a:p>
          <a:p>
            <a:pPr marL="297929" indent="-297929">
              <a:buFont typeface="Arial" panose="020B0604020202020204" pitchFamily="34" charset="0"/>
              <a:buChar char="•"/>
            </a:pPr>
            <a:r>
              <a:rPr lang="en-US"/>
              <a:t>We have a robust </a:t>
            </a:r>
            <a:r>
              <a:rPr lang="en-US" b="1"/>
              <a:t>malware</a:t>
            </a:r>
            <a:r>
              <a:rPr lang="en-US"/>
              <a:t> research team which dissects malware every day to help our AI get better and improve the detection </a:t>
            </a:r>
            <a:r>
              <a:rPr lang="en-US" err="1"/>
              <a:t>capablities</a:t>
            </a:r>
            <a:r>
              <a:rPr lang="en-US"/>
              <a:t> across our portfolio.</a:t>
            </a:r>
          </a:p>
          <a:p>
            <a:pPr marL="297929" indent="-297929">
              <a:buFont typeface="Arial" panose="020B0604020202020204" pitchFamily="34" charset="0"/>
              <a:buChar char="•"/>
            </a:pPr>
            <a:r>
              <a:rPr lang="en-US"/>
              <a:t>There are researchers focusing on </a:t>
            </a:r>
            <a:r>
              <a:rPr lang="en-US" b="1"/>
              <a:t>IOT security </a:t>
            </a:r>
            <a:r>
              <a:rPr lang="en-US"/>
              <a:t>to ensure the safety of the ever-increasing connected devices.</a:t>
            </a:r>
          </a:p>
          <a:p>
            <a:pPr marL="297929" indent="-297929">
              <a:buFont typeface="Arial" panose="020B0604020202020204" pitchFamily="34" charset="0"/>
              <a:buChar char="•"/>
            </a:pPr>
            <a:r>
              <a:rPr lang="en-US"/>
              <a:t>There is a set of folks focused on </a:t>
            </a:r>
            <a:r>
              <a:rPr lang="en-US" b="1"/>
              <a:t>cyber policies</a:t>
            </a:r>
            <a:r>
              <a:rPr lang="en-US"/>
              <a:t>, supporting security-related executive orders and bringing cyber criminals to justice and unpacking the implications of regulations. </a:t>
            </a:r>
          </a:p>
          <a:p>
            <a:pPr marL="297929" indent="-297929">
              <a:buFont typeface="Arial" panose="020B0604020202020204" pitchFamily="34" charset="0"/>
              <a:buChar char="•"/>
            </a:pPr>
            <a:r>
              <a:rPr lang="en-US"/>
              <a:t>We combine the deep understanding of threat actors and their techniques with our legal expertise and strong partnerships with governments and law enforcement organizations. </a:t>
            </a:r>
          </a:p>
          <a:p>
            <a:pPr marL="297929" indent="-297929">
              <a:buFont typeface="Arial" panose="020B0604020202020204" pitchFamily="34" charset="0"/>
              <a:buChar char="•"/>
            </a:pPr>
            <a:r>
              <a:rPr lang="en-US"/>
              <a:t>We are constantly finding ways to use the legal systems globally to shut down bad actors, for example, those who operate botnets and the dark web. </a:t>
            </a:r>
          </a:p>
          <a:p>
            <a:pPr marL="297929" indent="-297929">
              <a:buFont typeface="Arial" panose="020B0604020202020204" pitchFamily="34" charset="0"/>
              <a:buChar char="•"/>
            </a:pPr>
            <a:r>
              <a:rPr lang="en-US"/>
              <a:t>A big group of the security researchers focus on core </a:t>
            </a:r>
            <a:r>
              <a:rPr lang="en-US" b="1"/>
              <a:t>firmware security</a:t>
            </a:r>
            <a:r>
              <a:rPr lang="en-US"/>
              <a:t> to prevent firmware malware from attaching their code to the firmware’s code and protect a wide range of devices.</a:t>
            </a:r>
          </a:p>
          <a:p>
            <a:pPr marL="297929" indent="-297929">
              <a:buFont typeface="Arial" panose="020B0604020202020204" pitchFamily="34" charset="0"/>
              <a:buChar char="•"/>
            </a:pPr>
            <a:r>
              <a:rPr lang="en-US"/>
              <a:t>For researchers who work on </a:t>
            </a:r>
            <a:r>
              <a:rPr lang="en-US" b="1"/>
              <a:t>ransomware</a:t>
            </a:r>
            <a:r>
              <a:rPr lang="en-US"/>
              <a:t>, their focus is on understanding what the latest techniques are and how we can prevent ransomware from becoming a problem even when there is a breach.</a:t>
            </a:r>
          </a:p>
          <a:p>
            <a:pPr marL="297929" indent="-297929">
              <a:buFont typeface="Arial" panose="020B0604020202020204" pitchFamily="34" charset="0"/>
              <a:buChar char="•"/>
            </a:pPr>
            <a:r>
              <a:rPr lang="en-US" b="1"/>
              <a:t>Breach recovery</a:t>
            </a:r>
            <a:r>
              <a:rPr lang="en-US" b="0"/>
              <a:t> is part of the incident response, but we also have a set of folks focusing on how to build it into our security products so the right actions can be put in place in the event of a breach.</a:t>
            </a:r>
          </a:p>
          <a:p>
            <a:pPr marL="297929" indent="-297929">
              <a:buFont typeface="Arial" panose="020B0604020202020204" pitchFamily="34" charset="0"/>
              <a:buChar char="•"/>
            </a:pPr>
            <a:r>
              <a:rPr lang="en-US" b="0"/>
              <a:t>With phishing attacks on the rise, our researchers are focused on dissecting the latest </a:t>
            </a:r>
            <a:r>
              <a:rPr lang="en-US" b="1"/>
              <a:t>phishing</a:t>
            </a:r>
            <a:r>
              <a:rPr lang="en-US" b="0"/>
              <a:t> techniques to help improve our anti-phishing capabilities.</a:t>
            </a:r>
          </a:p>
          <a:p>
            <a:pPr marL="297929" indent="-297929">
              <a:buFont typeface="Arial" panose="020B0604020202020204" pitchFamily="34" charset="0"/>
              <a:buChar char="•"/>
            </a:pPr>
            <a:r>
              <a:rPr lang="en-US" b="1"/>
              <a:t>Offensive security </a:t>
            </a:r>
            <a:r>
              <a:rPr lang="en-US" b="0"/>
              <a:t>team is focused on not only doing red team exercises on our own infrastructure and assets but also figuring out how the red team </a:t>
            </a:r>
            <a:r>
              <a:rPr lang="en-US" b="0" err="1"/>
              <a:t>capablities</a:t>
            </a:r>
            <a:r>
              <a:rPr lang="en-US" b="0"/>
              <a:t> can be leveraged against all Microsoft products so our customers can benefit from the improved product resilience. </a:t>
            </a:r>
          </a:p>
          <a:p>
            <a:pPr marL="297929" indent="-297929">
              <a:buFont typeface="Arial" panose="020B0604020202020204" pitchFamily="34" charset="0"/>
              <a:buChar char="•"/>
            </a:pPr>
            <a:r>
              <a:rPr lang="en-US" b="0"/>
              <a:t>We work closely with our hardware partners on not only Windows PCs, but also other types of devices such as IoT to increase </a:t>
            </a:r>
            <a:r>
              <a:rPr lang="en-US" b="1"/>
              <a:t>hardware security</a:t>
            </a:r>
            <a:r>
              <a:rPr lang="en-US" b="0"/>
              <a:t>.</a:t>
            </a:r>
          </a:p>
          <a:p>
            <a:pPr marL="297929" indent="-297929">
              <a:buFont typeface="Arial" panose="020B0604020202020204" pitchFamily="34" charset="0"/>
              <a:buChar char="•"/>
            </a:pPr>
            <a:r>
              <a:rPr lang="en-US" b="1"/>
              <a:t>Global intelligence</a:t>
            </a:r>
            <a:r>
              <a:rPr lang="en-US" b="0"/>
              <a:t> encompasses nation-state threats, but it is also about keeping up with the latest trends in the global threat landscape and cyber crimes so we can help educate our customers and make our products better.</a:t>
            </a:r>
          </a:p>
          <a:p>
            <a:pPr marL="297929" indent="-297929">
              <a:buFont typeface="Arial" panose="020B0604020202020204" pitchFamily="34" charset="0"/>
              <a:buChar char="•"/>
            </a:pPr>
            <a:r>
              <a:rPr lang="en-US" b="0"/>
              <a:t>We are invested in identifying and eliminating </a:t>
            </a:r>
            <a:r>
              <a:rPr lang="en-US" b="1"/>
              <a:t>Microsoft and third-party product vulnerabilities</a:t>
            </a:r>
            <a:r>
              <a:rPr lang="en-US" b="0"/>
              <a:t>. We’ve built relationships with security researchers from different organizations around the world and created an ecosystem that helps facilitates and ensures speedy discovery of vulnerabilities in both our and third-party products and delivery of patches to prevent these vulnerabilities from being exploited.</a:t>
            </a:r>
          </a:p>
          <a:p>
            <a:pPr marL="297929" indent="-297929">
              <a:buFont typeface="Arial" panose="020B0604020202020204" pitchFamily="34" charset="0"/>
              <a:buChar char="•"/>
            </a:pPr>
            <a:r>
              <a:rPr lang="en-US" b="0"/>
              <a:t>We have a team focused on understanding the mechanisms of and building protection against </a:t>
            </a:r>
            <a:r>
              <a:rPr lang="en-US" b="1"/>
              <a:t>fraud</a:t>
            </a:r>
            <a:r>
              <a:rPr lang="en-US" b="0"/>
              <a:t> to protect our own business. The learnings are also shared with different product teams, so they can be built into the products to help our customers manage fraud in their own environments.</a:t>
            </a:r>
          </a:p>
          <a:p>
            <a:pPr marL="297929" indent="-297929">
              <a:buFont typeface="Arial" panose="020B0604020202020204" pitchFamily="34" charset="0"/>
              <a:buChar char="•"/>
            </a:pPr>
            <a:r>
              <a:rPr lang="en-US" b="0"/>
              <a:t>The dedicated </a:t>
            </a:r>
            <a:r>
              <a:rPr lang="en-US" b="1"/>
              <a:t>cloud security</a:t>
            </a:r>
            <a:r>
              <a:rPr lang="en-US" b="0"/>
              <a:t> team focuses on how to make our cloud platforms and the services delivered on top secure and how to build the technology into our products so all of our customers can be protected as well.</a:t>
            </a:r>
          </a:p>
          <a:p>
            <a:pPr marL="297929" indent="-297929">
              <a:buFont typeface="Arial" panose="020B0604020202020204" pitchFamily="34" charset="0"/>
              <a:buChar char="•"/>
            </a:pPr>
            <a:endParaRPr lang="en-US" b="0"/>
          </a:p>
        </p:txBody>
      </p:sp>
      <p:sp>
        <p:nvSpPr>
          <p:cNvPr id="4" name="Header Placeholder 3"/>
          <p:cNvSpPr>
            <a:spLocks noGrp="1"/>
          </p:cNvSpPr>
          <p:nvPr>
            <p:ph type="hdr" sz="quarter"/>
          </p:nvPr>
        </p:nvSpPr>
        <p:spPr/>
        <p:txBody>
          <a:bodyPr/>
          <a:lstStyle/>
          <a:p>
            <a:pPr defTabSz="1588953">
              <a:defRPr/>
            </a:pPr>
            <a:endParaRPr lang="en-US" sz="2100">
              <a:solidFill>
                <a:prstClr val="black"/>
              </a:solidFill>
              <a:latin typeface="Calibri" panose="020F0502020204030204"/>
            </a:endParaRPr>
          </a:p>
        </p:txBody>
      </p:sp>
      <p:sp>
        <p:nvSpPr>
          <p:cNvPr id="5" name="Footer Placeholder 4"/>
          <p:cNvSpPr>
            <a:spLocks noGrp="1"/>
          </p:cNvSpPr>
          <p:nvPr>
            <p:ph type="ftr" sz="quarter" idx="4"/>
          </p:nvPr>
        </p:nvSpPr>
        <p:spPr/>
        <p:txBody>
          <a:bodyPr/>
          <a:lstStyle/>
          <a:p>
            <a:pPr defTabSz="158843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1588953">
              <a:defRPr/>
            </a:pPr>
            <a:fld id="{386CE63F-9E7F-4C04-9D0D-FCA25A8E9E86}" type="datetime8">
              <a:rPr lang="en-US" sz="2100">
                <a:solidFill>
                  <a:prstClr val="black"/>
                </a:solidFill>
                <a:latin typeface="Calibri" panose="020F0502020204030204"/>
              </a:rPr>
              <a:pPr defTabSz="1588953">
                <a:defRPr/>
              </a:pPr>
              <a:t>8/31/2022 4:33 PM</a:t>
            </a:fld>
            <a:endParaRPr lang="en-US" sz="2100">
              <a:solidFill>
                <a:prstClr val="black"/>
              </a:solidFill>
              <a:latin typeface="Calibri" panose="020F0502020204030204"/>
            </a:endParaRPr>
          </a:p>
        </p:txBody>
      </p:sp>
      <p:sp>
        <p:nvSpPr>
          <p:cNvPr id="7" name="Slide Number Placeholder 6"/>
          <p:cNvSpPr>
            <a:spLocks noGrp="1"/>
          </p:cNvSpPr>
          <p:nvPr>
            <p:ph type="sldNum" sz="quarter" idx="5"/>
          </p:nvPr>
        </p:nvSpPr>
        <p:spPr/>
        <p:txBody>
          <a:bodyPr/>
          <a:lstStyle/>
          <a:p>
            <a:pPr defTabSz="1588953">
              <a:defRPr/>
            </a:pPr>
            <a:fld id="{B4008EB6-D09E-4580-8CD6-DDB14511944F}" type="slidenum">
              <a:rPr lang="en-US" sz="2100">
                <a:solidFill>
                  <a:prstClr val="black"/>
                </a:solidFill>
                <a:latin typeface="Calibri" panose="020F0502020204030204"/>
              </a:rPr>
              <a:pPr defTabSz="1588953">
                <a:defRPr/>
              </a:pPr>
              <a:t>35</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117957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2100" dirty="0">
                <a:solidFill>
                  <a:srgbClr val="2F2F2F"/>
                </a:solidFill>
                <a:latin typeface="Segoe UI" panose="020B0502040204020203" pitchFamily="34" charset="0"/>
                <a:ea typeface="Calibri" panose="020F0502020204030204" pitchFamily="34" charset="0"/>
              </a:rPr>
              <a:t>Simplifying your organization’s security landscape can lead to robust cost savings including vendor license cost consolidation, reducing threats through streamlined dashboards, AI, and automation, streamlining SecOps, and reducing time spent on administration and deployment which can improve your bottom line. Microsoft Security can help you achieve savings in three ways: </a:t>
            </a:r>
            <a:endParaRPr lang="en-US" dirty="0"/>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marL="297929" indent="-297929" defTabSz="1588953">
              <a:buFont typeface="Arial" panose="020B0604020202020204" pitchFamily="34" charset="0"/>
              <a:buChar char="•"/>
              <a:defRPr/>
            </a:pPr>
            <a:r>
              <a:rPr lang="en-US" sz="2100" dirty="0">
                <a:latin typeface="+mj-lt"/>
                <a:ea typeface="Segoe UI" pitchFamily="34" charset="0"/>
                <a:cs typeface="Segoe UI"/>
              </a:rPr>
              <a:t>Simplify Vendor Management</a:t>
            </a:r>
          </a:p>
          <a:p>
            <a:pPr marL="297929" indent="-297929" defTabSz="1588953">
              <a:buFont typeface="Arial" panose="020B0604020202020204" pitchFamily="34" charset="0"/>
              <a:buChar char="•"/>
              <a:defRPr/>
            </a:pPr>
            <a:r>
              <a:rPr lang="en-US" sz="2100" dirty="0">
                <a:latin typeface="+mj-lt"/>
                <a:ea typeface="Segoe UI" pitchFamily="34" charset="0"/>
                <a:cs typeface="Segoe UI"/>
              </a:rPr>
              <a:t>Reduce threats with AI and Automation </a:t>
            </a:r>
          </a:p>
          <a:p>
            <a:pPr marL="297929" indent="-297929" defTabSz="1588953">
              <a:buFont typeface="Arial" panose="020B0604020202020204" pitchFamily="34" charset="0"/>
              <a:buChar char="•"/>
              <a:defRPr/>
            </a:pPr>
            <a:r>
              <a:rPr lang="en-US" sz="2100" dirty="0">
                <a:latin typeface="+mj-lt"/>
                <a:ea typeface="Segoe UI" pitchFamily="34" charset="0"/>
                <a:cs typeface="Segoe UI"/>
              </a:rPr>
              <a:t>Improve Operational Efficiency </a:t>
            </a:r>
          </a:p>
          <a:p>
            <a:endParaRPr lang="en-US" dirty="0"/>
          </a:p>
          <a:p>
            <a:r>
              <a:rPr lang="en-US" dirty="0"/>
              <a:t>Let’s dive in to each one… (click)</a:t>
            </a:r>
          </a:p>
        </p:txBody>
      </p:sp>
      <p:sp>
        <p:nvSpPr>
          <p:cNvPr id="4" name="Slide Number Placeholder 3"/>
          <p:cNvSpPr>
            <a:spLocks noGrp="1"/>
          </p:cNvSpPr>
          <p:nvPr>
            <p:ph type="sldNum" sz="quarter" idx="5"/>
          </p:nvPr>
        </p:nvSpPr>
        <p:spPr/>
        <p:txBody>
          <a:bodyPr/>
          <a:lstStyle/>
          <a:p>
            <a:fld id="{BCCA3AF7-B6E8-4FA6-8DC5-D653885B5CBA}" type="slidenum">
              <a:rPr lang="en-US" smtClean="0"/>
              <a:t>3</a:t>
            </a:fld>
            <a:endParaRPr lang="en-US"/>
          </a:p>
        </p:txBody>
      </p:sp>
    </p:spTree>
    <p:extLst>
      <p:ext uri="{BB962C8B-B14F-4D97-AF65-F5344CB8AC3E}">
        <p14:creationId xmlns:p14="http://schemas.microsoft.com/office/powerpoint/2010/main" val="740941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2100" b="1" dirty="0"/>
              <a:t>Key slide takeaway</a:t>
            </a:r>
            <a:r>
              <a:rPr lang="en-US" sz="2100" dirty="0"/>
              <a:t>:  Microsoft and our ecosystem are committed to helping our customers protect and defend their data and devices.  </a:t>
            </a:r>
          </a:p>
          <a:p>
            <a:pPr defTabSz="1588953">
              <a:defRPr/>
            </a:pPr>
            <a:endParaRPr lang="en-US" sz="2100" dirty="0">
              <a:solidFill>
                <a:srgbClr val="212121"/>
              </a:solidFill>
              <a:latin typeface="Gartner sans"/>
            </a:endParaRPr>
          </a:p>
          <a:p>
            <a:pPr defTabSz="1588953">
              <a:defRPr/>
            </a:pPr>
            <a:r>
              <a:rPr lang="en-US" sz="2100" b="1" dirty="0"/>
              <a:t>Main points to cover:</a:t>
            </a:r>
          </a:p>
          <a:p>
            <a:pPr marL="297929" indent="-297929" defTabSz="1588953">
              <a:buFont typeface="Arial" panose="020B0604020202020204" pitchFamily="34" charset="0"/>
              <a:buChar char="•"/>
              <a:defRPr/>
            </a:pPr>
            <a:r>
              <a:rPr lang="en-US" sz="2100" dirty="0">
                <a:solidFill>
                  <a:srgbClr val="212121"/>
                </a:solidFill>
                <a:latin typeface="Gartner sans"/>
              </a:rPr>
              <a:t>Microsoft is a trusted security advisor, </a:t>
            </a:r>
            <a:r>
              <a:rPr lang="en-US" sz="2100" dirty="0">
                <a:gradFill>
                  <a:gsLst>
                    <a:gs pos="83000">
                      <a:srgbClr val="FFFFFF"/>
                    </a:gs>
                    <a:gs pos="100000">
                      <a:srgbClr val="FFFFFF"/>
                    </a:gs>
                  </a:gsLst>
                  <a:lin ang="5400000" scaled="1"/>
                </a:gradFill>
                <a:latin typeface="Segoe UI"/>
              </a:rPr>
              <a:t>providing strategic guidance, response teams, and leading through security initiatives and investments </a:t>
            </a:r>
            <a:br>
              <a:rPr lang="en-US" sz="2100" dirty="0">
                <a:gradFill>
                  <a:gsLst>
                    <a:gs pos="83000">
                      <a:srgbClr val="FFFFFF"/>
                    </a:gs>
                    <a:gs pos="100000">
                      <a:srgbClr val="FFFFFF"/>
                    </a:gs>
                  </a:gsLst>
                  <a:lin ang="5400000" scaled="1"/>
                </a:gradFill>
                <a:latin typeface="Segoe UI"/>
              </a:rPr>
            </a:br>
            <a:r>
              <a:rPr lang="en-US" sz="2100" dirty="0">
                <a:gradFill>
                  <a:gsLst>
                    <a:gs pos="83000">
                      <a:srgbClr val="FFFFFF"/>
                    </a:gs>
                    <a:gs pos="100000">
                      <a:srgbClr val="FFFFFF"/>
                    </a:gs>
                  </a:gsLst>
                  <a:lin ang="5400000" scaled="1"/>
                </a:gradFill>
                <a:latin typeface="Segoe UI"/>
              </a:rPr>
              <a:t>(reference slide 27)</a:t>
            </a:r>
          </a:p>
          <a:p>
            <a:pPr marL="297929" indent="-297929" defTabSz="1588953">
              <a:buFont typeface="Arial" panose="020B0604020202020204" pitchFamily="34" charset="0"/>
              <a:buChar char="•"/>
              <a:defRPr/>
            </a:pPr>
            <a:r>
              <a:rPr lang="en-US" sz="2100" dirty="0">
                <a:gradFill>
                  <a:gsLst>
                    <a:gs pos="83000">
                      <a:srgbClr val="FFFFFF"/>
                    </a:gs>
                    <a:gs pos="100000">
                      <a:srgbClr val="FFFFFF"/>
                    </a:gs>
                  </a:gsLst>
                  <a:lin ang="5400000" scaled="1"/>
                </a:gradFill>
                <a:latin typeface="Segoe UI"/>
              </a:rPr>
              <a:t>Microsoft offers deployment guidance through FastTrack, consultants and partners </a:t>
            </a:r>
          </a:p>
          <a:p>
            <a:pPr marL="297929" indent="-297929" defTabSz="1588953">
              <a:buFont typeface="Arial" panose="020B0604020202020204" pitchFamily="34" charset="0"/>
              <a:buChar char="•"/>
              <a:defRPr/>
            </a:pPr>
            <a:r>
              <a:rPr lang="en-US" sz="2100" dirty="0">
                <a:gradFill>
                  <a:gsLst>
                    <a:gs pos="83000">
                      <a:srgbClr val="FFFFFF"/>
                    </a:gs>
                    <a:gs pos="100000">
                      <a:srgbClr val="FFFFFF"/>
                    </a:gs>
                  </a:gsLst>
                  <a:lin ang="5400000" scaled="1"/>
                </a:gradFill>
                <a:latin typeface="Segoe UI"/>
              </a:rPr>
              <a:t>Microsoft offers training and certification to help ensure access to highly qualified professionals to deploy and maintain your security solutions </a:t>
            </a:r>
          </a:p>
          <a:p>
            <a:pPr marL="297929" indent="-297929" defTabSz="1588953">
              <a:buFont typeface="Arial" panose="020B0604020202020204" pitchFamily="34" charset="0"/>
              <a:buChar char="•"/>
              <a:defRPr/>
            </a:pPr>
            <a:endParaRPr lang="en-US" sz="2100" dirty="0">
              <a:solidFill>
                <a:srgbClr val="212121"/>
              </a:solidFill>
              <a:latin typeface="Gartner sans"/>
            </a:endParaRPr>
          </a:p>
          <a:p>
            <a:pPr defTabSz="1588953">
              <a:defRPr/>
            </a:pPr>
            <a:endParaRPr lang="en-US" sz="2100" dirty="0">
              <a:solidFill>
                <a:srgbClr val="212121"/>
              </a:solidFill>
              <a:latin typeface="Gartner sans"/>
            </a:endParaRPr>
          </a:p>
          <a:p>
            <a:pPr defTabSz="1588953">
              <a:defRPr/>
            </a:pPr>
            <a:r>
              <a:rPr lang="en-US" sz="2100" dirty="0">
                <a:solidFill>
                  <a:srgbClr val="212121"/>
                </a:solidFill>
                <a:latin typeface="Gartner sans"/>
              </a:rPr>
              <a:t>Citations:</a:t>
            </a:r>
            <a:endParaRPr lang="en-US" sz="2100" dirty="0"/>
          </a:p>
          <a:p>
            <a:pPr defTabSz="1588953">
              <a:defRPr/>
            </a:pPr>
            <a:r>
              <a:rPr lang="en-US" sz="2100" dirty="0"/>
              <a:t>“The Total Economic Impact™ Of Microsoft FastTrack.” Forrester. October 2017, commissioned by Microsoft</a:t>
            </a:r>
            <a:endParaRPr lang="en-US" dirty="0"/>
          </a:p>
          <a:p>
            <a:endParaRPr lang="en-US" dirty="0"/>
          </a:p>
        </p:txBody>
      </p:sp>
      <p:sp>
        <p:nvSpPr>
          <p:cNvPr id="4" name="Slide Number Placeholder 3"/>
          <p:cNvSpPr>
            <a:spLocks noGrp="1"/>
          </p:cNvSpPr>
          <p:nvPr>
            <p:ph type="sldNum" sz="quarter" idx="5"/>
          </p:nvPr>
        </p:nvSpPr>
        <p:spPr/>
        <p:txBody>
          <a:bodyPr/>
          <a:lstStyle/>
          <a:p>
            <a:pPr defTabSz="1588953">
              <a:defRPr/>
            </a:pPr>
            <a:fld id="{BCCA3AF7-B6E8-4FA6-8DC5-D653885B5CBA}" type="slidenum">
              <a:rPr lang="en-US">
                <a:solidFill>
                  <a:prstClr val="black"/>
                </a:solidFill>
                <a:latin typeface="Calibri" panose="020F0502020204030204"/>
              </a:rPr>
              <a:pPr defTabSz="1588953">
                <a:defRPr/>
              </a:pPr>
              <a:t>36</a:t>
            </a:fld>
            <a:endParaRPr lang="en-US">
              <a:solidFill>
                <a:prstClr val="black"/>
              </a:solidFill>
              <a:latin typeface="Calibri" panose="020F0502020204030204"/>
            </a:endParaRPr>
          </a:p>
        </p:txBody>
      </p:sp>
    </p:spTree>
    <p:extLst>
      <p:ext uri="{BB962C8B-B14F-4D97-AF65-F5344CB8AC3E}">
        <p14:creationId xmlns:p14="http://schemas.microsoft.com/office/powerpoint/2010/main" val="330722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5" name="Shape 1895"/>
          <p:cNvSpPr>
            <a:spLocks noGrp="1" noRot="1" noChangeAspect="1"/>
          </p:cNvSpPr>
          <p:nvPr>
            <p:ph type="sldImg"/>
          </p:nvPr>
        </p:nvSpPr>
        <p:spPr>
          <a:xfrm>
            <a:off x="4452938" y="960438"/>
            <a:ext cx="8534400" cy="4800600"/>
          </a:xfrm>
          <a:prstGeom prst="rect">
            <a:avLst/>
          </a:prstGeom>
        </p:spPr>
        <p:txBody>
          <a:bodyPr/>
          <a:lstStyle/>
          <a:p>
            <a:endParaRPr/>
          </a:p>
        </p:txBody>
      </p:sp>
      <p:sp>
        <p:nvSpPr>
          <p:cNvPr id="1896" name="Shape 1896"/>
          <p:cNvSpPr>
            <a:spLocks noGrp="1"/>
          </p:cNvSpPr>
          <p:nvPr>
            <p:ph type="body" sz="quarter" idx="1"/>
          </p:nvPr>
        </p:nvSpPr>
        <p:spPr>
          <a:prstGeom prst="rect">
            <a:avLst/>
          </a:prstGeom>
        </p:spPr>
        <p:txBody>
          <a:bodyPr/>
          <a:lstStyle/>
          <a:p>
            <a:r>
              <a:rPr b="1" dirty="0"/>
              <a:t>Talk track: </a:t>
            </a:r>
            <a:r>
              <a:rPr lang="en-US" b="1" dirty="0"/>
              <a:t> </a:t>
            </a:r>
            <a:r>
              <a:rPr dirty="0"/>
              <a:t>Our conversations with customers around the world have helped us identify five key security challenges that may be familiar to you.</a:t>
            </a:r>
            <a:r>
              <a:rPr lang="en-US" dirty="0"/>
              <a:t> If you are also facing similar or additional challenges, we’d love to chat more by pulling in respective experts and help you achieve your security goals. </a:t>
            </a:r>
            <a:endParaRPr dirty="0"/>
          </a:p>
          <a:p>
            <a:pPr>
              <a:lnSpc>
                <a:spcPct val="107000"/>
              </a:lnSpc>
              <a:spcBef>
                <a:spcPts val="1390"/>
              </a:spcBef>
              <a:defRPr sz="1800">
                <a:latin typeface="Calibri"/>
                <a:ea typeface="Calibri"/>
                <a:cs typeface="Calibri"/>
                <a:sym typeface="Calibri"/>
              </a:defRPr>
            </a:pPr>
            <a:endParaRPr dirty="0"/>
          </a:p>
          <a:p>
            <a:pPr marL="595857" indent="-595857">
              <a:lnSpc>
                <a:spcPct val="107000"/>
              </a:lnSpc>
              <a:buSzPct val="100000"/>
              <a:buFont typeface="Symbol"/>
              <a:buChar char="·"/>
              <a:defRPr sz="1800">
                <a:latin typeface="Calibri"/>
                <a:ea typeface="Calibri"/>
                <a:cs typeface="Calibri"/>
                <a:sym typeface="Calibri"/>
              </a:defRPr>
            </a:pPr>
            <a:r>
              <a:rPr dirty="0"/>
              <a:t>Protect identity &amp; endpoints for strong zero trust foundations. Among its six pillars, a Zero Trust Security framework should start with securing the people and the devices that they use to get work done. Both are increasingly important as we navigate a hybrid world where employees will work from anywhere across different business and personal devices. Whether you are thinking about implementing a Zero Trust framework or have already started, we are here to help you secure the hybrid workforce and offer seamless user experiences, so you don’t need to compromise between security and productivity.</a:t>
            </a:r>
          </a:p>
          <a:p>
            <a:pPr marL="595857" indent="-595857">
              <a:lnSpc>
                <a:spcPct val="107000"/>
              </a:lnSpc>
              <a:buSzPct val="100000"/>
              <a:buFont typeface="Symbol"/>
              <a:buChar char="·"/>
              <a:defRPr sz="1800">
                <a:latin typeface="Calibri"/>
                <a:ea typeface="Calibri"/>
                <a:cs typeface="Calibri"/>
                <a:sym typeface="Calibri"/>
              </a:defRPr>
            </a:pPr>
            <a:r>
              <a:rPr dirty="0"/>
              <a:t>Modernize security and defend against threats. As we navigate the hybrid future in additional to facing more sophisticated threats and more complex regulatory environment, security tools also need to evolve. Organizations need to stay ahead of attackers to end attacks before they happen and cause damage, highlighting the need for a unified and efficient SecOps experience and streamlined process leveraging automation and orchestration. If an incident does occur, organizations need to be armed with the tools to quickly verify impact and remediate.  </a:t>
            </a:r>
          </a:p>
          <a:p>
            <a:pPr marL="595857" indent="-595857">
              <a:lnSpc>
                <a:spcPct val="107000"/>
              </a:lnSpc>
              <a:buSzPct val="100000"/>
              <a:buFont typeface="Symbol"/>
              <a:buChar char="·"/>
              <a:defRPr sz="1800">
                <a:latin typeface="Calibri"/>
                <a:ea typeface="Calibri"/>
                <a:cs typeface="Calibri"/>
                <a:sym typeface="Calibri"/>
              </a:defRPr>
            </a:pPr>
            <a:r>
              <a:rPr dirty="0"/>
              <a:t>Secure </a:t>
            </a:r>
            <a:r>
              <a:rPr lang="en-US" dirty="0" err="1"/>
              <a:t>multi</a:t>
            </a:r>
            <a:r>
              <a:rPr dirty="0" err="1"/>
              <a:t>cloud</a:t>
            </a:r>
            <a:r>
              <a:rPr dirty="0"/>
              <a:t> infrastructure in and outside of Azure. The infrastructure, data, and apps built and run in the cloud are the foundational building blocks for a modern business. No matter where you are in your cloud journey, you likely utilize every layer of the cloud – from IaaS to PaaS to SaaS. More and more organizations today also have a multi-cloud and/or a hybrid strategy to maximize business impact, but at the same time, such strategy complicates security. Organizations today need a security solution that offers multi-cloud protection across every layer for a strong security posture.</a:t>
            </a:r>
          </a:p>
          <a:p>
            <a:pPr marL="595857" indent="-595857">
              <a:lnSpc>
                <a:spcPct val="107000"/>
              </a:lnSpc>
              <a:buSzPct val="100000"/>
              <a:buFont typeface="Symbol"/>
              <a:buChar char="·"/>
              <a:defRPr sz="1800">
                <a:latin typeface="Calibri"/>
                <a:ea typeface="Calibri"/>
                <a:cs typeface="Calibri"/>
                <a:sym typeface="Calibri"/>
              </a:defRPr>
            </a:pPr>
            <a:r>
              <a:rPr dirty="0"/>
              <a:t>Protect and govern sensitive data. Data is the lifeblood of any organization. How business data is handled and processed becomes increasingly important as the amount of data is growing at unprecedented rate and leaving the corporate firewall in the hybrid world. Organizations want to be equipped with the tools to understand their vast data landscape,</a:t>
            </a:r>
            <a:r>
              <a:rPr lang="en-US" dirty="0"/>
              <a:t> to </a:t>
            </a:r>
            <a:r>
              <a:rPr lang="en-US" b="0" i="0" dirty="0">
                <a:solidFill>
                  <a:srgbClr val="212529"/>
                </a:solidFill>
                <a:effectLst/>
                <a:latin typeface="-apple-system"/>
              </a:rPr>
              <a:t>know, detect and prevent data loss, leakage, transfer, and theft, while fostering safe and compliant communications. </a:t>
            </a:r>
            <a:endParaRPr lang="en-US" dirty="0"/>
          </a:p>
          <a:p>
            <a:pPr marL="595857" indent="-595857">
              <a:lnSpc>
                <a:spcPct val="107000"/>
              </a:lnSpc>
              <a:buSzPct val="100000"/>
              <a:buFont typeface="Symbol"/>
              <a:buChar char="·"/>
              <a:defRPr sz="1800">
                <a:latin typeface="Calibri"/>
                <a:ea typeface="Calibri"/>
                <a:cs typeface="Calibri"/>
                <a:sym typeface="Calibri"/>
              </a:defRPr>
            </a:pPr>
            <a:r>
              <a:rPr dirty="0"/>
              <a:t>M</a:t>
            </a:r>
            <a:r>
              <a:rPr lang="en-US" dirty="0"/>
              <a:t>itigate compliance and privacy r</a:t>
            </a:r>
            <a:r>
              <a:rPr dirty="0"/>
              <a:t>isk.</a:t>
            </a:r>
            <a:r>
              <a:rPr lang="en-US" dirty="0"/>
              <a:t> M</a:t>
            </a:r>
            <a:r>
              <a:rPr lang="en-US" b="0" i="0" dirty="0">
                <a:solidFill>
                  <a:srgbClr val="212529"/>
                </a:solidFill>
                <a:effectLst/>
                <a:latin typeface="-apple-system"/>
              </a:rPr>
              <a:t>anage regulatory compliance requirements while also maintaining their customer &amp; employee privacy. Organizations need to manage regulatory compliance privacy and risk, case management, chain of custody, audit, all while respecting  individual rights. </a:t>
            </a:r>
          </a:p>
        </p:txBody>
      </p:sp>
    </p:spTree>
    <p:extLst>
      <p:ext uri="{BB962C8B-B14F-4D97-AF65-F5344CB8AC3E}">
        <p14:creationId xmlns:p14="http://schemas.microsoft.com/office/powerpoint/2010/main" val="1253922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3100" dirty="0">
                <a:solidFill>
                  <a:srgbClr val="2F2F2F"/>
                </a:solidFill>
                <a:latin typeface="Segoe UI" panose="020B0502040204020203" pitchFamily="34" charset="0"/>
                <a:ea typeface="Calibri" panose="020F0502020204030204" pitchFamily="34" charset="0"/>
              </a:rPr>
              <a:t>Simplifying your organization’s security landscape can lead to robust cost savings including vendor license cost consolidation, reducing threats through streamlined dashboards, AI, and automation, streamlining SecOps, and reducing time spent on administration and deployment which can improve your bottom line. Microsoft Security can help you achieve savings in three ways: </a:t>
            </a: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r>
              <a:rPr lang="en-US" sz="2100" b="1" dirty="0">
                <a:latin typeface="+mj-lt"/>
                <a:ea typeface="Segoe UI" pitchFamily="34" charset="0"/>
                <a:cs typeface="Segoe UI"/>
              </a:rPr>
              <a:t>Simplify Vendor Management</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Integrate up to 50 product categories</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Eliminate redundant capabilities</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Consolidate number of contracts to manage</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Cut third party consulting and deployment costs</a:t>
            </a:r>
          </a:p>
          <a:p>
            <a:pPr marL="297929" indent="-297929" defTabSz="1588896">
              <a:spcAft>
                <a:spcPts val="1043"/>
              </a:spcAft>
              <a:buFont typeface="Wingdings" panose="05000000000000000000" pitchFamily="2" charset="2"/>
              <a:buChar char="§"/>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896">
              <a:spcAft>
                <a:spcPts val="1043"/>
              </a:spcAft>
              <a:defRPr/>
            </a:pPr>
            <a:r>
              <a:rPr lang="en-US" sz="2100" dirty="0">
                <a:solidFill>
                  <a:srgbClr val="000000"/>
                </a:solidFill>
                <a:latin typeface="Segoe UI Semilight" panose="020B0402040204020203" pitchFamily="34" charset="0"/>
                <a:cs typeface="Segoe UI Semilight" panose="020B0402040204020203" pitchFamily="34" charset="0"/>
              </a:rPr>
              <a:t>Potential cost savings:  </a:t>
            </a:r>
          </a:p>
          <a:p>
            <a:pPr marL="297929" indent="-297929" defTabSz="1588953">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60% </a:t>
            </a:r>
            <a:r>
              <a:rPr lang="en-US" sz="2100" dirty="0">
                <a:solidFill>
                  <a:srgbClr val="000000"/>
                </a:solidFill>
                <a:latin typeface="Segoe UI"/>
              </a:rPr>
              <a:t>savings by consolidating licenses with </a:t>
            </a:r>
            <a:r>
              <a:rPr lang="en-US" sz="2100" dirty="0">
                <a:solidFill>
                  <a:srgbClr val="000000"/>
                </a:solidFill>
                <a:latin typeface="Segoe UI Semibold" panose="020B0702040204020203" pitchFamily="34" charset="0"/>
                <a:cs typeface="Segoe UI Semibold" panose="020B0702040204020203" pitchFamily="34" charset="0"/>
              </a:rPr>
              <a:t>Microsoft 365 E5 Security </a:t>
            </a:r>
            <a:r>
              <a:rPr lang="en-US" sz="2100" dirty="0">
                <a:solidFill>
                  <a:srgbClr val="000000"/>
                </a:solidFill>
                <a:latin typeface="Segoe UI"/>
              </a:rPr>
              <a:t>and </a:t>
            </a:r>
            <a:r>
              <a:rPr lang="en-US" sz="2100" dirty="0">
                <a:solidFill>
                  <a:srgbClr val="000000"/>
                </a:solidFill>
                <a:latin typeface="Segoe UI Semibold" panose="020B0702040204020203" pitchFamily="34" charset="0"/>
                <a:cs typeface="Segoe UI Semibold" panose="020B0702040204020203" pitchFamily="34" charset="0"/>
              </a:rPr>
              <a:t>Microsoft 365 E5 Compliance </a:t>
            </a:r>
            <a:r>
              <a:rPr lang="en-US" sz="2100" dirty="0">
                <a:solidFill>
                  <a:srgbClr val="000000"/>
                </a:solidFill>
                <a:latin typeface="Segoe UI" panose="020B0502040204020203" pitchFamily="34" charset="0"/>
                <a:cs typeface="Segoe UI" panose="020B0502040204020203" pitchFamily="34" charset="0"/>
              </a:rPr>
              <a:t>1</a:t>
            </a:r>
            <a:r>
              <a:rPr lang="en-US" sz="2100" dirty="0">
                <a:solidFill>
                  <a:srgbClr val="000000"/>
                </a:solidFill>
                <a:latin typeface="Segoe UI Semibold" panose="020B0702040204020203" pitchFamily="34" charset="0"/>
                <a:cs typeface="Segoe UI Semibold" panose="020B0702040204020203" pitchFamily="34" charset="0"/>
              </a:rPr>
              <a:t> </a:t>
            </a:r>
            <a:endParaRPr lang="en-US" sz="2100" b="1" dirty="0">
              <a:solidFill>
                <a:srgbClr val="000000"/>
              </a:solidFill>
              <a:latin typeface="Segoe UI Semibold" panose="020B0702040204020203" pitchFamily="34" charset="0"/>
              <a:cs typeface="Segoe UI Semibold" panose="020B0702040204020203" pitchFamily="34" charset="0"/>
            </a:endParaRPr>
          </a:p>
          <a:p>
            <a:pPr marL="297929" indent="-297929" defTabSz="1588953">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30% </a:t>
            </a:r>
            <a:r>
              <a:rPr lang="en-US" sz="2100" dirty="0">
                <a:solidFill>
                  <a:srgbClr val="000000"/>
                </a:solidFill>
                <a:latin typeface="Segoe UI"/>
                <a:cs typeface="Segoe UI"/>
              </a:rPr>
              <a:t>savings from unifying cloud security </a:t>
            </a:r>
            <a:r>
              <a:rPr lang="en-US" sz="2100" dirty="0">
                <a:solidFill>
                  <a:srgbClr val="000000"/>
                </a:solidFill>
                <a:latin typeface="Segoe UI"/>
              </a:rPr>
              <a:t>tools with </a:t>
            </a:r>
            <a:r>
              <a:rPr lang="en-US" sz="2100" dirty="0">
                <a:solidFill>
                  <a:srgbClr val="000000"/>
                </a:solidFill>
                <a:latin typeface="Segoe UI Semibold" panose="020B0702040204020203" pitchFamily="34" charset="0"/>
                <a:cs typeface="Segoe UI Semibold" panose="020B0702040204020203" pitchFamily="34" charset="0"/>
              </a:rPr>
              <a:t>Defender for Cloud </a:t>
            </a:r>
            <a:r>
              <a:rPr lang="en-US" sz="2100" dirty="0">
                <a:solidFill>
                  <a:srgbClr val="000000"/>
                </a:solidFill>
                <a:latin typeface="Segoe UI" panose="020B0502040204020203" pitchFamily="34" charset="0"/>
                <a:cs typeface="Segoe UI" panose="020B0502040204020203" pitchFamily="34" charset="0"/>
              </a:rPr>
              <a:t>2 </a:t>
            </a:r>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r>
              <a:rPr lang="en-US" sz="2100" b="1" dirty="0">
                <a:latin typeface="+mj-lt"/>
                <a:ea typeface="Segoe UI" pitchFamily="34" charset="0"/>
                <a:cs typeface="Segoe UI"/>
              </a:rPr>
              <a:t>Reduce threats with AI and Automation </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Detect and respond faster and more accurately to attacks and insider risks </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Protect and govern your sensitive data</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Manage and govern your on-premises, multi-cloud, and software-as-a-service (SaaS) data</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Improve compliance, monitor and remediate potentially risky activity, and safely enable productive work for employees using multiple devices in multiple locations.</a:t>
            </a:r>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r>
              <a:rPr lang="en-US" sz="2100" dirty="0">
                <a:solidFill>
                  <a:srgbClr val="000000"/>
                </a:solidFill>
                <a:latin typeface="Segoe UI Semilight" panose="020B0402040204020203" pitchFamily="34" charset="0"/>
                <a:cs typeface="Segoe UI Semilight" panose="020B0402040204020203" pitchFamily="34" charset="0"/>
              </a:rPr>
              <a:t>Potential cost savings:  </a:t>
            </a:r>
          </a:p>
          <a:p>
            <a:pPr marL="496548" indent="-496548" defTabSz="1588896">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60% </a:t>
            </a:r>
            <a:r>
              <a:rPr lang="en-US" sz="2100" dirty="0">
                <a:solidFill>
                  <a:srgbClr val="000000"/>
                </a:solidFill>
                <a:latin typeface="Segoe UI"/>
              </a:rPr>
              <a:t>reduced risk of material breach with </a:t>
            </a:r>
            <a:r>
              <a:rPr lang="nn-NO" sz="2100" dirty="0">
                <a:solidFill>
                  <a:srgbClr val="000000"/>
                </a:solidFill>
                <a:latin typeface="Segoe UI Semibold" panose="020B0702040204020203" pitchFamily="34" charset="0"/>
                <a:cs typeface="Segoe UI Semibold" panose="020B0702040204020203" pitchFamily="34" charset="0"/>
              </a:rPr>
              <a:t>Microsoft Sentinel, Microsoft 365 Defender,</a:t>
            </a:r>
            <a:r>
              <a:rPr lang="nn-NO" sz="2100" dirty="0">
                <a:solidFill>
                  <a:srgbClr val="000000"/>
                </a:solidFill>
                <a:latin typeface="Segoe UI"/>
              </a:rPr>
              <a:t> and </a:t>
            </a:r>
            <a:r>
              <a:rPr lang="nn-NO" sz="2100" dirty="0">
                <a:solidFill>
                  <a:srgbClr val="000000"/>
                </a:solidFill>
                <a:latin typeface="Segoe UI Semibold" panose="020B0702040204020203" pitchFamily="34" charset="0"/>
                <a:cs typeface="Segoe UI Semibold" panose="020B0702040204020203" pitchFamily="34" charset="0"/>
              </a:rPr>
              <a:t>Microsoft </a:t>
            </a:r>
            <a:r>
              <a:rPr lang="en-US" sz="2100" dirty="0">
                <a:solidFill>
                  <a:srgbClr val="000000"/>
                </a:solidFill>
                <a:latin typeface="Segoe UI Semibold" panose="020B0702040204020203" pitchFamily="34" charset="0"/>
                <a:cs typeface="Segoe UI Semibold" panose="020B0702040204020203" pitchFamily="34" charset="0"/>
              </a:rPr>
              <a:t>Defender for Cloud</a:t>
            </a:r>
            <a:r>
              <a:rPr lang="en-US" sz="2100" dirty="0">
                <a:solidFill>
                  <a:srgbClr val="000000"/>
                </a:solidFill>
                <a:latin typeface="Segoe UI"/>
              </a:rPr>
              <a:t>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3</a:t>
            </a:r>
            <a:endParaRPr lang="en-US" sz="2100" dirty="0">
              <a:solidFill>
                <a:srgbClr val="000000"/>
              </a:solidFill>
              <a:latin typeface="Segoe UI"/>
            </a:endParaRPr>
          </a:p>
          <a:p>
            <a:pPr marL="496548" indent="-496548" defTabSz="1588896">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65% </a:t>
            </a:r>
            <a:r>
              <a:rPr lang="en-US" sz="2100" dirty="0">
                <a:solidFill>
                  <a:srgbClr val="000000"/>
                </a:solidFill>
                <a:latin typeface="Segoe UI"/>
              </a:rPr>
              <a:t>less time to investigate </a:t>
            </a:r>
            <a:r>
              <a:rPr lang="en-US" sz="2100" dirty="0" err="1">
                <a:solidFill>
                  <a:srgbClr val="000000"/>
                </a:solidFill>
                <a:latin typeface="Segoe UI"/>
              </a:rPr>
              <a:t>threats,with</a:t>
            </a:r>
            <a:r>
              <a:rPr lang="en-US" sz="2100" dirty="0">
                <a:solidFill>
                  <a:srgbClr val="000000"/>
                </a:solidFill>
                <a:latin typeface="Segoe UI"/>
              </a:rPr>
              <a:t> </a:t>
            </a:r>
            <a:r>
              <a:rPr lang="nn-NO" sz="2100" dirty="0">
                <a:solidFill>
                  <a:srgbClr val="000000"/>
                </a:solidFill>
                <a:latin typeface="Segoe UI Semibold" panose="020B0702040204020203" pitchFamily="34" charset="0"/>
                <a:cs typeface="Segoe UI Semibold" panose="020B0702040204020203" pitchFamily="34" charset="0"/>
              </a:rPr>
              <a:t>Microsoft Sentinel, Microsoft 365 Defender,</a:t>
            </a:r>
            <a:r>
              <a:rPr lang="nn-NO" sz="2100" dirty="0">
                <a:solidFill>
                  <a:srgbClr val="000000"/>
                </a:solidFill>
                <a:latin typeface="Segoe UI"/>
              </a:rPr>
              <a:t> and </a:t>
            </a:r>
            <a:r>
              <a:rPr lang="nn-NO" sz="2100" dirty="0">
                <a:solidFill>
                  <a:srgbClr val="000000"/>
                </a:solidFill>
                <a:latin typeface="Segoe UI Semibold" panose="020B0702040204020203" pitchFamily="34" charset="0"/>
                <a:cs typeface="Segoe UI Semibold" panose="020B0702040204020203" pitchFamily="34" charset="0"/>
              </a:rPr>
              <a:t>Microsoft </a:t>
            </a:r>
            <a:r>
              <a:rPr lang="en-US" sz="2100" dirty="0">
                <a:solidFill>
                  <a:srgbClr val="000000"/>
                </a:solidFill>
                <a:latin typeface="Segoe UI Semibold" panose="020B0702040204020203" pitchFamily="34" charset="0"/>
                <a:cs typeface="Segoe UI Semibold" panose="020B0702040204020203" pitchFamily="34" charset="0"/>
              </a:rPr>
              <a:t>Defender for Cloud</a:t>
            </a:r>
            <a:r>
              <a:rPr lang="en-US" sz="2100" dirty="0">
                <a:solidFill>
                  <a:srgbClr val="000000"/>
                </a:solidFill>
                <a:latin typeface="Segoe UI"/>
              </a:rPr>
              <a:t>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3</a:t>
            </a:r>
            <a:endParaRPr lang="en-US" sz="2100" dirty="0">
              <a:solidFill>
                <a:srgbClr val="000000"/>
              </a:solidFill>
              <a:latin typeface="Segoe UI"/>
            </a:endParaRPr>
          </a:p>
          <a:p>
            <a:pPr marL="496548" indent="-496548" defTabSz="1588896">
              <a:buFont typeface="Arial" panose="020B0604020202020204" pitchFamily="34" charset="0"/>
              <a:buChar char="•"/>
              <a:defRPr/>
            </a:pPr>
            <a:r>
              <a:rPr lang="en-US" sz="2100" dirty="0">
                <a:solidFill>
                  <a:srgbClr val="000000"/>
                </a:solidFill>
                <a:latin typeface="Segoe UI"/>
              </a:rPr>
              <a:t> </a:t>
            </a:r>
            <a:r>
              <a:rPr lang="en-US" sz="2100" dirty="0">
                <a:solidFill>
                  <a:srgbClr val="000000"/>
                </a:solidFill>
                <a:latin typeface="Segoe UI Semibold" panose="020B0702040204020203" pitchFamily="34" charset="0"/>
                <a:cs typeface="Segoe UI Semibold" panose="020B0702040204020203" pitchFamily="34" charset="0"/>
              </a:rPr>
              <a:t>88% </a:t>
            </a:r>
            <a:r>
              <a:rPr lang="en-US" sz="2100" dirty="0">
                <a:solidFill>
                  <a:srgbClr val="000000"/>
                </a:solidFill>
                <a:latin typeface="Segoe UI"/>
              </a:rPr>
              <a:t>less time</a:t>
            </a:r>
            <a:r>
              <a:rPr lang="en-US" sz="2100" dirty="0">
                <a:solidFill>
                  <a:srgbClr val="000000"/>
                </a:solidFill>
                <a:latin typeface="Segoe UI Semibold" panose="020B0702040204020203" pitchFamily="34" charset="0"/>
                <a:cs typeface="Segoe UI Semibold" panose="020B0702040204020203" pitchFamily="34" charset="0"/>
              </a:rPr>
              <a:t> </a:t>
            </a:r>
            <a:r>
              <a:rPr lang="en-US" sz="2100" dirty="0">
                <a:solidFill>
                  <a:srgbClr val="000000"/>
                </a:solidFill>
                <a:latin typeface="Segoe UI"/>
              </a:rPr>
              <a:t>responding to threats with </a:t>
            </a:r>
            <a:r>
              <a:rPr lang="nn-NO" sz="2100" dirty="0">
                <a:solidFill>
                  <a:srgbClr val="000000"/>
                </a:solidFill>
                <a:latin typeface="Segoe UI Semibold" panose="020B0702040204020203" pitchFamily="34" charset="0"/>
                <a:cs typeface="Segoe UI Semibold" panose="020B0702040204020203" pitchFamily="34" charset="0"/>
              </a:rPr>
              <a:t>Microsoft Sentinel, Microsoft 365 Defender,</a:t>
            </a:r>
            <a:r>
              <a:rPr lang="nn-NO" sz="2100" dirty="0">
                <a:solidFill>
                  <a:srgbClr val="000000"/>
                </a:solidFill>
                <a:latin typeface="Segoe UI"/>
              </a:rPr>
              <a:t> and </a:t>
            </a:r>
            <a:r>
              <a:rPr lang="nn-NO" sz="2100" dirty="0">
                <a:solidFill>
                  <a:srgbClr val="000000"/>
                </a:solidFill>
                <a:latin typeface="Segoe UI Semibold" panose="020B0702040204020203" pitchFamily="34" charset="0"/>
                <a:cs typeface="Segoe UI Semibold" panose="020B0702040204020203" pitchFamily="34" charset="0"/>
              </a:rPr>
              <a:t>Microsoft </a:t>
            </a:r>
            <a:r>
              <a:rPr lang="en-US" sz="2100" dirty="0">
                <a:solidFill>
                  <a:srgbClr val="000000"/>
                </a:solidFill>
                <a:latin typeface="Segoe UI Semibold" panose="020B0702040204020203" pitchFamily="34" charset="0"/>
                <a:cs typeface="Segoe UI Semibold" panose="020B0702040204020203" pitchFamily="34" charset="0"/>
              </a:rPr>
              <a:t>Defender for Cloud</a:t>
            </a:r>
            <a:r>
              <a:rPr lang="en-US" sz="2100" dirty="0">
                <a:solidFill>
                  <a:srgbClr val="000000"/>
                </a:solidFill>
                <a:latin typeface="Segoe UI"/>
              </a:rPr>
              <a:t>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3</a:t>
            </a:r>
            <a:endParaRPr lang="en-US" sz="2100" dirty="0">
              <a:solidFill>
                <a:srgbClr val="000000"/>
              </a:solidFill>
              <a:latin typeface="Segoe UI"/>
            </a:endParaRPr>
          </a:p>
          <a:p>
            <a:pPr marL="496548" indent="-496548" defTabSz="1588896">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96% </a:t>
            </a:r>
            <a:r>
              <a:rPr lang="en-US" sz="2100" dirty="0">
                <a:gradFill>
                  <a:gsLst>
                    <a:gs pos="1000">
                      <a:srgbClr val="000000"/>
                    </a:gs>
                    <a:gs pos="99000">
                      <a:srgbClr val="000000">
                        <a:alpha val="83000"/>
                      </a:srgbClr>
                    </a:gs>
                  </a:gsLst>
                  <a:lin ang="16200000" scaled="1"/>
                </a:gradFill>
                <a:latin typeface="Segoe UI"/>
                <a:cs typeface="Calibri" panose="020F0502020204030204" pitchFamily="34" charset="0"/>
              </a:rPr>
              <a:t>less time spent monitoring potential suspicious activity with </a:t>
            </a:r>
            <a:r>
              <a:rPr lang="en-US" sz="2100" dirty="0">
                <a:solidFill>
                  <a:srgbClr val="000000"/>
                </a:solidFill>
                <a:latin typeface="Segoe UI Semibold" panose="020B0702040204020203" pitchFamily="34" charset="0"/>
                <a:cs typeface="Segoe UI Semibold" panose="020B0702040204020203" pitchFamily="34" charset="0"/>
              </a:rPr>
              <a:t>Microsoft Purview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4</a:t>
            </a:r>
          </a:p>
          <a:p>
            <a:pPr marL="496548" indent="-496548" defTabSz="1588896">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10.5 million </a:t>
            </a:r>
            <a:r>
              <a:rPr lang="en-US" sz="2100" dirty="0">
                <a:gradFill>
                  <a:gsLst>
                    <a:gs pos="1000">
                      <a:srgbClr val="000000"/>
                    </a:gs>
                    <a:gs pos="99000">
                      <a:srgbClr val="000000">
                        <a:alpha val="83000"/>
                      </a:srgbClr>
                    </a:gs>
                  </a:gsLst>
                  <a:lin ang="16200000" scaled="1"/>
                </a:gradFill>
                <a:latin typeface="Segoe UI"/>
                <a:cs typeface="Calibri" panose="020F0502020204030204" pitchFamily="34" charset="0"/>
              </a:rPr>
              <a:t>additional end user productivity from  automation and process improvements in </a:t>
            </a:r>
            <a:r>
              <a:rPr lang="en-US" sz="2100" dirty="0">
                <a:solidFill>
                  <a:srgbClr val="000000"/>
                </a:solidFill>
                <a:latin typeface="Segoe UI Semibold" panose="020B0702040204020203" pitchFamily="34" charset="0"/>
                <a:cs typeface="Segoe UI Semibold" panose="020B0702040204020203" pitchFamily="34" charset="0"/>
              </a:rPr>
              <a:t>Microsoft 365 Defender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5</a:t>
            </a:r>
          </a:p>
          <a:p>
            <a:pPr marL="496548" indent="-496548" defTabSz="1588896">
              <a:buFont typeface="Arial" panose="020B0604020202020204" pitchFamily="34" charset="0"/>
              <a:buChar char="•"/>
              <a:defRPr/>
            </a:pPr>
            <a:r>
              <a:rPr lang="en-US" sz="2100" dirty="0">
                <a:solidFill>
                  <a:srgbClr val="000000"/>
                </a:solidFill>
                <a:latin typeface="Segoe UI Semibold" panose="020B0702040204020203" pitchFamily="34" charset="0"/>
                <a:cs typeface="Segoe UI Semibold" panose="020B0702040204020203" pitchFamily="34" charset="0"/>
              </a:rPr>
              <a:t>90% </a:t>
            </a:r>
            <a:r>
              <a:rPr lang="en-US" sz="2100" dirty="0">
                <a:gradFill>
                  <a:gsLst>
                    <a:gs pos="1000">
                      <a:srgbClr val="000000"/>
                    </a:gs>
                    <a:gs pos="99000">
                      <a:srgbClr val="000000">
                        <a:alpha val="83000"/>
                      </a:srgbClr>
                    </a:gs>
                  </a:gsLst>
                  <a:lin ang="16200000" scaled="1"/>
                </a:gradFill>
                <a:latin typeface="Segoe UI"/>
                <a:cs typeface="Calibri" panose="020F0502020204030204" pitchFamily="34" charset="0"/>
              </a:rPr>
              <a:t>reduction in noise, elevating the most critical issues with </a:t>
            </a:r>
            <a:r>
              <a:rPr lang="en-US" sz="2100" dirty="0">
                <a:solidFill>
                  <a:srgbClr val="000000"/>
                </a:solidFill>
                <a:latin typeface="Segoe UI Semibold" panose="020B0702040204020203" pitchFamily="34" charset="0"/>
                <a:cs typeface="Segoe UI Semibold" panose="020B0702040204020203" pitchFamily="34" charset="0"/>
              </a:rPr>
              <a:t>Microsoft Sentinel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6</a:t>
            </a:r>
          </a:p>
          <a:p>
            <a:pPr marL="496548" indent="-496548" defTabSz="1588896">
              <a:buFont typeface="Arial" panose="020B0604020202020204" pitchFamily="34" charset="0"/>
              <a:buChar char="•"/>
              <a:defRPr/>
            </a:pPr>
            <a:endParaRPr lang="en-US" sz="2100" dirty="0">
              <a:gradFill>
                <a:gsLst>
                  <a:gs pos="1000">
                    <a:srgbClr val="000000"/>
                  </a:gs>
                  <a:gs pos="99000">
                    <a:srgbClr val="000000">
                      <a:alpha val="83000"/>
                    </a:srgbClr>
                  </a:gs>
                </a:gsLst>
                <a:lin ang="16200000" scaled="1"/>
              </a:gradFill>
              <a:latin typeface="Segoe UI"/>
              <a:cs typeface="Calibri" panose="020F0502020204030204" pitchFamily="34" charset="0"/>
            </a:endParaRPr>
          </a:p>
          <a:p>
            <a:pPr defTabSz="1588896">
              <a:defRPr/>
            </a:pPr>
            <a:endParaRPr lang="en-US" sz="2100" dirty="0">
              <a:latin typeface="+mj-lt"/>
              <a:ea typeface="Segoe UI" pitchFamily="34" charset="0"/>
              <a:cs typeface="Segoe UI"/>
            </a:endParaRPr>
          </a:p>
          <a:p>
            <a:pPr defTabSz="1588896">
              <a:defRPr/>
            </a:pPr>
            <a:r>
              <a:rPr lang="en-US" sz="2100" b="1" dirty="0">
                <a:latin typeface="+mj-lt"/>
                <a:ea typeface="Segoe UI" pitchFamily="34" charset="0"/>
                <a:cs typeface="Segoe UI"/>
              </a:rPr>
              <a:t>Improve Operational Efficiency</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a:cs typeface="Segoe UI Semilight"/>
              </a:rPr>
              <a:t>Increase SecOps efficiency with a unified </a:t>
            </a:r>
            <a:br>
              <a:rPr lang="en-US" sz="2100" dirty="0">
                <a:solidFill>
                  <a:srgbClr val="000000"/>
                </a:solidFill>
                <a:latin typeface="Segoe UI Semilight" panose="020B0402040204020203" pitchFamily="34" charset="0"/>
                <a:cs typeface="Segoe UI Semilight" panose="020B0402040204020203" pitchFamily="34" charset="0"/>
              </a:rPr>
            </a:br>
            <a:r>
              <a:rPr lang="en-US" sz="2100" dirty="0">
                <a:solidFill>
                  <a:srgbClr val="000000"/>
                </a:solidFill>
                <a:latin typeface="Segoe UI Semilight"/>
                <a:cs typeface="Segoe UI Semilight"/>
              </a:rPr>
              <a:t>SIEM and XDR experience</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a:cs typeface="Segoe UI Semilight"/>
              </a:rPr>
              <a:t>Secure access across your multifaceted digital landscape and the connected world</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a:cs typeface="Segoe UI Semilight"/>
              </a:rPr>
              <a:t>Protect against breaches with deeply integrated solutions that secure identities, devices apps and data </a:t>
            </a:r>
            <a:endParaRPr lang="en-US" sz="2100" dirty="0">
              <a:solidFill>
                <a:srgbClr val="000000"/>
              </a:solidFill>
              <a:latin typeface="Segoe UI Semilight" panose="020B0402040204020203" pitchFamily="34" charset="0"/>
              <a:cs typeface="Segoe UI Semilight" panose="020B0402040204020203" pitchFamily="34" charset="0"/>
            </a:endParaRP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a:cs typeface="Segoe UI Semilight"/>
              </a:rPr>
              <a:t>Improve visibility across identities and endpoints </a:t>
            </a:r>
            <a:endParaRPr lang="en-US" sz="2100" dirty="0">
              <a:solidFill>
                <a:srgbClr val="000000"/>
              </a:solidFill>
              <a:latin typeface="Segoe UI Semilight" panose="020B0402040204020203" pitchFamily="34" charset="0"/>
              <a:cs typeface="Segoe UI Semilight" panose="020B0402040204020203" pitchFamily="34" charset="0"/>
            </a:endParaRPr>
          </a:p>
          <a:p>
            <a:pPr defTabSz="1588896">
              <a:defRPr/>
            </a:pPr>
            <a:endParaRPr lang="en-US" sz="2100" dirty="0">
              <a:gradFill>
                <a:gsLst>
                  <a:gs pos="1000">
                    <a:srgbClr val="000000"/>
                  </a:gs>
                  <a:gs pos="99000">
                    <a:srgbClr val="000000">
                      <a:alpha val="83000"/>
                    </a:srgbClr>
                  </a:gs>
                </a:gsLst>
                <a:lin ang="16200000" scaled="1"/>
              </a:gradFill>
              <a:latin typeface="Segoe UI"/>
              <a:cs typeface="Calibri" panose="020F0502020204030204" pitchFamily="34" charset="0"/>
            </a:endParaRPr>
          </a:p>
          <a:p>
            <a:pPr defTabSz="1588896">
              <a:defRPr/>
            </a:pPr>
            <a:r>
              <a:rPr lang="en-US" sz="2100" dirty="0">
                <a:solidFill>
                  <a:srgbClr val="000000"/>
                </a:solidFill>
                <a:latin typeface="Segoe UI Semilight" panose="020B0402040204020203" pitchFamily="34" charset="0"/>
                <a:cs typeface="Segoe UI Semilight" panose="020B0402040204020203" pitchFamily="34" charset="0"/>
              </a:rPr>
              <a:t>Potential cost savings:  </a:t>
            </a:r>
            <a:endParaRPr lang="en-US" sz="2100" dirty="0">
              <a:gradFill>
                <a:gsLst>
                  <a:gs pos="1000">
                    <a:srgbClr val="000000"/>
                  </a:gs>
                  <a:gs pos="99000">
                    <a:srgbClr val="000000">
                      <a:alpha val="83000"/>
                    </a:srgbClr>
                  </a:gs>
                </a:gsLst>
                <a:lin ang="16200000" scaled="1"/>
              </a:gradFill>
              <a:latin typeface="Segoe UI"/>
              <a:cs typeface="Calibri" panose="020F0502020204030204" pitchFamily="34" charset="0"/>
            </a:endParaRPr>
          </a:p>
          <a:p>
            <a:pPr marL="496548" indent="-496548" defTabSz="1588953">
              <a:buFont typeface="Arial" panose="020B0604020202020204" pitchFamily="34" charset="0"/>
              <a:buChar char="•"/>
              <a:defRPr/>
            </a:pPr>
            <a:r>
              <a:rPr lang="en-US" sz="2100" dirty="0">
                <a:solidFill>
                  <a:srgbClr val="000000"/>
                </a:solidFill>
                <a:latin typeface="Segoe UI Semibold"/>
              </a:rPr>
              <a:t>73% </a:t>
            </a:r>
            <a:r>
              <a:rPr lang="en-US" sz="2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improved efficiency of network-related IT work with </a:t>
            </a:r>
            <a:r>
              <a:rPr lang="en-US" sz="2100" dirty="0">
                <a:solidFill>
                  <a:srgbClr val="000000"/>
                </a:solidFill>
                <a:latin typeface="Segoe UI Semibold"/>
              </a:rPr>
              <a:t>Azure Network Security </a:t>
            </a:r>
            <a:r>
              <a:rPr lang="en-US" sz="2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7</a:t>
            </a:r>
          </a:p>
          <a:p>
            <a:pPr marL="496548" indent="-496548" defTabSz="1588953">
              <a:buFont typeface="Arial" panose="020B0604020202020204" pitchFamily="34" charset="0"/>
              <a:buChar char="•"/>
              <a:defRPr/>
            </a:pPr>
            <a:r>
              <a:rPr lang="en-US" sz="2100" dirty="0">
                <a:solidFill>
                  <a:srgbClr val="000000"/>
                </a:solidFill>
                <a:latin typeface="Segoe UI Semibold"/>
              </a:rPr>
              <a:t>67% </a:t>
            </a:r>
            <a:r>
              <a:rPr lang="en-US" sz="2100" dirty="0">
                <a:gradFill>
                  <a:gsLst>
                    <a:gs pos="1000">
                      <a:srgbClr val="000000"/>
                    </a:gs>
                    <a:gs pos="99000">
                      <a:srgbClr val="000000">
                        <a:alpha val="83000"/>
                      </a:srgbClr>
                    </a:gs>
                  </a:gsLst>
                  <a:lin ang="16200000" scaled="1"/>
                </a:gradFill>
                <a:latin typeface="Segoe UI"/>
                <a:cs typeface="Calibri" panose="020F0502020204030204" pitchFamily="34" charset="0"/>
              </a:rPr>
              <a:t>reduced time to deployment with </a:t>
            </a:r>
            <a:r>
              <a:rPr lang="en-US" sz="2100" dirty="0">
                <a:solidFill>
                  <a:srgbClr val="000000"/>
                </a:solidFill>
                <a:latin typeface="Segoe UI Semibold"/>
              </a:rPr>
              <a:t>Microsoft Sentinel </a:t>
            </a:r>
            <a:r>
              <a:rPr lang="en-US" sz="2100" baseline="30000" dirty="0">
                <a:gradFill>
                  <a:gsLst>
                    <a:gs pos="1000">
                      <a:srgbClr val="000000"/>
                    </a:gs>
                    <a:gs pos="99000">
                      <a:srgbClr val="000000">
                        <a:alpha val="83000"/>
                      </a:srgbClr>
                    </a:gs>
                  </a:gsLst>
                  <a:lin ang="16200000" scaled="1"/>
                </a:gradFill>
                <a:latin typeface="Segoe UI"/>
                <a:cs typeface="Calibri" panose="020F0502020204030204" pitchFamily="34" charset="0"/>
              </a:rPr>
              <a:t>8</a:t>
            </a:r>
            <a:endParaRPr lang="en-US" sz="2100" dirty="0">
              <a:solidFill>
                <a:srgbClr val="000000"/>
              </a:solidFill>
              <a:latin typeface="Segoe UI"/>
            </a:endParaRPr>
          </a:p>
          <a:p>
            <a:pPr marL="496548" indent="-496548" defTabSz="1588953">
              <a:buFont typeface="Arial" panose="020B0604020202020204" pitchFamily="34" charset="0"/>
              <a:buChar char="•"/>
              <a:defRPr/>
            </a:pPr>
            <a:r>
              <a:rPr lang="en-US" sz="2100" dirty="0">
                <a:solidFill>
                  <a:srgbClr val="000000"/>
                </a:solidFill>
                <a:latin typeface="Segoe UI Semibold"/>
              </a:rPr>
              <a:t>75% </a:t>
            </a:r>
            <a:r>
              <a:rPr lang="en-US" sz="2100" dirty="0">
                <a:gradFill>
                  <a:gsLst>
                    <a:gs pos="1000">
                      <a:srgbClr val="000000"/>
                    </a:gs>
                    <a:gs pos="99000">
                      <a:srgbClr val="000000">
                        <a:alpha val="83000"/>
                      </a:srgbClr>
                    </a:gs>
                  </a:gsLst>
                  <a:lin ang="16200000" scaled="1"/>
                </a:gradFill>
                <a:latin typeface="Segoe UI"/>
                <a:cs typeface="Calibri" panose="020F0502020204030204" pitchFamily="34" charset="0"/>
              </a:rPr>
              <a:t>reduction in password requests after introducing Self-service Single-Sign-On (SSO) wi</a:t>
            </a:r>
            <a:r>
              <a:rPr lang="en-US" sz="2100" dirty="0">
                <a:solidFill>
                  <a:srgbClr val="000000"/>
                </a:solidFill>
                <a:latin typeface="Segoe UI"/>
              </a:rPr>
              <a:t>th </a:t>
            </a:r>
            <a:r>
              <a:rPr lang="en-US" sz="2100" dirty="0">
                <a:solidFill>
                  <a:srgbClr val="000000"/>
                </a:solidFill>
                <a:latin typeface="Segoe UI Semibold"/>
              </a:rPr>
              <a:t>Azure Active Directory </a:t>
            </a:r>
            <a:r>
              <a:rPr lang="en-US" sz="2100" dirty="0">
                <a:solidFill>
                  <a:srgbClr val="000000"/>
                </a:solidFill>
                <a:latin typeface="Segoe UI"/>
              </a:rPr>
              <a:t> 9</a:t>
            </a:r>
          </a:p>
          <a:p>
            <a:pPr marL="496548" indent="-496548" defTabSz="1588953">
              <a:buFont typeface="Arial" panose="020B0604020202020204" pitchFamily="34" charset="0"/>
              <a:buChar char="•"/>
              <a:defRPr/>
            </a:pPr>
            <a:r>
              <a:rPr lang="en-US" sz="2100" dirty="0">
                <a:solidFill>
                  <a:srgbClr val="000000"/>
                </a:solidFill>
                <a:latin typeface="Segoe UI Semibold"/>
              </a:rPr>
              <a:t>$479,000 </a:t>
            </a:r>
            <a:r>
              <a:rPr lang="en-US" sz="2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in human capital freed up by redeploying IT time with </a:t>
            </a:r>
            <a:r>
              <a:rPr lang="en-US" sz="2100" dirty="0">
                <a:solidFill>
                  <a:srgbClr val="000000"/>
                </a:solidFill>
                <a:latin typeface="Segoe UI Semibold"/>
              </a:rPr>
              <a:t>Microsoft Endpoint Manager</a:t>
            </a:r>
            <a:r>
              <a:rPr lang="en-US" sz="2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 10</a:t>
            </a:r>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953">
              <a:defRPr/>
            </a:pPr>
            <a:r>
              <a:rPr lang="en-US" sz="2100" dirty="0">
                <a:solidFill>
                  <a:srgbClr val="000000"/>
                </a:solidFill>
                <a:latin typeface="Segoe UI Semilight" panose="020B0402040204020203" pitchFamily="34" charset="0"/>
                <a:cs typeface="Segoe UI Semilight" panose="020B0402040204020203" pitchFamily="34" charset="0"/>
              </a:rPr>
              <a:t>Citations </a:t>
            </a:r>
          </a:p>
          <a:p>
            <a:pPr defTabSz="1234716">
              <a:defRPr/>
            </a:pPr>
            <a:r>
              <a:rPr lang="en-US" sz="2100" b="1" baseline="30000" dirty="0">
                <a:solidFill>
                  <a:srgbClr val="000000"/>
                </a:solidFill>
                <a:latin typeface="Segoe UI" panose="020B0502040204020203" pitchFamily="34" charset="0"/>
              </a:rPr>
              <a:t>1 </a:t>
            </a:r>
            <a:r>
              <a:rPr lang="en-US" sz="2100" dirty="0">
                <a:solidFill>
                  <a:srgbClr val="000000"/>
                </a:solidFill>
                <a:latin typeface="Segoe UI"/>
              </a:rPr>
              <a:t>Savings based on</a:t>
            </a:r>
            <a:r>
              <a:rPr lang="en-US" sz="2100" kern="0" dirty="0">
                <a:solidFill>
                  <a:srgbClr val="1A1A1A"/>
                </a:solidFill>
                <a:latin typeface="Segoe UI"/>
              </a:rPr>
              <a:t> publicly available estimated pricing for other vendor solutions and Web Direct/Base Price shown for Microsoft offerings</a:t>
            </a:r>
            <a:endParaRPr lang="en-US" sz="2100" dirty="0">
              <a:solidFill>
                <a:srgbClr val="000000"/>
              </a:solidFill>
              <a:latin typeface="Segoe UI"/>
            </a:endParaRPr>
          </a:p>
          <a:p>
            <a:pPr defTabSz="1234716">
              <a:defRPr/>
            </a:pPr>
            <a:r>
              <a:rPr lang="en-US" sz="2100" b="1" dirty="0"/>
              <a:t>Forrester Consulting showed organizations saved substantially by moving to Microsoft Security </a:t>
            </a:r>
            <a:endParaRPr lang="en-US" sz="2100" b="1" dirty="0">
              <a:solidFill>
                <a:srgbClr val="000000"/>
              </a:solidFill>
              <a:latin typeface="Segoe UI Semilight" panose="020B0402040204020203" pitchFamily="34" charset="0"/>
              <a:cs typeface="Segoe UI Semilight" panose="020B0402040204020203" pitchFamily="34" charset="0"/>
            </a:endParaRPr>
          </a:p>
          <a:p>
            <a:pPr defTabSz="1234716">
              <a:defRPr/>
            </a:pPr>
            <a:r>
              <a:rPr lang="en-US" sz="2100" kern="0" dirty="0">
                <a:gradFill>
                  <a:gsLst>
                    <a:gs pos="83000">
                      <a:srgbClr val="282828"/>
                    </a:gs>
                    <a:gs pos="100000">
                      <a:srgbClr val="282828"/>
                    </a:gs>
                  </a:gsLst>
                  <a:lin ang="5400000" scaled="1"/>
                </a:gradFill>
                <a:latin typeface="Segoe UI"/>
              </a:rPr>
              <a:t>2. Forrester Consulting, “The Total Economic Impact</a:t>
            </a:r>
            <a:r>
              <a:rPr lang="en-US" sz="2100" dirty="0">
                <a:solidFill>
                  <a:srgbClr val="000000"/>
                </a:solidFill>
                <a:latin typeface="Segoe UI"/>
              </a:rPr>
              <a:t> ™</a:t>
            </a:r>
            <a:r>
              <a:rPr lang="en-US" sz="2100" kern="0" dirty="0">
                <a:gradFill>
                  <a:gsLst>
                    <a:gs pos="83000">
                      <a:srgbClr val="282828"/>
                    </a:gs>
                    <a:gs pos="100000">
                      <a:srgbClr val="282828"/>
                    </a:gs>
                  </a:gsLst>
                  <a:lin ang="5400000" scaled="1"/>
                </a:gradFill>
                <a:latin typeface="Segoe UI"/>
              </a:rPr>
              <a:t> Of Microsoft Azure Security Center,” June, 2021, commissioned by Microsoft</a:t>
            </a:r>
          </a:p>
          <a:p>
            <a:pPr defTabSz="1234716">
              <a:defRPr/>
            </a:pPr>
            <a:r>
              <a:rPr lang="en-US" sz="2100" kern="0" dirty="0">
                <a:gradFill>
                  <a:gsLst>
                    <a:gs pos="83000">
                      <a:srgbClr val="282828"/>
                    </a:gs>
                    <a:gs pos="100000">
                      <a:srgbClr val="282828"/>
                    </a:gs>
                  </a:gsLst>
                  <a:lin ang="5400000" scaled="1"/>
                </a:gradFill>
                <a:latin typeface="Segoe UI"/>
              </a:rPr>
              <a:t>3. Forrester Consulting, “</a:t>
            </a:r>
            <a:r>
              <a:rPr lang="en-US" sz="2100" dirty="0">
                <a:solidFill>
                  <a:srgbClr val="000000"/>
                </a:solidFill>
                <a:latin typeface="Segoe UI"/>
              </a:rPr>
              <a:t>The Total Economic Impact™ Of ™ </a:t>
            </a:r>
            <a:r>
              <a:rPr lang="en-US" sz="2100" kern="0" dirty="0">
                <a:gradFill>
                  <a:gsLst>
                    <a:gs pos="83000">
                      <a:srgbClr val="282828"/>
                    </a:gs>
                    <a:gs pos="100000">
                      <a:srgbClr val="282828"/>
                    </a:gs>
                  </a:gsLst>
                  <a:lin ang="5400000" scaled="1"/>
                </a:gradFill>
                <a:latin typeface="Segoe UI"/>
              </a:rPr>
              <a:t>Microsoft </a:t>
            </a:r>
            <a:r>
              <a:rPr lang="en-US" sz="2100" dirty="0">
                <a:solidFill>
                  <a:srgbClr val="000000"/>
                </a:solidFill>
                <a:latin typeface="Segoe UI"/>
              </a:rPr>
              <a:t> SIEM and XDR”, August 2022, </a:t>
            </a:r>
            <a:r>
              <a:rPr lang="en-US" sz="2100" kern="0" dirty="0">
                <a:gradFill>
                  <a:gsLst>
                    <a:gs pos="83000">
                      <a:srgbClr val="282828"/>
                    </a:gs>
                    <a:gs pos="100000">
                      <a:srgbClr val="282828"/>
                    </a:gs>
                  </a:gsLst>
                  <a:lin ang="5400000" scaled="1"/>
                </a:gradFill>
                <a:latin typeface="Segoe UI"/>
              </a:rPr>
              <a:t>commissioned by Microsoft</a:t>
            </a:r>
          </a:p>
          <a:p>
            <a:pPr defTabSz="1234716">
              <a:defRPr/>
            </a:pPr>
            <a:r>
              <a:rPr lang="en-US" sz="2100" kern="0" dirty="0">
                <a:gradFill>
                  <a:gsLst>
                    <a:gs pos="83000">
                      <a:srgbClr val="282828"/>
                    </a:gs>
                    <a:gs pos="100000">
                      <a:srgbClr val="282828"/>
                    </a:gs>
                  </a:gsLst>
                  <a:lin ang="5400000" scaled="1"/>
                </a:gradFill>
                <a:latin typeface="Segoe UI"/>
              </a:rPr>
              <a:t>4. Forrester Consulting, “The Total Economic Impact</a:t>
            </a:r>
            <a:r>
              <a:rPr lang="en-US" sz="2100" dirty="0">
                <a:solidFill>
                  <a:srgbClr val="000000"/>
                </a:solidFill>
                <a:latin typeface="Segoe UI"/>
              </a:rPr>
              <a:t> ™</a:t>
            </a:r>
            <a:r>
              <a:rPr lang="en-US" sz="2100" kern="0" dirty="0">
                <a:gradFill>
                  <a:gsLst>
                    <a:gs pos="83000">
                      <a:srgbClr val="282828"/>
                    </a:gs>
                    <a:gs pos="100000">
                      <a:srgbClr val="282828"/>
                    </a:gs>
                  </a:gsLst>
                  <a:lin ang="5400000" scaled="1"/>
                </a:gradFill>
                <a:latin typeface="Segoe UI"/>
              </a:rPr>
              <a:t> Of Microsoft 365 E5 Compliance,” February, 2021, commissioned by Microsoft </a:t>
            </a:r>
          </a:p>
          <a:p>
            <a:pPr defTabSz="1234716">
              <a:defRPr/>
            </a:pPr>
            <a:r>
              <a:rPr lang="en-US" sz="2100" kern="0" dirty="0">
                <a:gradFill>
                  <a:gsLst>
                    <a:gs pos="83000">
                      <a:srgbClr val="282828"/>
                    </a:gs>
                    <a:gs pos="100000">
                      <a:srgbClr val="282828"/>
                    </a:gs>
                  </a:gsLst>
                  <a:lin ang="5400000" scaled="1"/>
                </a:gradFill>
                <a:latin typeface="Segoe UI"/>
              </a:rPr>
              <a:t>5. Forrester Consulting, “</a:t>
            </a:r>
            <a:r>
              <a:rPr lang="en-US" sz="2100" dirty="0">
                <a:solidFill>
                  <a:srgbClr val="000000"/>
                </a:solidFill>
                <a:latin typeface="Segoe UI"/>
              </a:rPr>
              <a:t>The Total Economic Impact™ Of </a:t>
            </a:r>
            <a:r>
              <a:rPr lang="en-US" sz="2100" kern="0" dirty="0">
                <a:gradFill>
                  <a:gsLst>
                    <a:gs pos="83000">
                      <a:srgbClr val="282828"/>
                    </a:gs>
                    <a:gs pos="100000">
                      <a:srgbClr val="282828"/>
                    </a:gs>
                  </a:gsLst>
                  <a:lin ang="5400000" scaled="1"/>
                </a:gradFill>
                <a:latin typeface="Segoe UI"/>
              </a:rPr>
              <a:t>Microsoft</a:t>
            </a:r>
            <a:r>
              <a:rPr lang="en-US" sz="2100" dirty="0">
                <a:solidFill>
                  <a:srgbClr val="000000"/>
                </a:solidFill>
                <a:latin typeface="Segoe UI"/>
              </a:rPr>
              <a:t> 365 Defender”, April 2022, </a:t>
            </a:r>
            <a:r>
              <a:rPr lang="en-US" sz="2100" kern="0" dirty="0">
                <a:gradFill>
                  <a:gsLst>
                    <a:gs pos="83000">
                      <a:srgbClr val="282828"/>
                    </a:gs>
                    <a:gs pos="100000">
                      <a:srgbClr val="282828"/>
                    </a:gs>
                  </a:gsLst>
                  <a:lin ang="5400000" scaled="1"/>
                </a:gradFill>
                <a:latin typeface="Segoe UI"/>
              </a:rPr>
              <a:t>commissioned by Microsoft</a:t>
            </a:r>
          </a:p>
          <a:p>
            <a:pPr defTabSz="1234716">
              <a:defRPr/>
            </a:pPr>
            <a:r>
              <a:rPr lang="en-US" sz="2100" u="sng" dirty="0">
                <a:solidFill>
                  <a:srgbClr val="0563C1"/>
                </a:solidFill>
                <a:latin typeface="Calibri" panose="020F0502020204030204" pitchFamily="34" charset="0"/>
                <a:ea typeface="Calibri" panose="020F0502020204030204" pitchFamily="34" charset="0"/>
                <a:cs typeface="Arial" panose="020B0604020202020204" pitchFamily="34" charset="0"/>
                <a:hlinkClick r:id="rId3"/>
              </a:rPr>
              <a:t>6. Microsoft blog: Azure Sentinel uncovers the real threats hidden in billions of low fidelity signals</a:t>
            </a:r>
            <a:r>
              <a:rPr lang="en-US" sz="2100" u="sng" dirty="0">
                <a:solidFill>
                  <a:srgbClr val="0563C1"/>
                </a:solidFill>
                <a:latin typeface="Calibri" panose="020F0502020204030204" pitchFamily="34" charset="0"/>
                <a:ea typeface="Calibri" panose="020F0502020204030204" pitchFamily="34" charset="0"/>
                <a:cs typeface="Arial" panose="020B0604020202020204" pitchFamily="34" charset="0"/>
              </a:rPr>
              <a:t>, Feb 2020</a:t>
            </a:r>
            <a:endParaRPr lang="en-US" sz="2100" kern="0" dirty="0">
              <a:gradFill>
                <a:gsLst>
                  <a:gs pos="83000">
                    <a:srgbClr val="282828"/>
                  </a:gs>
                  <a:gs pos="100000">
                    <a:srgbClr val="282828"/>
                  </a:gs>
                </a:gsLst>
                <a:lin ang="5400000" scaled="1"/>
              </a:gradFill>
              <a:latin typeface="Segoe UI"/>
            </a:endParaRPr>
          </a:p>
          <a:p>
            <a:pPr defTabSz="1234716">
              <a:defRPr/>
            </a:pPr>
            <a:r>
              <a:rPr lang="en-US" sz="2100" kern="0" dirty="0">
                <a:gradFill>
                  <a:gsLst>
                    <a:gs pos="83000">
                      <a:srgbClr val="282828"/>
                    </a:gs>
                    <a:gs pos="100000">
                      <a:srgbClr val="282828"/>
                    </a:gs>
                  </a:gsLst>
                  <a:lin ang="5400000" scaled="1"/>
                </a:gradFill>
                <a:latin typeface="Segoe UI"/>
              </a:rPr>
              <a:t>7 Forrester Consulting, “The Total Economic Impact</a:t>
            </a:r>
            <a:r>
              <a:rPr lang="en-US" sz="2100" dirty="0">
                <a:solidFill>
                  <a:srgbClr val="000000"/>
                </a:solidFill>
                <a:latin typeface="Segoe UI"/>
              </a:rPr>
              <a:t> ™</a:t>
            </a:r>
            <a:r>
              <a:rPr lang="en-US" sz="2100" kern="0" dirty="0">
                <a:gradFill>
                  <a:gsLst>
                    <a:gs pos="83000">
                      <a:srgbClr val="282828"/>
                    </a:gs>
                    <a:gs pos="100000">
                      <a:srgbClr val="282828"/>
                    </a:gs>
                  </a:gsLst>
                  <a:lin ang="5400000" scaled="1"/>
                </a:gradFill>
                <a:latin typeface="Segoe UI"/>
              </a:rPr>
              <a:t> Of Microsoft Azure Network Security” May, 2021, commissioned by Microsoft</a:t>
            </a:r>
          </a:p>
          <a:p>
            <a:pPr defTabSz="1234716">
              <a:defRPr/>
            </a:pPr>
            <a:r>
              <a:rPr lang="en-US" sz="2100" kern="0" dirty="0">
                <a:gradFill>
                  <a:gsLst>
                    <a:gs pos="83000">
                      <a:srgbClr val="282828"/>
                    </a:gs>
                    <a:gs pos="100000">
                      <a:srgbClr val="282828"/>
                    </a:gs>
                  </a:gsLst>
                  <a:lin ang="5400000" scaled="1"/>
                </a:gradFill>
                <a:latin typeface="Segoe UI"/>
              </a:rPr>
              <a:t>8. Forrester Consulting, “The Total Economic Impact</a:t>
            </a:r>
            <a:r>
              <a:rPr lang="en-US" sz="2100" dirty="0">
                <a:solidFill>
                  <a:srgbClr val="000000"/>
                </a:solidFill>
                <a:latin typeface="Segoe UI"/>
              </a:rPr>
              <a:t> ™</a:t>
            </a:r>
            <a:r>
              <a:rPr lang="en-US" sz="2100" kern="0" dirty="0">
                <a:gradFill>
                  <a:gsLst>
                    <a:gs pos="83000">
                      <a:srgbClr val="282828"/>
                    </a:gs>
                    <a:gs pos="100000">
                      <a:srgbClr val="282828"/>
                    </a:gs>
                  </a:gsLst>
                  <a:lin ang="5400000" scaled="1"/>
                </a:gradFill>
                <a:latin typeface="Segoe UI"/>
              </a:rPr>
              <a:t> Of Microsoft Azure Sentinel,” November, 2020, commissioned by Microsoft </a:t>
            </a:r>
          </a:p>
          <a:p>
            <a:pPr defTabSz="1234716">
              <a:defRPr/>
            </a:pPr>
            <a:r>
              <a:rPr lang="en-US" sz="2100" kern="0" dirty="0">
                <a:gradFill>
                  <a:gsLst>
                    <a:gs pos="83000">
                      <a:srgbClr val="282828"/>
                    </a:gs>
                    <a:gs pos="100000">
                      <a:srgbClr val="282828"/>
                    </a:gs>
                  </a:gsLst>
                  <a:lin ang="5400000" scaled="1"/>
                </a:gradFill>
                <a:latin typeface="Segoe UI"/>
              </a:rPr>
              <a:t>9. Forrester Consulting, “</a:t>
            </a:r>
            <a:r>
              <a:rPr lang="en-US" sz="2100" dirty="0">
                <a:solidFill>
                  <a:srgbClr val="000000"/>
                </a:solidFill>
                <a:latin typeface="Segoe UI"/>
              </a:rPr>
              <a:t>The Total Economic Impact™ Of Zero Trust Solutions From Microsoft”, </a:t>
            </a:r>
            <a:r>
              <a:rPr lang="en-US" sz="2100" kern="0" dirty="0">
                <a:gradFill>
                  <a:gsLst>
                    <a:gs pos="83000">
                      <a:srgbClr val="282828"/>
                    </a:gs>
                    <a:gs pos="100000">
                      <a:srgbClr val="282828"/>
                    </a:gs>
                  </a:gsLst>
                  <a:lin ang="5400000" scaled="1"/>
                </a:gradFill>
                <a:latin typeface="Segoe UI"/>
              </a:rPr>
              <a:t>December 2021, commissioned by Microsoft</a:t>
            </a:r>
          </a:p>
          <a:p>
            <a:pPr defTabSz="1234716">
              <a:defRPr/>
            </a:pPr>
            <a:r>
              <a:rPr lang="en-US" sz="2100" kern="0" dirty="0">
                <a:gradFill>
                  <a:gsLst>
                    <a:gs pos="83000">
                      <a:srgbClr val="282828"/>
                    </a:gs>
                    <a:gs pos="100000">
                      <a:srgbClr val="282828"/>
                    </a:gs>
                  </a:gsLst>
                  <a:lin ang="5400000" scaled="1"/>
                </a:gradFill>
                <a:latin typeface="Segoe UI"/>
              </a:rPr>
              <a:t>10. Forrester Consulting, “The Total Economic Impact</a:t>
            </a:r>
            <a:r>
              <a:rPr lang="en-US" sz="2100" dirty="0">
                <a:solidFill>
                  <a:srgbClr val="000000"/>
                </a:solidFill>
                <a:latin typeface="Segoe UI"/>
              </a:rPr>
              <a:t> ™</a:t>
            </a:r>
            <a:r>
              <a:rPr lang="en-US" sz="2100" kern="0" dirty="0">
                <a:gradFill>
                  <a:gsLst>
                    <a:gs pos="83000">
                      <a:srgbClr val="282828"/>
                    </a:gs>
                    <a:gs pos="100000">
                      <a:srgbClr val="282828"/>
                    </a:gs>
                  </a:gsLst>
                  <a:lin ang="5400000" scaled="1"/>
                </a:gradFill>
                <a:latin typeface="Segoe UI"/>
              </a:rPr>
              <a:t> Of Microsoft Endpoint Manager,” April 2021, commissioned by Microsoft </a:t>
            </a:r>
          </a:p>
          <a:p>
            <a:pPr defTabSz="1234716">
              <a:defRPr/>
            </a:pPr>
            <a:endParaRPr lang="en-US" sz="2100" dirty="0">
              <a:solidFill>
                <a:srgbClr val="000000"/>
              </a:solidFill>
              <a:latin typeface="Segoe UI Semilight" panose="020B0402040204020203" pitchFamily="34" charset="0"/>
              <a:cs typeface="Segoe UI Semilight" panose="020B0402040204020203" pitchFamily="34" charset="0"/>
            </a:endParaRPr>
          </a:p>
          <a:p>
            <a:endParaRPr lang="en-US" sz="3100" dirty="0">
              <a:latin typeface="Arial" panose="020B0604020202020204" pitchFamily="34" charset="0"/>
            </a:endParaRPr>
          </a:p>
        </p:txBody>
      </p:sp>
      <p:sp>
        <p:nvSpPr>
          <p:cNvPr id="4" name="Header Placeholder 3"/>
          <p:cNvSpPr>
            <a:spLocks noGrp="1"/>
          </p:cNvSpPr>
          <p:nvPr>
            <p:ph type="hdr" sz="quarter"/>
          </p:nvPr>
        </p:nvSpPr>
        <p:spPr/>
        <p:txBody>
          <a:bodyPr/>
          <a:lstStyle/>
          <a:p>
            <a:pPr defTabSz="1588896">
              <a:defRPr/>
            </a:pPr>
            <a:endParaRPr lang="en-US" sz="2100">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marL="993096" defTabSz="158843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1588896">
              <a:defRPr/>
            </a:pPr>
            <a:fld id="{386CE63F-9E7F-4C04-9D0D-FCA25A8E9E86}" type="datetime8">
              <a:rPr lang="en-US" sz="2100">
                <a:solidFill>
                  <a:prstClr val="black"/>
                </a:solidFill>
                <a:latin typeface="Segoe UI" pitchFamily="34" charset="0"/>
              </a:rPr>
              <a:pPr defTabSz="1588896">
                <a:defRPr/>
              </a:pPr>
              <a:t>8/31/2022 4:33 PM</a:t>
            </a:fld>
            <a:endParaRPr lang="en-US" sz="2100">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1588896">
              <a:defRPr/>
            </a:pPr>
            <a:fld id="{B4008EB6-D09E-4580-8CD6-DDB14511944F}" type="slidenum">
              <a:rPr lang="en-US" sz="2100">
                <a:solidFill>
                  <a:prstClr val="black"/>
                </a:solidFill>
                <a:latin typeface="Segoe UI" pitchFamily="34" charset="0"/>
              </a:rPr>
              <a:pPr defTabSz="1588896">
                <a:defRPr/>
              </a:pPr>
              <a:t>4</a:t>
            </a:fld>
            <a:endParaRPr lang="en-US" sz="2100">
              <a:solidFill>
                <a:prstClr val="black"/>
              </a:solidFill>
              <a:latin typeface="Segoe UI" pitchFamily="34" charset="0"/>
            </a:endParaRPr>
          </a:p>
        </p:txBody>
      </p:sp>
    </p:spTree>
    <p:extLst>
      <p:ext uri="{BB962C8B-B14F-4D97-AF65-F5344CB8AC3E}">
        <p14:creationId xmlns:p14="http://schemas.microsoft.com/office/powerpoint/2010/main" val="1183309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896">
              <a:defRPr/>
            </a:pPr>
            <a:r>
              <a:rPr lang="en-US" sz="2100" b="1" dirty="0"/>
              <a:t>Key slide takeaway</a:t>
            </a:r>
            <a:r>
              <a:rPr lang="en-US" sz="2100" dirty="0"/>
              <a:t>: Microsoft Security reduced redundances, providing seamless integration and a </a:t>
            </a:r>
            <a:r>
              <a:rPr lang="en-US" sz="2100" dirty="0">
                <a:solidFill>
                  <a:srgbClr val="000000"/>
                </a:solidFill>
                <a:latin typeface="Segoe UI Semibold"/>
              </a:rPr>
              <a:t>lower cost of ownership</a:t>
            </a:r>
          </a:p>
          <a:p>
            <a:endParaRPr lang="en-US" sz="2100" dirty="0"/>
          </a:p>
          <a:p>
            <a:r>
              <a:rPr lang="en-US" sz="2100" b="1" dirty="0"/>
              <a:t>Main points to cover:</a:t>
            </a:r>
            <a:r>
              <a:rPr lang="en-US" b="1" dirty="0"/>
              <a:t>  </a:t>
            </a:r>
            <a:endParaRPr lang="en-US" sz="2100" dirty="0"/>
          </a:p>
          <a:p>
            <a:pPr marL="607995" indent="-607995">
              <a:buFont typeface="Arial" panose="020B0604020202020204" pitchFamily="34" charset="0"/>
              <a:buChar char="•"/>
            </a:pPr>
            <a:r>
              <a:rPr lang="en-US" sz="2100" dirty="0"/>
              <a:t>Point security solutions do one thing really well, but don’t provide the holistic visibility to detect, respond, and remediate threats of all kinds.</a:t>
            </a:r>
            <a:endParaRPr lang="en-US" sz="2100" dirty="0">
              <a:cs typeface="Calibri"/>
            </a:endParaRPr>
          </a:p>
          <a:p>
            <a:pPr marL="607995" indent="-607995">
              <a:buFont typeface="Arial" panose="020B0604020202020204" pitchFamily="34" charset="0"/>
              <a:buChar char="•"/>
            </a:pPr>
            <a:r>
              <a:rPr lang="en-US" sz="2100" dirty="0"/>
              <a:t>We hear all the time that security professionals struggle with keeping up with the deluge of alerts across various security products. They operate with limited context of the interconnection of threats and spend way too much time in the proverbial weeds.</a:t>
            </a:r>
            <a:endParaRPr lang="en-US" sz="2100" dirty="0">
              <a:cs typeface="Calibri"/>
            </a:endParaRPr>
          </a:p>
          <a:p>
            <a:pPr marL="607995" indent="-607995" defTabSz="1588953">
              <a:buFont typeface="Arial" panose="020B0604020202020204" pitchFamily="34" charset="0"/>
              <a:buChar char="•"/>
              <a:defRPr/>
            </a:pPr>
            <a:r>
              <a:rPr lang="en-US" sz="2100" dirty="0">
                <a:solidFill>
                  <a:srgbClr val="404040"/>
                </a:solidFill>
                <a:latin typeface="Calibri" panose="020F0502020204030204" pitchFamily="34" charset="0"/>
                <a:ea typeface="Yu Mincho" panose="02020400000000000000" pitchFamily="18" charset="-128"/>
              </a:rPr>
              <a:t>Our products are deeply integrated to provide a simplified and unifying experience. We have a unique outside-in and inside-out approach combined with the power of AI and automation that provides unprecedented visibility and protection, helping customers scale faster and reduce the time between reality and our view on reality. </a:t>
            </a:r>
          </a:p>
          <a:p>
            <a:pPr marL="607995" indent="-607995">
              <a:buFont typeface="Arial" panose="020B0604020202020204" pitchFamily="34" charset="0"/>
              <a:buChar char="•"/>
            </a:pPr>
            <a:r>
              <a:rPr lang="en-US" sz="2100" dirty="0"/>
              <a:t>Microsoft Security can detect and respond to attacks, while potentially reducing the number and cost of breaches—giving your security teams time back to work on their most important responsibilities.</a:t>
            </a:r>
            <a:endParaRPr lang="en-US" sz="2100" dirty="0">
              <a:cs typeface="Calibri"/>
            </a:endParaRPr>
          </a:p>
          <a:p>
            <a:pPr marL="607995" indent="-607995">
              <a:buFont typeface="Arial" panose="020B0604020202020204" pitchFamily="34" charset="0"/>
              <a:buChar char="•"/>
            </a:pPr>
            <a:endParaRPr lang="en-US" sz="2100" dirty="0">
              <a:solidFill>
                <a:srgbClr val="000000"/>
              </a:solidFill>
              <a:cs typeface="Segoe UI Light"/>
            </a:endParaRPr>
          </a:p>
          <a:p>
            <a:pPr>
              <a:lnSpc>
                <a:spcPct val="107000"/>
              </a:lnSpc>
              <a:tabLst>
                <a:tab pos="794476" algn="l"/>
              </a:tabLst>
            </a:pPr>
            <a:endParaRPr lang="en-US" sz="2100" dirty="0">
              <a:solidFill>
                <a:srgbClr val="000000"/>
              </a:solidFill>
              <a:cs typeface="Segoe UI Light"/>
            </a:endParaRPr>
          </a:p>
          <a:p>
            <a:pPr>
              <a:lnSpc>
                <a:spcPct val="107000"/>
              </a:lnSpc>
              <a:tabLst>
                <a:tab pos="794476" algn="l"/>
              </a:tabLst>
            </a:pPr>
            <a:r>
              <a:rPr lang="en-US" sz="2100" dirty="0">
                <a:solidFill>
                  <a:srgbClr val="000000"/>
                </a:solidFill>
                <a:cs typeface="Segoe UI Light"/>
              </a:rPr>
              <a:t>Citations: </a:t>
            </a:r>
          </a:p>
          <a:p>
            <a:pPr defTabSz="1588953">
              <a:lnSpc>
                <a:spcPct val="90000"/>
              </a:lnSpc>
              <a:spcAft>
                <a:spcPts val="459"/>
              </a:spcAft>
              <a:defRPr/>
            </a:pPr>
            <a:r>
              <a:rPr lang="en-US" sz="2100" baseline="30000" dirty="0">
                <a:solidFill>
                  <a:srgbClr val="FFFFFF"/>
                </a:solidFill>
                <a:latin typeface="Segoe UI"/>
              </a:rPr>
              <a:t>1 </a:t>
            </a:r>
            <a:r>
              <a:rPr lang="en-US" sz="2100" dirty="0">
                <a:solidFill>
                  <a:srgbClr val="FFFFFF"/>
                </a:solidFill>
                <a:latin typeface="Segoe UI"/>
              </a:rPr>
              <a:t>Gartner, “Gartner Top Security and Risk Trends for 2021”, April, 2021 </a:t>
            </a:r>
          </a:p>
          <a:p>
            <a:pPr defTabSz="1588953">
              <a:lnSpc>
                <a:spcPct val="90000"/>
              </a:lnSpc>
              <a:spcAft>
                <a:spcPts val="459"/>
              </a:spcAft>
              <a:defRPr/>
            </a:pPr>
            <a:r>
              <a:rPr lang="en-US" dirty="0">
                <a:hlinkClick r:id="rId3"/>
              </a:rPr>
              <a:t>Gartner identifies top security &amp; risk trends for 2021 | SecurityWorldMarket.com</a:t>
            </a:r>
            <a:endParaRPr lang="en-US" sz="2100" dirty="0">
              <a:solidFill>
                <a:srgbClr val="FFFFFF"/>
              </a:solidFill>
              <a:latin typeface="Segoe UI"/>
            </a:endParaRPr>
          </a:p>
          <a:p>
            <a:pPr defTabSz="1588953">
              <a:lnSpc>
                <a:spcPct val="90000"/>
              </a:lnSpc>
              <a:spcAft>
                <a:spcPts val="459"/>
              </a:spcAft>
              <a:defRPr/>
            </a:pPr>
            <a:r>
              <a:rPr lang="en-US" sz="2100" baseline="30000" dirty="0">
                <a:solidFill>
                  <a:srgbClr val="FFFFFF"/>
                </a:solidFill>
                <a:latin typeface="Segoe UI"/>
              </a:rPr>
              <a:t>2</a:t>
            </a:r>
            <a:r>
              <a:rPr lang="en-US" sz="2100" dirty="0">
                <a:solidFill>
                  <a:srgbClr val="FFFFFF"/>
                </a:solidFill>
                <a:latin typeface="Segoe UI"/>
              </a:rPr>
              <a:t> Forrester Consulting, “The Total Economic Impact™ Of The Microsoft 365 E5 Solutions”, October, 2018, commissioned by Microsoft</a:t>
            </a:r>
          </a:p>
          <a:p>
            <a:pPr defTabSz="1588953">
              <a:lnSpc>
                <a:spcPct val="90000"/>
              </a:lnSpc>
              <a:spcAft>
                <a:spcPts val="459"/>
              </a:spcAft>
              <a:defRPr/>
            </a:pPr>
            <a:r>
              <a:rPr lang="en-US" sz="2100" b="1" baseline="30000" dirty="0">
                <a:solidFill>
                  <a:srgbClr val="000000"/>
                </a:solidFill>
                <a:latin typeface="Segoe UI" panose="020B0502040204020203" pitchFamily="34" charset="0"/>
              </a:rPr>
              <a:t>3 </a:t>
            </a:r>
            <a:r>
              <a:rPr lang="en-US" sz="2100" dirty="0">
                <a:solidFill>
                  <a:srgbClr val="000000"/>
                </a:solidFill>
                <a:latin typeface="Segoe UI"/>
              </a:rPr>
              <a:t>Forrester Consulting: “Security Through Simplicity”, December, 2018, commissioned by Microsoft</a:t>
            </a:r>
          </a:p>
          <a:p>
            <a:pPr defTabSz="1588953">
              <a:lnSpc>
                <a:spcPct val="90000"/>
              </a:lnSpc>
              <a:spcAft>
                <a:spcPts val="459"/>
              </a:spcAft>
              <a:defRPr/>
            </a:pPr>
            <a:r>
              <a:rPr lang="en-US" sz="2100" baseline="30000" dirty="0">
                <a:gradFill>
                  <a:gsLst>
                    <a:gs pos="1000">
                      <a:srgbClr val="000000"/>
                    </a:gs>
                    <a:gs pos="99000">
                      <a:srgbClr val="000000">
                        <a:alpha val="83000"/>
                      </a:srgbClr>
                    </a:gs>
                  </a:gsLst>
                  <a:lin ang="16200000" scaled="1"/>
                </a:gradFill>
                <a:latin typeface="Segoe UI" panose="020B0502040204020203" pitchFamily="34" charset="0"/>
              </a:rPr>
              <a:t>4 </a:t>
            </a:r>
            <a:r>
              <a:rPr lang="en-US" sz="2100" dirty="0">
                <a:gradFill>
                  <a:gsLst>
                    <a:gs pos="1000">
                      <a:srgbClr val="000000"/>
                    </a:gs>
                    <a:gs pos="99000">
                      <a:srgbClr val="000000">
                        <a:alpha val="83000"/>
                      </a:srgbClr>
                    </a:gs>
                  </a:gsLst>
                  <a:lin ang="16200000" scaled="1"/>
                </a:gradFill>
                <a:latin typeface="Segoe UI" panose="020B0502040204020203" pitchFamily="34" charset="0"/>
              </a:rPr>
              <a:t>Forrester Consulting, “The Total Economic Impact™ Of Azure Sentinel”, November, 2020, commissioned by Microsoft</a:t>
            </a:r>
            <a:endParaRPr lang="en-US" sz="2100" dirty="0">
              <a:solidFill>
                <a:srgbClr val="000000"/>
              </a:solidFill>
              <a:latin typeface="Segoe UI"/>
            </a:endParaRPr>
          </a:p>
          <a:p>
            <a:pPr defTabSz="1588953">
              <a:lnSpc>
                <a:spcPct val="90000"/>
              </a:lnSpc>
              <a:spcAft>
                <a:spcPts val="459"/>
              </a:spcAft>
              <a:defRPr/>
            </a:pPr>
            <a:endParaRPr lang="en-US" sz="2100" dirty="0">
              <a:solidFill>
                <a:srgbClr val="FFFFFF"/>
              </a:solidFill>
              <a:latin typeface="Segoe UI"/>
            </a:endParaRPr>
          </a:p>
          <a:p>
            <a:endParaRPr lang="en-US" dirty="0"/>
          </a:p>
        </p:txBody>
      </p:sp>
      <p:sp>
        <p:nvSpPr>
          <p:cNvPr id="4" name="Slide Number Placeholder 3"/>
          <p:cNvSpPr>
            <a:spLocks noGrp="1"/>
          </p:cNvSpPr>
          <p:nvPr>
            <p:ph type="sldNum" sz="quarter" idx="5"/>
          </p:nvPr>
        </p:nvSpPr>
        <p:spPr/>
        <p:txBody>
          <a:bodyPr/>
          <a:lstStyle/>
          <a:p>
            <a:pPr defTabSz="1588953">
              <a:defRPr/>
            </a:pPr>
            <a:fld id="{BCCA3AF7-B6E8-4FA6-8DC5-D653885B5CBA}" type="slidenum">
              <a:rPr lang="en-US">
                <a:solidFill>
                  <a:prstClr val="black"/>
                </a:solidFill>
                <a:latin typeface="Calibri" panose="020F0502020204030204"/>
              </a:rPr>
              <a:pPr defTabSz="1588953">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200426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500" b="1" dirty="0"/>
              <a:t>Key slide takeaway</a:t>
            </a:r>
            <a:r>
              <a:rPr lang="en-US" sz="3500" dirty="0"/>
              <a:t>: Microsoft Security provides significant value leading to a cost-effective, consolidated security environment.</a:t>
            </a:r>
          </a:p>
          <a:p>
            <a:endParaRPr lang="en-US" sz="3500" dirty="0"/>
          </a:p>
          <a:p>
            <a:r>
              <a:rPr lang="en-US" sz="3500" b="1" dirty="0"/>
              <a:t>Main points to cover:</a:t>
            </a:r>
          </a:p>
          <a:p>
            <a:pPr defTabSz="3311186">
              <a:lnSpc>
                <a:spcPct val="107000"/>
              </a:lnSpc>
              <a:spcAft>
                <a:spcPts val="2839"/>
              </a:spcAft>
              <a:defRPr/>
            </a:pPr>
            <a:r>
              <a:rPr lang="en-US" sz="3500" dirty="0">
                <a:latin typeface="Segoe UI" panose="020B0502040204020203" pitchFamily="34" charset="0"/>
                <a:ea typeface="Calibri" panose="020F0502020204030204" pitchFamily="34" charset="0"/>
                <a:cs typeface="Times New Roman" panose="02020603050405020304" pitchFamily="18" charset="0"/>
              </a:rPr>
              <a:t>We figured you’d want to get straight to the value of how Microsoft Security can provide a cost-effective, and consolidated security solution.</a:t>
            </a:r>
          </a:p>
          <a:p>
            <a:pPr defTabSz="3311186">
              <a:lnSpc>
                <a:spcPct val="107000"/>
              </a:lnSpc>
              <a:spcAft>
                <a:spcPts val="2839"/>
              </a:spcAft>
              <a:defRPr/>
            </a:pPr>
            <a:r>
              <a:rPr lang="en-US" sz="3500" dirty="0">
                <a:latin typeface="Segoe UI" panose="020B0502040204020203" pitchFamily="34" charset="0"/>
                <a:ea typeface="Calibri" panose="020F0502020204030204" pitchFamily="34" charset="0"/>
                <a:cs typeface="Times New Roman" panose="02020603050405020304" pitchFamily="18" charset="0"/>
              </a:rPr>
              <a:t>Our value cuts across several categories:</a:t>
            </a:r>
          </a:p>
          <a:p>
            <a:pPr marL="1437198" indent="-608638" defTabSz="3311186">
              <a:lnSpc>
                <a:spcPct val="107000"/>
              </a:lnSpc>
              <a:spcAft>
                <a:spcPts val="2839"/>
              </a:spcAft>
              <a:buFont typeface="Arial" panose="020B0604020202020204" pitchFamily="34" charset="0"/>
              <a:buChar char="•"/>
              <a:defRPr/>
            </a:pPr>
            <a:r>
              <a:rPr lang="en-US" sz="3500" dirty="0">
                <a:latin typeface="Segoe UI" panose="020B0502040204020203" pitchFamily="34" charset="0"/>
                <a:ea typeface="Calibri" panose="020F0502020204030204" pitchFamily="34" charset="0"/>
                <a:cs typeface="Times New Roman" panose="02020603050405020304" pitchFamily="18" charset="0"/>
              </a:rPr>
              <a:t>With our integrated approach to security, organizations can replace up to 50 product categories. We’ll take a closer look at how in a moment.</a:t>
            </a:r>
          </a:p>
          <a:p>
            <a:pPr marL="1437198" indent="-608638" defTabSz="3311186">
              <a:lnSpc>
                <a:spcPct val="107000"/>
              </a:lnSpc>
              <a:spcAft>
                <a:spcPts val="2839"/>
              </a:spcAft>
              <a:buFont typeface="Arial" panose="020B0604020202020204" pitchFamily="34" charset="0"/>
              <a:buChar char="•"/>
              <a:defRPr/>
            </a:pPr>
            <a:r>
              <a:rPr lang="en-US" sz="3500" dirty="0">
                <a:latin typeface="Segoe UI" panose="020B0502040204020203" pitchFamily="34" charset="0"/>
                <a:ea typeface="Calibri" panose="020F0502020204030204" pitchFamily="34" charset="0"/>
                <a:cs typeface="Times New Roman" panose="02020603050405020304" pitchFamily="18" charset="0"/>
              </a:rPr>
              <a:t>Out of this product replacement opportunity, an organization can save up to 60% with consolidated licensing fees.</a:t>
            </a:r>
          </a:p>
          <a:p>
            <a:pPr marL="2231674" lvl="1" indent="-608638" defTabSz="3311186">
              <a:lnSpc>
                <a:spcPct val="107000"/>
              </a:lnSpc>
              <a:spcAft>
                <a:spcPts val="2839"/>
              </a:spcAft>
              <a:buFont typeface="Arial" panose="020B0604020202020204" pitchFamily="34" charset="0"/>
              <a:buChar char="•"/>
              <a:defRPr/>
            </a:pPr>
            <a:r>
              <a:rPr lang="en-US" sz="3500" dirty="0">
                <a:latin typeface="Segoe UI" panose="020B0502040204020203" pitchFamily="34" charset="0"/>
                <a:ea typeface="Calibri" panose="020F0502020204030204" pitchFamily="34" charset="0"/>
                <a:cs typeface="Times New Roman" panose="02020603050405020304" pitchFamily="18" charset="0"/>
              </a:rPr>
              <a:t>We calculated this estimated savings through accessing publicly available, published licensing fees from popular security solution providers.</a:t>
            </a:r>
          </a:p>
          <a:p>
            <a:pPr marL="1437198" indent="-608638" defTabSz="3311186">
              <a:lnSpc>
                <a:spcPct val="107000"/>
              </a:lnSpc>
              <a:spcAft>
                <a:spcPts val="2839"/>
              </a:spcAft>
              <a:buFont typeface="Arial" panose="020B0604020202020204" pitchFamily="34" charset="0"/>
              <a:buChar char="•"/>
              <a:defRPr/>
            </a:pPr>
            <a:r>
              <a:rPr lang="en-US" sz="3500" dirty="0">
                <a:latin typeface="Segoe UI" panose="020B0502040204020203" pitchFamily="34" charset="0"/>
                <a:ea typeface="Calibri" panose="020F0502020204030204" pitchFamily="34" charset="0"/>
                <a:cs typeface="Times New Roman" panose="02020603050405020304" pitchFamily="18" charset="0"/>
              </a:rPr>
              <a:t>From a cloud security perspective, many vendors charge an additional fee for Cloud Security Posture Management. With </a:t>
            </a:r>
            <a:r>
              <a:rPr lang="en-US" sz="3500" dirty="0">
                <a:gradFill>
                  <a:gsLst>
                    <a:gs pos="83000">
                      <a:srgbClr val="000000"/>
                    </a:gs>
                    <a:gs pos="100000">
                      <a:srgbClr val="000000"/>
                    </a:gs>
                  </a:gsLst>
                  <a:lin ang="5400000" scaled="1"/>
                </a:gradFill>
                <a:latin typeface="Segoe UI Semibold"/>
              </a:rPr>
              <a:t>Microsoft Defender for Cloud</a:t>
            </a:r>
            <a:r>
              <a:rPr lang="en-US" sz="3500" dirty="0">
                <a:latin typeface="Segoe UI" panose="020B0502040204020203" pitchFamily="34" charset="0"/>
                <a:ea typeface="Calibri" panose="020F0502020204030204" pitchFamily="34" charset="0"/>
                <a:cs typeface="Times New Roman" panose="02020603050405020304" pitchFamily="18" charset="0"/>
              </a:rPr>
              <a:t>, this capability is included and doesn’t require additional subscription fees like the alternatives.</a:t>
            </a:r>
          </a:p>
          <a:p>
            <a:pPr marL="1437198" indent="-608638" defTabSz="3311186">
              <a:lnSpc>
                <a:spcPct val="107000"/>
              </a:lnSpc>
              <a:spcAft>
                <a:spcPts val="2839"/>
              </a:spcAft>
              <a:buFont typeface="Arial" panose="020B0604020202020204" pitchFamily="34" charset="0"/>
              <a:buChar char="•"/>
              <a:defRPr/>
            </a:pPr>
            <a:r>
              <a:rPr lang="en-US" sz="3500" dirty="0">
                <a:latin typeface="Segoe UI" panose="020B0502040204020203" pitchFamily="34" charset="0"/>
                <a:ea typeface="Calibri" panose="020F0502020204030204" pitchFamily="34" charset="0"/>
                <a:cs typeface="Times New Roman" panose="02020603050405020304" pitchFamily="18" charset="0"/>
              </a:rPr>
              <a:t>Organizations have seen 30% </a:t>
            </a:r>
            <a:r>
              <a:rPr lang="en-US" sz="3500" dirty="0">
                <a:gradFill>
                  <a:gsLst>
                    <a:gs pos="83000">
                      <a:srgbClr val="000000"/>
                    </a:gs>
                    <a:gs pos="100000">
                      <a:srgbClr val="000000"/>
                    </a:gs>
                  </a:gsLst>
                  <a:lin ang="5400000" scaled="1"/>
                </a:gradFill>
                <a:latin typeface="Segoe UI Semibold"/>
              </a:rPr>
              <a:t>savings from unifying cloud security tools with Microsoft Defender for Cloud</a:t>
            </a:r>
            <a:r>
              <a:rPr lang="en-US" sz="3500" b="1" baseline="30000" dirty="0">
                <a:solidFill>
                  <a:srgbClr val="000000"/>
                </a:solidFill>
                <a:latin typeface="Segoe UI" panose="020B0502040204020203" pitchFamily="34" charset="0"/>
              </a:rPr>
              <a:t>2</a:t>
            </a:r>
            <a:endParaRPr lang="en-US" sz="3500" dirty="0">
              <a:gradFill>
                <a:gsLst>
                  <a:gs pos="83000">
                    <a:srgbClr val="000000"/>
                  </a:gs>
                  <a:gs pos="100000">
                    <a:srgbClr val="000000"/>
                  </a:gs>
                </a:gsLst>
                <a:lin ang="5400000" scaled="1"/>
              </a:gradFill>
              <a:latin typeface="Segoe UI Semibold"/>
            </a:endParaRPr>
          </a:p>
          <a:p>
            <a:pPr marL="828560" defTabSz="3311186">
              <a:lnSpc>
                <a:spcPct val="107000"/>
              </a:lnSpc>
              <a:spcAft>
                <a:spcPts val="2839"/>
              </a:spcAft>
              <a:defRPr/>
            </a:pPr>
            <a:endParaRPr lang="en-US" sz="3500" dirty="0">
              <a:latin typeface="Segoe UI" panose="020B0502040204020203" pitchFamily="34" charset="0"/>
              <a:ea typeface="Calibri" panose="020F0502020204030204" pitchFamily="34" charset="0"/>
              <a:cs typeface="Times New Roman" panose="02020603050405020304" pitchFamily="18" charset="0"/>
            </a:endParaRPr>
          </a:p>
          <a:p>
            <a:pPr marL="828560" defTabSz="3311186">
              <a:lnSpc>
                <a:spcPct val="107000"/>
              </a:lnSpc>
              <a:spcAft>
                <a:spcPts val="2839"/>
              </a:spcAft>
              <a:defRPr/>
            </a:pPr>
            <a:r>
              <a:rPr lang="en-US" sz="3500" dirty="0">
                <a:latin typeface="Segoe UI" panose="020B0502040204020203" pitchFamily="34" charset="0"/>
                <a:ea typeface="Calibri" panose="020F0502020204030204" pitchFamily="34" charset="0"/>
                <a:cs typeface="Times New Roman" panose="02020603050405020304" pitchFamily="18" charset="0"/>
              </a:rPr>
              <a:t>Citation: </a:t>
            </a:r>
          </a:p>
          <a:p>
            <a:pPr marL="828560" defTabSz="3311186">
              <a:lnSpc>
                <a:spcPct val="107000"/>
              </a:lnSpc>
              <a:spcAft>
                <a:spcPts val="2839"/>
              </a:spcAft>
              <a:defRPr/>
            </a:pPr>
            <a:r>
              <a:rPr lang="en-US" sz="3500" b="1" baseline="30000" dirty="0">
                <a:solidFill>
                  <a:srgbClr val="000000"/>
                </a:solidFill>
                <a:latin typeface="Segoe UI" panose="020B0502040204020203" pitchFamily="34" charset="0"/>
              </a:rPr>
              <a:t>1 </a:t>
            </a:r>
            <a:r>
              <a:rPr lang="en-US" sz="3500" dirty="0">
                <a:solidFill>
                  <a:srgbClr val="000000"/>
                </a:solidFill>
                <a:latin typeface="Segoe UI"/>
              </a:rPr>
              <a:t>Savings based on</a:t>
            </a:r>
            <a:r>
              <a:rPr lang="en-US" sz="3500" kern="0" dirty="0">
                <a:solidFill>
                  <a:srgbClr val="1A1A1A"/>
                </a:solidFill>
                <a:latin typeface="Segoe UI"/>
              </a:rPr>
              <a:t> publicly available estimated pricing for other vendor solutions and Web Direct/Base Price shown for Microsoft offerings</a:t>
            </a:r>
          </a:p>
          <a:p>
            <a:pPr marL="828560" defTabSz="3311186">
              <a:lnSpc>
                <a:spcPct val="107000"/>
              </a:lnSpc>
              <a:spcAft>
                <a:spcPts val="2839"/>
              </a:spcAft>
              <a:defRPr/>
            </a:pPr>
            <a:r>
              <a:rPr lang="en-US" sz="3500" b="1" baseline="30000" dirty="0">
                <a:solidFill>
                  <a:srgbClr val="000000"/>
                </a:solidFill>
                <a:latin typeface="Segoe UI" panose="020B0502040204020203" pitchFamily="34" charset="0"/>
              </a:rPr>
              <a:t>2</a:t>
            </a:r>
            <a:r>
              <a:rPr lang="en-US" sz="3500" kern="0" dirty="0">
                <a:solidFill>
                  <a:srgbClr val="1A1A1A"/>
                </a:solidFill>
                <a:latin typeface="Segoe UI"/>
              </a:rPr>
              <a:t> Forrester Consulting, “The Total Economic Impact ™ Of Microsoft Azure Security Center,” June, 2021, commissioned by Microsoft</a:t>
            </a:r>
          </a:p>
        </p:txBody>
      </p:sp>
      <p:sp>
        <p:nvSpPr>
          <p:cNvPr id="4" name="Header Placeholder 3"/>
          <p:cNvSpPr>
            <a:spLocks noGrp="1"/>
          </p:cNvSpPr>
          <p:nvPr>
            <p:ph type="hdr" sz="quarter" idx="10"/>
          </p:nvPr>
        </p:nvSpPr>
        <p:spPr/>
        <p:txBody>
          <a:bodyPr/>
          <a:lstStyle/>
          <a:p>
            <a:pPr defTabSz="33740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2067343" defTabSz="3066172" eaLnBrk="0" hangingPunct="0">
              <a:defRPr/>
            </a:pPr>
            <a:r>
              <a:rPr lang="en-US" sz="1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3374097">
              <a:defRPr/>
            </a:pPr>
            <a:fld id="{38EEC551-8CDA-4EB6-89BB-2A86C9F091C8}" type="datetime8">
              <a:rPr lang="en-US">
                <a:solidFill>
                  <a:prstClr val="black"/>
                </a:solidFill>
                <a:latin typeface="Segoe UI" pitchFamily="34" charset="0"/>
              </a:rPr>
              <a:pPr defTabSz="3374097">
                <a:defRPr/>
              </a:pPr>
              <a:t>8/31/2022 4:33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3374097">
              <a:defRPr/>
            </a:pPr>
            <a:fld id="{B4008EB6-D09E-4580-8CD6-DDB14511944F}" type="slidenum">
              <a:rPr lang="en-US">
                <a:solidFill>
                  <a:prstClr val="black"/>
                </a:solidFill>
                <a:latin typeface="Segoe UI" pitchFamily="34" charset="0"/>
              </a:rPr>
              <a:pPr defTabSz="3374097">
                <a:defRPr/>
              </a:pPr>
              <a:t>6</a:t>
            </a:fld>
            <a:endParaRPr lang="en-US">
              <a:solidFill>
                <a:prstClr val="black"/>
              </a:solidFill>
              <a:latin typeface="Segoe UI" pitchFamily="34" charset="0"/>
            </a:endParaRPr>
          </a:p>
        </p:txBody>
      </p:sp>
    </p:spTree>
    <p:extLst>
      <p:ext uri="{BB962C8B-B14F-4D97-AF65-F5344CB8AC3E}">
        <p14:creationId xmlns:p14="http://schemas.microsoft.com/office/powerpoint/2010/main" val="3416412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b="1" dirty="0"/>
              <a:t>Key slide takeaway</a:t>
            </a:r>
            <a:r>
              <a:rPr lang="en-US" sz="2100" dirty="0"/>
              <a:t>: Microsoft Security consolidation can drive licensing savings.</a:t>
            </a:r>
          </a:p>
          <a:p>
            <a:endParaRPr lang="en-US" sz="2100" dirty="0"/>
          </a:p>
          <a:p>
            <a:r>
              <a:rPr lang="en-US" sz="2100" b="1" dirty="0"/>
              <a:t>Main points to cover:  </a:t>
            </a:r>
            <a:endParaRPr lang="en-US" sz="2100" dirty="0">
              <a:latin typeface="Segoe UI" panose="020B0502040204020203" pitchFamily="34" charset="0"/>
              <a:ea typeface="Calibri" panose="020F0502020204030204" pitchFamily="34" charset="0"/>
              <a:cs typeface="Times New Roman" panose="02020603050405020304" pitchFamily="18" charset="0"/>
            </a:endParaRPr>
          </a:p>
          <a:p>
            <a:pPr marL="608638" indent="-608638" defTabSz="3311186">
              <a:lnSpc>
                <a:spcPct val="107000"/>
              </a:lnSpc>
              <a:spcAft>
                <a:spcPts val="2839"/>
              </a:spcAft>
              <a:buFont typeface="Arial" panose="020B0604020202020204" pitchFamily="34" charset="0"/>
              <a:buChar char="•"/>
              <a:defRPr/>
            </a:pPr>
            <a:r>
              <a:rPr lang="en-US" sz="2100" dirty="0"/>
              <a:t>Consolidating up to 50 product categories with Microsoft 365 E5 Security and E5 Compliance delivers cost-savings opportunities from a licensing perspective. </a:t>
            </a:r>
          </a:p>
          <a:p>
            <a:pPr marL="608638" indent="-608638" defTabSz="3311186">
              <a:lnSpc>
                <a:spcPct val="107000"/>
              </a:lnSpc>
              <a:spcAft>
                <a:spcPts val="2839"/>
              </a:spcAft>
              <a:buFont typeface="Arial" panose="020B0604020202020204" pitchFamily="34" charset="0"/>
              <a:buChar char="•"/>
              <a:defRPr/>
            </a:pPr>
            <a:r>
              <a:rPr lang="en-US" sz="2100" dirty="0"/>
              <a:t>Let’s take a slice of the typical multi-vendor security licensing landscape. </a:t>
            </a:r>
          </a:p>
          <a:p>
            <a:pPr marL="608638" indent="-608638" defTabSz="3311186">
              <a:lnSpc>
                <a:spcPct val="107000"/>
              </a:lnSpc>
              <a:spcAft>
                <a:spcPts val="2839"/>
              </a:spcAft>
              <a:buFont typeface="Arial" panose="020B0604020202020204" pitchFamily="34" charset="0"/>
              <a:buChar char="•"/>
              <a:defRPr/>
            </a:pPr>
            <a:r>
              <a:rPr lang="en-US" sz="2100" dirty="0"/>
              <a:t>On the left we have the typical costs, per user, for:</a:t>
            </a:r>
          </a:p>
          <a:p>
            <a:pPr marL="1403115" lvl="1" indent="-608638" defTabSz="3311186">
              <a:lnSpc>
                <a:spcPct val="107000"/>
              </a:lnSpc>
              <a:spcAft>
                <a:spcPts val="2839"/>
              </a:spcAft>
              <a:buFont typeface="Arial" panose="020B0604020202020204" pitchFamily="34" charset="0"/>
              <a:buChar char="•"/>
              <a:defRPr/>
            </a:pPr>
            <a:r>
              <a:rPr lang="en-US" sz="2100" dirty="0"/>
              <a:t>various</a:t>
            </a:r>
            <a:r>
              <a:rPr lang="en-US" sz="2100" b="1" dirty="0"/>
              <a:t> security </a:t>
            </a:r>
            <a:r>
              <a:rPr lang="en-US" sz="2100" dirty="0"/>
              <a:t>products like email protection, or identity and access management, and for </a:t>
            </a:r>
          </a:p>
          <a:p>
            <a:pPr marL="1403115" lvl="1" indent="-608638" defTabSz="3311186">
              <a:lnSpc>
                <a:spcPct val="107000"/>
              </a:lnSpc>
              <a:spcAft>
                <a:spcPts val="2839"/>
              </a:spcAft>
              <a:buFont typeface="Arial" panose="020B0604020202020204" pitchFamily="34" charset="0"/>
              <a:buChar char="•"/>
              <a:defRPr/>
            </a:pPr>
            <a:r>
              <a:rPr lang="en-US" sz="2100" dirty="0"/>
              <a:t>various</a:t>
            </a:r>
            <a:r>
              <a:rPr lang="en-US" sz="2100" b="1" dirty="0"/>
              <a:t> compliance </a:t>
            </a:r>
            <a:r>
              <a:rPr lang="en-US" sz="2100" dirty="0"/>
              <a:t>products like compliance management, auditing, information protection and governance, and insider risk management. </a:t>
            </a:r>
          </a:p>
          <a:p>
            <a:pPr marL="608638" indent="-608638" defTabSz="3311186">
              <a:lnSpc>
                <a:spcPct val="107000"/>
              </a:lnSpc>
              <a:spcAft>
                <a:spcPts val="2839"/>
              </a:spcAft>
              <a:buFont typeface="Arial" panose="020B0604020202020204" pitchFamily="34" charset="0"/>
              <a:buChar char="•"/>
              <a:defRPr/>
            </a:pPr>
            <a:r>
              <a:rPr lang="en-US" sz="2100" dirty="0">
                <a:latin typeface="Segoe UI" panose="020B0502040204020203" pitchFamily="34" charset="0"/>
                <a:ea typeface="Calibri" panose="020F0502020204030204" pitchFamily="34" charset="0"/>
                <a:cs typeface="Times New Roman" panose="02020603050405020304" pitchFamily="18" charset="0"/>
              </a:rPr>
              <a:t>When you add up these different costs, it runs around $30 per user for security products, and $33 per user for compliance products.</a:t>
            </a:r>
          </a:p>
          <a:p>
            <a:pPr marL="608638" indent="-608638" defTabSz="3311186">
              <a:lnSpc>
                <a:spcPct val="107000"/>
              </a:lnSpc>
              <a:spcAft>
                <a:spcPts val="2839"/>
              </a:spcAft>
              <a:buFont typeface="Arial" panose="020B0604020202020204" pitchFamily="34" charset="0"/>
              <a:buChar char="•"/>
              <a:defRPr/>
            </a:pPr>
            <a:r>
              <a:rPr lang="en-US" sz="2100" dirty="0">
                <a:latin typeface="Segoe UI" panose="020B0502040204020203" pitchFamily="34" charset="0"/>
                <a:ea typeface="Calibri" panose="020F0502020204030204" pitchFamily="34" charset="0"/>
                <a:cs typeface="Times New Roman" panose="02020603050405020304" pitchFamily="18" charset="0"/>
              </a:rPr>
              <a:t>These average dollar costs are based upon published prices across the disparate security solutions based on typical use.</a:t>
            </a:r>
          </a:p>
          <a:p>
            <a:pPr marL="608638" indent="-608638" defTabSz="3311186">
              <a:lnSpc>
                <a:spcPct val="107000"/>
              </a:lnSpc>
              <a:spcAft>
                <a:spcPts val="2839"/>
              </a:spcAft>
              <a:buFont typeface="Arial" panose="020B0604020202020204" pitchFamily="34" charset="0"/>
              <a:buChar char="•"/>
              <a:defRPr/>
            </a:pPr>
            <a:r>
              <a:rPr lang="en-US" sz="2100" dirty="0">
                <a:latin typeface="Segoe UI" panose="020B0502040204020203" pitchFamily="34" charset="0"/>
                <a:ea typeface="Calibri" panose="020F0502020204030204" pitchFamily="34" charset="0"/>
                <a:cs typeface="Times New Roman" panose="02020603050405020304" pitchFamily="18" charset="0"/>
              </a:rPr>
              <a:t>With Microsoft Security, you are able to not only consolidate these capabilities, you get the cost efficiency of working with one provider.</a:t>
            </a:r>
          </a:p>
          <a:p>
            <a:pPr marL="608638" indent="-608638" defTabSz="3311186">
              <a:lnSpc>
                <a:spcPct val="107000"/>
              </a:lnSpc>
              <a:spcAft>
                <a:spcPts val="2839"/>
              </a:spcAft>
              <a:buFont typeface="Arial" panose="020B0604020202020204" pitchFamily="34" charset="0"/>
              <a:buChar char="•"/>
              <a:defRPr/>
            </a:pPr>
            <a:r>
              <a:rPr lang="en-US" sz="2100" dirty="0">
                <a:latin typeface="Segoe UI" panose="020B0502040204020203" pitchFamily="34" charset="0"/>
                <a:ea typeface="Calibri" panose="020F0502020204030204" pitchFamily="34" charset="0"/>
                <a:cs typeface="Times New Roman" panose="02020603050405020304" pitchFamily="18" charset="0"/>
              </a:rPr>
              <a:t>Here we take an example of an organization that already has a Microsoft 365 E3 licensing agreement in place. </a:t>
            </a:r>
          </a:p>
          <a:p>
            <a:pPr marL="608638" indent="-608638" defTabSz="3311186">
              <a:lnSpc>
                <a:spcPct val="107000"/>
              </a:lnSpc>
              <a:spcAft>
                <a:spcPts val="2839"/>
              </a:spcAft>
              <a:buFont typeface="Arial" panose="020B0604020202020204" pitchFamily="34" charset="0"/>
              <a:buChar char="•"/>
              <a:defRPr/>
            </a:pPr>
            <a:r>
              <a:rPr lang="en-US" sz="2100" dirty="0">
                <a:latin typeface="Segoe UI" panose="020B0502040204020203" pitchFamily="34" charset="0"/>
                <a:ea typeface="Calibri" panose="020F0502020204030204" pitchFamily="34" charset="0"/>
                <a:cs typeface="Times New Roman" panose="02020603050405020304" pitchFamily="18" charset="0"/>
              </a:rPr>
              <a:t>For an additional $24 per user, you get all of these security and compliance capabilities, which represent a 60% savings compared to the multi-vendor arrangement.</a:t>
            </a:r>
          </a:p>
          <a:p>
            <a:pPr indent="-794476" defTabSz="1588953">
              <a:defRPr/>
            </a:pPr>
            <a:endParaRPr lang="en-US" sz="2100" dirty="0">
              <a:solidFill>
                <a:srgbClr val="737373"/>
              </a:solidFill>
              <a:latin typeface="Segoe UI"/>
            </a:endParaRPr>
          </a:p>
          <a:p>
            <a:pPr indent="-794476" defTabSz="1588953">
              <a:defRPr/>
            </a:pPr>
            <a:r>
              <a:rPr lang="en-US" sz="2100" dirty="0">
                <a:solidFill>
                  <a:srgbClr val="737373"/>
                </a:solidFill>
                <a:latin typeface="Segoe UI"/>
              </a:rPr>
              <a:t>Citation: </a:t>
            </a:r>
          </a:p>
          <a:p>
            <a:pPr indent="-794476" defTabSz="1588953">
              <a:defRPr/>
            </a:pPr>
            <a:r>
              <a:rPr lang="en-US" sz="2100" kern="0" dirty="0">
                <a:solidFill>
                  <a:srgbClr val="000000"/>
                </a:solidFill>
                <a:latin typeface="Segoe UI"/>
              </a:rPr>
              <a:t>Web Direct/Base Price shown for Microsoft offerings. Multi-vendor prices based on publicly available estimated pricing for other vendor solutions and are illustrative</a:t>
            </a:r>
            <a:endParaRPr lang="en-US" sz="2100" dirty="0">
              <a:solidFill>
                <a:srgbClr val="737373"/>
              </a:solidFill>
              <a:latin typeface="Segoe UI"/>
            </a:endParaRPr>
          </a:p>
        </p:txBody>
      </p:sp>
      <p:sp>
        <p:nvSpPr>
          <p:cNvPr id="4" name="Slide Number Placeholder 3"/>
          <p:cNvSpPr>
            <a:spLocks noGrp="1"/>
          </p:cNvSpPr>
          <p:nvPr>
            <p:ph type="sldNum" sz="quarter" idx="10"/>
          </p:nvPr>
        </p:nvSpPr>
        <p:spPr/>
        <p:txBody>
          <a:bodyPr/>
          <a:lstStyle/>
          <a:p>
            <a:pPr defTabSz="5601003">
              <a:defRPr/>
            </a:pPr>
            <a:fld id="{39C7AF0D-4CA1-4851-9CE3-2AC50BEAF3FE}" type="slidenum">
              <a:rPr lang="en-US">
                <a:solidFill>
                  <a:prstClr val="black"/>
                </a:solidFill>
                <a:latin typeface="Calibri" panose="020F0502020204030204"/>
              </a:rPr>
              <a:pPr defTabSz="5601003">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769857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1600" b="1" dirty="0"/>
              <a:t>Key slide takeaway</a:t>
            </a:r>
            <a:r>
              <a:rPr lang="en-US" sz="1600" dirty="0"/>
              <a:t>: </a:t>
            </a:r>
            <a:r>
              <a:rPr lang="en-US" sz="1600" dirty="0">
                <a:latin typeface="Segoe UI Light" pitchFamily="34" charset="0"/>
              </a:rPr>
              <a:t>Forrester Consulting “Total Economic Impact” studies show that Microsoft Security helped customers reduce costs through vendor consolidation, reducing IT administration workload, and by moving SIEM solutions to the cloud. </a:t>
            </a:r>
          </a:p>
          <a:p>
            <a:pPr defTabSz="1588953">
              <a:defRPr/>
            </a:pPr>
            <a:endParaRPr lang="en-US" sz="1600" b="1" dirty="0"/>
          </a:p>
          <a:p>
            <a:pPr defTabSz="1588953">
              <a:defRPr/>
            </a:pPr>
            <a:r>
              <a:rPr lang="en-US" sz="1600" b="1" dirty="0"/>
              <a:t>Main points to cover: </a:t>
            </a:r>
            <a:r>
              <a:rPr lang="en-US" sz="1600" dirty="0">
                <a:solidFill>
                  <a:srgbClr val="212121"/>
                </a:solidFill>
                <a:latin typeface="Gartner sans"/>
              </a:rPr>
              <a:t>Microsoft Security can help your organization: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total cost of on-premises security tools </a:t>
            </a:r>
            <a:endParaRPr lang="en-US" sz="3100" dirty="0">
              <a:latin typeface="Arial" panose="020B0604020202020204" pitchFamily="34" charset="0"/>
            </a:endParaRP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Achieve cost savings by retiring legacy third-party software and retiring endpoint management tools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support costs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Improve process efficiency </a:t>
            </a:r>
          </a:p>
          <a:p>
            <a:pPr marL="496548" indent="-496548">
              <a:buFont typeface="Arial" panose="020B0604020202020204" pitchFamily="34" charset="0"/>
              <a:buChar char="•"/>
            </a:pPr>
            <a:r>
              <a:rPr lang="en-US" sz="3100" dirty="0">
                <a:gradFill>
                  <a:gsLst>
                    <a:gs pos="1000">
                      <a:srgbClr val="000000"/>
                    </a:gs>
                    <a:gs pos="99000">
                      <a:srgbClr val="000000">
                        <a:alpha val="83000"/>
                      </a:srgbClr>
                    </a:gs>
                  </a:gsLst>
                  <a:lin ang="16200000" scaled="1"/>
                </a:gradFill>
                <a:latin typeface="Segoe UI" panose="020B0502040204020203" pitchFamily="34" charset="0"/>
                <a:cs typeface="Calibri" panose="020F0502020204030204" pitchFamily="34" charset="0"/>
              </a:rPr>
              <a:t>Reduce cost of licensing, storage, and infrastructure compared to legacy SIEM solution </a:t>
            </a:r>
            <a:endParaRPr lang="en-US" sz="3100" dirty="0">
              <a:latin typeface="Arial" panose="020B0604020202020204" pitchFamily="34" charset="0"/>
            </a:endParaRPr>
          </a:p>
          <a:p>
            <a:pPr defTabSz="1588953">
              <a:defRPr/>
            </a:pPr>
            <a:endParaRPr lang="en-US" sz="1600" b="1" dirty="0">
              <a:latin typeface="Segoe UI Light" pitchFamily="34" charset="0"/>
            </a:endParaRPr>
          </a:p>
          <a:p>
            <a:pPr defTabSz="1588953">
              <a:defRPr/>
            </a:pPr>
            <a:r>
              <a:rPr lang="en-US" sz="1700" b="1" dirty="0">
                <a:latin typeface="Segoe UI Light" pitchFamily="34" charset="0"/>
              </a:rPr>
              <a:t>Citations: </a:t>
            </a:r>
          </a:p>
          <a:p>
            <a:pPr defTabSz="1588953">
              <a:defRPr/>
            </a:pPr>
            <a:r>
              <a:rPr lang="en-US" sz="1700" b="1" i="1" dirty="0">
                <a:solidFill>
                  <a:srgbClr val="FF0000"/>
                </a:solidFill>
              </a:rPr>
              <a:t>[Cloud security p</a:t>
            </a:r>
            <a:r>
              <a:rPr lang="en-US" sz="1700" b="1" i="1" dirty="0">
                <a:latin typeface="Calibri" panose="020F0502020204030204" pitchFamily="34" charset="0"/>
                <a:ea typeface="Calibri" panose="020F0502020204030204" pitchFamily="34" charset="0"/>
              </a:rPr>
              <a:t>roduct name references in the Forrester reports may vary due to the name changes as of Nov 02, 2021]</a:t>
            </a:r>
            <a:endParaRPr lang="en-US" sz="1700" b="1" i="1" dirty="0">
              <a:solidFill>
                <a:srgbClr val="FF0000"/>
              </a:solidFill>
            </a:endParaRPr>
          </a:p>
          <a:p>
            <a:pPr defTabSz="1234716">
              <a:defRPr/>
            </a:pPr>
            <a:r>
              <a:rPr lang="en-US" sz="1400" kern="0" dirty="0">
                <a:gradFill>
                  <a:gsLst>
                    <a:gs pos="83000">
                      <a:srgbClr val="282828"/>
                    </a:gs>
                    <a:gs pos="100000">
                      <a:srgbClr val="282828"/>
                    </a:gs>
                  </a:gsLst>
                  <a:lin ang="5400000" scaled="1"/>
                </a:gradFill>
                <a:latin typeface="Segoe UI"/>
              </a:rPr>
              <a:t>1. Forrester Consulting, “The Total Economic Impact Of Microsoft Azure Security Center,” February, 2021, commissioned by Microsoft</a:t>
            </a:r>
          </a:p>
          <a:p>
            <a:pPr defTabSz="1234716">
              <a:defRPr/>
            </a:pPr>
            <a:r>
              <a:rPr lang="en-US" sz="1400" kern="0" dirty="0">
                <a:gradFill>
                  <a:gsLst>
                    <a:gs pos="83000">
                      <a:srgbClr val="282828"/>
                    </a:gs>
                    <a:gs pos="100000">
                      <a:srgbClr val="282828"/>
                    </a:gs>
                  </a:gsLst>
                  <a:lin ang="5400000" scaled="1"/>
                </a:gradFill>
                <a:latin typeface="Segoe UI"/>
              </a:rPr>
              <a:t>2. Forrester Consulting, “The Total Economic Impact Of Microsoft 365 E5 Compliance,” June, 2021, commissioned by Microsoft </a:t>
            </a:r>
          </a:p>
          <a:p>
            <a:pPr defTabSz="1234716">
              <a:defRPr/>
            </a:pPr>
            <a:r>
              <a:rPr lang="en-US" sz="1400" kern="0" dirty="0">
                <a:gradFill>
                  <a:gsLst>
                    <a:gs pos="83000">
                      <a:srgbClr val="282828"/>
                    </a:gs>
                    <a:gs pos="100000">
                      <a:srgbClr val="282828"/>
                    </a:gs>
                  </a:gsLst>
                  <a:lin ang="5400000" scaled="1"/>
                </a:gradFill>
                <a:latin typeface="Segoe UI"/>
              </a:rPr>
              <a:t>3. Forrester Consulting, “The Total Economic Impact Of Microsoft Endpoint Manager,” April 2021, commissioned by Microsoft </a:t>
            </a:r>
          </a:p>
          <a:p>
            <a:pPr defTabSz="1234716">
              <a:defRPr/>
            </a:pPr>
            <a:r>
              <a:rPr lang="en-US" sz="1400" kern="0" dirty="0">
                <a:gradFill>
                  <a:gsLst>
                    <a:gs pos="83000">
                      <a:srgbClr val="282828"/>
                    </a:gs>
                    <a:gs pos="100000">
                      <a:srgbClr val="282828"/>
                    </a:gs>
                  </a:gsLst>
                  <a:lin ang="5400000" scaled="1"/>
                </a:gradFill>
                <a:latin typeface="Segoe UI"/>
              </a:rPr>
              <a:t>4. Forrester Consulting, “The Total Economic Impact Of Microsoft Azure Sentinel,” November, 2020, commissioned by Microsoft </a:t>
            </a:r>
          </a:p>
          <a:p>
            <a:pPr rtl="0" fontAlgn="base"/>
            <a:endParaRPr lang="en-US" sz="1800" dirty="0">
              <a:latin typeface="Segoe UI Light" pitchFamily="34" charset="0"/>
            </a:endParaRPr>
          </a:p>
          <a:p>
            <a:pPr rtl="0" fontAlgn="base"/>
            <a:endParaRPr lang="en-US" sz="1800" dirty="0">
              <a:latin typeface="Segoe UI Light" pitchFamily="34" charset="0"/>
            </a:endParaRPr>
          </a:p>
          <a:p>
            <a:pPr rtl="0" fontAlgn="base"/>
            <a:r>
              <a:rPr lang="en-US" sz="1800" dirty="0">
                <a:latin typeface="Segoe UI Light" pitchFamily="34" charset="0"/>
              </a:rPr>
              <a:t>Quote from customer case study: </a:t>
            </a:r>
          </a:p>
          <a:p>
            <a:endParaRPr lang="en-US" dirty="0"/>
          </a:p>
        </p:txBody>
      </p:sp>
      <p:sp>
        <p:nvSpPr>
          <p:cNvPr id="4" name="Header Placeholder 3"/>
          <p:cNvSpPr>
            <a:spLocks noGrp="1"/>
          </p:cNvSpPr>
          <p:nvPr>
            <p:ph type="hdr" sz="quarter"/>
          </p:nvPr>
        </p:nvSpPr>
        <p:spPr/>
        <p:txBody>
          <a:bodyPr/>
          <a:lstStyle/>
          <a:p>
            <a:pPr defTabSz="1588953">
              <a:defRPr/>
            </a:pPr>
            <a:endParaRPr lang="en-US" sz="2100">
              <a:solidFill>
                <a:prstClr val="black"/>
              </a:solidFill>
              <a:latin typeface="Calibri" panose="020F0502020204030204"/>
            </a:endParaRPr>
          </a:p>
        </p:txBody>
      </p:sp>
      <p:sp>
        <p:nvSpPr>
          <p:cNvPr id="5" name="Footer Placeholder 4"/>
          <p:cNvSpPr>
            <a:spLocks noGrp="1"/>
          </p:cNvSpPr>
          <p:nvPr>
            <p:ph type="ftr" sz="quarter" idx="4"/>
          </p:nvPr>
        </p:nvSpPr>
        <p:spPr/>
        <p:txBody>
          <a:bodyPr/>
          <a:lstStyle/>
          <a:p>
            <a:pPr defTabSz="1588430"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1588953">
              <a:defRPr/>
            </a:pPr>
            <a:fld id="{386CE63F-9E7F-4C04-9D0D-FCA25A8E9E86}" type="datetime8">
              <a:rPr lang="en-US" sz="2100">
                <a:solidFill>
                  <a:prstClr val="black"/>
                </a:solidFill>
                <a:latin typeface="Calibri" panose="020F0502020204030204"/>
              </a:rPr>
              <a:pPr defTabSz="1588953">
                <a:defRPr/>
              </a:pPr>
              <a:t>8/31/2022 4:33 PM</a:t>
            </a:fld>
            <a:endParaRPr lang="en-US" sz="2100">
              <a:solidFill>
                <a:prstClr val="black"/>
              </a:solidFill>
              <a:latin typeface="Calibri" panose="020F0502020204030204"/>
            </a:endParaRPr>
          </a:p>
        </p:txBody>
      </p:sp>
      <p:sp>
        <p:nvSpPr>
          <p:cNvPr id="7" name="Slide Number Placeholder 6"/>
          <p:cNvSpPr>
            <a:spLocks noGrp="1"/>
          </p:cNvSpPr>
          <p:nvPr>
            <p:ph type="sldNum" sz="quarter" idx="5"/>
          </p:nvPr>
        </p:nvSpPr>
        <p:spPr/>
        <p:txBody>
          <a:bodyPr/>
          <a:lstStyle/>
          <a:p>
            <a:pPr defTabSz="1588953">
              <a:defRPr/>
            </a:pPr>
            <a:fld id="{B4008EB6-D09E-4580-8CD6-DDB14511944F}" type="slidenum">
              <a:rPr lang="en-US" sz="2100">
                <a:solidFill>
                  <a:prstClr val="black"/>
                </a:solidFill>
                <a:latin typeface="Calibri" panose="020F0502020204030204"/>
              </a:rPr>
              <a:pPr defTabSz="1588953">
                <a:defRPr/>
              </a:pPr>
              <a:t>8</a:t>
            </a:fld>
            <a:endParaRPr lang="en-US" sz="2100">
              <a:solidFill>
                <a:prstClr val="black"/>
              </a:solidFill>
              <a:latin typeface="Calibri" panose="020F0502020204030204"/>
            </a:endParaRPr>
          </a:p>
        </p:txBody>
      </p:sp>
    </p:spTree>
    <p:extLst>
      <p:ext uri="{BB962C8B-B14F-4D97-AF65-F5344CB8AC3E}">
        <p14:creationId xmlns:p14="http://schemas.microsoft.com/office/powerpoint/2010/main" val="3317717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588953">
              <a:defRPr/>
            </a:pPr>
            <a:r>
              <a:rPr lang="en-US" sz="2100" b="1" dirty="0"/>
              <a:t>Key slide takeaway</a:t>
            </a:r>
            <a:r>
              <a:rPr lang="en-US" sz="2100" dirty="0"/>
              <a:t>: Security breaches continue to increase in quantity and complexity. </a:t>
            </a:r>
            <a:r>
              <a:rPr lang="en-US" sz="2100" dirty="0">
                <a:solidFill>
                  <a:srgbClr val="404040"/>
                </a:solidFill>
                <a:latin typeface="Calibri" panose="020F0502020204030204" pitchFamily="34" charset="0"/>
                <a:ea typeface="Calibri" panose="020F0502020204030204" pitchFamily="34" charset="0"/>
                <a:cs typeface="Arial" panose="020B0604020202020204" pitchFamily="34" charset="0"/>
              </a:rPr>
              <a:t>Organizations that consolidate their security portfolio report diminished risk in breaches. </a:t>
            </a:r>
          </a:p>
          <a:p>
            <a:r>
              <a:rPr lang="en-US" sz="2100" dirty="0"/>
              <a:t> </a:t>
            </a:r>
          </a:p>
          <a:p>
            <a:r>
              <a:rPr lang="en-US" sz="2100" b="1" dirty="0"/>
              <a:t>Main points to cover:</a:t>
            </a:r>
            <a:endParaRPr lang="en-US" sz="2100" dirty="0">
              <a:solidFill>
                <a:srgbClr val="333333"/>
              </a:solidFill>
              <a:latin typeface="SegoeUI"/>
            </a:endParaRP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80% </a:t>
            </a:r>
            <a:r>
              <a:rPr lang="en-US" sz="21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higher costs when security AI and automation was not fully deployed</a:t>
            </a:r>
            <a:r>
              <a:rPr lang="en-US" sz="2100" baseline="300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1</a:t>
            </a: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34% </a:t>
            </a:r>
            <a:r>
              <a:rPr lang="en-US" sz="2100" dirty="0">
                <a:gradFill>
                  <a:gsLst>
                    <a:gs pos="83000">
                      <a:srgbClr val="000000"/>
                    </a:gs>
                    <a:gs pos="100000">
                      <a:srgbClr val="000000"/>
                    </a:gs>
                  </a:gsLst>
                  <a:lin ang="5400000" scaled="1"/>
                </a:gradFill>
                <a:latin typeface="Segoe UI"/>
              </a:rPr>
              <a:t>of all data breaches are caused by insider </a:t>
            </a:r>
            <a:r>
              <a:rPr lang="en-US" sz="21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threats</a:t>
            </a:r>
            <a:r>
              <a:rPr lang="en-US" sz="2100" baseline="300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2</a:t>
            </a:r>
            <a:r>
              <a:rPr lang="en-US" sz="2100" dirty="0">
                <a:gradFill>
                  <a:gsLst>
                    <a:gs pos="83000">
                      <a:srgbClr val="000000"/>
                    </a:gs>
                    <a:gs pos="100000">
                      <a:srgbClr val="000000"/>
                    </a:gs>
                  </a:gsLst>
                  <a:lin ang="5400000" scaled="1"/>
                </a:gradFill>
                <a:latin typeface="Segoe UI"/>
              </a:rPr>
              <a:t> </a:t>
            </a:r>
            <a:endParaRPr lang="en-US" sz="2100" baseline="30000" dirty="0">
              <a:gradFill>
                <a:gsLst>
                  <a:gs pos="83000">
                    <a:srgbClr val="000000"/>
                  </a:gs>
                  <a:gs pos="100000">
                    <a:srgbClr val="000000"/>
                  </a:gs>
                </a:gsLst>
                <a:lin ang="5400000" scaled="1"/>
              </a:gradFill>
              <a:latin typeface="Segoe UI"/>
            </a:endParaRPr>
          </a:p>
          <a:p>
            <a:pPr marL="297929" indent="-297929" defTabSz="1588896">
              <a:spcAft>
                <a:spcPts val="1043"/>
              </a:spcAft>
              <a:buFont typeface="Wingdings" panose="05000000000000000000" pitchFamily="2" charset="2"/>
              <a:buChar char="§"/>
              <a:defRPr/>
            </a:pPr>
            <a:r>
              <a:rPr lang="en-US" sz="2100" dirty="0">
                <a:solidFill>
                  <a:srgbClr val="000000"/>
                </a:solidFill>
                <a:latin typeface="Segoe UI Semilight" panose="020B0402040204020203" pitchFamily="34" charset="0"/>
                <a:cs typeface="Segoe UI Semilight" panose="020B0402040204020203" pitchFamily="34" charset="0"/>
              </a:rPr>
              <a:t>85% </a:t>
            </a:r>
            <a:r>
              <a:rPr lang="en-US" sz="2100" dirty="0">
                <a:solidFill>
                  <a:sysClr val="windowText" lastClr="000000"/>
                </a:solidFill>
                <a:latin typeface="Segoe UI"/>
                <a:cs typeface="Segoe UI Semibold" panose="020B0502040204020203" pitchFamily="34" charset="0"/>
              </a:rPr>
              <a:t>reduction in alert queues due to Automation</a:t>
            </a:r>
            <a:r>
              <a:rPr lang="en-US" sz="2100" dirty="0">
                <a:solidFill>
                  <a:sysClr val="windowText" lastClr="000000"/>
                </a:solidFill>
                <a:latin typeface="Segoe UI Semibold"/>
                <a:cs typeface="Segoe UI Semibold" panose="020B0502040204020203" pitchFamily="34" charset="0"/>
              </a:rPr>
              <a:t>.</a:t>
            </a:r>
            <a:r>
              <a:rPr lang="en-US" sz="2100" baseline="30000" dirty="0">
                <a:solidFill>
                  <a:sysClr val="windowText" lastClr="000000"/>
                </a:solidFill>
                <a:latin typeface="Segoe UI Semibold"/>
                <a:cs typeface="Segoe UI Semibold" panose="020B0502040204020203" pitchFamily="34" charset="0"/>
              </a:rPr>
              <a:t>3</a:t>
            </a:r>
          </a:p>
          <a:p>
            <a:pPr marL="297929" indent="-297929" defTabSz="1588896">
              <a:spcAft>
                <a:spcPts val="1043"/>
              </a:spcAft>
              <a:buFont typeface="Wingdings" panose="05000000000000000000" pitchFamily="2" charset="2"/>
              <a:buChar char="§"/>
              <a:defRPr/>
            </a:pPr>
            <a:r>
              <a:rPr lang="en-US" sz="21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2.3M higher costs for breaches with high level of compliance failure</a:t>
            </a:r>
            <a:r>
              <a:rPr lang="en-US" sz="2100" baseline="300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1</a:t>
            </a:r>
          </a:p>
          <a:p>
            <a:pPr defTabSz="1588896">
              <a:spcAft>
                <a:spcPts val="1043"/>
              </a:spcAft>
              <a:defRPr/>
            </a:pPr>
            <a:endParaRPr lang="en-US" sz="2100" dirty="0">
              <a:solidFill>
                <a:srgbClr val="000000"/>
              </a:solidFill>
              <a:latin typeface="Segoe UI Semilight" panose="020B0402040204020203" pitchFamily="34" charset="0"/>
              <a:cs typeface="Segoe UI Semilight" panose="020B0402040204020203" pitchFamily="34" charset="0"/>
            </a:endParaRPr>
          </a:p>
          <a:p>
            <a:pPr defTabSz="1588896">
              <a:spcAft>
                <a:spcPts val="1043"/>
              </a:spcAft>
              <a:defRPr/>
            </a:pPr>
            <a:r>
              <a:rPr lang="en-US" sz="2100" dirty="0">
                <a:solidFill>
                  <a:srgbClr val="404040"/>
                </a:solidFill>
                <a:latin typeface="Calibri" panose="020F0502020204030204" pitchFamily="34" charset="0"/>
                <a:ea typeface="Calibri" panose="020F0502020204030204" pitchFamily="34" charset="0"/>
                <a:cs typeface="Arial" panose="020B0604020202020204" pitchFamily="34" charset="0"/>
              </a:rPr>
              <a:t>Let’s talk about how you can reduce threats with AI and Automation, leading to cost savings for your organization. (click)</a:t>
            </a:r>
            <a:endParaRPr lang="en-US" sz="2100" dirty="0">
              <a:solidFill>
                <a:srgbClr val="000000"/>
              </a:solidFill>
              <a:latin typeface="Segoe UI Semilight" panose="020B0402040204020203" pitchFamily="34" charset="0"/>
              <a:cs typeface="Segoe UI Semilight" panose="020B0402040204020203" pitchFamily="34" charset="0"/>
            </a:endParaRPr>
          </a:p>
          <a:p>
            <a:pPr defTabSz="1588896">
              <a:spcAft>
                <a:spcPts val="1043"/>
              </a:spcAft>
              <a:defRPr/>
            </a:pPr>
            <a:endParaRPr lang="en-US" sz="2100" dirty="0">
              <a:solidFill>
                <a:srgbClr val="000000"/>
              </a:solidFill>
              <a:latin typeface="Segoe UI Semilight" panose="020B0402040204020203" pitchFamily="34" charset="0"/>
              <a:cs typeface="Segoe UI Semilight" panose="020B0402040204020203" pitchFamily="34" charset="0"/>
            </a:endParaRPr>
          </a:p>
          <a:p>
            <a:endParaRPr lang="en-US" sz="2100" dirty="0"/>
          </a:p>
          <a:p>
            <a:r>
              <a:rPr lang="en-US" sz="2100" dirty="0"/>
              <a:t>Citations:</a:t>
            </a:r>
          </a:p>
          <a:p>
            <a:pPr defTabSz="1620826">
              <a:spcBef>
                <a:spcPct val="20000"/>
              </a:spcBef>
              <a:buSzPct val="90000"/>
              <a:defRPr/>
            </a:pPr>
            <a:r>
              <a:rPr lang="en-US" sz="2100" baseline="30000" dirty="0">
                <a:solidFill>
                  <a:srgbClr val="000000"/>
                </a:solidFill>
                <a:latin typeface="Segoe UI" panose="020B0502040204020203" pitchFamily="34" charset="0"/>
              </a:rPr>
              <a:t>1</a:t>
            </a:r>
            <a:r>
              <a:rPr lang="en-US" sz="2100" dirty="0">
                <a:solidFill>
                  <a:srgbClr val="000000"/>
                </a:solidFill>
                <a:latin typeface="Segoe UI" panose="020B0502040204020203" pitchFamily="34" charset="0"/>
              </a:rPr>
              <a:t> </a:t>
            </a:r>
            <a:r>
              <a:rPr lang="en-US" sz="2100" dirty="0" err="1">
                <a:solidFill>
                  <a:srgbClr val="000000"/>
                </a:solidFill>
                <a:latin typeface="Segoe UI" panose="020B0502040204020203" pitchFamily="34" charset="0"/>
              </a:rPr>
              <a:t>Ponemon</a:t>
            </a:r>
            <a:r>
              <a:rPr lang="en-US" sz="2100" dirty="0">
                <a:solidFill>
                  <a:srgbClr val="000000"/>
                </a:solidFill>
                <a:latin typeface="Segoe UI" panose="020B0502040204020203" pitchFamily="34" charset="0"/>
              </a:rPr>
              <a:t> Institute Cost of Breach Data, 2021</a:t>
            </a:r>
          </a:p>
          <a:p>
            <a:pPr defTabSz="1620826">
              <a:spcBef>
                <a:spcPct val="20000"/>
              </a:spcBef>
              <a:buSzPct val="90000"/>
              <a:defRPr/>
            </a:pPr>
            <a:r>
              <a:rPr lang="en-US" sz="2100" baseline="30000" dirty="0">
                <a:solidFill>
                  <a:srgbClr val="000000"/>
                </a:solidFill>
                <a:latin typeface="Segoe UI" panose="020B0502040204020203" pitchFamily="34" charset="0"/>
              </a:rPr>
              <a:t>2</a:t>
            </a:r>
            <a:r>
              <a:rPr lang="en-US" sz="2100" dirty="0">
                <a:solidFill>
                  <a:srgbClr val="000000"/>
                </a:solidFill>
                <a:latin typeface="Segoe UI" panose="020B0502040204020203" pitchFamily="34" charset="0"/>
              </a:rPr>
              <a:t> </a:t>
            </a:r>
            <a:r>
              <a:rPr lang="en-US" sz="2100" dirty="0" err="1">
                <a:solidFill>
                  <a:srgbClr val="000000"/>
                </a:solidFill>
                <a:latin typeface="Segoe UI" panose="020B0502040204020203" pitchFamily="34" charset="0"/>
              </a:rPr>
              <a:t>Ponemon</a:t>
            </a:r>
            <a:r>
              <a:rPr lang="en-US" sz="2100" dirty="0">
                <a:solidFill>
                  <a:srgbClr val="000000"/>
                </a:solidFill>
                <a:latin typeface="Segoe UI" panose="020B0502040204020203" pitchFamily="34" charset="0"/>
              </a:rPr>
              <a:t> Institute Cost of Insider Risk,  2020</a:t>
            </a:r>
            <a:r>
              <a:rPr lang="en-US" sz="2100" dirty="0"/>
              <a:t> </a:t>
            </a:r>
          </a:p>
          <a:p>
            <a:pPr defTabSz="1620826">
              <a:spcBef>
                <a:spcPct val="20000"/>
              </a:spcBef>
              <a:buSzPct val="90000"/>
              <a:defRPr/>
            </a:pPr>
            <a:r>
              <a:rPr lang="en-US" sz="2100" baseline="30000" dirty="0">
                <a:solidFill>
                  <a:srgbClr val="000000"/>
                </a:solidFill>
                <a:latin typeface="Segoe UI" panose="020B0502040204020203" pitchFamily="34" charset="0"/>
              </a:rPr>
              <a:t>3</a:t>
            </a:r>
            <a:r>
              <a:rPr lang="en-US" sz="2100" kern="0" dirty="0">
                <a:gradFill>
                  <a:gsLst>
                    <a:gs pos="83000">
                      <a:srgbClr val="282828"/>
                    </a:gs>
                    <a:gs pos="100000">
                      <a:srgbClr val="282828"/>
                    </a:gs>
                  </a:gsLst>
                  <a:lin ang="5400000" scaled="1"/>
                </a:gradFill>
                <a:latin typeface="Segoe UI"/>
              </a:rPr>
              <a:t> Forrester Consulting, “The Total Economic Impact Of Microsoft 365 E5 Compliance,” June, 2021, commissioned by Microsoft </a:t>
            </a:r>
          </a:p>
          <a:p>
            <a:endParaRPr lang="en-US" dirty="0"/>
          </a:p>
        </p:txBody>
      </p:sp>
      <p:sp>
        <p:nvSpPr>
          <p:cNvPr id="4" name="Slide Number Placeholder 3"/>
          <p:cNvSpPr>
            <a:spLocks noGrp="1"/>
          </p:cNvSpPr>
          <p:nvPr>
            <p:ph type="sldNum" sz="quarter" idx="5"/>
          </p:nvPr>
        </p:nvSpPr>
        <p:spPr/>
        <p:txBody>
          <a:bodyPr/>
          <a:lstStyle/>
          <a:p>
            <a:pPr defTabSz="1588896">
              <a:defRPr/>
            </a:pPr>
            <a:fld id="{BCCA3AF7-B6E8-4FA6-8DC5-D653885B5CBA}" type="slidenum">
              <a:rPr lang="en-US" sz="2100">
                <a:solidFill>
                  <a:prstClr val="black"/>
                </a:solidFill>
                <a:latin typeface="Segoe UI" pitchFamily="34" charset="0"/>
              </a:rPr>
              <a:pPr defTabSz="1588896">
                <a:defRPr/>
              </a:pPr>
              <a:t>9</a:t>
            </a:fld>
            <a:endParaRPr lang="en-US" sz="2100">
              <a:solidFill>
                <a:prstClr val="black"/>
              </a:solidFill>
              <a:latin typeface="Segoe UI" pitchFamily="34" charset="0"/>
            </a:endParaRPr>
          </a:p>
        </p:txBody>
      </p:sp>
    </p:spTree>
    <p:extLst>
      <p:ext uri="{BB962C8B-B14F-4D97-AF65-F5344CB8AC3E}">
        <p14:creationId xmlns:p14="http://schemas.microsoft.com/office/powerpoint/2010/main" val="265095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41.pn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21.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1.png"/><Relationship Id="rId1" Type="http://schemas.openxmlformats.org/officeDocument/2006/relationships/slideMaster" Target="../slideMasters/slideMaster4.xml"/><Relationship Id="rId4" Type="http://schemas.openxmlformats.org/officeDocument/2006/relationships/image" Target="../media/image52.pn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5.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 Id="rId4" Type="http://schemas.openxmlformats.org/officeDocument/2006/relationships/image" Target="../media/image21.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5.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35.sv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15.jpe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6.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6.xml"/><Relationship Id="rId4" Type="http://schemas.openxmlformats.org/officeDocument/2006/relationships/image" Target="../media/image21.jpe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6.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15.jpe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6.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6.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emf"/><Relationship Id="rId1" Type="http://schemas.openxmlformats.org/officeDocument/2006/relationships/slideMaster" Target="../slideMasters/slideMaster6.xml"/><Relationship Id="rId4" Type="http://schemas.openxmlformats.org/officeDocument/2006/relationships/image" Target="../media/image56.svg"/></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5" Type="http://schemas.openxmlformats.org/officeDocument/2006/relationships/image" Target="../media/image58.png"/><Relationship Id="rId4" Type="http://schemas.openxmlformats.org/officeDocument/2006/relationships/image" Target="../media/image57.emf"/></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60.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9.xml"/><Relationship Id="rId4" Type="http://schemas.openxmlformats.org/officeDocument/2006/relationships/image" Target="../media/image15.jpe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9.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9.xml"/><Relationship Id="rId4" Type="http://schemas.openxmlformats.org/officeDocument/2006/relationships/image" Target="../media/image21.jpe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9.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9.xml"/><Relationship Id="rId4" Type="http://schemas.openxmlformats.org/officeDocument/2006/relationships/image" Target="../media/image15.jpe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9.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13.xml"/><Relationship Id="rId4" Type="http://schemas.openxmlformats.org/officeDocument/2006/relationships/image" Target="../media/image35.sv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3.xml"/><Relationship Id="rId4" Type="http://schemas.openxmlformats.org/officeDocument/2006/relationships/image" Target="../media/image15.jpeg"/></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3.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21.jpeg"/></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3.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3.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3.xml"/><Relationship Id="rId4" Type="http://schemas.openxmlformats.org/officeDocument/2006/relationships/image" Target="../media/image15.jpe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3.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3.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14.xml"/><Relationship Id="rId4" Type="http://schemas.openxmlformats.org/officeDocument/2006/relationships/image" Target="../media/image35.sv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15.jpeg"/></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4.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4.xml"/><Relationship Id="rId4" Type="http://schemas.openxmlformats.org/officeDocument/2006/relationships/image" Target="../media/image21.jpeg"/></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4.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4.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15.jpeg"/></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4.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4.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4.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16.xml"/><Relationship Id="rId4" Type="http://schemas.openxmlformats.org/officeDocument/2006/relationships/image" Target="../media/image35.sv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6.xml"/><Relationship Id="rId4" Type="http://schemas.openxmlformats.org/officeDocument/2006/relationships/image" Target="../media/image15.jpeg"/></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6.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21.jpe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6.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6.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6.xml"/><Relationship Id="rId4" Type="http://schemas.openxmlformats.org/officeDocument/2006/relationships/image" Target="../media/image15.jpe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6.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6.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4.emf"/><Relationship Id="rId1" Type="http://schemas.openxmlformats.org/officeDocument/2006/relationships/slideMaster" Target="../slideMasters/slideMaster16.xml"/><Relationship Id="rId4" Type="http://schemas.openxmlformats.org/officeDocument/2006/relationships/image" Target="../media/image56.svg"/></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17.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7.xml"/><Relationship Id="rId5" Type="http://schemas.openxmlformats.org/officeDocument/2006/relationships/image" Target="../media/image75.svg"/><Relationship Id="rId4" Type="http://schemas.openxmlformats.org/officeDocument/2006/relationships/image" Target="../media/image7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7.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Master" Target="../slideMasters/slideMaster17.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17.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17.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Master" Target="../slideMasters/slideMaster17.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17.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35.svg"/></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17.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7.xml"/></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slideMaster" Target="../slideMasters/slideMaster1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emf"/><Relationship Id="rId1" Type="http://schemas.openxmlformats.org/officeDocument/2006/relationships/slideMaster" Target="../slideMasters/slideMaster17.xml"/><Relationship Id="rId4" Type="http://schemas.openxmlformats.org/officeDocument/2006/relationships/image" Target="../media/image68.sv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rgbClr val="243A5E"/>
        </a:solidFill>
        <a:effectLst/>
      </p:bgPr>
    </p:bg>
    <p:spTree>
      <p:nvGrpSpPr>
        <p:cNvPr id="1" name=""/>
        <p:cNvGrpSpPr/>
        <p:nvPr/>
      </p:nvGrpSpPr>
      <p:grpSpPr>
        <a:xfrm>
          <a:off x="0" y="0"/>
          <a:ext cx="0" cy="0"/>
          <a:chOff x="0" y="0"/>
          <a:chExt cx="0" cy="0"/>
        </a:xfrm>
      </p:grpSpPr>
      <p:pic>
        <p:nvPicPr>
          <p:cNvPr id="6" name="Picture 5" descr="Photo of coworkers on a video call">
            <a:extLst>
              <a:ext uri="{FF2B5EF4-FFF2-40B4-BE49-F238E27FC236}">
                <a16:creationId xmlns:a16="http://schemas.microsoft.com/office/drawing/2014/main" id="{3557BF76-0B3B-BF4B-9523-83483DD85C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95" r="28831"/>
          <a:stretch/>
        </p:blipFill>
        <p:spPr>
          <a:xfrm>
            <a:off x="6115049" y="0"/>
            <a:ext cx="607695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a:extLst>
              <a:ext uri="{FF2B5EF4-FFF2-40B4-BE49-F238E27FC236}">
                <a16:creationId xmlns:a16="http://schemas.microsoft.com/office/drawing/2014/main" id="{84238956-D655-E04F-9B07-6099476CCCE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43555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8010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57402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7197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368032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1901690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1963309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3864638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080232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049856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8760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6103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solidFill>
                  <a:schemeClr val="bg1"/>
                </a:solidFill>
              </a:defRPr>
            </a:lvl1pPr>
          </a:lstStyle>
          <a:p>
            <a:r>
              <a:rPr lang="en-US"/>
              <a:t>quote</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name</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4826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027371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664654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30077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enefi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4" y="1528097"/>
            <a:ext cx="5246280" cy="434547"/>
          </a:xfrm>
        </p:spPr>
        <p:txBody>
          <a:bodyPr anchor="b" anchorCtr="0"/>
          <a:lstStyle>
            <a:lvl1pPr>
              <a:lnSpc>
                <a:spcPct val="90000"/>
              </a:lnSpc>
              <a:defRPr sz="3137" b="1">
                <a:latin typeface="+mj-lt"/>
              </a:defRPr>
            </a:lvl1pPr>
          </a:lstStyle>
          <a:p>
            <a:r>
              <a:rPr lang="en-US"/>
              <a:t>Click to edit title style</a:t>
            </a:r>
          </a:p>
        </p:txBody>
      </p:sp>
      <p:sp>
        <p:nvSpPr>
          <p:cNvPr id="3" name="Text Placeholder 3">
            <a:extLst>
              <a:ext uri="{FF2B5EF4-FFF2-40B4-BE49-F238E27FC236}">
                <a16:creationId xmlns:a16="http://schemas.microsoft.com/office/drawing/2014/main" id="{15BCE531-2469-4786-B04E-D07B2D7185F1}"/>
              </a:ext>
            </a:extLst>
          </p:cNvPr>
          <p:cNvSpPr>
            <a:spLocks noGrp="1"/>
          </p:cNvSpPr>
          <p:nvPr>
            <p:ph type="body" sz="quarter" idx="10"/>
          </p:nvPr>
        </p:nvSpPr>
        <p:spPr>
          <a:xfrm>
            <a:off x="613203" y="2105569"/>
            <a:ext cx="5246280" cy="307777"/>
          </a:xfrm>
        </p:spPr>
        <p:txBody>
          <a:bodyPr wrap="square">
            <a:spAutoFit/>
          </a:bodyPr>
          <a:lstStyle>
            <a:lvl1pPr marL="0" indent="0">
              <a:buNone/>
              <a:defRPr sz="1961">
                <a:gradFill>
                  <a:gsLst>
                    <a:gs pos="0">
                      <a:schemeClr val="accent1"/>
                    </a:gs>
                    <a:gs pos="100000">
                      <a:schemeClr val="accent1"/>
                    </a:gs>
                  </a:gsLst>
                  <a:lin ang="5400000" scaled="1"/>
                </a:gradFill>
                <a:latin typeface="+mj-lt"/>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12" name="Text Placeholder 3">
            <a:extLst>
              <a:ext uri="{FF2B5EF4-FFF2-40B4-BE49-F238E27FC236}">
                <a16:creationId xmlns:a16="http://schemas.microsoft.com/office/drawing/2014/main" id="{BEBF9B50-43C8-4AD9-A45A-09462C11ECAB}"/>
              </a:ext>
            </a:extLst>
          </p:cNvPr>
          <p:cNvSpPr>
            <a:spLocks noGrp="1"/>
          </p:cNvSpPr>
          <p:nvPr>
            <p:ph type="body" sz="quarter" idx="12"/>
          </p:nvPr>
        </p:nvSpPr>
        <p:spPr>
          <a:xfrm>
            <a:off x="613202" y="2971607"/>
            <a:ext cx="5221341" cy="271592"/>
          </a:xfrm>
        </p:spPr>
        <p:txBody>
          <a:bodyPr wrap="square" lIns="731520">
            <a:spAutoFit/>
          </a:bodyPr>
          <a:lstStyle>
            <a:lvl1pPr marL="0" indent="0">
              <a:spcAft>
                <a:spcPts val="4117"/>
              </a:spcAft>
              <a:buNone/>
              <a:defRPr sz="1765">
                <a:latin typeface="+mn-lt"/>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9" name="Picture Placeholder 8">
            <a:extLst>
              <a:ext uri="{FF2B5EF4-FFF2-40B4-BE49-F238E27FC236}">
                <a16:creationId xmlns:a16="http://schemas.microsoft.com/office/drawing/2014/main" id="{F0AB602A-C9F2-463C-9DC5-9CA3F92F311E}"/>
              </a:ext>
              <a:ext uri="{C183D7F6-B498-43B3-948B-1728B52AA6E4}">
                <adec:decorative xmlns:adec="http://schemas.microsoft.com/office/drawing/2017/decorative" val="1"/>
              </a:ext>
            </a:extLst>
          </p:cNvPr>
          <p:cNvSpPr>
            <a:spLocks noGrp="1"/>
          </p:cNvSpPr>
          <p:nvPr>
            <p:ph type="pic" sz="quarter" idx="11" hasCustomPrompt="1"/>
          </p:nvPr>
        </p:nvSpPr>
        <p:spPr>
          <a:xfrm>
            <a:off x="5334973" y="0"/>
            <a:ext cx="6851872" cy="6852843"/>
          </a:xfrm>
          <a:custGeom>
            <a:avLst/>
            <a:gdLst>
              <a:gd name="connsiteX0" fmla="*/ 0 w 6989266"/>
              <a:gd name="connsiteY0" fmla="*/ 0 h 6989265"/>
              <a:gd name="connsiteX1" fmla="*/ 6989266 w 6989266"/>
              <a:gd name="connsiteY1" fmla="*/ 0 h 6989265"/>
              <a:gd name="connsiteX2" fmla="*/ 6989266 w 6989266"/>
              <a:gd name="connsiteY2" fmla="*/ 6989265 h 6989265"/>
              <a:gd name="connsiteX3" fmla="*/ 9095 w 6989266"/>
              <a:gd name="connsiteY3" fmla="*/ 359672 h 6989265"/>
            </a:gdLst>
            <a:ahLst/>
            <a:cxnLst>
              <a:cxn ang="0">
                <a:pos x="connsiteX0" y="connsiteY0"/>
              </a:cxn>
              <a:cxn ang="0">
                <a:pos x="connsiteX1" y="connsiteY1"/>
              </a:cxn>
              <a:cxn ang="0">
                <a:pos x="connsiteX2" y="connsiteY2"/>
              </a:cxn>
              <a:cxn ang="0">
                <a:pos x="connsiteX3" y="connsiteY3"/>
              </a:cxn>
            </a:cxnLst>
            <a:rect l="l" t="t" r="r" b="b"/>
            <a:pathLst>
              <a:path w="6989266" h="6989265">
                <a:moveTo>
                  <a:pt x="0" y="0"/>
                </a:moveTo>
                <a:lnTo>
                  <a:pt x="6989266" y="0"/>
                </a:lnTo>
                <a:lnTo>
                  <a:pt x="6989266" y="6989265"/>
                </a:lnTo>
                <a:cubicBezTo>
                  <a:pt x="3249759" y="6989265"/>
                  <a:pt x="196285" y="4052651"/>
                  <a:pt x="9095" y="359672"/>
                </a:cubicBezTo>
                <a:close/>
              </a:path>
            </a:pathLst>
          </a:custGeom>
          <a:blipFill>
            <a:blip r:embed="rId2"/>
            <a:stretch>
              <a:fillRect/>
            </a:stretch>
          </a:blipFill>
        </p:spPr>
        <p:txBody>
          <a:bodyPr vert="horz" wrap="square" lIns="0" tIns="237744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a:p>
            <a:pPr marL="0" lvl="0" indent="0" algn="ctr">
              <a:buNone/>
            </a:pPr>
            <a:endParaRPr lang="en-US"/>
          </a:p>
        </p:txBody>
      </p:sp>
    </p:spTree>
    <p:extLst>
      <p:ext uri="{BB962C8B-B14F-4D97-AF65-F5344CB8AC3E}">
        <p14:creationId xmlns:p14="http://schemas.microsoft.com/office/powerpoint/2010/main" val="29335599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06549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33420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Icon&#10;&#10;Description automatically generated">
            <a:extLst>
              <a:ext uri="{FF2B5EF4-FFF2-40B4-BE49-F238E27FC236}">
                <a16:creationId xmlns:a16="http://schemas.microsoft.com/office/drawing/2014/main" id="{7AD7BBEE-A903-0B4D-88A2-3693C040030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81930" y="879927"/>
            <a:ext cx="6667500" cy="5054600"/>
          </a:xfrm>
          <a:prstGeom prst="rect">
            <a:avLst/>
          </a:prstGeom>
        </p:spPr>
      </p:pic>
    </p:spTree>
    <p:extLst>
      <p:ext uri="{BB962C8B-B14F-4D97-AF65-F5344CB8AC3E}">
        <p14:creationId xmlns:p14="http://schemas.microsoft.com/office/powerpoint/2010/main" val="1353561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56424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2648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65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601922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8180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988613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8896087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3064662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05617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5847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7263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0381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6035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946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868360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471175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2989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8015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8688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22212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6709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35949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02082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18240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02453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0090770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97241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616215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99185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220259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50038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69431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322232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93545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40981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60214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67454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88906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50682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36990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4360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28864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011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592044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97074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965466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603265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1D0E9342-539E-1E49-B252-DEDE7F123A10}"/>
              </a:ext>
            </a:extLst>
          </p:cNvPr>
          <p:cNvSpPr>
            <a:spLocks noGrp="1"/>
          </p:cNvSpPr>
          <p:nvPr>
            <p:ph type="title"/>
          </p:nvPr>
        </p:nvSpPr>
        <p:spPr>
          <a:xfrm>
            <a:off x="588263" y="476986"/>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2"/>
            <a:ext cx="11018520" cy="307777"/>
          </a:xfrm>
        </p:spPr>
        <p:txBody>
          <a:bodyPr wrap="square">
            <a:spAutoFit/>
          </a:bodyPr>
          <a:lstStyle>
            <a:lvl1pPr marL="0" indent="0">
              <a:buNone/>
              <a:defRPr sz="2000"/>
            </a:lvl1pPr>
            <a:lvl2pPr marL="228594" indent="0">
              <a:buNone/>
              <a:defRPr sz="2000"/>
            </a:lvl2pPr>
            <a:lvl3pPr marL="457189" indent="0">
              <a:buNone/>
              <a:defRPr sz="2000"/>
            </a:lvl3pPr>
            <a:lvl4pPr marL="685783" indent="0">
              <a:buNone/>
              <a:defRPr sz="2000"/>
            </a:lvl4pPr>
            <a:lvl5pPr marL="914377" indent="0">
              <a:buNone/>
              <a:defRPr sz="2000"/>
            </a:lvl5pPr>
          </a:lstStyle>
          <a:p>
            <a:pPr lvl="0"/>
            <a:r>
              <a:rPr lang="en-US"/>
              <a:t>Click to edit Master text styles</a:t>
            </a:r>
          </a:p>
        </p:txBody>
      </p:sp>
    </p:spTree>
    <p:extLst>
      <p:ext uri="{BB962C8B-B14F-4D97-AF65-F5344CB8AC3E}">
        <p14:creationId xmlns:p14="http://schemas.microsoft.com/office/powerpoint/2010/main" val="2105879965"/>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846203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912591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738870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223033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211814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6990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008532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68350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18135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685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9284"/>
            <a:ext cx="11018520" cy="553998"/>
          </a:xfrm>
        </p:spPr>
        <p:txBody>
          <a:bodyPr/>
          <a:lstStyle/>
          <a:p>
            <a:r>
              <a:rPr lang="en-US"/>
              <a:t>Click to edit Master title style</a:t>
            </a:r>
          </a:p>
        </p:txBody>
      </p:sp>
    </p:spTree>
    <p:extLst>
      <p:ext uri="{BB962C8B-B14F-4D97-AF65-F5344CB8AC3E}">
        <p14:creationId xmlns:p14="http://schemas.microsoft.com/office/powerpoint/2010/main" val="41985106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3196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3622667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610219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3874038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81059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483370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064141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6867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6086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564836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5"/>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1221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4106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770560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608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189745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620861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39429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86825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5723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18960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795845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60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02880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66575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22099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1064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7639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8360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196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458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4570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55222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noAutofit/>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8" name="Content Placeholder 6">
            <a:extLst>
              <a:ext uri="{FF2B5EF4-FFF2-40B4-BE49-F238E27FC236}">
                <a16:creationId xmlns:a16="http://schemas.microsoft.com/office/drawing/2014/main" id="{41373CA6-F3F2-4F62-8708-1994F2214324}"/>
              </a:ext>
            </a:extLst>
          </p:cNvPr>
          <p:cNvSpPr>
            <a:spLocks noGrp="1"/>
          </p:cNvSpPr>
          <p:nvPr>
            <p:ph sz="quarter" idx="10"/>
          </p:nvPr>
        </p:nvSpPr>
        <p:spPr>
          <a:xfrm>
            <a:off x="592356" y="963924"/>
            <a:ext cx="11025187" cy="276999"/>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tx1"/>
                </a:solidFill>
                <a:latin typeface="+mn-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accent1"/>
                </a:solidFill>
                <a:latin typeface="+mn-lt"/>
                <a:ea typeface="+mn-ea"/>
                <a:cs typeface="Segoe UI Semilight" panose="020B04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10927443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672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8412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027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67962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479241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5321268"/>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09848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0339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65949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1463894"/>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45145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106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5959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5927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60702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77768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8251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812169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3493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505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0851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168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2288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383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36854212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993868025"/>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1369634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190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25072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28717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626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97158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73140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0727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478031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41543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597769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398529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96769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12907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37329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50275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24282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2483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15854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40738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787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574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73285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96785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68600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94694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8253822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1528849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39843843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40680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26768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13970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85435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0581880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2517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05241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9109699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7927955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8262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02973256"/>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04520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55426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074567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365335853"/>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2869162252"/>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803300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63333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4714754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2219184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71292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393266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24983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463253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9463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4149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87026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54627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04005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56419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684738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390794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430043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54896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911404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27068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03136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61549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51950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174281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351157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762986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220097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293449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166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689623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3618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669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1480239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53446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439850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5925551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62866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9890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4794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55724DA6-565C-8B48-967D-A2E8F2761AD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5849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1364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362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3627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3026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151450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337579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815531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94005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4004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8792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03512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56427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41480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20421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05157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4576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33323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49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02262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1796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54816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38253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232670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95404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676743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50943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38358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94381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38490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5008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95166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64197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23823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50777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290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0456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34001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43854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52996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11518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082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2986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528330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138741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63249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397771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441929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771591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80202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85457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693715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928656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00246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34149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37433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82780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36993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4764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693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1614442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1316881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1537404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221143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851572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55151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410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2331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3452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227897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62516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861949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94633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9556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2995456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0">
              <a:schemeClr val="accent1"/>
            </a:gs>
            <a:gs pos="44000">
              <a:srgbClr val="0F4E86"/>
            </a:gs>
            <a:gs pos="100000">
              <a:schemeClr val="accent2">
                <a:lumMod val="75000"/>
              </a:schemeClr>
            </a:gs>
          </a:gsLst>
          <a:lin ang="108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B486CAC-16AB-4E79-8694-2113F227923C}"/>
              </a:ext>
            </a:extLst>
          </p:cNvPr>
          <p:cNvSpPr>
            <a:spLocks noGrp="1"/>
          </p:cNvSpPr>
          <p:nvPr>
            <p:ph type="title" hasCustomPrompt="1"/>
          </p:nvPr>
        </p:nvSpPr>
        <p:spPr>
          <a:xfrm>
            <a:off x="572716" y="2832415"/>
            <a:ext cx="5557834" cy="784600"/>
          </a:xfrm>
          <a:noFill/>
        </p:spPr>
        <p:txBody>
          <a:bodyPr lIns="0" tIns="91440" rIns="0" bIns="91440" anchor="b" anchorCtr="0"/>
          <a:lstStyle>
            <a:lvl1pPr>
              <a:defRPr sz="3921" b="1" spc="-98" baseline="0">
                <a:solidFill>
                  <a:schemeClr val="accent3"/>
                </a:solidFill>
              </a:defRPr>
            </a:lvl1pPr>
          </a:lstStyle>
          <a:p>
            <a:r>
              <a:rPr lang="en-US"/>
              <a:t>Presentation title</a:t>
            </a:r>
          </a:p>
        </p:txBody>
      </p:sp>
      <p:sp>
        <p:nvSpPr>
          <p:cNvPr id="2579" name="Freeform: Shape 2578">
            <a:extLst>
              <a:ext uri="{FF2B5EF4-FFF2-40B4-BE49-F238E27FC236}">
                <a16:creationId xmlns:a16="http://schemas.microsoft.com/office/drawing/2014/main" id="{71A7C478-25BE-4AD3-9519-0B49CA12ACFE}"/>
              </a:ext>
              <a:ext uri="{C183D7F6-B498-43B3-948B-1728B52AA6E4}">
                <adec:decorative xmlns:adec="http://schemas.microsoft.com/office/drawing/2017/decorative" val="1"/>
              </a:ext>
            </a:extLst>
          </p:cNvPr>
          <p:cNvSpPr/>
          <p:nvPr userDrawn="1"/>
        </p:nvSpPr>
        <p:spPr>
          <a:xfrm flipH="1" flipV="1">
            <a:off x="6648484" y="0"/>
            <a:ext cx="5543516" cy="6858001"/>
          </a:xfrm>
          <a:custGeom>
            <a:avLst/>
            <a:gdLst>
              <a:gd name="connsiteX0" fmla="*/ 4594375 w 5932286"/>
              <a:gd name="connsiteY0" fmla="*/ 5875 h 6994526"/>
              <a:gd name="connsiteX1" fmla="*/ 4565871 w 5932286"/>
              <a:gd name="connsiteY1" fmla="*/ 0 h 6994526"/>
              <a:gd name="connsiteX2" fmla="*/ 4622918 w 5932286"/>
              <a:gd name="connsiteY2" fmla="*/ 0 h 6994526"/>
              <a:gd name="connsiteX3" fmla="*/ 14015 w 5932286"/>
              <a:gd name="connsiteY3" fmla="*/ 12585 h 6994526"/>
              <a:gd name="connsiteX4" fmla="*/ 0 w 5932286"/>
              <a:gd name="connsiteY4" fmla="*/ 9918 h 6994526"/>
              <a:gd name="connsiteX5" fmla="*/ 0 w 5932286"/>
              <a:gd name="connsiteY5" fmla="*/ 0 h 6994526"/>
              <a:gd name="connsiteX6" fmla="*/ 61067 w 5932286"/>
              <a:gd name="connsiteY6" fmla="*/ 0 h 6994526"/>
              <a:gd name="connsiteX7" fmla="*/ 54785 w 5932286"/>
              <a:gd name="connsiteY7" fmla="*/ 4284 h 6994526"/>
              <a:gd name="connsiteX8" fmla="*/ 14015 w 5932286"/>
              <a:gd name="connsiteY8" fmla="*/ 12585 h 6994526"/>
              <a:gd name="connsiteX9" fmla="*/ 342166 w 5932286"/>
              <a:gd name="connsiteY9" fmla="*/ 27267 h 6994526"/>
              <a:gd name="connsiteX10" fmla="*/ 301794 w 5932286"/>
              <a:gd name="connsiteY10" fmla="*/ 19197 h 6994526"/>
              <a:gd name="connsiteX11" fmla="*/ 273043 w 5932286"/>
              <a:gd name="connsiteY11" fmla="*/ 0 h 6994526"/>
              <a:gd name="connsiteX12" fmla="*/ 410491 w 5932286"/>
              <a:gd name="connsiteY12" fmla="*/ 0 h 6994526"/>
              <a:gd name="connsiteX13" fmla="*/ 382423 w 5932286"/>
              <a:gd name="connsiteY13" fmla="*/ 19087 h 6994526"/>
              <a:gd name="connsiteX14" fmla="*/ 342166 w 5932286"/>
              <a:gd name="connsiteY14" fmla="*/ 27267 h 6994526"/>
              <a:gd name="connsiteX15" fmla="*/ 2488906 w 5932286"/>
              <a:gd name="connsiteY15" fmla="*/ 27452 h 6994526"/>
              <a:gd name="connsiteX16" fmla="*/ 2432561 w 5932286"/>
              <a:gd name="connsiteY16" fmla="*/ 4314 h 6994526"/>
              <a:gd name="connsiteX17" fmla="*/ 2429614 w 5932286"/>
              <a:gd name="connsiteY17" fmla="*/ 0 h 6994526"/>
              <a:gd name="connsiteX18" fmla="*/ 2547809 w 5932286"/>
              <a:gd name="connsiteY18" fmla="*/ 0 h 6994526"/>
              <a:gd name="connsiteX19" fmla="*/ 2545162 w 5932286"/>
              <a:gd name="connsiteY19" fmla="*/ 3960 h 6994526"/>
              <a:gd name="connsiteX20" fmla="*/ 2488906 w 5932286"/>
              <a:gd name="connsiteY20" fmla="*/ 27452 h 6994526"/>
              <a:gd name="connsiteX21" fmla="*/ 667513 w 5932286"/>
              <a:gd name="connsiteY21" fmla="*/ 71371 h 6994526"/>
              <a:gd name="connsiteX22" fmla="*/ 573130 w 5932286"/>
              <a:gd name="connsiteY22" fmla="*/ 9373 h 6994526"/>
              <a:gd name="connsiteX23" fmla="*/ 571230 w 5932286"/>
              <a:gd name="connsiteY23" fmla="*/ 0 h 6994526"/>
              <a:gd name="connsiteX24" fmla="*/ 763055 w 5932286"/>
              <a:gd name="connsiteY24" fmla="*/ 0 h 6994526"/>
              <a:gd name="connsiteX25" fmla="*/ 761304 w 5932286"/>
              <a:gd name="connsiteY25" fmla="*/ 8778 h 6994526"/>
              <a:gd name="connsiteX26" fmla="*/ 667513 w 5932286"/>
              <a:gd name="connsiteY26" fmla="*/ 71371 h 6994526"/>
              <a:gd name="connsiteX27" fmla="*/ 1907321 w 5932286"/>
              <a:gd name="connsiteY27" fmla="*/ 116369 h 6994526"/>
              <a:gd name="connsiteX28" fmla="*/ 1812647 w 5932286"/>
              <a:gd name="connsiteY28" fmla="*/ 22405 h 6994526"/>
              <a:gd name="connsiteX29" fmla="*/ 1817171 w 5932286"/>
              <a:gd name="connsiteY29" fmla="*/ 0 h 6994526"/>
              <a:gd name="connsiteX30" fmla="*/ 1997611 w 5932286"/>
              <a:gd name="connsiteY30" fmla="*/ 0 h 6994526"/>
              <a:gd name="connsiteX31" fmla="*/ 2001994 w 5932286"/>
              <a:gd name="connsiteY31" fmla="*/ 21697 h 6994526"/>
              <a:gd name="connsiteX32" fmla="*/ 1907321 w 5932286"/>
              <a:gd name="connsiteY32" fmla="*/ 116369 h 6994526"/>
              <a:gd name="connsiteX33" fmla="*/ 987061 w 5932286"/>
              <a:gd name="connsiteY33" fmla="*/ 144026 h 6994526"/>
              <a:gd name="connsiteX34" fmla="*/ 886027 w 5932286"/>
              <a:gd name="connsiteY34" fmla="*/ 43701 h 6994526"/>
              <a:gd name="connsiteX35" fmla="*/ 893953 w 5932286"/>
              <a:gd name="connsiteY35" fmla="*/ 4368 h 6994526"/>
              <a:gd name="connsiteX36" fmla="*/ 896887 w 5932286"/>
              <a:gd name="connsiteY36" fmla="*/ 0 h 6994526"/>
              <a:gd name="connsiteX37" fmla="*/ 1076886 w 5932286"/>
              <a:gd name="connsiteY37" fmla="*/ 0 h 6994526"/>
              <a:gd name="connsiteX38" fmla="*/ 1079447 w 5932286"/>
              <a:gd name="connsiteY38" fmla="*/ 3771 h 6994526"/>
              <a:gd name="connsiteX39" fmla="*/ 1087385 w 5932286"/>
              <a:gd name="connsiteY39" fmla="*/ 42993 h 6994526"/>
              <a:gd name="connsiteX40" fmla="*/ 987061 w 5932286"/>
              <a:gd name="connsiteY40" fmla="*/ 144026 h 6994526"/>
              <a:gd name="connsiteX41" fmla="*/ 3290557 w 5932286"/>
              <a:gd name="connsiteY41" fmla="*/ 202933 h 6994526"/>
              <a:gd name="connsiteX42" fmla="*/ 3217735 w 5932286"/>
              <a:gd name="connsiteY42" fmla="*/ 130111 h 6994526"/>
              <a:gd name="connsiteX43" fmla="*/ 3289399 w 5932286"/>
              <a:gd name="connsiteY43" fmla="*/ 56132 h 6994526"/>
              <a:gd name="connsiteX44" fmla="*/ 3363379 w 5932286"/>
              <a:gd name="connsiteY44" fmla="*/ 128953 h 6994526"/>
              <a:gd name="connsiteX45" fmla="*/ 3290557 w 5932286"/>
              <a:gd name="connsiteY45" fmla="*/ 202933 h 6994526"/>
              <a:gd name="connsiteX46" fmla="*/ 3808744 w 5932286"/>
              <a:gd name="connsiteY46" fmla="*/ 210107 h 6994526"/>
              <a:gd name="connsiteX47" fmla="*/ 3735026 w 5932286"/>
              <a:gd name="connsiteY47" fmla="*/ 138177 h 6994526"/>
              <a:gd name="connsiteX48" fmla="*/ 3806941 w 5932286"/>
              <a:gd name="connsiteY48" fmla="*/ 64463 h 6994526"/>
              <a:gd name="connsiteX49" fmla="*/ 3880677 w 5932286"/>
              <a:gd name="connsiteY49" fmla="*/ 136393 h 6994526"/>
              <a:gd name="connsiteX50" fmla="*/ 3808744 w 5932286"/>
              <a:gd name="connsiteY50" fmla="*/ 210107 h 6994526"/>
              <a:gd name="connsiteX51" fmla="*/ 2752770 w 5932286"/>
              <a:gd name="connsiteY51" fmla="*/ 223532 h 6994526"/>
              <a:gd name="connsiteX52" fmla="*/ 2672933 w 5932286"/>
              <a:gd name="connsiteY52" fmla="*/ 144404 h 6994526"/>
              <a:gd name="connsiteX53" fmla="*/ 2752068 w 5932286"/>
              <a:gd name="connsiteY53" fmla="*/ 64568 h 6994526"/>
              <a:gd name="connsiteX54" fmla="*/ 2831903 w 5932286"/>
              <a:gd name="connsiteY54" fmla="*/ 143696 h 6994526"/>
              <a:gd name="connsiteX55" fmla="*/ 2752770 w 5932286"/>
              <a:gd name="connsiteY55" fmla="*/ 223532 h 6994526"/>
              <a:gd name="connsiteX56" fmla="*/ 4310074 w 5932286"/>
              <a:gd name="connsiteY56" fmla="*/ 236639 h 6994526"/>
              <a:gd name="connsiteX57" fmla="*/ 4234246 w 5932286"/>
              <a:gd name="connsiteY57" fmla="*/ 160757 h 6994526"/>
              <a:gd name="connsiteX58" fmla="*/ 4310074 w 5932286"/>
              <a:gd name="connsiteY58" fmla="*/ 84944 h 6994526"/>
              <a:gd name="connsiteX59" fmla="*/ 4379057 w 5932286"/>
              <a:gd name="connsiteY59" fmla="*/ 160757 h 6994526"/>
              <a:gd name="connsiteX60" fmla="*/ 4310074 w 5932286"/>
              <a:gd name="connsiteY60" fmla="*/ 236639 h 6994526"/>
              <a:gd name="connsiteX61" fmla="*/ 1299339 w 5932286"/>
              <a:gd name="connsiteY61" fmla="*/ 246672 h 6994526"/>
              <a:gd name="connsiteX62" fmla="*/ 1198308 w 5932286"/>
              <a:gd name="connsiteY62" fmla="*/ 146349 h 6994526"/>
              <a:gd name="connsiteX63" fmla="*/ 1298631 w 5932286"/>
              <a:gd name="connsiteY63" fmla="*/ 45319 h 6994526"/>
              <a:gd name="connsiteX64" fmla="*/ 1399661 w 5932286"/>
              <a:gd name="connsiteY64" fmla="*/ 145642 h 6994526"/>
              <a:gd name="connsiteX65" fmla="*/ 1299339 w 5932286"/>
              <a:gd name="connsiteY65" fmla="*/ 246672 h 6994526"/>
              <a:gd name="connsiteX66" fmla="*/ 4790983 w 5932286"/>
              <a:gd name="connsiteY66" fmla="*/ 269478 h 6994526"/>
              <a:gd name="connsiteX67" fmla="*/ 4718128 w 5932286"/>
              <a:gd name="connsiteY67" fmla="*/ 196624 h 6994526"/>
              <a:gd name="connsiteX68" fmla="*/ 4790983 w 5932286"/>
              <a:gd name="connsiteY68" fmla="*/ 123771 h 6994526"/>
              <a:gd name="connsiteX69" fmla="*/ 4863836 w 5932286"/>
              <a:gd name="connsiteY69" fmla="*/ 196624 h 6994526"/>
              <a:gd name="connsiteX70" fmla="*/ 4790983 w 5932286"/>
              <a:gd name="connsiteY70" fmla="*/ 269478 h 6994526"/>
              <a:gd name="connsiteX71" fmla="*/ 2190175 w 5932286"/>
              <a:gd name="connsiteY71" fmla="*/ 296108 h 6994526"/>
              <a:gd name="connsiteX72" fmla="*/ 2082793 w 5932286"/>
              <a:gd name="connsiteY72" fmla="*/ 189433 h 6994526"/>
              <a:gd name="connsiteX73" fmla="*/ 2189475 w 5932286"/>
              <a:gd name="connsiteY73" fmla="*/ 82043 h 6994526"/>
              <a:gd name="connsiteX74" fmla="*/ 2296857 w 5932286"/>
              <a:gd name="connsiteY74" fmla="*/ 188725 h 6994526"/>
              <a:gd name="connsiteX75" fmla="*/ 2190175 w 5932286"/>
              <a:gd name="connsiteY75" fmla="*/ 296108 h 6994526"/>
              <a:gd name="connsiteX76" fmla="*/ 1600960 w 5932286"/>
              <a:gd name="connsiteY76" fmla="*/ 396686 h 6994526"/>
              <a:gd name="connsiteX77" fmla="*/ 1480149 w 5932286"/>
              <a:gd name="connsiteY77" fmla="*/ 276581 h 6994526"/>
              <a:gd name="connsiteX78" fmla="*/ 1600252 w 5932286"/>
              <a:gd name="connsiteY78" fmla="*/ 155768 h 6994526"/>
              <a:gd name="connsiteX79" fmla="*/ 1721063 w 5932286"/>
              <a:gd name="connsiteY79" fmla="*/ 275873 h 6994526"/>
              <a:gd name="connsiteX80" fmla="*/ 1600960 w 5932286"/>
              <a:gd name="connsiteY80" fmla="*/ 396686 h 6994526"/>
              <a:gd name="connsiteX81" fmla="*/ 12459 w 5932286"/>
              <a:gd name="connsiteY81" fmla="*/ 397574 h 6994526"/>
              <a:gd name="connsiteX82" fmla="*/ 0 w 5932286"/>
              <a:gd name="connsiteY82" fmla="*/ 395061 h 6994526"/>
              <a:gd name="connsiteX83" fmla="*/ 0 w 5932286"/>
              <a:gd name="connsiteY83" fmla="*/ 153466 h 6994526"/>
              <a:gd name="connsiteX84" fmla="*/ 11751 w 5932286"/>
              <a:gd name="connsiteY84" fmla="*/ 151009 h 6994526"/>
              <a:gd name="connsiteX85" fmla="*/ 135387 w 5932286"/>
              <a:gd name="connsiteY85" fmla="*/ 273938 h 6994526"/>
              <a:gd name="connsiteX86" fmla="*/ 12459 w 5932286"/>
              <a:gd name="connsiteY86" fmla="*/ 397574 h 6994526"/>
              <a:gd name="connsiteX87" fmla="*/ 340716 w 5932286"/>
              <a:gd name="connsiteY87" fmla="*/ 415001 h 6994526"/>
              <a:gd name="connsiteX88" fmla="*/ 217079 w 5932286"/>
              <a:gd name="connsiteY88" fmla="*/ 292072 h 6994526"/>
              <a:gd name="connsiteX89" fmla="*/ 340009 w 5932286"/>
              <a:gd name="connsiteY89" fmla="*/ 168436 h 6994526"/>
              <a:gd name="connsiteX90" fmla="*/ 463645 w 5932286"/>
              <a:gd name="connsiteY90" fmla="*/ 291364 h 6994526"/>
              <a:gd name="connsiteX91" fmla="*/ 340716 w 5932286"/>
              <a:gd name="connsiteY91" fmla="*/ 415001 h 6994526"/>
              <a:gd name="connsiteX92" fmla="*/ 3520665 w 5932286"/>
              <a:gd name="connsiteY92" fmla="*/ 437641 h 6994526"/>
              <a:gd name="connsiteX93" fmla="*/ 3447465 w 5932286"/>
              <a:gd name="connsiteY93" fmla="*/ 365213 h 6994526"/>
              <a:gd name="connsiteX94" fmla="*/ 3519893 w 5932286"/>
              <a:gd name="connsiteY94" fmla="*/ 292013 h 6994526"/>
              <a:gd name="connsiteX95" fmla="*/ 3593093 w 5932286"/>
              <a:gd name="connsiteY95" fmla="*/ 364440 h 6994526"/>
              <a:gd name="connsiteX96" fmla="*/ 3520665 w 5932286"/>
              <a:gd name="connsiteY96" fmla="*/ 437641 h 6994526"/>
              <a:gd name="connsiteX97" fmla="*/ 3001138 w 5932286"/>
              <a:gd name="connsiteY97" fmla="*/ 443447 h 6994526"/>
              <a:gd name="connsiteX98" fmla="*/ 2916352 w 5932286"/>
              <a:gd name="connsiteY98" fmla="*/ 358669 h 6994526"/>
              <a:gd name="connsiteX99" fmla="*/ 3000431 w 5932286"/>
              <a:gd name="connsiteY99" fmla="*/ 274592 h 6994526"/>
              <a:gd name="connsiteX100" fmla="*/ 3085210 w 5932286"/>
              <a:gd name="connsiteY100" fmla="*/ 358669 h 6994526"/>
              <a:gd name="connsiteX101" fmla="*/ 3001138 w 5932286"/>
              <a:gd name="connsiteY101" fmla="*/ 443447 h 6994526"/>
              <a:gd name="connsiteX102" fmla="*/ 4020801 w 5932286"/>
              <a:gd name="connsiteY102" fmla="*/ 460815 h 6994526"/>
              <a:gd name="connsiteX103" fmla="*/ 3947122 w 5932286"/>
              <a:gd name="connsiteY103" fmla="*/ 388920 h 6994526"/>
              <a:gd name="connsiteX104" fmla="*/ 4019017 w 5932286"/>
              <a:gd name="connsiteY104" fmla="*/ 315241 h 6994526"/>
              <a:gd name="connsiteX105" fmla="*/ 4092696 w 5932286"/>
              <a:gd name="connsiteY105" fmla="*/ 387118 h 6994526"/>
              <a:gd name="connsiteX106" fmla="*/ 4020801 w 5932286"/>
              <a:gd name="connsiteY106" fmla="*/ 460815 h 6994526"/>
              <a:gd name="connsiteX107" fmla="*/ 665095 w 5932286"/>
              <a:gd name="connsiteY107" fmla="*/ 465350 h 6994526"/>
              <a:gd name="connsiteX108" fmla="*/ 541459 w 5932286"/>
              <a:gd name="connsiteY108" fmla="*/ 342422 h 6994526"/>
              <a:gd name="connsiteX109" fmla="*/ 664387 w 5932286"/>
              <a:gd name="connsiteY109" fmla="*/ 218785 h 6994526"/>
              <a:gd name="connsiteX110" fmla="*/ 788024 w 5932286"/>
              <a:gd name="connsiteY110" fmla="*/ 341714 h 6994526"/>
              <a:gd name="connsiteX111" fmla="*/ 665095 w 5932286"/>
              <a:gd name="connsiteY111" fmla="*/ 465350 h 6994526"/>
              <a:gd name="connsiteX112" fmla="*/ 2458890 w 5932286"/>
              <a:gd name="connsiteY112" fmla="*/ 476012 h 6994526"/>
              <a:gd name="connsiteX113" fmla="*/ 2361395 w 5932286"/>
              <a:gd name="connsiteY113" fmla="*/ 379225 h 6994526"/>
              <a:gd name="connsiteX114" fmla="*/ 2458182 w 5932286"/>
              <a:gd name="connsiteY114" fmla="*/ 281729 h 6994526"/>
              <a:gd name="connsiteX115" fmla="*/ 2555677 w 5932286"/>
              <a:gd name="connsiteY115" fmla="*/ 378517 h 6994526"/>
              <a:gd name="connsiteX116" fmla="*/ 2458890 w 5932286"/>
              <a:gd name="connsiteY116" fmla="*/ 476012 h 6994526"/>
              <a:gd name="connsiteX117" fmla="*/ 4503358 w 5932286"/>
              <a:gd name="connsiteY117" fmla="*/ 497432 h 6994526"/>
              <a:gd name="connsiteX118" fmla="*/ 4430544 w 5932286"/>
              <a:gd name="connsiteY118" fmla="*/ 427538 h 6994526"/>
              <a:gd name="connsiteX119" fmla="*/ 4503358 w 5932286"/>
              <a:gd name="connsiteY119" fmla="*/ 351805 h 6994526"/>
              <a:gd name="connsiteX120" fmla="*/ 4576171 w 5932286"/>
              <a:gd name="connsiteY120" fmla="*/ 424618 h 6994526"/>
              <a:gd name="connsiteX121" fmla="*/ 4503358 w 5932286"/>
              <a:gd name="connsiteY121" fmla="*/ 497432 h 6994526"/>
              <a:gd name="connsiteX122" fmla="*/ 4972541 w 5932286"/>
              <a:gd name="connsiteY122" fmla="*/ 543506 h 6994526"/>
              <a:gd name="connsiteX123" fmla="*/ 4899686 w 5932286"/>
              <a:gd name="connsiteY123" fmla="*/ 470653 h 6994526"/>
              <a:gd name="connsiteX124" fmla="*/ 4972541 w 5932286"/>
              <a:gd name="connsiteY124" fmla="*/ 397799 h 6994526"/>
              <a:gd name="connsiteX125" fmla="*/ 5045394 w 5932286"/>
              <a:gd name="connsiteY125" fmla="*/ 470653 h 6994526"/>
              <a:gd name="connsiteX126" fmla="*/ 4972541 w 5932286"/>
              <a:gd name="connsiteY126" fmla="*/ 543506 h 6994526"/>
              <a:gd name="connsiteX127" fmla="*/ 983186 w 5932286"/>
              <a:gd name="connsiteY127" fmla="*/ 547658 h 6994526"/>
              <a:gd name="connsiteX128" fmla="*/ 859549 w 5932286"/>
              <a:gd name="connsiteY128" fmla="*/ 424729 h 6994526"/>
              <a:gd name="connsiteX129" fmla="*/ 982478 w 5932286"/>
              <a:gd name="connsiteY129" fmla="*/ 301092 h 6994526"/>
              <a:gd name="connsiteX130" fmla="*/ 1106115 w 5932286"/>
              <a:gd name="connsiteY130" fmla="*/ 424021 h 6994526"/>
              <a:gd name="connsiteX131" fmla="*/ 983186 w 5932286"/>
              <a:gd name="connsiteY131" fmla="*/ 547658 h 6994526"/>
              <a:gd name="connsiteX132" fmla="*/ 1890007 w 5932286"/>
              <a:gd name="connsiteY132" fmla="*/ 548606 h 6994526"/>
              <a:gd name="connsiteX133" fmla="*/ 1774139 w 5932286"/>
              <a:gd name="connsiteY133" fmla="*/ 433445 h 6994526"/>
              <a:gd name="connsiteX134" fmla="*/ 1889300 w 5932286"/>
              <a:gd name="connsiteY134" fmla="*/ 317576 h 6994526"/>
              <a:gd name="connsiteX135" fmla="*/ 2005169 w 5932286"/>
              <a:gd name="connsiteY135" fmla="*/ 432737 h 6994526"/>
              <a:gd name="connsiteX136" fmla="*/ 1890007 w 5932286"/>
              <a:gd name="connsiteY136" fmla="*/ 548606 h 6994526"/>
              <a:gd name="connsiteX137" fmla="*/ 1291591 w 5932286"/>
              <a:gd name="connsiteY137" fmla="*/ 664493 h 6994526"/>
              <a:gd name="connsiteX138" fmla="*/ 1164417 w 5932286"/>
              <a:gd name="connsiteY138" fmla="*/ 538029 h 6994526"/>
              <a:gd name="connsiteX139" fmla="*/ 1290883 w 5932286"/>
              <a:gd name="connsiteY139" fmla="*/ 410856 h 6994526"/>
              <a:gd name="connsiteX140" fmla="*/ 1418057 w 5932286"/>
              <a:gd name="connsiteY140" fmla="*/ 537320 h 6994526"/>
              <a:gd name="connsiteX141" fmla="*/ 1291591 w 5932286"/>
              <a:gd name="connsiteY141" fmla="*/ 664493 h 6994526"/>
              <a:gd name="connsiteX142" fmla="*/ 3232569 w 5932286"/>
              <a:gd name="connsiteY142" fmla="*/ 677291 h 6994526"/>
              <a:gd name="connsiteX143" fmla="*/ 3147783 w 5932286"/>
              <a:gd name="connsiteY143" fmla="*/ 593221 h 6994526"/>
              <a:gd name="connsiteX144" fmla="*/ 3231861 w 5932286"/>
              <a:gd name="connsiteY144" fmla="*/ 508435 h 6994526"/>
              <a:gd name="connsiteX145" fmla="*/ 3316641 w 5932286"/>
              <a:gd name="connsiteY145" fmla="*/ 592513 h 6994526"/>
              <a:gd name="connsiteX146" fmla="*/ 3232569 w 5932286"/>
              <a:gd name="connsiteY146" fmla="*/ 677291 h 6994526"/>
              <a:gd name="connsiteX147" fmla="*/ 3733068 w 5932286"/>
              <a:gd name="connsiteY147" fmla="*/ 688189 h 6994526"/>
              <a:gd name="connsiteX148" fmla="*/ 3660260 w 5932286"/>
              <a:gd name="connsiteY148" fmla="*/ 615379 h 6994526"/>
              <a:gd name="connsiteX149" fmla="*/ 3733068 w 5932286"/>
              <a:gd name="connsiteY149" fmla="*/ 542562 h 6994526"/>
              <a:gd name="connsiteX150" fmla="*/ 3805882 w 5932286"/>
              <a:gd name="connsiteY150" fmla="*/ 615379 h 6994526"/>
              <a:gd name="connsiteX151" fmla="*/ 3733068 w 5932286"/>
              <a:gd name="connsiteY151" fmla="*/ 688189 h 6994526"/>
              <a:gd name="connsiteX152" fmla="*/ 2710650 w 5932286"/>
              <a:gd name="connsiteY152" fmla="*/ 708304 h 6994526"/>
              <a:gd name="connsiteX153" fmla="*/ 2591957 w 5932286"/>
              <a:gd name="connsiteY153" fmla="*/ 590318 h 6994526"/>
              <a:gd name="connsiteX154" fmla="*/ 2709942 w 5932286"/>
              <a:gd name="connsiteY154" fmla="*/ 471624 h 6994526"/>
              <a:gd name="connsiteX155" fmla="*/ 2828636 w 5932286"/>
              <a:gd name="connsiteY155" fmla="*/ 589610 h 6994526"/>
              <a:gd name="connsiteX156" fmla="*/ 2710650 w 5932286"/>
              <a:gd name="connsiteY156" fmla="*/ 708304 h 6994526"/>
              <a:gd name="connsiteX157" fmla="*/ 4215782 w 5932286"/>
              <a:gd name="connsiteY157" fmla="*/ 724997 h 6994526"/>
              <a:gd name="connsiteX158" fmla="*/ 4142958 w 5932286"/>
              <a:gd name="connsiteY158" fmla="*/ 652174 h 6994526"/>
              <a:gd name="connsiteX159" fmla="*/ 4215782 w 5932286"/>
              <a:gd name="connsiteY159" fmla="*/ 579361 h 6994526"/>
              <a:gd name="connsiteX160" fmla="*/ 4288597 w 5932286"/>
              <a:gd name="connsiteY160" fmla="*/ 652174 h 6994526"/>
              <a:gd name="connsiteX161" fmla="*/ 4215782 w 5932286"/>
              <a:gd name="connsiteY161" fmla="*/ 724997 h 6994526"/>
              <a:gd name="connsiteX162" fmla="*/ 2163547 w 5932286"/>
              <a:gd name="connsiteY162" fmla="*/ 743360 h 6994526"/>
              <a:gd name="connsiteX163" fmla="*/ 2034968 w 5932286"/>
              <a:gd name="connsiteY163" fmla="*/ 615481 h 6994526"/>
              <a:gd name="connsiteX164" fmla="*/ 2162847 w 5932286"/>
              <a:gd name="connsiteY164" fmla="*/ 486901 h 6994526"/>
              <a:gd name="connsiteX165" fmla="*/ 2291427 w 5932286"/>
              <a:gd name="connsiteY165" fmla="*/ 614779 h 6994526"/>
              <a:gd name="connsiteX166" fmla="*/ 2163547 w 5932286"/>
              <a:gd name="connsiteY166" fmla="*/ 743360 h 6994526"/>
              <a:gd name="connsiteX167" fmla="*/ 11008 w 5932286"/>
              <a:gd name="connsiteY167" fmla="*/ 750068 h 6994526"/>
              <a:gd name="connsiteX168" fmla="*/ 0 w 5932286"/>
              <a:gd name="connsiteY168" fmla="*/ 747972 h 6994526"/>
              <a:gd name="connsiteX169" fmla="*/ 0 w 5932286"/>
              <a:gd name="connsiteY169" fmla="*/ 533205 h 6994526"/>
              <a:gd name="connsiteX170" fmla="*/ 10300 w 5932286"/>
              <a:gd name="connsiteY170" fmla="*/ 531042 h 6994526"/>
              <a:gd name="connsiteX171" fmla="*/ 120511 w 5932286"/>
              <a:gd name="connsiteY171" fmla="*/ 639847 h 6994526"/>
              <a:gd name="connsiteX172" fmla="*/ 11008 w 5932286"/>
              <a:gd name="connsiteY172" fmla="*/ 750068 h 6994526"/>
              <a:gd name="connsiteX173" fmla="*/ 338777 w 5932286"/>
              <a:gd name="connsiteY173" fmla="*/ 772141 h 6994526"/>
              <a:gd name="connsiteX174" fmla="*/ 226445 w 5932286"/>
              <a:gd name="connsiteY174" fmla="*/ 660516 h 6994526"/>
              <a:gd name="connsiteX175" fmla="*/ 338068 w 5932286"/>
              <a:gd name="connsiteY175" fmla="*/ 548185 h 6994526"/>
              <a:gd name="connsiteX176" fmla="*/ 450400 w 5932286"/>
              <a:gd name="connsiteY176" fmla="*/ 659808 h 6994526"/>
              <a:gd name="connsiteX177" fmla="*/ 338777 w 5932286"/>
              <a:gd name="connsiteY177" fmla="*/ 772141 h 6994526"/>
              <a:gd name="connsiteX178" fmla="*/ 4684710 w 5932286"/>
              <a:gd name="connsiteY178" fmla="*/ 773436 h 6994526"/>
              <a:gd name="connsiteX179" fmla="*/ 4610407 w 5932286"/>
              <a:gd name="connsiteY179" fmla="*/ 699133 h 6994526"/>
              <a:gd name="connsiteX180" fmla="*/ 4681731 w 5932286"/>
              <a:gd name="connsiteY180" fmla="*/ 624831 h 6994526"/>
              <a:gd name="connsiteX181" fmla="*/ 4756034 w 5932286"/>
              <a:gd name="connsiteY181" fmla="*/ 699133 h 6994526"/>
              <a:gd name="connsiteX182" fmla="*/ 4684710 w 5932286"/>
              <a:gd name="connsiteY182" fmla="*/ 773436 h 6994526"/>
              <a:gd name="connsiteX183" fmla="*/ 1587412 w 5932286"/>
              <a:gd name="connsiteY183" fmla="*/ 816055 h 6994526"/>
              <a:gd name="connsiteX184" fmla="*/ 1452471 w 5932286"/>
              <a:gd name="connsiteY184" fmla="*/ 681815 h 6994526"/>
              <a:gd name="connsiteX185" fmla="*/ 1586704 w 5932286"/>
              <a:gd name="connsiteY185" fmla="*/ 546874 h 6994526"/>
              <a:gd name="connsiteX186" fmla="*/ 1721651 w 5932286"/>
              <a:gd name="connsiteY186" fmla="*/ 681107 h 6994526"/>
              <a:gd name="connsiteX187" fmla="*/ 1587412 w 5932286"/>
              <a:gd name="connsiteY187" fmla="*/ 816055 h 6994526"/>
              <a:gd name="connsiteX188" fmla="*/ 5138605 w 5932286"/>
              <a:gd name="connsiteY188" fmla="*/ 827226 h 6994526"/>
              <a:gd name="connsiteX189" fmla="*/ 5065750 w 5932286"/>
              <a:gd name="connsiteY189" fmla="*/ 754372 h 6994526"/>
              <a:gd name="connsiteX190" fmla="*/ 5138605 w 5932286"/>
              <a:gd name="connsiteY190" fmla="*/ 681519 h 6994526"/>
              <a:gd name="connsiteX191" fmla="*/ 5211458 w 5932286"/>
              <a:gd name="connsiteY191" fmla="*/ 754372 h 6994526"/>
              <a:gd name="connsiteX192" fmla="*/ 5138605 w 5932286"/>
              <a:gd name="connsiteY192" fmla="*/ 827226 h 6994526"/>
              <a:gd name="connsiteX193" fmla="*/ 662786 w 5932286"/>
              <a:gd name="connsiteY193" fmla="*/ 836781 h 6994526"/>
              <a:gd name="connsiteX194" fmla="*/ 541269 w 5932286"/>
              <a:gd name="connsiteY194" fmla="*/ 716679 h 6994526"/>
              <a:gd name="connsiteX195" fmla="*/ 662079 w 5932286"/>
              <a:gd name="connsiteY195" fmla="*/ 595867 h 6994526"/>
              <a:gd name="connsiteX196" fmla="*/ 782887 w 5932286"/>
              <a:gd name="connsiteY196" fmla="*/ 715971 h 6994526"/>
              <a:gd name="connsiteX197" fmla="*/ 662786 w 5932286"/>
              <a:gd name="connsiteY197" fmla="*/ 836781 h 6994526"/>
              <a:gd name="connsiteX198" fmla="*/ 2944494 w 5932286"/>
              <a:gd name="connsiteY198" fmla="*/ 924405 h 6994526"/>
              <a:gd name="connsiteX199" fmla="*/ 2840638 w 5932286"/>
              <a:gd name="connsiteY199" fmla="*/ 821256 h 6994526"/>
              <a:gd name="connsiteX200" fmla="*/ 2943786 w 5932286"/>
              <a:gd name="connsiteY200" fmla="*/ 717399 h 6994526"/>
              <a:gd name="connsiteX201" fmla="*/ 3047643 w 5932286"/>
              <a:gd name="connsiteY201" fmla="*/ 820548 h 6994526"/>
              <a:gd name="connsiteX202" fmla="*/ 2944494 w 5932286"/>
              <a:gd name="connsiteY202" fmla="*/ 924405 h 6994526"/>
              <a:gd name="connsiteX203" fmla="*/ 3446189 w 5932286"/>
              <a:gd name="connsiteY203" fmla="*/ 927119 h 6994526"/>
              <a:gd name="connsiteX204" fmla="*/ 3360705 w 5932286"/>
              <a:gd name="connsiteY204" fmla="*/ 843050 h 6994526"/>
              <a:gd name="connsiteX205" fmla="*/ 3445482 w 5932286"/>
              <a:gd name="connsiteY205" fmla="*/ 758265 h 6994526"/>
              <a:gd name="connsiteX206" fmla="*/ 3530257 w 5932286"/>
              <a:gd name="connsiteY206" fmla="*/ 842341 h 6994526"/>
              <a:gd name="connsiteX207" fmla="*/ 3446189 w 5932286"/>
              <a:gd name="connsiteY207" fmla="*/ 927119 h 6994526"/>
              <a:gd name="connsiteX208" fmla="*/ 978459 w 5932286"/>
              <a:gd name="connsiteY208" fmla="*/ 935126 h 6994526"/>
              <a:gd name="connsiteX209" fmla="*/ 850583 w 5932286"/>
              <a:gd name="connsiteY209" fmla="*/ 808664 h 6994526"/>
              <a:gd name="connsiteX210" fmla="*/ 977752 w 5932286"/>
              <a:gd name="connsiteY210" fmla="*/ 681495 h 6994526"/>
              <a:gd name="connsiteX211" fmla="*/ 1104921 w 5932286"/>
              <a:gd name="connsiteY211" fmla="*/ 807956 h 6994526"/>
              <a:gd name="connsiteX212" fmla="*/ 978459 w 5932286"/>
              <a:gd name="connsiteY212" fmla="*/ 935126 h 6994526"/>
              <a:gd name="connsiteX213" fmla="*/ 2419665 w 5932286"/>
              <a:gd name="connsiteY213" fmla="*/ 949128 h 6994526"/>
              <a:gd name="connsiteX214" fmla="*/ 2291085 w 5932286"/>
              <a:gd name="connsiteY214" fmla="*/ 821248 h 6994526"/>
              <a:gd name="connsiteX215" fmla="*/ 2418963 w 5932286"/>
              <a:gd name="connsiteY215" fmla="*/ 692669 h 6994526"/>
              <a:gd name="connsiteX216" fmla="*/ 2547543 w 5932286"/>
              <a:gd name="connsiteY216" fmla="*/ 820547 h 6994526"/>
              <a:gd name="connsiteX217" fmla="*/ 2419665 w 5932286"/>
              <a:gd name="connsiteY217" fmla="*/ 949128 h 6994526"/>
              <a:gd name="connsiteX218" fmla="*/ 3927697 w 5932286"/>
              <a:gd name="connsiteY218" fmla="*/ 952547 h 6994526"/>
              <a:gd name="connsiteX219" fmla="*/ 3854883 w 5932286"/>
              <a:gd name="connsiteY219" fmla="*/ 879723 h 6994526"/>
              <a:gd name="connsiteX220" fmla="*/ 3927697 w 5932286"/>
              <a:gd name="connsiteY220" fmla="*/ 806910 h 6994526"/>
              <a:gd name="connsiteX221" fmla="*/ 4000510 w 5932286"/>
              <a:gd name="connsiteY221" fmla="*/ 879723 h 6994526"/>
              <a:gd name="connsiteX222" fmla="*/ 3927697 w 5932286"/>
              <a:gd name="connsiteY222" fmla="*/ 952547 h 6994526"/>
              <a:gd name="connsiteX223" fmla="*/ 1867364 w 5932286"/>
              <a:gd name="connsiteY223" fmla="*/ 989230 h 6994526"/>
              <a:gd name="connsiteX224" fmla="*/ 1731009 w 5932286"/>
              <a:gd name="connsiteY224" fmla="*/ 854291 h 6994526"/>
              <a:gd name="connsiteX225" fmla="*/ 1865947 w 5932286"/>
              <a:gd name="connsiteY225" fmla="*/ 717936 h 6994526"/>
              <a:gd name="connsiteX226" fmla="*/ 2002302 w 5932286"/>
              <a:gd name="connsiteY226" fmla="*/ 852874 h 6994526"/>
              <a:gd name="connsiteX227" fmla="*/ 1867364 w 5932286"/>
              <a:gd name="connsiteY227" fmla="*/ 989230 h 6994526"/>
              <a:gd name="connsiteX228" fmla="*/ 4394163 w 5932286"/>
              <a:gd name="connsiteY228" fmla="*/ 1001208 h 6994526"/>
              <a:gd name="connsiteX229" fmla="*/ 4320878 w 5932286"/>
              <a:gd name="connsiteY229" fmla="*/ 928856 h 6994526"/>
              <a:gd name="connsiteX230" fmla="*/ 4393231 w 5932286"/>
              <a:gd name="connsiteY230" fmla="*/ 855571 h 6994526"/>
              <a:gd name="connsiteX231" fmla="*/ 4466515 w 5932286"/>
              <a:gd name="connsiteY231" fmla="*/ 927923 h 6994526"/>
              <a:gd name="connsiteX232" fmla="*/ 4394163 w 5932286"/>
              <a:gd name="connsiteY232" fmla="*/ 1001208 h 6994526"/>
              <a:gd name="connsiteX233" fmla="*/ 1280941 w 5932286"/>
              <a:gd name="connsiteY233" fmla="*/ 1032300 h 6994526"/>
              <a:gd name="connsiteX234" fmla="*/ 1183446 w 5932286"/>
              <a:gd name="connsiteY234" fmla="*/ 935512 h 6994526"/>
              <a:gd name="connsiteX235" fmla="*/ 1280234 w 5932286"/>
              <a:gd name="connsiteY235" fmla="*/ 838017 h 6994526"/>
              <a:gd name="connsiteX236" fmla="*/ 1377729 w 5932286"/>
              <a:gd name="connsiteY236" fmla="*/ 934804 h 6994526"/>
              <a:gd name="connsiteX237" fmla="*/ 1280941 w 5932286"/>
              <a:gd name="connsiteY237" fmla="*/ 1032300 h 6994526"/>
              <a:gd name="connsiteX238" fmla="*/ 4847738 w 5932286"/>
              <a:gd name="connsiteY238" fmla="*/ 1057375 h 6994526"/>
              <a:gd name="connsiteX239" fmla="*/ 4774020 w 5932286"/>
              <a:gd name="connsiteY239" fmla="*/ 985445 h 6994526"/>
              <a:gd name="connsiteX240" fmla="*/ 4845954 w 5932286"/>
              <a:gd name="connsiteY240" fmla="*/ 911731 h 6994526"/>
              <a:gd name="connsiteX241" fmla="*/ 4919671 w 5932286"/>
              <a:gd name="connsiteY241" fmla="*/ 983661 h 6994526"/>
              <a:gd name="connsiteX242" fmla="*/ 4847738 w 5932286"/>
              <a:gd name="connsiteY242" fmla="*/ 1057375 h 6994526"/>
              <a:gd name="connsiteX243" fmla="*/ 9443 w 5932286"/>
              <a:gd name="connsiteY243" fmla="*/ 1079396 h 6994526"/>
              <a:gd name="connsiteX244" fmla="*/ 0 w 5932286"/>
              <a:gd name="connsiteY244" fmla="*/ 1077491 h 6994526"/>
              <a:gd name="connsiteX245" fmla="*/ 0 w 5932286"/>
              <a:gd name="connsiteY245" fmla="*/ 935674 h 6994526"/>
              <a:gd name="connsiteX246" fmla="*/ 9443 w 5932286"/>
              <a:gd name="connsiteY246" fmla="*/ 933761 h 6994526"/>
              <a:gd name="connsiteX247" fmla="*/ 82257 w 5932286"/>
              <a:gd name="connsiteY247" fmla="*/ 1006578 h 6994526"/>
              <a:gd name="connsiteX248" fmla="*/ 9443 w 5932286"/>
              <a:gd name="connsiteY248" fmla="*/ 1079396 h 6994526"/>
              <a:gd name="connsiteX249" fmla="*/ 336731 w 5932286"/>
              <a:gd name="connsiteY249" fmla="*/ 1102280 h 6994526"/>
              <a:gd name="connsiteX250" fmla="*/ 263916 w 5932286"/>
              <a:gd name="connsiteY250" fmla="*/ 1029467 h 6994526"/>
              <a:gd name="connsiteX251" fmla="*/ 336731 w 5932286"/>
              <a:gd name="connsiteY251" fmla="*/ 955887 h 6994526"/>
              <a:gd name="connsiteX252" fmla="*/ 409551 w 5932286"/>
              <a:gd name="connsiteY252" fmla="*/ 1028699 h 6994526"/>
              <a:gd name="connsiteX253" fmla="*/ 336731 w 5932286"/>
              <a:gd name="connsiteY253" fmla="*/ 1102280 h 6994526"/>
              <a:gd name="connsiteX254" fmla="*/ 5288877 w 5932286"/>
              <a:gd name="connsiteY254" fmla="*/ 1119568 h 6994526"/>
              <a:gd name="connsiteX255" fmla="*/ 5216059 w 5932286"/>
              <a:gd name="connsiteY255" fmla="*/ 1046754 h 6994526"/>
              <a:gd name="connsiteX256" fmla="*/ 5288877 w 5932286"/>
              <a:gd name="connsiteY256" fmla="*/ 973941 h 6994526"/>
              <a:gd name="connsiteX257" fmla="*/ 5361696 w 5932286"/>
              <a:gd name="connsiteY257" fmla="*/ 1046754 h 6994526"/>
              <a:gd name="connsiteX258" fmla="*/ 5288877 w 5932286"/>
              <a:gd name="connsiteY258" fmla="*/ 1119568 h 6994526"/>
              <a:gd name="connsiteX259" fmla="*/ 659772 w 5932286"/>
              <a:gd name="connsiteY259" fmla="*/ 1175301 h 6994526"/>
              <a:gd name="connsiteX260" fmla="*/ 577109 w 5932286"/>
              <a:gd name="connsiteY260" fmla="*/ 1093346 h 6994526"/>
              <a:gd name="connsiteX261" fmla="*/ 659063 w 5932286"/>
              <a:gd name="connsiteY261" fmla="*/ 1010685 h 6994526"/>
              <a:gd name="connsiteX262" fmla="*/ 741725 w 5932286"/>
              <a:gd name="connsiteY262" fmla="*/ 1092638 h 6994526"/>
              <a:gd name="connsiteX263" fmla="*/ 659772 w 5932286"/>
              <a:gd name="connsiteY263" fmla="*/ 1175301 h 6994526"/>
              <a:gd name="connsiteX264" fmla="*/ 2656418 w 5932286"/>
              <a:gd name="connsiteY264" fmla="*/ 1183530 h 6994526"/>
              <a:gd name="connsiteX265" fmla="*/ 2521477 w 5932286"/>
              <a:gd name="connsiteY265" fmla="*/ 1049290 h 6994526"/>
              <a:gd name="connsiteX266" fmla="*/ 2655717 w 5932286"/>
              <a:gd name="connsiteY266" fmla="*/ 914349 h 6994526"/>
              <a:gd name="connsiteX267" fmla="*/ 2790658 w 5932286"/>
              <a:gd name="connsiteY267" fmla="*/ 1048582 h 6994526"/>
              <a:gd name="connsiteX268" fmla="*/ 2656418 w 5932286"/>
              <a:gd name="connsiteY268" fmla="*/ 1183530 h 6994526"/>
              <a:gd name="connsiteX269" fmla="*/ 3158974 w 5932286"/>
              <a:gd name="connsiteY269" fmla="*/ 1188099 h 6994526"/>
              <a:gd name="connsiteX270" fmla="*/ 3040280 w 5932286"/>
              <a:gd name="connsiteY270" fmla="*/ 1070113 h 6994526"/>
              <a:gd name="connsiteX271" fmla="*/ 3158266 w 5932286"/>
              <a:gd name="connsiteY271" fmla="*/ 951420 h 6994526"/>
              <a:gd name="connsiteX272" fmla="*/ 3276960 w 5932286"/>
              <a:gd name="connsiteY272" fmla="*/ 1069406 h 6994526"/>
              <a:gd name="connsiteX273" fmla="*/ 3158974 w 5932286"/>
              <a:gd name="connsiteY273" fmla="*/ 1188099 h 6994526"/>
              <a:gd name="connsiteX274" fmla="*/ 3640216 w 5932286"/>
              <a:gd name="connsiteY274" fmla="*/ 1192069 h 6994526"/>
              <a:gd name="connsiteX275" fmla="*/ 3555440 w 5932286"/>
              <a:gd name="connsiteY275" fmla="*/ 1107294 h 6994526"/>
              <a:gd name="connsiteX276" fmla="*/ 3639515 w 5932286"/>
              <a:gd name="connsiteY276" fmla="*/ 1022510 h 6994526"/>
              <a:gd name="connsiteX277" fmla="*/ 3724293 w 5932286"/>
              <a:gd name="connsiteY277" fmla="*/ 1106586 h 6994526"/>
              <a:gd name="connsiteX278" fmla="*/ 3640216 w 5932286"/>
              <a:gd name="connsiteY278" fmla="*/ 1192069 h 6994526"/>
              <a:gd name="connsiteX279" fmla="*/ 2128210 w 5932286"/>
              <a:gd name="connsiteY279" fmla="*/ 1195056 h 6994526"/>
              <a:gd name="connsiteX280" fmla="*/ 1986201 w 5932286"/>
              <a:gd name="connsiteY280" fmla="*/ 1053747 h 6994526"/>
              <a:gd name="connsiteX281" fmla="*/ 2126793 w 5932286"/>
              <a:gd name="connsiteY281" fmla="*/ 911037 h 6994526"/>
              <a:gd name="connsiteX282" fmla="*/ 2269508 w 5932286"/>
              <a:gd name="connsiteY282" fmla="*/ 1052338 h 6994526"/>
              <a:gd name="connsiteX283" fmla="*/ 2128210 w 5932286"/>
              <a:gd name="connsiteY283" fmla="*/ 1195056 h 6994526"/>
              <a:gd name="connsiteX284" fmla="*/ 1568151 w 5932286"/>
              <a:gd name="connsiteY284" fmla="*/ 1214683 h 6994526"/>
              <a:gd name="connsiteX285" fmla="*/ 1448049 w 5932286"/>
              <a:gd name="connsiteY285" fmla="*/ 1095283 h 6994526"/>
              <a:gd name="connsiteX286" fmla="*/ 1566741 w 5932286"/>
              <a:gd name="connsiteY286" fmla="*/ 975182 h 6994526"/>
              <a:gd name="connsiteX287" fmla="*/ 1686843 w 5932286"/>
              <a:gd name="connsiteY287" fmla="*/ 1094582 h 6994526"/>
              <a:gd name="connsiteX288" fmla="*/ 1568151 w 5932286"/>
              <a:gd name="connsiteY288" fmla="*/ 1214683 h 6994526"/>
              <a:gd name="connsiteX289" fmla="*/ 4104539 w 5932286"/>
              <a:gd name="connsiteY289" fmla="*/ 1230206 h 6994526"/>
              <a:gd name="connsiteX290" fmla="*/ 4031358 w 5932286"/>
              <a:gd name="connsiteY290" fmla="*/ 1157752 h 6994526"/>
              <a:gd name="connsiteX291" fmla="*/ 4103812 w 5932286"/>
              <a:gd name="connsiteY291" fmla="*/ 1084572 h 6994526"/>
              <a:gd name="connsiteX292" fmla="*/ 4176993 w 5932286"/>
              <a:gd name="connsiteY292" fmla="*/ 1157025 h 6994526"/>
              <a:gd name="connsiteX293" fmla="*/ 4104539 w 5932286"/>
              <a:gd name="connsiteY293" fmla="*/ 1230206 h 6994526"/>
              <a:gd name="connsiteX294" fmla="*/ 4554422 w 5932286"/>
              <a:gd name="connsiteY294" fmla="*/ 1288307 h 6994526"/>
              <a:gd name="connsiteX295" fmla="*/ 4481138 w 5932286"/>
              <a:gd name="connsiteY295" fmla="*/ 1215955 h 6994526"/>
              <a:gd name="connsiteX296" fmla="*/ 4553490 w 5932286"/>
              <a:gd name="connsiteY296" fmla="*/ 1142671 h 6994526"/>
              <a:gd name="connsiteX297" fmla="*/ 4626774 w 5932286"/>
              <a:gd name="connsiteY297" fmla="*/ 1215023 h 6994526"/>
              <a:gd name="connsiteX298" fmla="*/ 4554422 w 5932286"/>
              <a:gd name="connsiteY298" fmla="*/ 1288307 h 6994526"/>
              <a:gd name="connsiteX299" fmla="*/ 971081 w 5932286"/>
              <a:gd name="connsiteY299" fmla="*/ 1294714 h 6994526"/>
              <a:gd name="connsiteX300" fmla="*/ 873585 w 5932286"/>
              <a:gd name="connsiteY300" fmla="*/ 1197926 h 6994526"/>
              <a:gd name="connsiteX301" fmla="*/ 970373 w 5932286"/>
              <a:gd name="connsiteY301" fmla="*/ 1100431 h 6994526"/>
              <a:gd name="connsiteX302" fmla="*/ 1067869 w 5932286"/>
              <a:gd name="connsiteY302" fmla="*/ 1197219 h 6994526"/>
              <a:gd name="connsiteX303" fmla="*/ 971081 w 5932286"/>
              <a:gd name="connsiteY303" fmla="*/ 1294714 h 6994526"/>
              <a:gd name="connsiteX304" fmla="*/ 4992844 w 5932286"/>
              <a:gd name="connsiteY304" fmla="*/ 1351992 h 6994526"/>
              <a:gd name="connsiteX305" fmla="*/ 4920018 w 5932286"/>
              <a:gd name="connsiteY305" fmla="*/ 1279165 h 6994526"/>
              <a:gd name="connsiteX306" fmla="*/ 4992844 w 5932286"/>
              <a:gd name="connsiteY306" fmla="*/ 1206341 h 6994526"/>
              <a:gd name="connsiteX307" fmla="*/ 5065670 w 5932286"/>
              <a:gd name="connsiteY307" fmla="*/ 1279165 h 6994526"/>
              <a:gd name="connsiteX308" fmla="*/ 4992844 w 5932286"/>
              <a:gd name="connsiteY308" fmla="*/ 1351992 h 6994526"/>
              <a:gd name="connsiteX309" fmla="*/ 1835303 w 5932286"/>
              <a:gd name="connsiteY309" fmla="*/ 1393201 h 6994526"/>
              <a:gd name="connsiteX310" fmla="*/ 1727913 w 5932286"/>
              <a:gd name="connsiteY310" fmla="*/ 1286526 h 6994526"/>
              <a:gd name="connsiteX311" fmla="*/ 1834595 w 5932286"/>
              <a:gd name="connsiteY311" fmla="*/ 1179136 h 6994526"/>
              <a:gd name="connsiteX312" fmla="*/ 1941978 w 5932286"/>
              <a:gd name="connsiteY312" fmla="*/ 1285818 h 6994526"/>
              <a:gd name="connsiteX313" fmla="*/ 1835303 w 5932286"/>
              <a:gd name="connsiteY313" fmla="*/ 1393201 h 6994526"/>
              <a:gd name="connsiteX314" fmla="*/ 1265820 w 5932286"/>
              <a:gd name="connsiteY314" fmla="*/ 1413937 h 6994526"/>
              <a:gd name="connsiteX315" fmla="*/ 1193001 w 5932286"/>
              <a:gd name="connsiteY315" fmla="*/ 1341129 h 6994526"/>
              <a:gd name="connsiteX316" fmla="*/ 1265820 w 5932286"/>
              <a:gd name="connsiteY316" fmla="*/ 1268309 h 6994526"/>
              <a:gd name="connsiteX317" fmla="*/ 1338628 w 5932286"/>
              <a:gd name="connsiteY317" fmla="*/ 1341129 h 6994526"/>
              <a:gd name="connsiteX318" fmla="*/ 1265820 w 5932286"/>
              <a:gd name="connsiteY318" fmla="*/ 1413937 h 6994526"/>
              <a:gd name="connsiteX319" fmla="*/ 2367864 w 5932286"/>
              <a:gd name="connsiteY319" fmla="*/ 1414754 h 6994526"/>
              <a:gd name="connsiteX320" fmla="*/ 2230803 w 5932286"/>
              <a:gd name="connsiteY320" fmla="*/ 1278400 h 6994526"/>
              <a:gd name="connsiteX321" fmla="*/ 2366449 w 5932286"/>
              <a:gd name="connsiteY321" fmla="*/ 1140637 h 6994526"/>
              <a:gd name="connsiteX322" fmla="*/ 2504211 w 5932286"/>
              <a:gd name="connsiteY322" fmla="*/ 1276991 h 6994526"/>
              <a:gd name="connsiteX323" fmla="*/ 2367864 w 5932286"/>
              <a:gd name="connsiteY323" fmla="*/ 1414754 h 6994526"/>
              <a:gd name="connsiteX324" fmla="*/ 5421837 w 5932286"/>
              <a:gd name="connsiteY324" fmla="*/ 1420312 h 6994526"/>
              <a:gd name="connsiteX325" fmla="*/ 5348982 w 5932286"/>
              <a:gd name="connsiteY325" fmla="*/ 1347459 h 6994526"/>
              <a:gd name="connsiteX326" fmla="*/ 5421837 w 5932286"/>
              <a:gd name="connsiteY326" fmla="*/ 1274605 h 6994526"/>
              <a:gd name="connsiteX327" fmla="*/ 5494691 w 5932286"/>
              <a:gd name="connsiteY327" fmla="*/ 1347459 h 6994526"/>
              <a:gd name="connsiteX328" fmla="*/ 5421837 w 5932286"/>
              <a:gd name="connsiteY328" fmla="*/ 1420312 h 6994526"/>
              <a:gd name="connsiteX329" fmla="*/ 2871869 w 5932286"/>
              <a:gd name="connsiteY329" fmla="*/ 1434948 h 6994526"/>
              <a:gd name="connsiteX330" fmla="*/ 2733395 w 5932286"/>
              <a:gd name="connsiteY330" fmla="*/ 1297177 h 6994526"/>
              <a:gd name="connsiteX331" fmla="*/ 2871162 w 5932286"/>
              <a:gd name="connsiteY331" fmla="*/ 1158700 h 6994526"/>
              <a:gd name="connsiteX332" fmla="*/ 3009636 w 5932286"/>
              <a:gd name="connsiteY332" fmla="*/ 1296469 h 6994526"/>
              <a:gd name="connsiteX333" fmla="*/ 2871869 w 5932286"/>
              <a:gd name="connsiteY333" fmla="*/ 1434948 h 6994526"/>
              <a:gd name="connsiteX334" fmla="*/ 8117 w 5932286"/>
              <a:gd name="connsiteY334" fmla="*/ 1447460 h 6994526"/>
              <a:gd name="connsiteX335" fmla="*/ 0 w 5932286"/>
              <a:gd name="connsiteY335" fmla="*/ 1445854 h 6994526"/>
              <a:gd name="connsiteX336" fmla="*/ 0 w 5932286"/>
              <a:gd name="connsiteY336" fmla="*/ 1299902 h 6994526"/>
              <a:gd name="connsiteX337" fmla="*/ 8117 w 5932286"/>
              <a:gd name="connsiteY337" fmla="*/ 1298248 h 6994526"/>
              <a:gd name="connsiteX338" fmla="*/ 80819 w 5932286"/>
              <a:gd name="connsiteY338" fmla="*/ 1370917 h 6994526"/>
              <a:gd name="connsiteX339" fmla="*/ 8117 w 5932286"/>
              <a:gd name="connsiteY339" fmla="*/ 1447460 h 6994526"/>
              <a:gd name="connsiteX340" fmla="*/ 3352149 w 5932286"/>
              <a:gd name="connsiteY340" fmla="*/ 1453897 h 6994526"/>
              <a:gd name="connsiteX341" fmla="*/ 3233456 w 5932286"/>
              <a:gd name="connsiteY341" fmla="*/ 1335911 h 6994526"/>
              <a:gd name="connsiteX342" fmla="*/ 3351442 w 5932286"/>
              <a:gd name="connsiteY342" fmla="*/ 1217218 h 6994526"/>
              <a:gd name="connsiteX343" fmla="*/ 3470135 w 5932286"/>
              <a:gd name="connsiteY343" fmla="*/ 1335204 h 6994526"/>
              <a:gd name="connsiteX344" fmla="*/ 3352149 w 5932286"/>
              <a:gd name="connsiteY344" fmla="*/ 1453897 h 6994526"/>
              <a:gd name="connsiteX345" fmla="*/ 335259 w 5932286"/>
              <a:gd name="connsiteY345" fmla="*/ 1471582 h 6994526"/>
              <a:gd name="connsiteX346" fmla="*/ 262435 w 5932286"/>
              <a:gd name="connsiteY346" fmla="*/ 1398737 h 6994526"/>
              <a:gd name="connsiteX347" fmla="*/ 335259 w 5932286"/>
              <a:gd name="connsiteY347" fmla="*/ 1325924 h 6994526"/>
              <a:gd name="connsiteX348" fmla="*/ 408115 w 5932286"/>
              <a:gd name="connsiteY348" fmla="*/ 1398737 h 6994526"/>
              <a:gd name="connsiteX349" fmla="*/ 335259 w 5932286"/>
              <a:gd name="connsiteY349" fmla="*/ 1471582 h 6994526"/>
              <a:gd name="connsiteX350" fmla="*/ 3814037 w 5932286"/>
              <a:gd name="connsiteY350" fmla="*/ 1489898 h 6994526"/>
              <a:gd name="connsiteX351" fmla="*/ 3710179 w 5932286"/>
              <a:gd name="connsiteY351" fmla="*/ 1386749 h 6994526"/>
              <a:gd name="connsiteX352" fmla="*/ 3813328 w 5932286"/>
              <a:gd name="connsiteY352" fmla="*/ 1282893 h 6994526"/>
              <a:gd name="connsiteX353" fmla="*/ 3917186 w 5932286"/>
              <a:gd name="connsiteY353" fmla="*/ 1386042 h 6994526"/>
              <a:gd name="connsiteX354" fmla="*/ 3814037 w 5932286"/>
              <a:gd name="connsiteY354" fmla="*/ 1489898 h 6994526"/>
              <a:gd name="connsiteX355" fmla="*/ 4260907 w 5932286"/>
              <a:gd name="connsiteY355" fmla="*/ 1522369 h 6994526"/>
              <a:gd name="connsiteX356" fmla="*/ 4184606 w 5932286"/>
              <a:gd name="connsiteY356" fmla="*/ 1446776 h 6994526"/>
              <a:gd name="connsiteX357" fmla="*/ 4260199 w 5932286"/>
              <a:gd name="connsiteY357" fmla="*/ 1370476 h 6994526"/>
              <a:gd name="connsiteX358" fmla="*/ 4336507 w 5932286"/>
              <a:gd name="connsiteY358" fmla="*/ 1446068 h 6994526"/>
              <a:gd name="connsiteX359" fmla="*/ 4260907 w 5932286"/>
              <a:gd name="connsiteY359" fmla="*/ 1522369 h 6994526"/>
              <a:gd name="connsiteX360" fmla="*/ 655315 w 5932286"/>
              <a:gd name="connsiteY360" fmla="*/ 1545624 h 6994526"/>
              <a:gd name="connsiteX361" fmla="*/ 582491 w 5932286"/>
              <a:gd name="connsiteY361" fmla="*/ 1472820 h 6994526"/>
              <a:gd name="connsiteX362" fmla="*/ 655315 w 5932286"/>
              <a:gd name="connsiteY362" fmla="*/ 1399997 h 6994526"/>
              <a:gd name="connsiteX363" fmla="*/ 728119 w 5932286"/>
              <a:gd name="connsiteY363" fmla="*/ 1472820 h 6994526"/>
              <a:gd name="connsiteX364" fmla="*/ 655315 w 5932286"/>
              <a:gd name="connsiteY364" fmla="*/ 1545624 h 6994526"/>
              <a:gd name="connsiteX365" fmla="*/ 4696346 w 5932286"/>
              <a:gd name="connsiteY365" fmla="*/ 1584587 h 6994526"/>
              <a:gd name="connsiteX366" fmla="*/ 4623014 w 5932286"/>
              <a:gd name="connsiteY366" fmla="*/ 1512316 h 6994526"/>
              <a:gd name="connsiteX367" fmla="*/ 4695280 w 5932286"/>
              <a:gd name="connsiteY367" fmla="*/ 1438981 h 6994526"/>
              <a:gd name="connsiteX368" fmla="*/ 4768600 w 5932286"/>
              <a:gd name="connsiteY368" fmla="*/ 1511250 h 6994526"/>
              <a:gd name="connsiteX369" fmla="*/ 4696346 w 5932286"/>
              <a:gd name="connsiteY369" fmla="*/ 1584587 h 6994526"/>
              <a:gd name="connsiteX370" fmla="*/ 1540823 w 5932286"/>
              <a:gd name="connsiteY370" fmla="*/ 1594697 h 6994526"/>
              <a:gd name="connsiteX371" fmla="*/ 1467349 w 5932286"/>
              <a:gd name="connsiteY371" fmla="*/ 1521221 h 6994526"/>
              <a:gd name="connsiteX372" fmla="*/ 1540823 w 5932286"/>
              <a:gd name="connsiteY372" fmla="*/ 1447746 h 6994526"/>
              <a:gd name="connsiteX373" fmla="*/ 1614299 w 5932286"/>
              <a:gd name="connsiteY373" fmla="*/ 1521221 h 6994526"/>
              <a:gd name="connsiteX374" fmla="*/ 1540823 w 5932286"/>
              <a:gd name="connsiteY374" fmla="*/ 1594697 h 6994526"/>
              <a:gd name="connsiteX375" fmla="*/ 2079311 w 5932286"/>
              <a:gd name="connsiteY375" fmla="*/ 1643271 h 6994526"/>
              <a:gd name="connsiteX376" fmla="*/ 1942251 w 5932286"/>
              <a:gd name="connsiteY376" fmla="*/ 1506917 h 6994526"/>
              <a:gd name="connsiteX377" fmla="*/ 2078603 w 5932286"/>
              <a:gd name="connsiteY377" fmla="*/ 1369154 h 6994526"/>
              <a:gd name="connsiteX378" fmla="*/ 2215657 w 5932286"/>
              <a:gd name="connsiteY378" fmla="*/ 1505508 h 6994526"/>
              <a:gd name="connsiteX379" fmla="*/ 2079311 w 5932286"/>
              <a:gd name="connsiteY379" fmla="*/ 1643271 h 6994526"/>
              <a:gd name="connsiteX380" fmla="*/ 5120664 w 5932286"/>
              <a:gd name="connsiteY380" fmla="*/ 1654586 h 6994526"/>
              <a:gd name="connsiteX381" fmla="*/ 5047838 w 5932286"/>
              <a:gd name="connsiteY381" fmla="*/ 1581760 h 6994526"/>
              <a:gd name="connsiteX382" fmla="*/ 5120664 w 5932286"/>
              <a:gd name="connsiteY382" fmla="*/ 1508935 h 6994526"/>
              <a:gd name="connsiteX383" fmla="*/ 5193490 w 5932286"/>
              <a:gd name="connsiteY383" fmla="*/ 1581760 h 6994526"/>
              <a:gd name="connsiteX384" fmla="*/ 5120664 w 5932286"/>
              <a:gd name="connsiteY384" fmla="*/ 1654586 h 6994526"/>
              <a:gd name="connsiteX385" fmla="*/ 960329 w 5932286"/>
              <a:gd name="connsiteY385" fmla="*/ 1666663 h 6994526"/>
              <a:gd name="connsiteX386" fmla="*/ 887505 w 5932286"/>
              <a:gd name="connsiteY386" fmla="*/ 1593859 h 6994526"/>
              <a:gd name="connsiteX387" fmla="*/ 960329 w 5932286"/>
              <a:gd name="connsiteY387" fmla="*/ 1521036 h 6994526"/>
              <a:gd name="connsiteX388" fmla="*/ 1033133 w 5932286"/>
              <a:gd name="connsiteY388" fmla="*/ 1593859 h 6994526"/>
              <a:gd name="connsiteX389" fmla="*/ 960329 w 5932286"/>
              <a:gd name="connsiteY389" fmla="*/ 1666663 h 6994526"/>
              <a:gd name="connsiteX390" fmla="*/ 2584880 w 5932286"/>
              <a:gd name="connsiteY390" fmla="*/ 1671567 h 6994526"/>
              <a:gd name="connsiteX391" fmla="*/ 2437223 w 5932286"/>
              <a:gd name="connsiteY391" fmla="*/ 1525326 h 6994526"/>
              <a:gd name="connsiteX392" fmla="*/ 2583464 w 5932286"/>
              <a:gd name="connsiteY392" fmla="*/ 1377669 h 6994526"/>
              <a:gd name="connsiteX393" fmla="*/ 2731121 w 5932286"/>
              <a:gd name="connsiteY393" fmla="*/ 1523910 h 6994526"/>
              <a:gd name="connsiteX394" fmla="*/ 2584880 w 5932286"/>
              <a:gd name="connsiteY394" fmla="*/ 1671567 h 6994526"/>
              <a:gd name="connsiteX395" fmla="*/ 3064079 w 5932286"/>
              <a:gd name="connsiteY395" fmla="*/ 1701710 h 6994526"/>
              <a:gd name="connsiteX396" fmla="*/ 2925604 w 5932286"/>
              <a:gd name="connsiteY396" fmla="*/ 1563939 h 6994526"/>
              <a:gd name="connsiteX397" fmla="*/ 3063371 w 5932286"/>
              <a:gd name="connsiteY397" fmla="*/ 1425462 h 6994526"/>
              <a:gd name="connsiteX398" fmla="*/ 3201845 w 5932286"/>
              <a:gd name="connsiteY398" fmla="*/ 1563231 h 6994526"/>
              <a:gd name="connsiteX399" fmla="*/ 3064079 w 5932286"/>
              <a:gd name="connsiteY399" fmla="*/ 1701710 h 6994526"/>
              <a:gd name="connsiteX400" fmla="*/ 5539857 w 5932286"/>
              <a:gd name="connsiteY400" fmla="*/ 1729754 h 6994526"/>
              <a:gd name="connsiteX401" fmla="*/ 5464933 w 5932286"/>
              <a:gd name="connsiteY401" fmla="*/ 1654875 h 6994526"/>
              <a:gd name="connsiteX402" fmla="*/ 5535684 w 5932286"/>
              <a:gd name="connsiteY402" fmla="*/ 1579955 h 6994526"/>
              <a:gd name="connsiteX403" fmla="*/ 5610608 w 5932286"/>
              <a:gd name="connsiteY403" fmla="*/ 1654875 h 6994526"/>
              <a:gd name="connsiteX404" fmla="*/ 5539857 w 5932286"/>
              <a:gd name="connsiteY404" fmla="*/ 1729754 h 6994526"/>
              <a:gd name="connsiteX405" fmla="*/ 3523059 w 5932286"/>
              <a:gd name="connsiteY405" fmla="*/ 1734708 h 6994526"/>
              <a:gd name="connsiteX406" fmla="*/ 3404365 w 5932286"/>
              <a:gd name="connsiteY406" fmla="*/ 1616723 h 6994526"/>
              <a:gd name="connsiteX407" fmla="*/ 3522351 w 5932286"/>
              <a:gd name="connsiteY407" fmla="*/ 1498029 h 6994526"/>
              <a:gd name="connsiteX408" fmla="*/ 3641044 w 5932286"/>
              <a:gd name="connsiteY408" fmla="*/ 1616015 h 6994526"/>
              <a:gd name="connsiteX409" fmla="*/ 3523059 w 5932286"/>
              <a:gd name="connsiteY409" fmla="*/ 1734708 h 6994526"/>
              <a:gd name="connsiteX410" fmla="*/ 3966544 w 5932286"/>
              <a:gd name="connsiteY410" fmla="*/ 1783475 h 6994526"/>
              <a:gd name="connsiteX411" fmla="*/ 3860568 w 5932286"/>
              <a:gd name="connsiteY411" fmla="*/ 1678208 h 6994526"/>
              <a:gd name="connsiteX412" fmla="*/ 3965836 w 5932286"/>
              <a:gd name="connsiteY412" fmla="*/ 1572234 h 6994526"/>
              <a:gd name="connsiteX413" fmla="*/ 4071812 w 5932286"/>
              <a:gd name="connsiteY413" fmla="*/ 1677500 h 6994526"/>
              <a:gd name="connsiteX414" fmla="*/ 3966544 w 5932286"/>
              <a:gd name="connsiteY414" fmla="*/ 1783475 h 6994526"/>
              <a:gd name="connsiteX415" fmla="*/ 1790168 w 5932286"/>
              <a:gd name="connsiteY415" fmla="*/ 1807567 h 6994526"/>
              <a:gd name="connsiteX416" fmla="*/ 1717359 w 5932286"/>
              <a:gd name="connsiteY416" fmla="*/ 1734758 h 6994526"/>
              <a:gd name="connsiteX417" fmla="*/ 1790168 w 5932286"/>
              <a:gd name="connsiteY417" fmla="*/ 1661948 h 6994526"/>
              <a:gd name="connsiteX418" fmla="*/ 1862977 w 5932286"/>
              <a:gd name="connsiteY418" fmla="*/ 1734758 h 6994526"/>
              <a:gd name="connsiteX419" fmla="*/ 1790168 w 5932286"/>
              <a:gd name="connsiteY419" fmla="*/ 1807567 h 6994526"/>
              <a:gd name="connsiteX420" fmla="*/ 1244039 w 5932286"/>
              <a:gd name="connsiteY420" fmla="*/ 1832140 h 6994526"/>
              <a:gd name="connsiteX421" fmla="*/ 1171225 w 5932286"/>
              <a:gd name="connsiteY421" fmla="*/ 1759306 h 6994526"/>
              <a:gd name="connsiteX422" fmla="*/ 1244039 w 5932286"/>
              <a:gd name="connsiteY422" fmla="*/ 1686472 h 6994526"/>
              <a:gd name="connsiteX423" fmla="*/ 1316853 w 5932286"/>
              <a:gd name="connsiteY423" fmla="*/ 1759306 h 6994526"/>
              <a:gd name="connsiteX424" fmla="*/ 1244039 w 5932286"/>
              <a:gd name="connsiteY424" fmla="*/ 1832140 h 6994526"/>
              <a:gd name="connsiteX425" fmla="*/ 4397441 w 5932286"/>
              <a:gd name="connsiteY425" fmla="*/ 1842290 h 6994526"/>
              <a:gd name="connsiteX426" fmla="*/ 4299945 w 5932286"/>
              <a:gd name="connsiteY426" fmla="*/ 1745502 h 6994526"/>
              <a:gd name="connsiteX427" fmla="*/ 4396733 w 5932286"/>
              <a:gd name="connsiteY427" fmla="*/ 1648007 h 6994526"/>
              <a:gd name="connsiteX428" fmla="*/ 4494229 w 5932286"/>
              <a:gd name="connsiteY428" fmla="*/ 1744794 h 6994526"/>
              <a:gd name="connsiteX429" fmla="*/ 4397441 w 5932286"/>
              <a:gd name="connsiteY429" fmla="*/ 1842290 h 6994526"/>
              <a:gd name="connsiteX430" fmla="*/ 334007 w 5932286"/>
              <a:gd name="connsiteY430" fmla="*/ 1842774 h 6994526"/>
              <a:gd name="connsiteX431" fmla="*/ 260860 w 5932286"/>
              <a:gd name="connsiteY431" fmla="*/ 1769598 h 6994526"/>
              <a:gd name="connsiteX432" fmla="*/ 334007 w 5932286"/>
              <a:gd name="connsiteY432" fmla="*/ 1696785 h 6994526"/>
              <a:gd name="connsiteX433" fmla="*/ 406789 w 5932286"/>
              <a:gd name="connsiteY433" fmla="*/ 1769598 h 6994526"/>
              <a:gd name="connsiteX434" fmla="*/ 334007 w 5932286"/>
              <a:gd name="connsiteY434" fmla="*/ 1842774 h 6994526"/>
              <a:gd name="connsiteX435" fmla="*/ 2297175 w 5932286"/>
              <a:gd name="connsiteY435" fmla="*/ 1862498 h 6994526"/>
              <a:gd name="connsiteX436" fmla="*/ 2186258 w 5932286"/>
              <a:gd name="connsiteY436" fmla="*/ 1752289 h 6994526"/>
              <a:gd name="connsiteX437" fmla="*/ 2296473 w 5932286"/>
              <a:gd name="connsiteY437" fmla="*/ 1641365 h 6994526"/>
              <a:gd name="connsiteX438" fmla="*/ 2407390 w 5932286"/>
              <a:gd name="connsiteY438" fmla="*/ 1751581 h 6994526"/>
              <a:gd name="connsiteX439" fmla="*/ 2297175 w 5932286"/>
              <a:gd name="connsiteY439" fmla="*/ 1862498 h 6994526"/>
              <a:gd name="connsiteX440" fmla="*/ 4818059 w 5932286"/>
              <a:gd name="connsiteY440" fmla="*/ 1890035 h 6994526"/>
              <a:gd name="connsiteX441" fmla="*/ 4744582 w 5932286"/>
              <a:gd name="connsiteY441" fmla="*/ 1816560 h 6994526"/>
              <a:gd name="connsiteX442" fmla="*/ 4818059 w 5932286"/>
              <a:gd name="connsiteY442" fmla="*/ 1743085 h 6994526"/>
              <a:gd name="connsiteX443" fmla="*/ 4891535 w 5932286"/>
              <a:gd name="connsiteY443" fmla="*/ 1816560 h 6994526"/>
              <a:gd name="connsiteX444" fmla="*/ 4818059 w 5932286"/>
              <a:gd name="connsiteY444" fmla="*/ 1890035 h 6994526"/>
              <a:gd name="connsiteX445" fmla="*/ 639303 w 5932286"/>
              <a:gd name="connsiteY445" fmla="*/ 1930770 h 6994526"/>
              <a:gd name="connsiteX446" fmla="*/ 576920 w 5932286"/>
              <a:gd name="connsiteY446" fmla="*/ 1847525 h 6994526"/>
              <a:gd name="connsiteX447" fmla="*/ 639303 w 5932286"/>
              <a:gd name="connsiteY447" fmla="*/ 1785143 h 6994526"/>
              <a:gd name="connsiteX448" fmla="*/ 722547 w 5932286"/>
              <a:gd name="connsiteY448" fmla="*/ 1868388 h 6994526"/>
              <a:gd name="connsiteX449" fmla="*/ 639303 w 5932286"/>
              <a:gd name="connsiteY449" fmla="*/ 1930770 h 6994526"/>
              <a:gd name="connsiteX450" fmla="*/ 2775633 w 5932286"/>
              <a:gd name="connsiteY450" fmla="*/ 1932941 h 6994526"/>
              <a:gd name="connsiteX451" fmla="*/ 2634335 w 5932286"/>
              <a:gd name="connsiteY451" fmla="*/ 1793059 h 6994526"/>
              <a:gd name="connsiteX452" fmla="*/ 2774224 w 5932286"/>
              <a:gd name="connsiteY452" fmla="*/ 1651761 h 6994526"/>
              <a:gd name="connsiteX453" fmla="*/ 2915522 w 5932286"/>
              <a:gd name="connsiteY453" fmla="*/ 1791642 h 6994526"/>
              <a:gd name="connsiteX454" fmla="*/ 2775633 w 5932286"/>
              <a:gd name="connsiteY454" fmla="*/ 1932941 h 6994526"/>
              <a:gd name="connsiteX455" fmla="*/ 5230555 w 5932286"/>
              <a:gd name="connsiteY455" fmla="*/ 1964417 h 6994526"/>
              <a:gd name="connsiteX456" fmla="*/ 5157741 w 5932286"/>
              <a:gd name="connsiteY456" fmla="*/ 1891602 h 6994526"/>
              <a:gd name="connsiteX457" fmla="*/ 5230555 w 5932286"/>
              <a:gd name="connsiteY457" fmla="*/ 1818789 h 6994526"/>
              <a:gd name="connsiteX458" fmla="*/ 5303368 w 5932286"/>
              <a:gd name="connsiteY458" fmla="*/ 1891602 h 6994526"/>
              <a:gd name="connsiteX459" fmla="*/ 5230555 w 5932286"/>
              <a:gd name="connsiteY459" fmla="*/ 1964417 h 6994526"/>
              <a:gd name="connsiteX460" fmla="*/ 3231105 w 5932286"/>
              <a:gd name="connsiteY460" fmla="*/ 1983644 h 6994526"/>
              <a:gd name="connsiteX461" fmla="*/ 3094050 w 5932286"/>
              <a:gd name="connsiteY461" fmla="*/ 1847290 h 6994526"/>
              <a:gd name="connsiteX462" fmla="*/ 3229696 w 5932286"/>
              <a:gd name="connsiteY462" fmla="*/ 1709526 h 6994526"/>
              <a:gd name="connsiteX463" fmla="*/ 3367459 w 5932286"/>
              <a:gd name="connsiteY463" fmla="*/ 1845880 h 6994526"/>
              <a:gd name="connsiteX464" fmla="*/ 3231105 w 5932286"/>
              <a:gd name="connsiteY464" fmla="*/ 1983644 h 6994526"/>
              <a:gd name="connsiteX465" fmla="*/ 3670721 w 5932286"/>
              <a:gd name="connsiteY465" fmla="*/ 2029517 h 6994526"/>
              <a:gd name="connsiteX466" fmla="*/ 3550615 w 5932286"/>
              <a:gd name="connsiteY466" fmla="*/ 1910113 h 6994526"/>
              <a:gd name="connsiteX467" fmla="*/ 3670019 w 5932286"/>
              <a:gd name="connsiteY467" fmla="*/ 1790009 h 6994526"/>
              <a:gd name="connsiteX468" fmla="*/ 3790125 w 5932286"/>
              <a:gd name="connsiteY468" fmla="*/ 1909411 h 6994526"/>
              <a:gd name="connsiteX469" fmla="*/ 3670721 w 5932286"/>
              <a:gd name="connsiteY469" fmla="*/ 2029517 h 6994526"/>
              <a:gd name="connsiteX470" fmla="*/ 1501320 w 5932286"/>
              <a:gd name="connsiteY470" fmla="*/ 2038423 h 6994526"/>
              <a:gd name="connsiteX471" fmla="*/ 1427585 w 5932286"/>
              <a:gd name="connsiteY471" fmla="*/ 1964718 h 6994526"/>
              <a:gd name="connsiteX472" fmla="*/ 1499425 w 5932286"/>
              <a:gd name="connsiteY472" fmla="*/ 1890995 h 6994526"/>
              <a:gd name="connsiteX473" fmla="*/ 1573143 w 5932286"/>
              <a:gd name="connsiteY473" fmla="*/ 1964718 h 6994526"/>
              <a:gd name="connsiteX474" fmla="*/ 1501320 w 5932286"/>
              <a:gd name="connsiteY474" fmla="*/ 2038423 h 6994526"/>
              <a:gd name="connsiteX475" fmla="*/ 5636293 w 5932286"/>
              <a:gd name="connsiteY475" fmla="*/ 2041197 h 6994526"/>
              <a:gd name="connsiteX476" fmla="*/ 5561375 w 5932286"/>
              <a:gd name="connsiteY476" fmla="*/ 1966278 h 6994526"/>
              <a:gd name="connsiteX477" fmla="*/ 5636293 w 5932286"/>
              <a:gd name="connsiteY477" fmla="*/ 1895529 h 6994526"/>
              <a:gd name="connsiteX478" fmla="*/ 5711170 w 5932286"/>
              <a:gd name="connsiteY478" fmla="*/ 1966278 h 6994526"/>
              <a:gd name="connsiteX479" fmla="*/ 5636293 w 5932286"/>
              <a:gd name="connsiteY479" fmla="*/ 2041197 h 6994526"/>
              <a:gd name="connsiteX480" fmla="*/ 2009972 w 5932286"/>
              <a:gd name="connsiteY480" fmla="*/ 2052222 h 6994526"/>
              <a:gd name="connsiteX481" fmla="*/ 1937153 w 5932286"/>
              <a:gd name="connsiteY481" fmla="*/ 1979410 h 6994526"/>
              <a:gd name="connsiteX482" fmla="*/ 2009972 w 5932286"/>
              <a:gd name="connsiteY482" fmla="*/ 1905763 h 6994526"/>
              <a:gd name="connsiteX483" fmla="*/ 2082789 w 5932286"/>
              <a:gd name="connsiteY483" fmla="*/ 1978581 h 6994526"/>
              <a:gd name="connsiteX484" fmla="*/ 2009972 w 5932286"/>
              <a:gd name="connsiteY484" fmla="*/ 2052222 h 6994526"/>
              <a:gd name="connsiteX485" fmla="*/ 4096782 w 5932286"/>
              <a:gd name="connsiteY485" fmla="*/ 2085107 h 6994526"/>
              <a:gd name="connsiteX486" fmla="*/ 3990806 w 5932286"/>
              <a:gd name="connsiteY486" fmla="*/ 1979835 h 6994526"/>
              <a:gd name="connsiteX487" fmla="*/ 4096074 w 5932286"/>
              <a:gd name="connsiteY487" fmla="*/ 1873862 h 6994526"/>
              <a:gd name="connsiteX488" fmla="*/ 4202050 w 5932286"/>
              <a:gd name="connsiteY488" fmla="*/ 1979127 h 6994526"/>
              <a:gd name="connsiteX489" fmla="*/ 4096782 w 5932286"/>
              <a:gd name="connsiteY489" fmla="*/ 2085107 h 6994526"/>
              <a:gd name="connsiteX490" fmla="*/ 2486483 w 5932286"/>
              <a:gd name="connsiteY490" fmla="*/ 2142015 h 6994526"/>
              <a:gd name="connsiteX491" fmla="*/ 2364257 w 5932286"/>
              <a:gd name="connsiteY491" fmla="*/ 2020497 h 6994526"/>
              <a:gd name="connsiteX492" fmla="*/ 2485775 w 5932286"/>
              <a:gd name="connsiteY492" fmla="*/ 1898278 h 6994526"/>
              <a:gd name="connsiteX493" fmla="*/ 2607994 w 5932286"/>
              <a:gd name="connsiteY493" fmla="*/ 2019795 h 6994526"/>
              <a:gd name="connsiteX494" fmla="*/ 2486483 w 5932286"/>
              <a:gd name="connsiteY494" fmla="*/ 2142015 h 6994526"/>
              <a:gd name="connsiteX495" fmla="*/ 4513156 w 5932286"/>
              <a:gd name="connsiteY495" fmla="*/ 2162831 h 6994526"/>
              <a:gd name="connsiteX496" fmla="*/ 4402936 w 5932286"/>
              <a:gd name="connsiteY496" fmla="*/ 2054025 h 6994526"/>
              <a:gd name="connsiteX497" fmla="*/ 4512446 w 5932286"/>
              <a:gd name="connsiteY497" fmla="*/ 1943805 h 6994526"/>
              <a:gd name="connsiteX498" fmla="*/ 4622658 w 5932286"/>
              <a:gd name="connsiteY498" fmla="*/ 2052610 h 6994526"/>
              <a:gd name="connsiteX499" fmla="*/ 4513156 w 5932286"/>
              <a:gd name="connsiteY499" fmla="*/ 2162831 h 6994526"/>
              <a:gd name="connsiteX500" fmla="*/ 4920812 w 5932286"/>
              <a:gd name="connsiteY500" fmla="*/ 2222703 h 6994526"/>
              <a:gd name="connsiteX501" fmla="*/ 4826849 w 5932286"/>
              <a:gd name="connsiteY501" fmla="*/ 2129441 h 6994526"/>
              <a:gd name="connsiteX502" fmla="*/ 4920104 w 5932286"/>
              <a:gd name="connsiteY502" fmla="*/ 2035478 h 6994526"/>
              <a:gd name="connsiteX503" fmla="*/ 5014067 w 5932286"/>
              <a:gd name="connsiteY503" fmla="*/ 2128734 h 6994526"/>
              <a:gd name="connsiteX504" fmla="*/ 4920812 w 5932286"/>
              <a:gd name="connsiteY504" fmla="*/ 2222703 h 6994526"/>
              <a:gd name="connsiteX505" fmla="*/ 2939280 w 5932286"/>
              <a:gd name="connsiteY505" fmla="*/ 2228936 h 6994526"/>
              <a:gd name="connsiteX506" fmla="*/ 2786676 w 5932286"/>
              <a:gd name="connsiteY506" fmla="*/ 2077743 h 6994526"/>
              <a:gd name="connsiteX507" fmla="*/ 2937863 w 5932286"/>
              <a:gd name="connsiteY507" fmla="*/ 1925139 h 6994526"/>
              <a:gd name="connsiteX508" fmla="*/ 3090473 w 5932286"/>
              <a:gd name="connsiteY508" fmla="*/ 2076326 h 6994526"/>
              <a:gd name="connsiteX509" fmla="*/ 2939280 w 5932286"/>
              <a:gd name="connsiteY509" fmla="*/ 2228936 h 6994526"/>
              <a:gd name="connsiteX510" fmla="*/ 1209657 w 5932286"/>
              <a:gd name="connsiteY510" fmla="*/ 2268830 h 6994526"/>
              <a:gd name="connsiteX511" fmla="*/ 1136842 w 5932286"/>
              <a:gd name="connsiteY511" fmla="*/ 2195654 h 6994526"/>
              <a:gd name="connsiteX512" fmla="*/ 1209657 w 5932286"/>
              <a:gd name="connsiteY512" fmla="*/ 2122841 h 6994526"/>
              <a:gd name="connsiteX513" fmla="*/ 1282831 w 5932286"/>
              <a:gd name="connsiteY513" fmla="*/ 2195654 h 6994526"/>
              <a:gd name="connsiteX514" fmla="*/ 1209657 w 5932286"/>
              <a:gd name="connsiteY514" fmla="*/ 2268830 h 6994526"/>
              <a:gd name="connsiteX515" fmla="*/ 1722867 w 5932286"/>
              <a:gd name="connsiteY515" fmla="*/ 2280246 h 6994526"/>
              <a:gd name="connsiteX516" fmla="*/ 1650045 w 5932286"/>
              <a:gd name="connsiteY516" fmla="*/ 2207425 h 6994526"/>
              <a:gd name="connsiteX517" fmla="*/ 1722867 w 5932286"/>
              <a:gd name="connsiteY517" fmla="*/ 2132866 h 6994526"/>
              <a:gd name="connsiteX518" fmla="*/ 1795689 w 5932286"/>
              <a:gd name="connsiteY518" fmla="*/ 2205686 h 6994526"/>
              <a:gd name="connsiteX519" fmla="*/ 1722867 w 5932286"/>
              <a:gd name="connsiteY519" fmla="*/ 2280246 h 6994526"/>
              <a:gd name="connsiteX520" fmla="*/ 5321772 w 5932286"/>
              <a:gd name="connsiteY520" fmla="*/ 2280522 h 6994526"/>
              <a:gd name="connsiteX521" fmla="*/ 5248524 w 5932286"/>
              <a:gd name="connsiteY521" fmla="*/ 2207271 h 6994526"/>
              <a:gd name="connsiteX522" fmla="*/ 5320886 w 5932286"/>
              <a:gd name="connsiteY522" fmla="*/ 2134020 h 6994526"/>
              <a:gd name="connsiteX523" fmla="*/ 5394134 w 5932286"/>
              <a:gd name="connsiteY523" fmla="*/ 2207271 h 6994526"/>
              <a:gd name="connsiteX524" fmla="*/ 5321772 w 5932286"/>
              <a:gd name="connsiteY524" fmla="*/ 2280522 h 6994526"/>
              <a:gd name="connsiteX525" fmla="*/ 3372970 w 5932286"/>
              <a:gd name="connsiteY525" fmla="*/ 2292550 h 6994526"/>
              <a:gd name="connsiteX526" fmla="*/ 3223195 w 5932286"/>
              <a:gd name="connsiteY526" fmla="*/ 2143476 h 6994526"/>
              <a:gd name="connsiteX527" fmla="*/ 3372261 w 5932286"/>
              <a:gd name="connsiteY527" fmla="*/ 1993702 h 6994526"/>
              <a:gd name="connsiteX528" fmla="*/ 3522043 w 5932286"/>
              <a:gd name="connsiteY528" fmla="*/ 2142769 h 6994526"/>
              <a:gd name="connsiteX529" fmla="*/ 3372970 w 5932286"/>
              <a:gd name="connsiteY529" fmla="*/ 2292550 h 6994526"/>
              <a:gd name="connsiteX530" fmla="*/ 2197439 w 5932286"/>
              <a:gd name="connsiteY530" fmla="*/ 2328649 h 6994526"/>
              <a:gd name="connsiteX531" fmla="*/ 2117601 w 5932286"/>
              <a:gd name="connsiteY531" fmla="*/ 2249514 h 6994526"/>
              <a:gd name="connsiteX532" fmla="*/ 2196738 w 5932286"/>
              <a:gd name="connsiteY532" fmla="*/ 2169676 h 6994526"/>
              <a:gd name="connsiteX533" fmla="*/ 2276575 w 5932286"/>
              <a:gd name="connsiteY533" fmla="*/ 2248813 h 6994526"/>
              <a:gd name="connsiteX534" fmla="*/ 2197439 w 5932286"/>
              <a:gd name="connsiteY534" fmla="*/ 2328649 h 6994526"/>
              <a:gd name="connsiteX535" fmla="*/ 3793699 w 5932286"/>
              <a:gd name="connsiteY535" fmla="*/ 2347956 h 6994526"/>
              <a:gd name="connsiteX536" fmla="*/ 3660169 w 5932286"/>
              <a:gd name="connsiteY536" fmla="*/ 2215135 h 6994526"/>
              <a:gd name="connsiteX537" fmla="*/ 3792991 w 5932286"/>
              <a:gd name="connsiteY537" fmla="*/ 2081605 h 6994526"/>
              <a:gd name="connsiteX538" fmla="*/ 3926522 w 5932286"/>
              <a:gd name="connsiteY538" fmla="*/ 2214426 h 6994526"/>
              <a:gd name="connsiteX539" fmla="*/ 3793699 w 5932286"/>
              <a:gd name="connsiteY539" fmla="*/ 2347956 h 6994526"/>
              <a:gd name="connsiteX540" fmla="*/ 5717144 w 5932286"/>
              <a:gd name="connsiteY540" fmla="*/ 2359584 h 6994526"/>
              <a:gd name="connsiteX541" fmla="*/ 5644317 w 5932286"/>
              <a:gd name="connsiteY541" fmla="*/ 2286787 h 6994526"/>
              <a:gd name="connsiteX542" fmla="*/ 5714338 w 5932286"/>
              <a:gd name="connsiteY542" fmla="*/ 2213962 h 6994526"/>
              <a:gd name="connsiteX543" fmla="*/ 5789944 w 5932286"/>
              <a:gd name="connsiteY543" fmla="*/ 2286787 h 6994526"/>
              <a:gd name="connsiteX544" fmla="*/ 5717144 w 5932286"/>
              <a:gd name="connsiteY544" fmla="*/ 2359584 h 6994526"/>
              <a:gd name="connsiteX545" fmla="*/ 4204257 w 5932286"/>
              <a:gd name="connsiteY545" fmla="*/ 2406747 h 6994526"/>
              <a:gd name="connsiteX546" fmla="*/ 4086982 w 5932286"/>
              <a:gd name="connsiteY546" fmla="*/ 2290173 h 6994526"/>
              <a:gd name="connsiteX547" fmla="*/ 4203556 w 5932286"/>
              <a:gd name="connsiteY547" fmla="*/ 2172898 h 6994526"/>
              <a:gd name="connsiteX548" fmla="*/ 4320833 w 5932286"/>
              <a:gd name="connsiteY548" fmla="*/ 2289466 h 6994526"/>
              <a:gd name="connsiteX549" fmla="*/ 4204257 w 5932286"/>
              <a:gd name="connsiteY549" fmla="*/ 2406747 h 6994526"/>
              <a:gd name="connsiteX550" fmla="*/ 2644311 w 5932286"/>
              <a:gd name="connsiteY550" fmla="*/ 2430091 h 6994526"/>
              <a:gd name="connsiteX551" fmla="*/ 2522092 w 5932286"/>
              <a:gd name="connsiteY551" fmla="*/ 2308573 h 6994526"/>
              <a:gd name="connsiteX552" fmla="*/ 2643609 w 5932286"/>
              <a:gd name="connsiteY552" fmla="*/ 2186355 h 6994526"/>
              <a:gd name="connsiteX553" fmla="*/ 2765829 w 5932286"/>
              <a:gd name="connsiteY553" fmla="*/ 2307872 h 6994526"/>
              <a:gd name="connsiteX554" fmla="*/ 2644311 w 5932286"/>
              <a:gd name="connsiteY554" fmla="*/ 2430091 h 6994526"/>
              <a:gd name="connsiteX555" fmla="*/ 4607189 w 5932286"/>
              <a:gd name="connsiteY555" fmla="*/ 2477047 h 6994526"/>
              <a:gd name="connsiteX556" fmla="*/ 4496974 w 5932286"/>
              <a:gd name="connsiteY556" fmla="*/ 2367540 h 6994526"/>
              <a:gd name="connsiteX557" fmla="*/ 4606480 w 5932286"/>
              <a:gd name="connsiteY557" fmla="*/ 2258034 h 6994526"/>
              <a:gd name="connsiteX558" fmla="*/ 4715986 w 5932286"/>
              <a:gd name="connsiteY558" fmla="*/ 2366832 h 6994526"/>
              <a:gd name="connsiteX559" fmla="*/ 4607189 w 5932286"/>
              <a:gd name="connsiteY559" fmla="*/ 2477047 h 6994526"/>
              <a:gd name="connsiteX560" fmla="*/ 1436119 w 5932286"/>
              <a:gd name="connsiteY560" fmla="*/ 2507032 h 6994526"/>
              <a:gd name="connsiteX561" fmla="*/ 1362943 w 5932286"/>
              <a:gd name="connsiteY561" fmla="*/ 2433856 h 6994526"/>
              <a:gd name="connsiteX562" fmla="*/ 1436119 w 5932286"/>
              <a:gd name="connsiteY562" fmla="*/ 2361043 h 6994526"/>
              <a:gd name="connsiteX563" fmla="*/ 1508933 w 5932286"/>
              <a:gd name="connsiteY563" fmla="*/ 2433856 h 6994526"/>
              <a:gd name="connsiteX564" fmla="*/ 1436119 w 5932286"/>
              <a:gd name="connsiteY564" fmla="*/ 2507032 h 6994526"/>
              <a:gd name="connsiteX565" fmla="*/ 3073391 w 5932286"/>
              <a:gd name="connsiteY565" fmla="*/ 2519230 h 6994526"/>
              <a:gd name="connsiteX566" fmla="*/ 2930680 w 5932286"/>
              <a:gd name="connsiteY566" fmla="*/ 2377923 h 6994526"/>
              <a:gd name="connsiteX567" fmla="*/ 3072690 w 5932286"/>
              <a:gd name="connsiteY567" fmla="*/ 2235211 h 6994526"/>
              <a:gd name="connsiteX568" fmla="*/ 3214699 w 5932286"/>
              <a:gd name="connsiteY568" fmla="*/ 2376512 h 6994526"/>
              <a:gd name="connsiteX569" fmla="*/ 3073391 w 5932286"/>
              <a:gd name="connsiteY569" fmla="*/ 2519230 h 6994526"/>
              <a:gd name="connsiteX570" fmla="*/ 5002631 w 5932286"/>
              <a:gd name="connsiteY570" fmla="*/ 2526666 h 6994526"/>
              <a:gd name="connsiteX571" fmla="*/ 4922794 w 5932286"/>
              <a:gd name="connsiteY571" fmla="*/ 2447531 h 6994526"/>
              <a:gd name="connsiteX572" fmla="*/ 5001923 w 5932286"/>
              <a:gd name="connsiteY572" fmla="*/ 2367693 h 6994526"/>
              <a:gd name="connsiteX573" fmla="*/ 5081758 w 5932286"/>
              <a:gd name="connsiteY573" fmla="*/ 2446830 h 6994526"/>
              <a:gd name="connsiteX574" fmla="*/ 5002631 w 5932286"/>
              <a:gd name="connsiteY574" fmla="*/ 2526666 h 6994526"/>
              <a:gd name="connsiteX575" fmla="*/ 1906866 w 5932286"/>
              <a:gd name="connsiteY575" fmla="*/ 2551213 h 6994526"/>
              <a:gd name="connsiteX576" fmla="*/ 1834027 w 5932286"/>
              <a:gd name="connsiteY576" fmla="*/ 2478424 h 6994526"/>
              <a:gd name="connsiteX577" fmla="*/ 1906866 w 5932286"/>
              <a:gd name="connsiteY577" fmla="*/ 2405585 h 6994526"/>
              <a:gd name="connsiteX578" fmla="*/ 1979655 w 5932286"/>
              <a:gd name="connsiteY578" fmla="*/ 2478424 h 6994526"/>
              <a:gd name="connsiteX579" fmla="*/ 1906866 w 5932286"/>
              <a:gd name="connsiteY579" fmla="*/ 2551213 h 6994526"/>
              <a:gd name="connsiteX580" fmla="*/ 5392571 w 5932286"/>
              <a:gd name="connsiteY580" fmla="*/ 2600889 h 6994526"/>
              <a:gd name="connsiteX581" fmla="*/ 5320655 w 5932286"/>
              <a:gd name="connsiteY581" fmla="*/ 2528971 h 6994526"/>
              <a:gd name="connsiteX582" fmla="*/ 5392571 w 5932286"/>
              <a:gd name="connsiteY582" fmla="*/ 2455250 h 6994526"/>
              <a:gd name="connsiteX583" fmla="*/ 5466306 w 5932286"/>
              <a:gd name="connsiteY583" fmla="*/ 2527169 h 6994526"/>
              <a:gd name="connsiteX584" fmla="*/ 5392571 w 5932286"/>
              <a:gd name="connsiteY584" fmla="*/ 2600889 h 6994526"/>
              <a:gd name="connsiteX585" fmla="*/ 3487827 w 5932286"/>
              <a:gd name="connsiteY585" fmla="*/ 2609541 h 6994526"/>
              <a:gd name="connsiteX586" fmla="*/ 3328867 w 5932286"/>
              <a:gd name="connsiteY586" fmla="*/ 2451992 h 6994526"/>
              <a:gd name="connsiteX587" fmla="*/ 3487119 w 5932286"/>
              <a:gd name="connsiteY587" fmla="*/ 2293032 h 6994526"/>
              <a:gd name="connsiteX588" fmla="*/ 3645370 w 5932286"/>
              <a:gd name="connsiteY588" fmla="*/ 2450581 h 6994526"/>
              <a:gd name="connsiteX589" fmla="*/ 3487827 w 5932286"/>
              <a:gd name="connsiteY589" fmla="*/ 2609541 h 6994526"/>
              <a:gd name="connsiteX590" fmla="*/ 2348242 w 5932286"/>
              <a:gd name="connsiteY590" fmla="*/ 2614712 h 6994526"/>
              <a:gd name="connsiteX591" fmla="*/ 2274851 w 5932286"/>
              <a:gd name="connsiteY591" fmla="*/ 2542504 h 6994526"/>
              <a:gd name="connsiteX592" fmla="*/ 2347057 w 5932286"/>
              <a:gd name="connsiteY592" fmla="*/ 2467926 h 6994526"/>
              <a:gd name="connsiteX593" fmla="*/ 2420459 w 5932286"/>
              <a:gd name="connsiteY593" fmla="*/ 2541319 h 6994526"/>
              <a:gd name="connsiteX594" fmla="*/ 2348242 w 5932286"/>
              <a:gd name="connsiteY594" fmla="*/ 2614712 h 6994526"/>
              <a:gd name="connsiteX595" fmla="*/ 3891496 w 5932286"/>
              <a:gd name="connsiteY595" fmla="*/ 2656743 h 6994526"/>
              <a:gd name="connsiteX596" fmla="*/ 3762915 w 5932286"/>
              <a:gd name="connsiteY596" fmla="*/ 2528866 h 6994526"/>
              <a:gd name="connsiteX597" fmla="*/ 3890795 w 5932286"/>
              <a:gd name="connsiteY597" fmla="*/ 2400287 h 6994526"/>
              <a:gd name="connsiteX598" fmla="*/ 4019375 w 5932286"/>
              <a:gd name="connsiteY598" fmla="*/ 2528165 h 6994526"/>
              <a:gd name="connsiteX599" fmla="*/ 3891496 w 5932286"/>
              <a:gd name="connsiteY599" fmla="*/ 2656743 h 6994526"/>
              <a:gd name="connsiteX600" fmla="*/ 5780553 w 5932286"/>
              <a:gd name="connsiteY600" fmla="*/ 2682276 h 6994526"/>
              <a:gd name="connsiteX601" fmla="*/ 5704742 w 5932286"/>
              <a:gd name="connsiteY601" fmla="*/ 2606451 h 6994526"/>
              <a:gd name="connsiteX602" fmla="*/ 5780553 w 5932286"/>
              <a:gd name="connsiteY602" fmla="*/ 2537470 h 6994526"/>
              <a:gd name="connsiteX603" fmla="*/ 5856433 w 5932286"/>
              <a:gd name="connsiteY603" fmla="*/ 2606451 h 6994526"/>
              <a:gd name="connsiteX604" fmla="*/ 5780553 w 5932286"/>
              <a:gd name="connsiteY604" fmla="*/ 2682276 h 6994526"/>
              <a:gd name="connsiteX605" fmla="*/ 2768743 w 5932286"/>
              <a:gd name="connsiteY605" fmla="*/ 2706584 h 6994526"/>
              <a:gd name="connsiteX606" fmla="*/ 2674075 w 5932286"/>
              <a:gd name="connsiteY606" fmla="*/ 2612623 h 6994526"/>
              <a:gd name="connsiteX607" fmla="*/ 2768035 w 5932286"/>
              <a:gd name="connsiteY607" fmla="*/ 2517955 h 6994526"/>
              <a:gd name="connsiteX608" fmla="*/ 2862704 w 5932286"/>
              <a:gd name="connsiteY608" fmla="*/ 2611916 h 6994526"/>
              <a:gd name="connsiteX609" fmla="*/ 2768743 w 5932286"/>
              <a:gd name="connsiteY609" fmla="*/ 2706584 h 6994526"/>
              <a:gd name="connsiteX610" fmla="*/ 4288014 w 5932286"/>
              <a:gd name="connsiteY610" fmla="*/ 2729299 h 6994526"/>
              <a:gd name="connsiteX611" fmla="*/ 4165795 w 5932286"/>
              <a:gd name="connsiteY611" fmla="*/ 2607782 h 6994526"/>
              <a:gd name="connsiteX612" fmla="*/ 4287313 w 5932286"/>
              <a:gd name="connsiteY612" fmla="*/ 2485563 h 6994526"/>
              <a:gd name="connsiteX613" fmla="*/ 4409531 w 5932286"/>
              <a:gd name="connsiteY613" fmla="*/ 2607081 h 6994526"/>
              <a:gd name="connsiteX614" fmla="*/ 4288014 w 5932286"/>
              <a:gd name="connsiteY614" fmla="*/ 2729299 h 6994526"/>
              <a:gd name="connsiteX615" fmla="*/ 1615861 w 5932286"/>
              <a:gd name="connsiteY615" fmla="*/ 2781335 h 6994526"/>
              <a:gd name="connsiteX616" fmla="*/ 1543048 w 5932286"/>
              <a:gd name="connsiteY616" fmla="*/ 2708552 h 6994526"/>
              <a:gd name="connsiteX617" fmla="*/ 1615861 w 5932286"/>
              <a:gd name="connsiteY617" fmla="*/ 2635406 h 6994526"/>
              <a:gd name="connsiteX618" fmla="*/ 1689037 w 5932286"/>
              <a:gd name="connsiteY618" fmla="*/ 2708552 h 6994526"/>
              <a:gd name="connsiteX619" fmla="*/ 1615861 w 5932286"/>
              <a:gd name="connsiteY619" fmla="*/ 2781335 h 6994526"/>
              <a:gd name="connsiteX620" fmla="*/ 4678737 w 5932286"/>
              <a:gd name="connsiteY620" fmla="*/ 2798847 h 6994526"/>
              <a:gd name="connsiteX621" fmla="*/ 4567813 w 5932286"/>
              <a:gd name="connsiteY621" fmla="*/ 2688632 h 6994526"/>
              <a:gd name="connsiteX622" fmla="*/ 4677320 w 5932286"/>
              <a:gd name="connsiteY622" fmla="*/ 2577714 h 6994526"/>
              <a:gd name="connsiteX623" fmla="*/ 4788944 w 5932286"/>
              <a:gd name="connsiteY623" fmla="*/ 2687931 h 6994526"/>
              <a:gd name="connsiteX624" fmla="*/ 4678737 w 5932286"/>
              <a:gd name="connsiteY624" fmla="*/ 2798847 h 6994526"/>
              <a:gd name="connsiteX625" fmla="*/ 3176997 w 5932286"/>
              <a:gd name="connsiteY625" fmla="*/ 2847261 h 6994526"/>
              <a:gd name="connsiteX626" fmla="*/ 3018037 w 5932286"/>
              <a:gd name="connsiteY626" fmla="*/ 2689712 h 6994526"/>
              <a:gd name="connsiteX627" fmla="*/ 3175580 w 5932286"/>
              <a:gd name="connsiteY627" fmla="*/ 2530752 h 6994526"/>
              <a:gd name="connsiteX628" fmla="*/ 3334540 w 5932286"/>
              <a:gd name="connsiteY628" fmla="*/ 2688302 h 6994526"/>
              <a:gd name="connsiteX629" fmla="*/ 3176997 w 5932286"/>
              <a:gd name="connsiteY629" fmla="*/ 2847261 h 6994526"/>
              <a:gd name="connsiteX630" fmla="*/ 2058885 w 5932286"/>
              <a:gd name="connsiteY630" fmla="*/ 2858028 h 6994526"/>
              <a:gd name="connsiteX631" fmla="*/ 1975640 w 5932286"/>
              <a:gd name="connsiteY631" fmla="*/ 2774702 h 6994526"/>
              <a:gd name="connsiteX632" fmla="*/ 2058885 w 5932286"/>
              <a:gd name="connsiteY632" fmla="*/ 2691376 h 6994526"/>
              <a:gd name="connsiteX633" fmla="*/ 2121267 w 5932286"/>
              <a:gd name="connsiteY633" fmla="*/ 2774702 h 6994526"/>
              <a:gd name="connsiteX634" fmla="*/ 2058885 w 5932286"/>
              <a:gd name="connsiteY634" fmla="*/ 2858028 h 6994526"/>
              <a:gd name="connsiteX635" fmla="*/ 5064001 w 5932286"/>
              <a:gd name="connsiteY635" fmla="*/ 2863705 h 6994526"/>
              <a:gd name="connsiteX636" fmla="*/ 4970750 w 5932286"/>
              <a:gd name="connsiteY636" fmla="*/ 2770454 h 6994526"/>
              <a:gd name="connsiteX637" fmla="*/ 5063300 w 5932286"/>
              <a:gd name="connsiteY637" fmla="*/ 2676496 h 6994526"/>
              <a:gd name="connsiteX638" fmla="*/ 5157259 w 5932286"/>
              <a:gd name="connsiteY638" fmla="*/ 2769746 h 6994526"/>
              <a:gd name="connsiteX639" fmla="*/ 5064001 w 5932286"/>
              <a:gd name="connsiteY639" fmla="*/ 2863705 h 6994526"/>
              <a:gd name="connsiteX640" fmla="*/ 2460230 w 5932286"/>
              <a:gd name="connsiteY640" fmla="*/ 2922733 h 6994526"/>
              <a:gd name="connsiteX641" fmla="*/ 2386755 w 5932286"/>
              <a:gd name="connsiteY641" fmla="*/ 2849258 h 6994526"/>
              <a:gd name="connsiteX642" fmla="*/ 2460230 w 5932286"/>
              <a:gd name="connsiteY642" fmla="*/ 2775783 h 6994526"/>
              <a:gd name="connsiteX643" fmla="*/ 2533705 w 5932286"/>
              <a:gd name="connsiteY643" fmla="*/ 2849258 h 6994526"/>
              <a:gd name="connsiteX644" fmla="*/ 2460230 w 5932286"/>
              <a:gd name="connsiteY644" fmla="*/ 2922733 h 6994526"/>
              <a:gd name="connsiteX645" fmla="*/ 5446926 w 5932286"/>
              <a:gd name="connsiteY645" fmla="*/ 2925236 h 6994526"/>
              <a:gd name="connsiteX646" fmla="*/ 5373435 w 5932286"/>
              <a:gd name="connsiteY646" fmla="*/ 2853085 h 6994526"/>
              <a:gd name="connsiteX647" fmla="*/ 5445586 w 5932286"/>
              <a:gd name="connsiteY647" fmla="*/ 2779595 h 6994526"/>
              <a:gd name="connsiteX648" fmla="*/ 5519075 w 5932286"/>
              <a:gd name="connsiteY648" fmla="*/ 2851746 h 6994526"/>
              <a:gd name="connsiteX649" fmla="*/ 5446926 w 5932286"/>
              <a:gd name="connsiteY649" fmla="*/ 2925236 h 6994526"/>
              <a:gd name="connsiteX650" fmla="*/ 3573998 w 5932286"/>
              <a:gd name="connsiteY650" fmla="*/ 2925247 h 6994526"/>
              <a:gd name="connsiteX651" fmla="*/ 3416450 w 5932286"/>
              <a:gd name="connsiteY651" fmla="*/ 2769118 h 6994526"/>
              <a:gd name="connsiteX652" fmla="*/ 3572588 w 5932286"/>
              <a:gd name="connsiteY652" fmla="*/ 2611564 h 6994526"/>
              <a:gd name="connsiteX653" fmla="*/ 3730136 w 5932286"/>
              <a:gd name="connsiteY653" fmla="*/ 2767701 h 6994526"/>
              <a:gd name="connsiteX654" fmla="*/ 3573998 w 5932286"/>
              <a:gd name="connsiteY654" fmla="*/ 2925247 h 6994526"/>
              <a:gd name="connsiteX655" fmla="*/ 3963753 w 5932286"/>
              <a:gd name="connsiteY655" fmla="*/ 2984913 h 6994526"/>
              <a:gd name="connsiteX656" fmla="*/ 3827399 w 5932286"/>
              <a:gd name="connsiteY656" fmla="*/ 2849975 h 6994526"/>
              <a:gd name="connsiteX657" fmla="*/ 3962336 w 5932286"/>
              <a:gd name="connsiteY657" fmla="*/ 2713620 h 6994526"/>
              <a:gd name="connsiteX658" fmla="*/ 4098690 w 5932286"/>
              <a:gd name="connsiteY658" fmla="*/ 2848558 h 6994526"/>
              <a:gd name="connsiteX659" fmla="*/ 3963753 w 5932286"/>
              <a:gd name="connsiteY659" fmla="*/ 2984913 h 6994526"/>
              <a:gd name="connsiteX660" fmla="*/ 5825099 w 5932286"/>
              <a:gd name="connsiteY660" fmla="*/ 3007771 h 6994526"/>
              <a:gd name="connsiteX661" fmla="*/ 5752285 w 5932286"/>
              <a:gd name="connsiteY661" fmla="*/ 2934958 h 6994526"/>
              <a:gd name="connsiteX662" fmla="*/ 5825099 w 5932286"/>
              <a:gd name="connsiteY662" fmla="*/ 2862144 h 6994526"/>
              <a:gd name="connsiteX663" fmla="*/ 5897912 w 5932286"/>
              <a:gd name="connsiteY663" fmla="*/ 2934958 h 6994526"/>
              <a:gd name="connsiteX664" fmla="*/ 5825099 w 5932286"/>
              <a:gd name="connsiteY664" fmla="*/ 3007771 h 6994526"/>
              <a:gd name="connsiteX665" fmla="*/ 4348053 w 5932286"/>
              <a:gd name="connsiteY665" fmla="*/ 3059068 h 6994526"/>
              <a:gd name="connsiteX666" fmla="*/ 4219472 w 5932286"/>
              <a:gd name="connsiteY666" fmla="*/ 2931189 h 6994526"/>
              <a:gd name="connsiteX667" fmla="*/ 4347351 w 5932286"/>
              <a:gd name="connsiteY667" fmla="*/ 2802609 h 6994526"/>
              <a:gd name="connsiteX668" fmla="*/ 4475931 w 5932286"/>
              <a:gd name="connsiteY668" fmla="*/ 2930488 h 6994526"/>
              <a:gd name="connsiteX669" fmla="*/ 4348053 w 5932286"/>
              <a:gd name="connsiteY669" fmla="*/ 3059068 h 6994526"/>
              <a:gd name="connsiteX670" fmla="*/ 2859391 w 5932286"/>
              <a:gd name="connsiteY670" fmla="*/ 3059363 h 6994526"/>
              <a:gd name="connsiteX671" fmla="*/ 2727985 w 5932286"/>
              <a:gd name="connsiteY671" fmla="*/ 2929368 h 6994526"/>
              <a:gd name="connsiteX672" fmla="*/ 2857981 w 5932286"/>
              <a:gd name="connsiteY672" fmla="*/ 2797962 h 6994526"/>
              <a:gd name="connsiteX673" fmla="*/ 2989386 w 5932286"/>
              <a:gd name="connsiteY673" fmla="*/ 2927959 h 6994526"/>
              <a:gd name="connsiteX674" fmla="*/ 2859391 w 5932286"/>
              <a:gd name="connsiteY674" fmla="*/ 3059363 h 6994526"/>
              <a:gd name="connsiteX675" fmla="*/ 1743677 w 5932286"/>
              <a:gd name="connsiteY675" fmla="*/ 3083119 h 6994526"/>
              <a:gd name="connsiteX676" fmla="*/ 1663481 w 5932286"/>
              <a:gd name="connsiteY676" fmla="*/ 3002945 h 6994526"/>
              <a:gd name="connsiteX677" fmla="*/ 1743677 w 5932286"/>
              <a:gd name="connsiteY677" fmla="*/ 2942863 h 6994526"/>
              <a:gd name="connsiteX678" fmla="*/ 1823871 w 5932286"/>
              <a:gd name="connsiteY678" fmla="*/ 3002945 h 6994526"/>
              <a:gd name="connsiteX679" fmla="*/ 1743677 w 5932286"/>
              <a:gd name="connsiteY679" fmla="*/ 3083119 h 6994526"/>
              <a:gd name="connsiteX680" fmla="*/ 4728714 w 5932286"/>
              <a:gd name="connsiteY680" fmla="*/ 3133603 h 6994526"/>
              <a:gd name="connsiteX681" fmla="*/ 4607197 w 5932286"/>
              <a:gd name="connsiteY681" fmla="*/ 3013499 h 6994526"/>
              <a:gd name="connsiteX682" fmla="*/ 4727297 w 5932286"/>
              <a:gd name="connsiteY682" fmla="*/ 2892688 h 6994526"/>
              <a:gd name="connsiteX683" fmla="*/ 4848814 w 5932286"/>
              <a:gd name="connsiteY683" fmla="*/ 3012792 h 6994526"/>
              <a:gd name="connsiteX684" fmla="*/ 4728714 w 5932286"/>
              <a:gd name="connsiteY684" fmla="*/ 3133603 h 6994526"/>
              <a:gd name="connsiteX685" fmla="*/ 2143589 w 5932286"/>
              <a:gd name="connsiteY685" fmla="*/ 3163085 h 6994526"/>
              <a:gd name="connsiteX686" fmla="*/ 2070773 w 5932286"/>
              <a:gd name="connsiteY686" fmla="*/ 3090277 h 6994526"/>
              <a:gd name="connsiteX687" fmla="*/ 2141377 w 5932286"/>
              <a:gd name="connsiteY687" fmla="*/ 3015258 h 6994526"/>
              <a:gd name="connsiteX688" fmla="*/ 2216405 w 5932286"/>
              <a:gd name="connsiteY688" fmla="*/ 3088066 h 6994526"/>
              <a:gd name="connsiteX689" fmla="*/ 2143589 w 5932286"/>
              <a:gd name="connsiteY689" fmla="*/ 3163085 h 6994526"/>
              <a:gd name="connsiteX690" fmla="*/ 3248651 w 5932286"/>
              <a:gd name="connsiteY690" fmla="*/ 3171303 h 6994526"/>
              <a:gd name="connsiteX691" fmla="*/ 3086161 w 5932286"/>
              <a:gd name="connsiteY691" fmla="*/ 3010224 h 6994526"/>
              <a:gd name="connsiteX692" fmla="*/ 3247240 w 5932286"/>
              <a:gd name="connsiteY692" fmla="*/ 2847728 h 6994526"/>
              <a:gd name="connsiteX693" fmla="*/ 3409736 w 5932286"/>
              <a:gd name="connsiteY693" fmla="*/ 3008808 h 6994526"/>
              <a:gd name="connsiteX694" fmla="*/ 3248651 w 5932286"/>
              <a:gd name="connsiteY694" fmla="*/ 3171303 h 6994526"/>
              <a:gd name="connsiteX695" fmla="*/ 5105157 w 5932286"/>
              <a:gd name="connsiteY695" fmla="*/ 3190027 h 6994526"/>
              <a:gd name="connsiteX696" fmla="*/ 5011906 w 5932286"/>
              <a:gd name="connsiteY696" fmla="*/ 3096777 h 6994526"/>
              <a:gd name="connsiteX697" fmla="*/ 5104456 w 5932286"/>
              <a:gd name="connsiteY697" fmla="*/ 3002818 h 6994526"/>
              <a:gd name="connsiteX698" fmla="*/ 5198415 w 5932286"/>
              <a:gd name="connsiteY698" fmla="*/ 3096069 h 6994526"/>
              <a:gd name="connsiteX699" fmla="*/ 5105157 w 5932286"/>
              <a:gd name="connsiteY699" fmla="*/ 3190027 h 6994526"/>
              <a:gd name="connsiteX700" fmla="*/ 2531890 w 5932286"/>
              <a:gd name="connsiteY700" fmla="*/ 3242602 h 6994526"/>
              <a:gd name="connsiteX701" fmla="*/ 2459071 w 5932286"/>
              <a:gd name="connsiteY701" fmla="*/ 3169791 h 6994526"/>
              <a:gd name="connsiteX702" fmla="*/ 2531890 w 5932286"/>
              <a:gd name="connsiteY702" fmla="*/ 3096972 h 6994526"/>
              <a:gd name="connsiteX703" fmla="*/ 2604699 w 5932286"/>
              <a:gd name="connsiteY703" fmla="*/ 3169791 h 6994526"/>
              <a:gd name="connsiteX704" fmla="*/ 2531890 w 5932286"/>
              <a:gd name="connsiteY704" fmla="*/ 3242602 h 6994526"/>
              <a:gd name="connsiteX705" fmla="*/ 3631618 w 5932286"/>
              <a:gd name="connsiteY705" fmla="*/ 3248662 h 6994526"/>
              <a:gd name="connsiteX706" fmla="*/ 3474070 w 5932286"/>
              <a:gd name="connsiteY706" fmla="*/ 3092525 h 6994526"/>
              <a:gd name="connsiteX707" fmla="*/ 3630208 w 5932286"/>
              <a:gd name="connsiteY707" fmla="*/ 2934977 h 6994526"/>
              <a:gd name="connsiteX708" fmla="*/ 3787756 w 5932286"/>
              <a:gd name="connsiteY708" fmla="*/ 3091116 h 6994526"/>
              <a:gd name="connsiteX709" fmla="*/ 3631618 w 5932286"/>
              <a:gd name="connsiteY709" fmla="*/ 3248662 h 6994526"/>
              <a:gd name="connsiteX710" fmla="*/ 5479755 w 5932286"/>
              <a:gd name="connsiteY710" fmla="*/ 3252835 h 6994526"/>
              <a:gd name="connsiteX711" fmla="*/ 5406364 w 5932286"/>
              <a:gd name="connsiteY711" fmla="*/ 3179450 h 6994526"/>
              <a:gd name="connsiteX712" fmla="*/ 5478567 w 5932286"/>
              <a:gd name="connsiteY712" fmla="*/ 3106064 h 6994526"/>
              <a:gd name="connsiteX713" fmla="*/ 5551956 w 5932286"/>
              <a:gd name="connsiteY713" fmla="*/ 3179450 h 6994526"/>
              <a:gd name="connsiteX714" fmla="*/ 5479755 w 5932286"/>
              <a:gd name="connsiteY714" fmla="*/ 3252835 h 6994526"/>
              <a:gd name="connsiteX715" fmla="*/ 4009150 w 5932286"/>
              <a:gd name="connsiteY715" fmla="*/ 3317439 h 6994526"/>
              <a:gd name="connsiteX716" fmla="*/ 3865733 w 5932286"/>
              <a:gd name="connsiteY716" fmla="*/ 3174722 h 6994526"/>
              <a:gd name="connsiteX717" fmla="*/ 4008449 w 5932286"/>
              <a:gd name="connsiteY717" fmla="*/ 3031305 h 6994526"/>
              <a:gd name="connsiteX718" fmla="*/ 4151867 w 5932286"/>
              <a:gd name="connsiteY718" fmla="*/ 3174021 h 6994526"/>
              <a:gd name="connsiteX719" fmla="*/ 4009150 w 5932286"/>
              <a:gd name="connsiteY719" fmla="*/ 3317439 h 6994526"/>
              <a:gd name="connsiteX720" fmla="*/ 5851244 w 5932286"/>
              <a:gd name="connsiteY720" fmla="*/ 3335538 h 6994526"/>
              <a:gd name="connsiteX721" fmla="*/ 5778430 w 5932286"/>
              <a:gd name="connsiteY721" fmla="*/ 3262725 h 6994526"/>
              <a:gd name="connsiteX722" fmla="*/ 5851244 w 5932286"/>
              <a:gd name="connsiteY722" fmla="*/ 3189911 h 6994526"/>
              <a:gd name="connsiteX723" fmla="*/ 5924057 w 5932286"/>
              <a:gd name="connsiteY723" fmla="*/ 3262725 h 6994526"/>
              <a:gd name="connsiteX724" fmla="*/ 5851244 w 5932286"/>
              <a:gd name="connsiteY724" fmla="*/ 3335538 h 6994526"/>
              <a:gd name="connsiteX725" fmla="*/ 2912537 w 5932286"/>
              <a:gd name="connsiteY725" fmla="*/ 3373262 h 6994526"/>
              <a:gd name="connsiteX726" fmla="*/ 2791726 w 5932286"/>
              <a:gd name="connsiteY726" fmla="*/ 3253156 h 6994526"/>
              <a:gd name="connsiteX727" fmla="*/ 2911127 w 5932286"/>
              <a:gd name="connsiteY727" fmla="*/ 3132342 h 6994526"/>
              <a:gd name="connsiteX728" fmla="*/ 3032639 w 5932286"/>
              <a:gd name="connsiteY728" fmla="*/ 3252447 h 6994526"/>
              <a:gd name="connsiteX729" fmla="*/ 2912537 w 5932286"/>
              <a:gd name="connsiteY729" fmla="*/ 3373262 h 6994526"/>
              <a:gd name="connsiteX730" fmla="*/ 4383877 w 5932286"/>
              <a:gd name="connsiteY730" fmla="*/ 3392229 h 6994526"/>
              <a:gd name="connsiteX731" fmla="*/ 4248936 w 5932286"/>
              <a:gd name="connsiteY731" fmla="*/ 3257999 h 6994526"/>
              <a:gd name="connsiteX732" fmla="*/ 4383170 w 5932286"/>
              <a:gd name="connsiteY732" fmla="*/ 3123058 h 6994526"/>
              <a:gd name="connsiteX733" fmla="*/ 4518118 w 5932286"/>
              <a:gd name="connsiteY733" fmla="*/ 3257297 h 6994526"/>
              <a:gd name="connsiteX734" fmla="*/ 4383877 w 5932286"/>
              <a:gd name="connsiteY734" fmla="*/ 3392229 h 6994526"/>
              <a:gd name="connsiteX735" fmla="*/ 1828141 w 5932286"/>
              <a:gd name="connsiteY735" fmla="*/ 3416801 h 6994526"/>
              <a:gd name="connsiteX736" fmla="*/ 1742375 w 5932286"/>
              <a:gd name="connsiteY736" fmla="*/ 3330997 h 6994526"/>
              <a:gd name="connsiteX737" fmla="*/ 1785258 w 5932286"/>
              <a:gd name="connsiteY737" fmla="*/ 3245603 h 6994526"/>
              <a:gd name="connsiteX738" fmla="*/ 1870599 w 5932286"/>
              <a:gd name="connsiteY738" fmla="*/ 3330997 h 6994526"/>
              <a:gd name="connsiteX739" fmla="*/ 1828141 w 5932286"/>
              <a:gd name="connsiteY739" fmla="*/ 3416801 h 6994526"/>
              <a:gd name="connsiteX740" fmla="*/ 4755713 w 5932286"/>
              <a:gd name="connsiteY740" fmla="*/ 3469142 h 6994526"/>
              <a:gd name="connsiteX741" fmla="*/ 4627133 w 5932286"/>
              <a:gd name="connsiteY741" fmla="*/ 3341275 h 6994526"/>
              <a:gd name="connsiteX742" fmla="*/ 4755012 w 5932286"/>
              <a:gd name="connsiteY742" fmla="*/ 3212695 h 6994526"/>
              <a:gd name="connsiteX743" fmla="*/ 4883593 w 5932286"/>
              <a:gd name="connsiteY743" fmla="*/ 3340574 h 6994526"/>
              <a:gd name="connsiteX744" fmla="*/ 4755713 w 5932286"/>
              <a:gd name="connsiteY744" fmla="*/ 3469142 h 6994526"/>
              <a:gd name="connsiteX745" fmla="*/ 2191543 w 5932286"/>
              <a:gd name="connsiteY745" fmla="*/ 3486615 h 6994526"/>
              <a:gd name="connsiteX746" fmla="*/ 2118711 w 5932286"/>
              <a:gd name="connsiteY746" fmla="*/ 3413786 h 6994526"/>
              <a:gd name="connsiteX747" fmla="*/ 2191543 w 5932286"/>
              <a:gd name="connsiteY747" fmla="*/ 3340969 h 6994526"/>
              <a:gd name="connsiteX748" fmla="*/ 2264373 w 5932286"/>
              <a:gd name="connsiteY748" fmla="*/ 3413786 h 6994526"/>
              <a:gd name="connsiteX749" fmla="*/ 2191543 w 5932286"/>
              <a:gd name="connsiteY749" fmla="*/ 3486615 h 6994526"/>
              <a:gd name="connsiteX750" fmla="*/ 3287758 w 5932286"/>
              <a:gd name="connsiteY750" fmla="*/ 3499834 h 6994526"/>
              <a:gd name="connsiteX751" fmla="*/ 3123150 w 5932286"/>
              <a:gd name="connsiteY751" fmla="*/ 3335945 h 6994526"/>
              <a:gd name="connsiteX752" fmla="*/ 3287049 w 5932286"/>
              <a:gd name="connsiteY752" fmla="*/ 3171337 h 6994526"/>
              <a:gd name="connsiteX753" fmla="*/ 3451657 w 5932286"/>
              <a:gd name="connsiteY753" fmla="*/ 3335238 h 6994526"/>
              <a:gd name="connsiteX754" fmla="*/ 3287758 w 5932286"/>
              <a:gd name="connsiteY754" fmla="*/ 3499834 h 6994526"/>
              <a:gd name="connsiteX755" fmla="*/ 5125121 w 5932286"/>
              <a:gd name="connsiteY755" fmla="*/ 3526285 h 6994526"/>
              <a:gd name="connsiteX756" fmla="*/ 5022681 w 5932286"/>
              <a:gd name="connsiteY756" fmla="*/ 3424547 h 6994526"/>
              <a:gd name="connsiteX757" fmla="*/ 5124413 w 5932286"/>
              <a:gd name="connsiteY757" fmla="*/ 3322113 h 6994526"/>
              <a:gd name="connsiteX758" fmla="*/ 5226859 w 5932286"/>
              <a:gd name="connsiteY758" fmla="*/ 3423846 h 6994526"/>
              <a:gd name="connsiteX759" fmla="*/ 5125121 w 5932286"/>
              <a:gd name="connsiteY759" fmla="*/ 3526285 h 6994526"/>
              <a:gd name="connsiteX760" fmla="*/ 2563137 w 5932286"/>
              <a:gd name="connsiteY760" fmla="*/ 3569844 h 6994526"/>
              <a:gd name="connsiteX761" fmla="*/ 2489304 w 5932286"/>
              <a:gd name="connsiteY761" fmla="*/ 3497047 h 6994526"/>
              <a:gd name="connsiteX762" fmla="*/ 2562124 w 5932286"/>
              <a:gd name="connsiteY762" fmla="*/ 3424229 h 6994526"/>
              <a:gd name="connsiteX763" fmla="*/ 2635946 w 5932286"/>
              <a:gd name="connsiteY763" fmla="*/ 3497047 h 6994526"/>
              <a:gd name="connsiteX764" fmla="*/ 2563137 w 5932286"/>
              <a:gd name="connsiteY764" fmla="*/ 3569844 h 6994526"/>
              <a:gd name="connsiteX765" fmla="*/ 5492972 w 5932286"/>
              <a:gd name="connsiteY765" fmla="*/ 3580517 h 6994526"/>
              <a:gd name="connsiteX766" fmla="*/ 5420153 w 5932286"/>
              <a:gd name="connsiteY766" fmla="*/ 3507717 h 6994526"/>
              <a:gd name="connsiteX767" fmla="*/ 5492972 w 5932286"/>
              <a:gd name="connsiteY767" fmla="*/ 3434897 h 6994526"/>
              <a:gd name="connsiteX768" fmla="*/ 5565780 w 5932286"/>
              <a:gd name="connsiteY768" fmla="*/ 3507717 h 6994526"/>
              <a:gd name="connsiteX769" fmla="*/ 5492972 w 5932286"/>
              <a:gd name="connsiteY769" fmla="*/ 3580517 h 6994526"/>
              <a:gd name="connsiteX770" fmla="*/ 4028026 w 5932286"/>
              <a:gd name="connsiteY770" fmla="*/ 3652007 h 6994526"/>
              <a:gd name="connsiteX771" fmla="*/ 3878251 w 5932286"/>
              <a:gd name="connsiteY771" fmla="*/ 3502969 h 6994526"/>
              <a:gd name="connsiteX772" fmla="*/ 4027319 w 5932286"/>
              <a:gd name="connsiteY772" fmla="*/ 3353209 h 6994526"/>
              <a:gd name="connsiteX773" fmla="*/ 4177100 w 5932286"/>
              <a:gd name="connsiteY773" fmla="*/ 3502260 h 6994526"/>
              <a:gd name="connsiteX774" fmla="*/ 4028026 w 5932286"/>
              <a:gd name="connsiteY774" fmla="*/ 3652007 h 6994526"/>
              <a:gd name="connsiteX775" fmla="*/ 5859473 w 5932286"/>
              <a:gd name="connsiteY775" fmla="*/ 3664284 h 6994526"/>
              <a:gd name="connsiteX776" fmla="*/ 5786659 w 5932286"/>
              <a:gd name="connsiteY776" fmla="*/ 3591471 h 6994526"/>
              <a:gd name="connsiteX777" fmla="*/ 5859473 w 5932286"/>
              <a:gd name="connsiteY777" fmla="*/ 3518657 h 6994526"/>
              <a:gd name="connsiteX778" fmla="*/ 5932286 w 5932286"/>
              <a:gd name="connsiteY778" fmla="*/ 3591471 h 6994526"/>
              <a:gd name="connsiteX779" fmla="*/ 5859473 w 5932286"/>
              <a:gd name="connsiteY779" fmla="*/ 3664284 h 6994526"/>
              <a:gd name="connsiteX780" fmla="*/ 2929967 w 5932286"/>
              <a:gd name="connsiteY780" fmla="*/ 3697434 h 6994526"/>
              <a:gd name="connsiteX781" fmla="*/ 2812692 w 5932286"/>
              <a:gd name="connsiteY781" fmla="*/ 3580873 h 6994526"/>
              <a:gd name="connsiteX782" fmla="*/ 2929259 w 5932286"/>
              <a:gd name="connsiteY782" fmla="*/ 3463632 h 6994526"/>
              <a:gd name="connsiteX783" fmla="*/ 3046541 w 5932286"/>
              <a:gd name="connsiteY783" fmla="*/ 3580164 h 6994526"/>
              <a:gd name="connsiteX784" fmla="*/ 2929967 w 5932286"/>
              <a:gd name="connsiteY784" fmla="*/ 3697434 h 6994526"/>
              <a:gd name="connsiteX785" fmla="*/ 4395129 w 5932286"/>
              <a:gd name="connsiteY785" fmla="*/ 3725385 h 6994526"/>
              <a:gd name="connsiteX786" fmla="*/ 4255238 w 5932286"/>
              <a:gd name="connsiteY786" fmla="*/ 3586212 h 6994526"/>
              <a:gd name="connsiteX787" fmla="*/ 4393712 w 5932286"/>
              <a:gd name="connsiteY787" fmla="*/ 3446354 h 6994526"/>
              <a:gd name="connsiteX788" fmla="*/ 4533596 w 5932286"/>
              <a:gd name="connsiteY788" fmla="*/ 3585503 h 6994526"/>
              <a:gd name="connsiteX789" fmla="*/ 4395129 w 5932286"/>
              <a:gd name="connsiteY789" fmla="*/ 3725385 h 6994526"/>
              <a:gd name="connsiteX790" fmla="*/ 4760666 w 5932286"/>
              <a:gd name="connsiteY790" fmla="*/ 3800894 h 6994526"/>
              <a:gd name="connsiteX791" fmla="*/ 4627843 w 5932286"/>
              <a:gd name="connsiteY791" fmla="*/ 3669497 h 6994526"/>
              <a:gd name="connsiteX792" fmla="*/ 4759959 w 5932286"/>
              <a:gd name="connsiteY792" fmla="*/ 3537409 h 6994526"/>
              <a:gd name="connsiteX793" fmla="*/ 4892075 w 5932286"/>
              <a:gd name="connsiteY793" fmla="*/ 3668791 h 6994526"/>
              <a:gd name="connsiteX794" fmla="*/ 4760666 w 5932286"/>
              <a:gd name="connsiteY794" fmla="*/ 3800894 h 6994526"/>
              <a:gd name="connsiteX795" fmla="*/ 2190569 w 5932286"/>
              <a:gd name="connsiteY795" fmla="*/ 3814783 h 6994526"/>
              <a:gd name="connsiteX796" fmla="*/ 2117735 w 5932286"/>
              <a:gd name="connsiteY796" fmla="*/ 3742003 h 6994526"/>
              <a:gd name="connsiteX797" fmla="*/ 2190569 w 5932286"/>
              <a:gd name="connsiteY797" fmla="*/ 3669172 h 6994526"/>
              <a:gd name="connsiteX798" fmla="*/ 2263362 w 5932286"/>
              <a:gd name="connsiteY798" fmla="*/ 3742003 h 6994526"/>
              <a:gd name="connsiteX799" fmla="*/ 2190569 w 5932286"/>
              <a:gd name="connsiteY799" fmla="*/ 3814783 h 6994526"/>
              <a:gd name="connsiteX800" fmla="*/ 3295022 w 5932286"/>
              <a:gd name="connsiteY800" fmla="*/ 3828033 h 6994526"/>
              <a:gd name="connsiteX801" fmla="*/ 3130408 w 5932286"/>
              <a:gd name="connsiteY801" fmla="*/ 3664146 h 6994526"/>
              <a:gd name="connsiteX802" fmla="*/ 3293607 w 5932286"/>
              <a:gd name="connsiteY802" fmla="*/ 3499577 h 6994526"/>
              <a:gd name="connsiteX803" fmla="*/ 3458929 w 5932286"/>
              <a:gd name="connsiteY803" fmla="*/ 3663442 h 6994526"/>
              <a:gd name="connsiteX804" fmla="*/ 3295022 w 5932286"/>
              <a:gd name="connsiteY804" fmla="*/ 3828033 h 6994526"/>
              <a:gd name="connsiteX805" fmla="*/ 5124152 w 5932286"/>
              <a:gd name="connsiteY805" fmla="*/ 3854992 h 6994526"/>
              <a:gd name="connsiteX806" fmla="*/ 5021712 w 5932286"/>
              <a:gd name="connsiteY806" fmla="*/ 3753265 h 6994526"/>
              <a:gd name="connsiteX807" fmla="*/ 5123451 w 5932286"/>
              <a:gd name="connsiteY807" fmla="*/ 3650833 h 6994526"/>
              <a:gd name="connsiteX808" fmla="*/ 5225890 w 5932286"/>
              <a:gd name="connsiteY808" fmla="*/ 3752562 h 6994526"/>
              <a:gd name="connsiteX809" fmla="*/ 5124152 w 5932286"/>
              <a:gd name="connsiteY809" fmla="*/ 3854992 h 6994526"/>
              <a:gd name="connsiteX810" fmla="*/ 2551031 w 5932286"/>
              <a:gd name="connsiteY810" fmla="*/ 3898047 h 6994526"/>
              <a:gd name="connsiteX811" fmla="*/ 2477198 w 5932286"/>
              <a:gd name="connsiteY811" fmla="*/ 3825241 h 6994526"/>
              <a:gd name="connsiteX812" fmla="*/ 2551031 w 5932286"/>
              <a:gd name="connsiteY812" fmla="*/ 3752438 h 6994526"/>
              <a:gd name="connsiteX813" fmla="*/ 2623840 w 5932286"/>
              <a:gd name="connsiteY813" fmla="*/ 3825241 h 6994526"/>
              <a:gd name="connsiteX814" fmla="*/ 2551031 w 5932286"/>
              <a:gd name="connsiteY814" fmla="*/ 3898047 h 6994526"/>
              <a:gd name="connsiteX815" fmla="*/ 5486679 w 5932286"/>
              <a:gd name="connsiteY815" fmla="*/ 3909244 h 6994526"/>
              <a:gd name="connsiteX816" fmla="*/ 5413859 w 5932286"/>
              <a:gd name="connsiteY816" fmla="*/ 3836436 h 6994526"/>
              <a:gd name="connsiteX817" fmla="*/ 5486679 w 5932286"/>
              <a:gd name="connsiteY817" fmla="*/ 3763621 h 6994526"/>
              <a:gd name="connsiteX818" fmla="*/ 5559487 w 5932286"/>
              <a:gd name="connsiteY818" fmla="*/ 3836436 h 6994526"/>
              <a:gd name="connsiteX819" fmla="*/ 5486679 w 5932286"/>
              <a:gd name="connsiteY819" fmla="*/ 3909244 h 6994526"/>
              <a:gd name="connsiteX820" fmla="*/ 4020280 w 5932286"/>
              <a:gd name="connsiteY820" fmla="*/ 3980226 h 6994526"/>
              <a:gd name="connsiteX821" fmla="*/ 3870505 w 5932286"/>
              <a:gd name="connsiteY821" fmla="*/ 3831156 h 6994526"/>
              <a:gd name="connsiteX822" fmla="*/ 4019570 w 5932286"/>
              <a:gd name="connsiteY822" fmla="*/ 3681406 h 6994526"/>
              <a:gd name="connsiteX823" fmla="*/ 4169346 w 5932286"/>
              <a:gd name="connsiteY823" fmla="*/ 3830452 h 6994526"/>
              <a:gd name="connsiteX824" fmla="*/ 4020280 w 5932286"/>
              <a:gd name="connsiteY824" fmla="*/ 3980226 h 6994526"/>
              <a:gd name="connsiteX825" fmla="*/ 5848846 w 5932286"/>
              <a:gd name="connsiteY825" fmla="*/ 3992529 h 6994526"/>
              <a:gd name="connsiteX826" fmla="*/ 5776006 w 5932286"/>
              <a:gd name="connsiteY826" fmla="*/ 3919742 h 6994526"/>
              <a:gd name="connsiteX827" fmla="*/ 5848846 w 5932286"/>
              <a:gd name="connsiteY827" fmla="*/ 3846903 h 6994526"/>
              <a:gd name="connsiteX828" fmla="*/ 5921633 w 5932286"/>
              <a:gd name="connsiteY828" fmla="*/ 3919742 h 6994526"/>
              <a:gd name="connsiteX829" fmla="*/ 5848846 w 5932286"/>
              <a:gd name="connsiteY829" fmla="*/ 3992529 h 6994526"/>
              <a:gd name="connsiteX830" fmla="*/ 2910711 w 5932286"/>
              <a:gd name="connsiteY830" fmla="*/ 4029206 h 6994526"/>
              <a:gd name="connsiteX831" fmla="*/ 2789194 w 5932286"/>
              <a:gd name="connsiteY831" fmla="*/ 3909103 h 6994526"/>
              <a:gd name="connsiteX832" fmla="*/ 2910002 w 5932286"/>
              <a:gd name="connsiteY832" fmla="*/ 3788302 h 6994526"/>
              <a:gd name="connsiteX833" fmla="*/ 3030811 w 5932286"/>
              <a:gd name="connsiteY833" fmla="*/ 3908395 h 6994526"/>
              <a:gd name="connsiteX834" fmla="*/ 2910711 w 5932286"/>
              <a:gd name="connsiteY834" fmla="*/ 4029206 h 6994526"/>
              <a:gd name="connsiteX835" fmla="*/ 1783865 w 5932286"/>
              <a:gd name="connsiteY835" fmla="*/ 4056998 h 6994526"/>
              <a:gd name="connsiteX836" fmla="*/ 1711051 w 5932286"/>
              <a:gd name="connsiteY836" fmla="*/ 3983854 h 6994526"/>
              <a:gd name="connsiteX837" fmla="*/ 1783865 w 5932286"/>
              <a:gd name="connsiteY837" fmla="*/ 3911070 h 6994526"/>
              <a:gd name="connsiteX838" fmla="*/ 1857041 w 5932286"/>
              <a:gd name="connsiteY838" fmla="*/ 3983854 h 6994526"/>
              <a:gd name="connsiteX839" fmla="*/ 1783865 w 5932286"/>
              <a:gd name="connsiteY839" fmla="*/ 4056998 h 6994526"/>
              <a:gd name="connsiteX840" fmla="*/ 4381567 w 5932286"/>
              <a:gd name="connsiteY840" fmla="*/ 4059873 h 6994526"/>
              <a:gd name="connsiteX841" fmla="*/ 4235325 w 5932286"/>
              <a:gd name="connsiteY841" fmla="*/ 3915045 h 6994526"/>
              <a:gd name="connsiteX842" fmla="*/ 4380157 w 5932286"/>
              <a:gd name="connsiteY842" fmla="*/ 3768805 h 6994526"/>
              <a:gd name="connsiteX843" fmla="*/ 4526399 w 5932286"/>
              <a:gd name="connsiteY843" fmla="*/ 3913637 h 6994526"/>
              <a:gd name="connsiteX844" fmla="*/ 4381567 w 5932286"/>
              <a:gd name="connsiteY844" fmla="*/ 4059873 h 6994526"/>
              <a:gd name="connsiteX845" fmla="*/ 4742160 w 5932286"/>
              <a:gd name="connsiteY845" fmla="*/ 4131976 h 6994526"/>
              <a:gd name="connsiteX846" fmla="*/ 4607219 w 5932286"/>
              <a:gd name="connsiteY846" fmla="*/ 3997732 h 6994526"/>
              <a:gd name="connsiteX847" fmla="*/ 4741451 w 5932286"/>
              <a:gd name="connsiteY847" fmla="*/ 3862794 h 6994526"/>
              <a:gd name="connsiteX848" fmla="*/ 4876399 w 5932286"/>
              <a:gd name="connsiteY848" fmla="*/ 3997026 h 6994526"/>
              <a:gd name="connsiteX849" fmla="*/ 4742160 w 5932286"/>
              <a:gd name="connsiteY849" fmla="*/ 4131976 h 6994526"/>
              <a:gd name="connsiteX850" fmla="*/ 2142321 w 5932286"/>
              <a:gd name="connsiteY850" fmla="*/ 4139916 h 6994526"/>
              <a:gd name="connsiteX851" fmla="*/ 2067635 w 5932286"/>
              <a:gd name="connsiteY851" fmla="*/ 4068935 h 6994526"/>
              <a:gd name="connsiteX852" fmla="*/ 2138577 w 5932286"/>
              <a:gd name="connsiteY852" fmla="*/ 3994249 h 6994526"/>
              <a:gd name="connsiteX853" fmla="*/ 2213299 w 5932286"/>
              <a:gd name="connsiteY853" fmla="*/ 4065194 h 6994526"/>
              <a:gd name="connsiteX854" fmla="*/ 2142321 w 5932286"/>
              <a:gd name="connsiteY854" fmla="*/ 4139916 h 6994526"/>
              <a:gd name="connsiteX855" fmla="*/ 5101884 w 5932286"/>
              <a:gd name="connsiteY855" fmla="*/ 4180058 h 6994526"/>
              <a:gd name="connsiteX856" fmla="*/ 5001564 w 5932286"/>
              <a:gd name="connsiteY856" fmla="*/ 4080433 h 6994526"/>
              <a:gd name="connsiteX857" fmla="*/ 5101176 w 5932286"/>
              <a:gd name="connsiteY857" fmla="*/ 3980819 h 6994526"/>
              <a:gd name="connsiteX858" fmla="*/ 5201495 w 5932286"/>
              <a:gd name="connsiteY858" fmla="*/ 4079734 h 6994526"/>
              <a:gd name="connsiteX859" fmla="*/ 5101884 w 5932286"/>
              <a:gd name="connsiteY859" fmla="*/ 4180058 h 6994526"/>
              <a:gd name="connsiteX860" fmla="*/ 2497738 w 5932286"/>
              <a:gd name="connsiteY860" fmla="*/ 4222683 h 6994526"/>
              <a:gd name="connsiteX861" fmla="*/ 2424452 w 5932286"/>
              <a:gd name="connsiteY861" fmla="*/ 4150337 h 6994526"/>
              <a:gd name="connsiteX862" fmla="*/ 2496805 w 5932286"/>
              <a:gd name="connsiteY862" fmla="*/ 4077044 h 6994526"/>
              <a:gd name="connsiteX863" fmla="*/ 2570091 w 5932286"/>
              <a:gd name="connsiteY863" fmla="*/ 4149395 h 6994526"/>
              <a:gd name="connsiteX864" fmla="*/ 2497738 w 5932286"/>
              <a:gd name="connsiteY864" fmla="*/ 4222683 h 6994526"/>
              <a:gd name="connsiteX865" fmla="*/ 5461432 w 5932286"/>
              <a:gd name="connsiteY865" fmla="*/ 4236788 h 6994526"/>
              <a:gd name="connsiteX866" fmla="*/ 5387939 w 5932286"/>
              <a:gd name="connsiteY866" fmla="*/ 4164637 h 6994526"/>
              <a:gd name="connsiteX867" fmla="*/ 5460092 w 5932286"/>
              <a:gd name="connsiteY867" fmla="*/ 4091148 h 6994526"/>
              <a:gd name="connsiteX868" fmla="*/ 5533586 w 5932286"/>
              <a:gd name="connsiteY868" fmla="*/ 4163297 h 6994526"/>
              <a:gd name="connsiteX869" fmla="*/ 5461432 w 5932286"/>
              <a:gd name="connsiteY869" fmla="*/ 4236788 h 6994526"/>
              <a:gd name="connsiteX870" fmla="*/ 3985425 w 5932286"/>
              <a:gd name="connsiteY870" fmla="*/ 4311155 h 6994526"/>
              <a:gd name="connsiteX871" fmla="*/ 3832112 w 5932286"/>
              <a:gd name="connsiteY871" fmla="*/ 4158562 h 6994526"/>
              <a:gd name="connsiteX872" fmla="*/ 3984016 w 5932286"/>
              <a:gd name="connsiteY872" fmla="*/ 4004543 h 6994526"/>
              <a:gd name="connsiteX873" fmla="*/ 4138029 w 5932286"/>
              <a:gd name="connsiteY873" fmla="*/ 4157148 h 6994526"/>
              <a:gd name="connsiteX874" fmla="*/ 3985425 w 5932286"/>
              <a:gd name="connsiteY874" fmla="*/ 4311155 h 6994526"/>
              <a:gd name="connsiteX875" fmla="*/ 5820258 w 5932286"/>
              <a:gd name="connsiteY875" fmla="*/ 4319815 h 6994526"/>
              <a:gd name="connsiteX876" fmla="*/ 5747444 w 5932286"/>
              <a:gd name="connsiteY876" fmla="*/ 4247003 h 6994526"/>
              <a:gd name="connsiteX877" fmla="*/ 5820258 w 5932286"/>
              <a:gd name="connsiteY877" fmla="*/ 4174188 h 6994526"/>
              <a:gd name="connsiteX878" fmla="*/ 5893071 w 5932286"/>
              <a:gd name="connsiteY878" fmla="*/ 4247003 h 6994526"/>
              <a:gd name="connsiteX879" fmla="*/ 5820258 w 5932286"/>
              <a:gd name="connsiteY879" fmla="*/ 4319815 h 6994526"/>
              <a:gd name="connsiteX880" fmla="*/ 2853847 w 5932286"/>
              <a:gd name="connsiteY880" fmla="*/ 4363108 h 6994526"/>
              <a:gd name="connsiteX881" fmla="*/ 2723143 w 5932286"/>
              <a:gd name="connsiteY881" fmla="*/ 4233115 h 6994526"/>
              <a:gd name="connsiteX882" fmla="*/ 2853139 w 5932286"/>
              <a:gd name="connsiteY882" fmla="*/ 4101708 h 6994526"/>
              <a:gd name="connsiteX883" fmla="*/ 2984545 w 5932286"/>
              <a:gd name="connsiteY883" fmla="*/ 4231704 h 6994526"/>
              <a:gd name="connsiteX884" fmla="*/ 2853847 w 5932286"/>
              <a:gd name="connsiteY884" fmla="*/ 4363108 h 6994526"/>
              <a:gd name="connsiteX885" fmla="*/ 4343810 w 5932286"/>
              <a:gd name="connsiteY885" fmla="*/ 4391141 h 6994526"/>
              <a:gd name="connsiteX886" fmla="*/ 4192625 w 5932286"/>
              <a:gd name="connsiteY886" fmla="*/ 4241360 h 6994526"/>
              <a:gd name="connsiteX887" fmla="*/ 4342400 w 5932286"/>
              <a:gd name="connsiteY887" fmla="*/ 4090175 h 6994526"/>
              <a:gd name="connsiteX888" fmla="*/ 4493593 w 5932286"/>
              <a:gd name="connsiteY888" fmla="*/ 4239950 h 6994526"/>
              <a:gd name="connsiteX889" fmla="*/ 4343810 w 5932286"/>
              <a:gd name="connsiteY889" fmla="*/ 4391141 h 6994526"/>
              <a:gd name="connsiteX890" fmla="*/ 2050073 w 5932286"/>
              <a:gd name="connsiteY890" fmla="*/ 4460270 h 6994526"/>
              <a:gd name="connsiteX891" fmla="*/ 1969897 w 5932286"/>
              <a:gd name="connsiteY891" fmla="*/ 4380074 h 6994526"/>
              <a:gd name="connsiteX892" fmla="*/ 2050073 w 5932286"/>
              <a:gd name="connsiteY892" fmla="*/ 4299880 h 6994526"/>
              <a:gd name="connsiteX893" fmla="*/ 2110154 w 5932286"/>
              <a:gd name="connsiteY893" fmla="*/ 4380074 h 6994526"/>
              <a:gd name="connsiteX894" fmla="*/ 2050073 w 5932286"/>
              <a:gd name="connsiteY894" fmla="*/ 4460270 h 6994526"/>
              <a:gd name="connsiteX895" fmla="*/ 4700999 w 5932286"/>
              <a:gd name="connsiteY895" fmla="*/ 4461819 h 6994526"/>
              <a:gd name="connsiteX896" fmla="*/ 4562520 w 5932286"/>
              <a:gd name="connsiteY896" fmla="*/ 4324050 h 6994526"/>
              <a:gd name="connsiteX897" fmla="*/ 4700291 w 5932286"/>
              <a:gd name="connsiteY897" fmla="*/ 4185572 h 6994526"/>
              <a:gd name="connsiteX898" fmla="*/ 4838769 w 5932286"/>
              <a:gd name="connsiteY898" fmla="*/ 4323343 h 6994526"/>
              <a:gd name="connsiteX899" fmla="*/ 4700999 w 5932286"/>
              <a:gd name="connsiteY899" fmla="*/ 4461819 h 6994526"/>
              <a:gd name="connsiteX900" fmla="*/ 3211374 w 5932286"/>
              <a:gd name="connsiteY900" fmla="*/ 4484756 h 6994526"/>
              <a:gd name="connsiteX901" fmla="*/ 3041110 w 5932286"/>
              <a:gd name="connsiteY901" fmla="*/ 4315900 h 6994526"/>
              <a:gd name="connsiteX902" fmla="*/ 3144531 w 5932286"/>
              <a:gd name="connsiteY902" fmla="*/ 4159429 h 6994526"/>
              <a:gd name="connsiteX903" fmla="*/ 3207351 w 5932286"/>
              <a:gd name="connsiteY903" fmla="*/ 4146334 h 6994526"/>
              <a:gd name="connsiteX904" fmla="*/ 3204562 w 5932286"/>
              <a:gd name="connsiteY904" fmla="*/ 4145781 h 6994526"/>
              <a:gd name="connsiteX905" fmla="*/ 3102036 w 5932286"/>
              <a:gd name="connsiteY905" fmla="*/ 3992481 h 6994526"/>
              <a:gd name="connsiteX906" fmla="*/ 3268061 w 5932286"/>
              <a:gd name="connsiteY906" fmla="*/ 3825056 h 6994526"/>
              <a:gd name="connsiteX907" fmla="*/ 3435495 w 5932286"/>
              <a:gd name="connsiteY907" fmla="*/ 3991068 h 6994526"/>
              <a:gd name="connsiteX908" fmla="*/ 3334257 w 5932286"/>
              <a:gd name="connsiteY908" fmla="*/ 4145366 h 6994526"/>
              <a:gd name="connsiteX909" fmla="*/ 3271954 w 5932286"/>
              <a:gd name="connsiteY909" fmla="*/ 4158006 h 6994526"/>
              <a:gd name="connsiteX910" fmla="*/ 3276406 w 5932286"/>
              <a:gd name="connsiteY910" fmla="*/ 4158911 h 6994526"/>
              <a:gd name="connsiteX911" fmla="*/ 3380229 w 5932286"/>
              <a:gd name="connsiteY911" fmla="*/ 4314495 h 6994526"/>
              <a:gd name="connsiteX912" fmla="*/ 3211374 w 5932286"/>
              <a:gd name="connsiteY912" fmla="*/ 4484756 h 6994526"/>
              <a:gd name="connsiteX913" fmla="*/ 5058310 w 5932286"/>
              <a:gd name="connsiteY913" fmla="*/ 4507182 h 6994526"/>
              <a:gd name="connsiteX914" fmla="*/ 4957274 w 5932286"/>
              <a:gd name="connsiteY914" fmla="*/ 4406854 h 6994526"/>
              <a:gd name="connsiteX915" fmla="*/ 5057602 w 5932286"/>
              <a:gd name="connsiteY915" fmla="*/ 4305820 h 6994526"/>
              <a:gd name="connsiteX916" fmla="*/ 5158637 w 5932286"/>
              <a:gd name="connsiteY916" fmla="*/ 4406147 h 6994526"/>
              <a:gd name="connsiteX917" fmla="*/ 5058310 w 5932286"/>
              <a:gd name="connsiteY917" fmla="*/ 4507182 h 6994526"/>
              <a:gd name="connsiteX918" fmla="*/ 2402623 w 5932286"/>
              <a:gd name="connsiteY918" fmla="*/ 4536670 h 6994526"/>
              <a:gd name="connsiteX919" fmla="*/ 2329797 w 5932286"/>
              <a:gd name="connsiteY919" fmla="*/ 4463841 h 6994526"/>
              <a:gd name="connsiteX920" fmla="*/ 2402623 w 5932286"/>
              <a:gd name="connsiteY920" fmla="*/ 4391011 h 6994526"/>
              <a:gd name="connsiteX921" fmla="*/ 2475448 w 5932286"/>
              <a:gd name="connsiteY921" fmla="*/ 4463841 h 6994526"/>
              <a:gd name="connsiteX922" fmla="*/ 2402623 w 5932286"/>
              <a:gd name="connsiteY922" fmla="*/ 4536670 h 6994526"/>
              <a:gd name="connsiteX923" fmla="*/ 5415506 w 5932286"/>
              <a:gd name="connsiteY923" fmla="*/ 4562365 h 6994526"/>
              <a:gd name="connsiteX924" fmla="*/ 5342692 w 5932286"/>
              <a:gd name="connsiteY924" fmla="*/ 4489553 h 6994526"/>
              <a:gd name="connsiteX925" fmla="*/ 5415506 w 5932286"/>
              <a:gd name="connsiteY925" fmla="*/ 4416739 h 6994526"/>
              <a:gd name="connsiteX926" fmla="*/ 5488319 w 5932286"/>
              <a:gd name="connsiteY926" fmla="*/ 4489553 h 6994526"/>
              <a:gd name="connsiteX927" fmla="*/ 5415506 w 5932286"/>
              <a:gd name="connsiteY927" fmla="*/ 4562365 h 6994526"/>
              <a:gd name="connsiteX928" fmla="*/ 2761855 w 5932286"/>
              <a:gd name="connsiteY928" fmla="*/ 4621031 h 6994526"/>
              <a:gd name="connsiteX929" fmla="*/ 2689041 w 5932286"/>
              <a:gd name="connsiteY929" fmla="*/ 4548216 h 6994526"/>
              <a:gd name="connsiteX930" fmla="*/ 2761086 w 5932286"/>
              <a:gd name="connsiteY930" fmla="*/ 4474635 h 6994526"/>
              <a:gd name="connsiteX931" fmla="*/ 2834676 w 5932286"/>
              <a:gd name="connsiteY931" fmla="*/ 4547449 h 6994526"/>
              <a:gd name="connsiteX932" fmla="*/ 2761855 w 5932286"/>
              <a:gd name="connsiteY932" fmla="*/ 4621031 h 6994526"/>
              <a:gd name="connsiteX933" fmla="*/ 3924421 w 5932286"/>
              <a:gd name="connsiteY933" fmla="*/ 4636800 h 6994526"/>
              <a:gd name="connsiteX934" fmla="*/ 3768284 w 5932286"/>
              <a:gd name="connsiteY934" fmla="*/ 4482081 h 6994526"/>
              <a:gd name="connsiteX935" fmla="*/ 3923713 w 5932286"/>
              <a:gd name="connsiteY935" fmla="*/ 4325235 h 6994526"/>
              <a:gd name="connsiteX936" fmla="*/ 4079848 w 5932286"/>
              <a:gd name="connsiteY936" fmla="*/ 4480662 h 6994526"/>
              <a:gd name="connsiteX937" fmla="*/ 3924421 w 5932286"/>
              <a:gd name="connsiteY937" fmla="*/ 4636800 h 6994526"/>
              <a:gd name="connsiteX938" fmla="*/ 5773294 w 5932286"/>
              <a:gd name="connsiteY938" fmla="*/ 4645164 h 6994526"/>
              <a:gd name="connsiteX939" fmla="*/ 5700479 w 5932286"/>
              <a:gd name="connsiteY939" fmla="*/ 4572352 h 6994526"/>
              <a:gd name="connsiteX940" fmla="*/ 5773294 w 5932286"/>
              <a:gd name="connsiteY940" fmla="*/ 4499536 h 6994526"/>
              <a:gd name="connsiteX941" fmla="*/ 5846107 w 5932286"/>
              <a:gd name="connsiteY941" fmla="*/ 4572352 h 6994526"/>
              <a:gd name="connsiteX942" fmla="*/ 5773294 w 5932286"/>
              <a:gd name="connsiteY942" fmla="*/ 4645164 h 6994526"/>
              <a:gd name="connsiteX943" fmla="*/ 1524353 w 5932286"/>
              <a:gd name="connsiteY943" fmla="*/ 4657347 h 6994526"/>
              <a:gd name="connsiteX944" fmla="*/ 1451540 w 5932286"/>
              <a:gd name="connsiteY944" fmla="*/ 4584207 h 6994526"/>
              <a:gd name="connsiteX945" fmla="*/ 1524353 w 5932286"/>
              <a:gd name="connsiteY945" fmla="*/ 4511422 h 6994526"/>
              <a:gd name="connsiteX946" fmla="*/ 1597529 w 5932286"/>
              <a:gd name="connsiteY946" fmla="*/ 4584207 h 6994526"/>
              <a:gd name="connsiteX947" fmla="*/ 1524353 w 5932286"/>
              <a:gd name="connsiteY947" fmla="*/ 4657347 h 6994526"/>
              <a:gd name="connsiteX948" fmla="*/ 4281357 w 5932286"/>
              <a:gd name="connsiteY948" fmla="*/ 4713592 h 6994526"/>
              <a:gd name="connsiteX949" fmla="*/ 4130162 w 5932286"/>
              <a:gd name="connsiteY949" fmla="*/ 4563106 h 6994526"/>
              <a:gd name="connsiteX950" fmla="*/ 4279940 w 5932286"/>
              <a:gd name="connsiteY950" fmla="*/ 4412621 h 6994526"/>
              <a:gd name="connsiteX951" fmla="*/ 4431134 w 5932286"/>
              <a:gd name="connsiteY951" fmla="*/ 4562401 h 6994526"/>
              <a:gd name="connsiteX952" fmla="*/ 4281357 w 5932286"/>
              <a:gd name="connsiteY952" fmla="*/ 4713592 h 6994526"/>
              <a:gd name="connsiteX953" fmla="*/ 1898609 w 5932286"/>
              <a:gd name="connsiteY953" fmla="*/ 4748603 h 6994526"/>
              <a:gd name="connsiteX954" fmla="*/ 1825795 w 5932286"/>
              <a:gd name="connsiteY954" fmla="*/ 4675769 h 6994526"/>
              <a:gd name="connsiteX955" fmla="*/ 1898609 w 5932286"/>
              <a:gd name="connsiteY955" fmla="*/ 4602937 h 6994526"/>
              <a:gd name="connsiteX956" fmla="*/ 1971423 w 5932286"/>
              <a:gd name="connsiteY956" fmla="*/ 4675769 h 6994526"/>
              <a:gd name="connsiteX957" fmla="*/ 1898609 w 5932286"/>
              <a:gd name="connsiteY957" fmla="*/ 4748603 h 6994526"/>
              <a:gd name="connsiteX958" fmla="*/ 4638170 w 5932286"/>
              <a:gd name="connsiteY958" fmla="*/ 4777091 h 6994526"/>
              <a:gd name="connsiteX959" fmla="*/ 4506766 w 5932286"/>
              <a:gd name="connsiteY959" fmla="*/ 4647098 h 6994526"/>
              <a:gd name="connsiteX960" fmla="*/ 4636761 w 5932286"/>
              <a:gd name="connsiteY960" fmla="*/ 4515689 h 6994526"/>
              <a:gd name="connsiteX961" fmla="*/ 4768165 w 5932286"/>
              <a:gd name="connsiteY961" fmla="*/ 4645688 h 6994526"/>
              <a:gd name="connsiteX962" fmla="*/ 4638170 w 5932286"/>
              <a:gd name="connsiteY962" fmla="*/ 4777091 h 6994526"/>
              <a:gd name="connsiteX963" fmla="*/ 3121323 w 5932286"/>
              <a:gd name="connsiteY963" fmla="*/ 4778306 h 6994526"/>
              <a:gd name="connsiteX964" fmla="*/ 2973667 w 5932286"/>
              <a:gd name="connsiteY964" fmla="*/ 4632064 h 6994526"/>
              <a:gd name="connsiteX965" fmla="*/ 3119908 w 5932286"/>
              <a:gd name="connsiteY965" fmla="*/ 4484404 h 6994526"/>
              <a:gd name="connsiteX966" fmla="*/ 3267565 w 5932286"/>
              <a:gd name="connsiteY966" fmla="*/ 4630646 h 6994526"/>
              <a:gd name="connsiteX967" fmla="*/ 3121323 w 5932286"/>
              <a:gd name="connsiteY967" fmla="*/ 4778306 h 6994526"/>
              <a:gd name="connsiteX968" fmla="*/ 4994396 w 5932286"/>
              <a:gd name="connsiteY968" fmla="*/ 4824678 h 6994526"/>
              <a:gd name="connsiteX969" fmla="*/ 4898311 w 5932286"/>
              <a:gd name="connsiteY969" fmla="*/ 4729297 h 6994526"/>
              <a:gd name="connsiteX970" fmla="*/ 4993694 w 5932286"/>
              <a:gd name="connsiteY970" fmla="*/ 4633212 h 6994526"/>
              <a:gd name="connsiteX971" fmla="*/ 5089779 w 5932286"/>
              <a:gd name="connsiteY971" fmla="*/ 4728596 h 6994526"/>
              <a:gd name="connsiteX972" fmla="*/ 4994396 w 5932286"/>
              <a:gd name="connsiteY972" fmla="*/ 4824678 h 6994526"/>
              <a:gd name="connsiteX973" fmla="*/ 2268509 w 5932286"/>
              <a:gd name="connsiteY973" fmla="*/ 4836828 h 6994526"/>
              <a:gd name="connsiteX974" fmla="*/ 2195689 w 5932286"/>
              <a:gd name="connsiteY974" fmla="*/ 4764020 h 6994526"/>
              <a:gd name="connsiteX975" fmla="*/ 2268509 w 5932286"/>
              <a:gd name="connsiteY975" fmla="*/ 4691195 h 6994526"/>
              <a:gd name="connsiteX976" fmla="*/ 2341317 w 5932286"/>
              <a:gd name="connsiteY976" fmla="*/ 4764020 h 6994526"/>
              <a:gd name="connsiteX977" fmla="*/ 2268509 w 5932286"/>
              <a:gd name="connsiteY977" fmla="*/ 4836828 h 6994526"/>
              <a:gd name="connsiteX978" fmla="*/ 5351112 w 5932286"/>
              <a:gd name="connsiteY978" fmla="*/ 4884809 h 6994526"/>
              <a:gd name="connsiteX979" fmla="*/ 5278298 w 5932286"/>
              <a:gd name="connsiteY979" fmla="*/ 4811995 h 6994526"/>
              <a:gd name="connsiteX980" fmla="*/ 5349853 w 5932286"/>
              <a:gd name="connsiteY980" fmla="*/ 4739179 h 6994526"/>
              <a:gd name="connsiteX981" fmla="*/ 5423925 w 5932286"/>
              <a:gd name="connsiteY981" fmla="*/ 4811995 h 6994526"/>
              <a:gd name="connsiteX982" fmla="*/ 5351112 w 5932286"/>
              <a:gd name="connsiteY982" fmla="*/ 4884809 h 6994526"/>
              <a:gd name="connsiteX983" fmla="*/ 1319439 w 5932286"/>
              <a:gd name="connsiteY983" fmla="*/ 4912984 h 6994526"/>
              <a:gd name="connsiteX984" fmla="*/ 1246262 w 5932286"/>
              <a:gd name="connsiteY984" fmla="*/ 4839838 h 6994526"/>
              <a:gd name="connsiteX985" fmla="*/ 1319439 w 5932286"/>
              <a:gd name="connsiteY985" fmla="*/ 4767055 h 6994526"/>
              <a:gd name="connsiteX986" fmla="*/ 1392251 w 5932286"/>
              <a:gd name="connsiteY986" fmla="*/ 4839838 h 6994526"/>
              <a:gd name="connsiteX987" fmla="*/ 1319439 w 5932286"/>
              <a:gd name="connsiteY987" fmla="*/ 4912984 h 6994526"/>
              <a:gd name="connsiteX988" fmla="*/ 2635603 w 5932286"/>
              <a:gd name="connsiteY988" fmla="*/ 4944521 h 6994526"/>
              <a:gd name="connsiteX989" fmla="*/ 2541642 w 5932286"/>
              <a:gd name="connsiteY989" fmla="*/ 4851268 h 6994526"/>
              <a:gd name="connsiteX990" fmla="*/ 2634901 w 5932286"/>
              <a:gd name="connsiteY990" fmla="*/ 4757313 h 6994526"/>
              <a:gd name="connsiteX991" fmla="*/ 2728860 w 5932286"/>
              <a:gd name="connsiteY991" fmla="*/ 4850558 h 6994526"/>
              <a:gd name="connsiteX992" fmla="*/ 2635603 w 5932286"/>
              <a:gd name="connsiteY992" fmla="*/ 4944521 h 6994526"/>
              <a:gd name="connsiteX993" fmla="*/ 5707448 w 5932286"/>
              <a:gd name="connsiteY993" fmla="*/ 4967166 h 6994526"/>
              <a:gd name="connsiteX994" fmla="*/ 5634633 w 5932286"/>
              <a:gd name="connsiteY994" fmla="*/ 4894348 h 6994526"/>
              <a:gd name="connsiteX995" fmla="*/ 5707448 w 5932286"/>
              <a:gd name="connsiteY995" fmla="*/ 4821530 h 6994526"/>
              <a:gd name="connsiteX996" fmla="*/ 5780261 w 5932286"/>
              <a:gd name="connsiteY996" fmla="*/ 4894348 h 6994526"/>
              <a:gd name="connsiteX997" fmla="*/ 5707448 w 5932286"/>
              <a:gd name="connsiteY997" fmla="*/ 4967166 h 6994526"/>
              <a:gd name="connsiteX998" fmla="*/ 1714008 w 5932286"/>
              <a:gd name="connsiteY998" fmla="*/ 5018904 h 6994526"/>
              <a:gd name="connsiteX999" fmla="*/ 1639021 w 5932286"/>
              <a:gd name="connsiteY999" fmla="*/ 4946134 h 6994526"/>
              <a:gd name="connsiteX1000" fmla="*/ 1711797 w 5932286"/>
              <a:gd name="connsiteY1000" fmla="*/ 4873364 h 6994526"/>
              <a:gd name="connsiteX1001" fmla="*/ 1786785 w 5932286"/>
              <a:gd name="connsiteY1001" fmla="*/ 4946134 h 6994526"/>
              <a:gd name="connsiteX1002" fmla="*/ 1714008 w 5932286"/>
              <a:gd name="connsiteY1002" fmla="*/ 5018904 h 6994526"/>
              <a:gd name="connsiteX1003" fmla="*/ 4195062 w 5932286"/>
              <a:gd name="connsiteY1003" fmla="*/ 5039784 h 6994526"/>
              <a:gd name="connsiteX1004" fmla="*/ 4035395 w 5932286"/>
              <a:gd name="connsiteY1004" fmla="*/ 4880820 h 6994526"/>
              <a:gd name="connsiteX1005" fmla="*/ 4194354 w 5932286"/>
              <a:gd name="connsiteY1005" fmla="*/ 4721149 h 6994526"/>
              <a:gd name="connsiteX1006" fmla="*/ 4354023 w 5932286"/>
              <a:gd name="connsiteY1006" fmla="*/ 4880113 h 6994526"/>
              <a:gd name="connsiteX1007" fmla="*/ 4195062 w 5932286"/>
              <a:gd name="connsiteY1007" fmla="*/ 5039784 h 6994526"/>
              <a:gd name="connsiteX1008" fmla="*/ 2999685 w 5932286"/>
              <a:gd name="connsiteY1008" fmla="*/ 5100391 h 6994526"/>
              <a:gd name="connsiteX1009" fmla="*/ 2835077 w 5932286"/>
              <a:gd name="connsiteY1009" fmla="*/ 4936484 h 6994526"/>
              <a:gd name="connsiteX1010" fmla="*/ 2998976 w 5932286"/>
              <a:gd name="connsiteY1010" fmla="*/ 4771870 h 6994526"/>
              <a:gd name="connsiteX1011" fmla="*/ 3163590 w 5932286"/>
              <a:gd name="connsiteY1011" fmla="*/ 4935771 h 6994526"/>
              <a:gd name="connsiteX1012" fmla="*/ 2999685 w 5932286"/>
              <a:gd name="connsiteY1012" fmla="*/ 5100391 h 6994526"/>
              <a:gd name="connsiteX1013" fmla="*/ 4552965 w 5932286"/>
              <a:gd name="connsiteY1013" fmla="*/ 5104582 h 6994526"/>
              <a:gd name="connsiteX1014" fmla="*/ 4411667 w 5932286"/>
              <a:gd name="connsiteY1014" fmla="*/ 4964697 h 6994526"/>
              <a:gd name="connsiteX1015" fmla="*/ 4551556 w 5932286"/>
              <a:gd name="connsiteY1015" fmla="*/ 4823400 h 6994526"/>
              <a:gd name="connsiteX1016" fmla="*/ 4692854 w 5932286"/>
              <a:gd name="connsiteY1016" fmla="*/ 4963284 h 6994526"/>
              <a:gd name="connsiteX1017" fmla="*/ 4552965 w 5932286"/>
              <a:gd name="connsiteY1017" fmla="*/ 5104582 h 6994526"/>
              <a:gd name="connsiteX1018" fmla="*/ 2097708 w 5932286"/>
              <a:gd name="connsiteY1018" fmla="*/ 5116687 h 6994526"/>
              <a:gd name="connsiteX1019" fmla="*/ 2024186 w 5932286"/>
              <a:gd name="connsiteY1019" fmla="*/ 5043869 h 6994526"/>
              <a:gd name="connsiteX1020" fmla="*/ 2097708 w 5932286"/>
              <a:gd name="connsiteY1020" fmla="*/ 4971061 h 6994526"/>
              <a:gd name="connsiteX1021" fmla="*/ 2170523 w 5932286"/>
              <a:gd name="connsiteY1021" fmla="*/ 5043869 h 6994526"/>
              <a:gd name="connsiteX1022" fmla="*/ 2097708 w 5932286"/>
              <a:gd name="connsiteY1022" fmla="*/ 5116687 h 6994526"/>
              <a:gd name="connsiteX1023" fmla="*/ 1071193 w 5932286"/>
              <a:gd name="connsiteY1023" fmla="*/ 5128439 h 6994526"/>
              <a:gd name="connsiteX1024" fmla="*/ 998378 w 5932286"/>
              <a:gd name="connsiteY1024" fmla="*/ 5055655 h 6994526"/>
              <a:gd name="connsiteX1025" fmla="*/ 1071193 w 5932286"/>
              <a:gd name="connsiteY1025" fmla="*/ 4982505 h 6994526"/>
              <a:gd name="connsiteX1026" fmla="*/ 1144367 w 5932286"/>
              <a:gd name="connsiteY1026" fmla="*/ 5055655 h 6994526"/>
              <a:gd name="connsiteX1027" fmla="*/ 1071193 w 5932286"/>
              <a:gd name="connsiteY1027" fmla="*/ 5128439 h 6994526"/>
              <a:gd name="connsiteX1028" fmla="*/ 4910268 w 5932286"/>
              <a:gd name="connsiteY1028" fmla="*/ 5156309 h 6994526"/>
              <a:gd name="connsiteX1029" fmla="*/ 4800052 w 5932286"/>
              <a:gd name="connsiteY1029" fmla="*/ 5047508 h 6994526"/>
              <a:gd name="connsiteX1030" fmla="*/ 4908851 w 5932286"/>
              <a:gd name="connsiteY1030" fmla="*/ 4937292 h 6994526"/>
              <a:gd name="connsiteX1031" fmla="*/ 5019065 w 5932286"/>
              <a:gd name="connsiteY1031" fmla="*/ 5046094 h 6994526"/>
              <a:gd name="connsiteX1032" fmla="*/ 4910268 w 5932286"/>
              <a:gd name="connsiteY1032" fmla="*/ 5156309 h 6994526"/>
              <a:gd name="connsiteX1033" fmla="*/ 5267464 w 5932286"/>
              <a:gd name="connsiteY1033" fmla="*/ 5204369 h 6994526"/>
              <a:gd name="connsiteX1034" fmla="*/ 5192570 w 5932286"/>
              <a:gd name="connsiteY1034" fmla="*/ 5130194 h 6994526"/>
              <a:gd name="connsiteX1035" fmla="*/ 5266755 w 5932286"/>
              <a:gd name="connsiteY1035" fmla="*/ 5055300 h 6994526"/>
              <a:gd name="connsiteX1036" fmla="*/ 5341640 w 5932286"/>
              <a:gd name="connsiteY1036" fmla="*/ 5129483 h 6994526"/>
              <a:gd name="connsiteX1037" fmla="*/ 5267464 w 5932286"/>
              <a:gd name="connsiteY1037" fmla="*/ 5204369 h 6994526"/>
              <a:gd name="connsiteX1038" fmla="*/ 2475354 w 5932286"/>
              <a:gd name="connsiteY1038" fmla="*/ 5255855 h 6994526"/>
              <a:gd name="connsiteX1039" fmla="*/ 2356661 w 5932286"/>
              <a:gd name="connsiteY1039" fmla="*/ 5137898 h 6994526"/>
              <a:gd name="connsiteX1040" fmla="*/ 2474646 w 5932286"/>
              <a:gd name="connsiteY1040" fmla="*/ 5019202 h 6994526"/>
              <a:gd name="connsiteX1041" fmla="*/ 2593340 w 5932286"/>
              <a:gd name="connsiteY1041" fmla="*/ 5137190 h 6994526"/>
              <a:gd name="connsiteX1042" fmla="*/ 2475354 w 5932286"/>
              <a:gd name="connsiteY1042" fmla="*/ 5255855 h 6994526"/>
              <a:gd name="connsiteX1043" fmla="*/ 1488569 w 5932286"/>
              <a:gd name="connsiteY1043" fmla="*/ 5259059 h 6994526"/>
              <a:gd name="connsiteX1044" fmla="*/ 1415715 w 5932286"/>
              <a:gd name="connsiteY1044" fmla="*/ 5186234 h 6994526"/>
              <a:gd name="connsiteX1045" fmla="*/ 1488569 w 5932286"/>
              <a:gd name="connsiteY1045" fmla="*/ 5113388 h 6994526"/>
              <a:gd name="connsiteX1046" fmla="*/ 1561423 w 5932286"/>
              <a:gd name="connsiteY1046" fmla="*/ 5186234 h 6994526"/>
              <a:gd name="connsiteX1047" fmla="*/ 1488569 w 5932286"/>
              <a:gd name="connsiteY1047" fmla="*/ 5259059 h 6994526"/>
              <a:gd name="connsiteX1048" fmla="*/ 5624659 w 5932286"/>
              <a:gd name="connsiteY1048" fmla="*/ 5285236 h 6994526"/>
              <a:gd name="connsiteX1049" fmla="*/ 5551844 w 5932286"/>
              <a:gd name="connsiteY1049" fmla="*/ 5212405 h 6994526"/>
              <a:gd name="connsiteX1050" fmla="*/ 5624659 w 5932286"/>
              <a:gd name="connsiteY1050" fmla="*/ 5139591 h 6994526"/>
              <a:gd name="connsiteX1051" fmla="*/ 5697489 w 5932286"/>
              <a:gd name="connsiteY1051" fmla="*/ 5212405 h 6994526"/>
              <a:gd name="connsiteX1052" fmla="*/ 5624659 w 5932286"/>
              <a:gd name="connsiteY1052" fmla="*/ 5285236 h 6994526"/>
              <a:gd name="connsiteX1053" fmla="*/ 4085752 w 5932286"/>
              <a:gd name="connsiteY1053" fmla="*/ 5348825 h 6994526"/>
              <a:gd name="connsiteX1054" fmla="*/ 3926789 w 5932286"/>
              <a:gd name="connsiteY1054" fmla="*/ 5191273 h 6994526"/>
              <a:gd name="connsiteX1055" fmla="*/ 4084343 w 5932286"/>
              <a:gd name="connsiteY1055" fmla="*/ 5032310 h 6994526"/>
              <a:gd name="connsiteX1056" fmla="*/ 4243305 w 5932286"/>
              <a:gd name="connsiteY1056" fmla="*/ 5189860 h 6994526"/>
              <a:gd name="connsiteX1057" fmla="*/ 4085752 w 5932286"/>
              <a:gd name="connsiteY1057" fmla="*/ 5348825 h 6994526"/>
              <a:gd name="connsiteX1058" fmla="*/ 1891993 w 5932286"/>
              <a:gd name="connsiteY1058" fmla="*/ 5373014 h 6994526"/>
              <a:gd name="connsiteX1059" fmla="*/ 1818784 w 5932286"/>
              <a:gd name="connsiteY1059" fmla="*/ 5300601 h 6994526"/>
              <a:gd name="connsiteX1060" fmla="*/ 1891195 w 5932286"/>
              <a:gd name="connsiteY1060" fmla="*/ 5227422 h 6994526"/>
              <a:gd name="connsiteX1061" fmla="*/ 1964403 w 5932286"/>
              <a:gd name="connsiteY1061" fmla="*/ 5299805 h 6994526"/>
              <a:gd name="connsiteX1062" fmla="*/ 1891993 w 5932286"/>
              <a:gd name="connsiteY1062" fmla="*/ 5373014 h 6994526"/>
              <a:gd name="connsiteX1063" fmla="*/ 2849224 w 5932286"/>
              <a:gd name="connsiteY1063" fmla="*/ 5392317 h 6994526"/>
              <a:gd name="connsiteX1064" fmla="*/ 2683906 w 5932286"/>
              <a:gd name="connsiteY1064" fmla="*/ 5228412 h 6994526"/>
              <a:gd name="connsiteX1065" fmla="*/ 2848515 w 5932286"/>
              <a:gd name="connsiteY1065" fmla="*/ 5063820 h 6994526"/>
              <a:gd name="connsiteX1066" fmla="*/ 3013126 w 5932286"/>
              <a:gd name="connsiteY1066" fmla="*/ 5227721 h 6994526"/>
              <a:gd name="connsiteX1067" fmla="*/ 2849224 w 5932286"/>
              <a:gd name="connsiteY1067" fmla="*/ 5392317 h 6994526"/>
              <a:gd name="connsiteX1068" fmla="*/ 4445965 w 5932286"/>
              <a:gd name="connsiteY1068" fmla="*/ 5414448 h 6994526"/>
              <a:gd name="connsiteX1069" fmla="*/ 4304664 w 5932286"/>
              <a:gd name="connsiteY1069" fmla="*/ 5273854 h 6994526"/>
              <a:gd name="connsiteX1070" fmla="*/ 4444556 w 5932286"/>
              <a:gd name="connsiteY1070" fmla="*/ 5133265 h 6994526"/>
              <a:gd name="connsiteX1071" fmla="*/ 4585856 w 5932286"/>
              <a:gd name="connsiteY1071" fmla="*/ 5273147 h 6994526"/>
              <a:gd name="connsiteX1072" fmla="*/ 4445965 w 5932286"/>
              <a:gd name="connsiteY1072" fmla="*/ 5414448 h 6994526"/>
              <a:gd name="connsiteX1073" fmla="*/ 4804984 w 5932286"/>
              <a:gd name="connsiteY1073" fmla="*/ 5431581 h 6994526"/>
              <a:gd name="connsiteX1074" fmla="*/ 4731509 w 5932286"/>
              <a:gd name="connsiteY1074" fmla="*/ 5358103 h 6994526"/>
              <a:gd name="connsiteX1075" fmla="*/ 4804984 w 5932286"/>
              <a:gd name="connsiteY1075" fmla="*/ 5284629 h 6994526"/>
              <a:gd name="connsiteX1076" fmla="*/ 4878459 w 5932286"/>
              <a:gd name="connsiteY1076" fmla="*/ 5358103 h 6994526"/>
              <a:gd name="connsiteX1077" fmla="*/ 4804984 w 5932286"/>
              <a:gd name="connsiteY1077" fmla="*/ 5431581 h 6994526"/>
              <a:gd name="connsiteX1078" fmla="*/ 1230962 w 5932286"/>
              <a:gd name="connsiteY1078" fmla="*/ 5462807 h 6994526"/>
              <a:gd name="connsiteX1079" fmla="*/ 1158147 w 5932286"/>
              <a:gd name="connsiteY1079" fmla="*/ 5389997 h 6994526"/>
              <a:gd name="connsiteX1080" fmla="*/ 1230962 w 5932286"/>
              <a:gd name="connsiteY1080" fmla="*/ 5317184 h 6994526"/>
              <a:gd name="connsiteX1081" fmla="*/ 1303775 w 5932286"/>
              <a:gd name="connsiteY1081" fmla="*/ 5389997 h 6994526"/>
              <a:gd name="connsiteX1082" fmla="*/ 1230962 w 5932286"/>
              <a:gd name="connsiteY1082" fmla="*/ 5462807 h 6994526"/>
              <a:gd name="connsiteX1083" fmla="*/ 5164226 w 5932286"/>
              <a:gd name="connsiteY1083" fmla="*/ 5514692 h 6994526"/>
              <a:gd name="connsiteX1084" fmla="*/ 5091412 w 5932286"/>
              <a:gd name="connsiteY1084" fmla="*/ 5441879 h 6994526"/>
              <a:gd name="connsiteX1085" fmla="*/ 5164226 w 5932286"/>
              <a:gd name="connsiteY1085" fmla="*/ 5369064 h 6994526"/>
              <a:gd name="connsiteX1086" fmla="*/ 5237039 w 5932286"/>
              <a:gd name="connsiteY1086" fmla="*/ 5441879 h 6994526"/>
              <a:gd name="connsiteX1087" fmla="*/ 5164226 w 5932286"/>
              <a:gd name="connsiteY1087" fmla="*/ 5514692 h 6994526"/>
              <a:gd name="connsiteX1088" fmla="*/ 2284587 w 5932286"/>
              <a:gd name="connsiteY1088" fmla="*/ 5518153 h 6994526"/>
              <a:gd name="connsiteX1089" fmla="*/ 2170845 w 5932286"/>
              <a:gd name="connsiteY1089" fmla="*/ 5405112 h 6994526"/>
              <a:gd name="connsiteX1090" fmla="*/ 2283887 w 5932286"/>
              <a:gd name="connsiteY1090" fmla="*/ 5291369 h 6994526"/>
              <a:gd name="connsiteX1091" fmla="*/ 2397629 w 5932286"/>
              <a:gd name="connsiteY1091" fmla="*/ 5404412 h 6994526"/>
              <a:gd name="connsiteX1092" fmla="*/ 2284587 w 5932286"/>
              <a:gd name="connsiteY1092" fmla="*/ 5518153 h 6994526"/>
              <a:gd name="connsiteX1093" fmla="*/ 5523466 w 5932286"/>
              <a:gd name="connsiteY1093" fmla="*/ 5598020 h 6994526"/>
              <a:gd name="connsiteX1094" fmla="*/ 5450652 w 5932286"/>
              <a:gd name="connsiteY1094" fmla="*/ 5525174 h 6994526"/>
              <a:gd name="connsiteX1095" fmla="*/ 5523466 w 5932286"/>
              <a:gd name="connsiteY1095" fmla="*/ 5452361 h 6994526"/>
              <a:gd name="connsiteX1096" fmla="*/ 5596310 w 5932286"/>
              <a:gd name="connsiteY1096" fmla="*/ 5525174 h 6994526"/>
              <a:gd name="connsiteX1097" fmla="*/ 5523466 w 5932286"/>
              <a:gd name="connsiteY1097" fmla="*/ 5598020 h 6994526"/>
              <a:gd name="connsiteX1098" fmla="*/ 1655079 w 5932286"/>
              <a:gd name="connsiteY1098" fmla="*/ 5600972 h 6994526"/>
              <a:gd name="connsiteX1099" fmla="*/ 1581395 w 5932286"/>
              <a:gd name="connsiteY1099" fmla="*/ 5529077 h 6994526"/>
              <a:gd name="connsiteX1100" fmla="*/ 1655079 w 5932286"/>
              <a:gd name="connsiteY1100" fmla="*/ 5455400 h 6994526"/>
              <a:gd name="connsiteX1101" fmla="*/ 1728763 w 5932286"/>
              <a:gd name="connsiteY1101" fmla="*/ 5527274 h 6994526"/>
              <a:gd name="connsiteX1102" fmla="*/ 1655079 w 5932286"/>
              <a:gd name="connsiteY1102" fmla="*/ 5600972 h 6994526"/>
              <a:gd name="connsiteX1103" fmla="*/ 956466 w 5932286"/>
              <a:gd name="connsiteY1103" fmla="*/ 5629118 h 6994526"/>
              <a:gd name="connsiteX1104" fmla="*/ 873219 w 5932286"/>
              <a:gd name="connsiteY1104" fmla="*/ 5566687 h 6994526"/>
              <a:gd name="connsiteX1105" fmla="*/ 935603 w 5932286"/>
              <a:gd name="connsiteY1105" fmla="*/ 5483376 h 6994526"/>
              <a:gd name="connsiteX1106" fmla="*/ 1018851 w 5932286"/>
              <a:gd name="connsiteY1106" fmla="*/ 5545807 h 6994526"/>
              <a:gd name="connsiteX1107" fmla="*/ 956466 w 5932286"/>
              <a:gd name="connsiteY1107" fmla="*/ 5629118 h 6994526"/>
              <a:gd name="connsiteX1108" fmla="*/ 3952984 w 5932286"/>
              <a:gd name="connsiteY1108" fmla="*/ 5631810 h 6994526"/>
              <a:gd name="connsiteX1109" fmla="*/ 3811686 w 5932286"/>
              <a:gd name="connsiteY1109" fmla="*/ 5491928 h 6994526"/>
              <a:gd name="connsiteX1110" fmla="*/ 3952276 w 5932286"/>
              <a:gd name="connsiteY1110" fmla="*/ 5350632 h 6994526"/>
              <a:gd name="connsiteX1111" fmla="*/ 4093573 w 5932286"/>
              <a:gd name="connsiteY1111" fmla="*/ 5490511 h 6994526"/>
              <a:gd name="connsiteX1112" fmla="*/ 3952984 w 5932286"/>
              <a:gd name="connsiteY1112" fmla="*/ 5631810 h 6994526"/>
              <a:gd name="connsiteX1113" fmla="*/ 2669604 w 5932286"/>
              <a:gd name="connsiteY1113" fmla="*/ 5654267 h 6994526"/>
              <a:gd name="connsiteX1114" fmla="*/ 2518412 w 5932286"/>
              <a:gd name="connsiteY1114" fmla="*/ 5504481 h 6994526"/>
              <a:gd name="connsiteX1115" fmla="*/ 2668189 w 5932286"/>
              <a:gd name="connsiteY1115" fmla="*/ 5353300 h 6994526"/>
              <a:gd name="connsiteX1116" fmla="*/ 2819381 w 5932286"/>
              <a:gd name="connsiteY1116" fmla="*/ 5503075 h 6994526"/>
              <a:gd name="connsiteX1117" fmla="*/ 2669604 w 5932286"/>
              <a:gd name="connsiteY1117" fmla="*/ 5654267 h 6994526"/>
              <a:gd name="connsiteX1118" fmla="*/ 4317552 w 5932286"/>
              <a:gd name="connsiteY1118" fmla="*/ 5689147 h 6994526"/>
              <a:gd name="connsiteX1119" fmla="*/ 4205221 w 5932286"/>
              <a:gd name="connsiteY1119" fmla="*/ 5577524 h 6994526"/>
              <a:gd name="connsiteX1120" fmla="*/ 4316844 w 5932286"/>
              <a:gd name="connsiteY1120" fmla="*/ 5465192 h 6994526"/>
              <a:gd name="connsiteX1121" fmla="*/ 4429175 w 5932286"/>
              <a:gd name="connsiteY1121" fmla="*/ 5576815 h 6994526"/>
              <a:gd name="connsiteX1122" fmla="*/ 4317552 w 5932286"/>
              <a:gd name="connsiteY1122" fmla="*/ 5689147 h 6994526"/>
              <a:gd name="connsiteX1123" fmla="*/ 4680554 w 5932286"/>
              <a:gd name="connsiteY1123" fmla="*/ 5735625 h 6994526"/>
              <a:gd name="connsiteX1124" fmla="*/ 4607079 w 5932286"/>
              <a:gd name="connsiteY1124" fmla="*/ 5662149 h 6994526"/>
              <a:gd name="connsiteX1125" fmla="*/ 4680554 w 5932286"/>
              <a:gd name="connsiteY1125" fmla="*/ 5588674 h 6994526"/>
              <a:gd name="connsiteX1126" fmla="*/ 4754030 w 5932286"/>
              <a:gd name="connsiteY1126" fmla="*/ 5662149 h 6994526"/>
              <a:gd name="connsiteX1127" fmla="*/ 4680554 w 5932286"/>
              <a:gd name="connsiteY1127" fmla="*/ 5735625 h 6994526"/>
              <a:gd name="connsiteX1128" fmla="*/ 639823 w 5932286"/>
              <a:gd name="connsiteY1128" fmla="*/ 5744752 h 6994526"/>
              <a:gd name="connsiteX1129" fmla="*/ 566990 w 5932286"/>
              <a:gd name="connsiteY1129" fmla="*/ 5671926 h 6994526"/>
              <a:gd name="connsiteX1130" fmla="*/ 639823 w 5932286"/>
              <a:gd name="connsiteY1130" fmla="*/ 5599097 h 6994526"/>
              <a:gd name="connsiteX1131" fmla="*/ 712657 w 5932286"/>
              <a:gd name="connsiteY1131" fmla="*/ 5671926 h 6994526"/>
              <a:gd name="connsiteX1132" fmla="*/ 639823 w 5932286"/>
              <a:gd name="connsiteY1132" fmla="*/ 5744752 h 6994526"/>
              <a:gd name="connsiteX1133" fmla="*/ 2064785 w 5932286"/>
              <a:gd name="connsiteY1133" fmla="*/ 5762654 h 6994526"/>
              <a:gd name="connsiteX1134" fmla="*/ 1951043 w 5932286"/>
              <a:gd name="connsiteY1134" fmla="*/ 5649612 h 6994526"/>
              <a:gd name="connsiteX1135" fmla="*/ 2064084 w 5932286"/>
              <a:gd name="connsiteY1135" fmla="*/ 5535866 h 6994526"/>
              <a:gd name="connsiteX1136" fmla="*/ 2177827 w 5932286"/>
              <a:gd name="connsiteY1136" fmla="*/ 5648908 h 6994526"/>
              <a:gd name="connsiteX1137" fmla="*/ 2064785 w 5932286"/>
              <a:gd name="connsiteY1137" fmla="*/ 5762654 h 6994526"/>
              <a:gd name="connsiteX1138" fmla="*/ 1391324 w 5932286"/>
              <a:gd name="connsiteY1138" fmla="*/ 5796155 h 6994526"/>
              <a:gd name="connsiteX1139" fmla="*/ 1318155 w 5932286"/>
              <a:gd name="connsiteY1139" fmla="*/ 5723691 h 6994526"/>
              <a:gd name="connsiteX1140" fmla="*/ 1391324 w 5932286"/>
              <a:gd name="connsiteY1140" fmla="*/ 5650520 h 6994526"/>
              <a:gd name="connsiteX1141" fmla="*/ 1463789 w 5932286"/>
              <a:gd name="connsiteY1141" fmla="*/ 5722988 h 6994526"/>
              <a:gd name="connsiteX1142" fmla="*/ 1391324 w 5932286"/>
              <a:gd name="connsiteY1142" fmla="*/ 5796155 h 6994526"/>
              <a:gd name="connsiteX1143" fmla="*/ 319820 w 5932286"/>
              <a:gd name="connsiteY1143" fmla="*/ 5816809 h 6994526"/>
              <a:gd name="connsiteX1144" fmla="*/ 246967 w 5932286"/>
              <a:gd name="connsiteY1144" fmla="*/ 5743955 h 6994526"/>
              <a:gd name="connsiteX1145" fmla="*/ 319820 w 5932286"/>
              <a:gd name="connsiteY1145" fmla="*/ 5671100 h 6994526"/>
              <a:gd name="connsiteX1146" fmla="*/ 392675 w 5932286"/>
              <a:gd name="connsiteY1146" fmla="*/ 5743955 h 6994526"/>
              <a:gd name="connsiteX1147" fmla="*/ 319820 w 5932286"/>
              <a:gd name="connsiteY1147" fmla="*/ 5816809 h 6994526"/>
              <a:gd name="connsiteX1148" fmla="*/ 5043199 w 5932286"/>
              <a:gd name="connsiteY1148" fmla="*/ 5820223 h 6994526"/>
              <a:gd name="connsiteX1149" fmla="*/ 4970373 w 5932286"/>
              <a:gd name="connsiteY1149" fmla="*/ 5747396 h 6994526"/>
              <a:gd name="connsiteX1150" fmla="*/ 5043199 w 5932286"/>
              <a:gd name="connsiteY1150" fmla="*/ 5674570 h 6994526"/>
              <a:gd name="connsiteX1151" fmla="*/ 5116025 w 5932286"/>
              <a:gd name="connsiteY1151" fmla="*/ 5747396 h 6994526"/>
              <a:gd name="connsiteX1152" fmla="*/ 5043199 w 5932286"/>
              <a:gd name="connsiteY1152" fmla="*/ 5820223 h 6994526"/>
              <a:gd name="connsiteX1153" fmla="*/ 0 w 5932286"/>
              <a:gd name="connsiteY1153" fmla="*/ 5838543 h 6994526"/>
              <a:gd name="connsiteX1154" fmla="*/ 0 w 5932286"/>
              <a:gd name="connsiteY1154" fmla="*/ 5695865 h 6994526"/>
              <a:gd name="connsiteX1155" fmla="*/ 20966 w 5932286"/>
              <a:gd name="connsiteY1155" fmla="*/ 5699865 h 6994526"/>
              <a:gd name="connsiteX1156" fmla="*/ 64931 w 5932286"/>
              <a:gd name="connsiteY1156" fmla="*/ 5767151 h 6994526"/>
              <a:gd name="connsiteX1157" fmla="*/ 20966 w 5932286"/>
              <a:gd name="connsiteY1157" fmla="*/ 5834531 h 6994526"/>
              <a:gd name="connsiteX1158" fmla="*/ 5405330 w 5932286"/>
              <a:gd name="connsiteY1158" fmla="*/ 5904968 h 6994526"/>
              <a:gd name="connsiteX1159" fmla="*/ 5325780 w 5932286"/>
              <a:gd name="connsiteY1159" fmla="*/ 5832583 h 6994526"/>
              <a:gd name="connsiteX1160" fmla="*/ 5405330 w 5932286"/>
              <a:gd name="connsiteY1160" fmla="*/ 5760274 h 6994526"/>
              <a:gd name="connsiteX1161" fmla="*/ 5484951 w 5932286"/>
              <a:gd name="connsiteY1161" fmla="*/ 5832583 h 6994526"/>
              <a:gd name="connsiteX1162" fmla="*/ 5405330 w 5932286"/>
              <a:gd name="connsiteY1162" fmla="*/ 5904968 h 6994526"/>
              <a:gd name="connsiteX1163" fmla="*/ 2463837 w 5932286"/>
              <a:gd name="connsiteY1163" fmla="*/ 5931581 h 6994526"/>
              <a:gd name="connsiteX1164" fmla="*/ 2291449 w 5932286"/>
              <a:gd name="connsiteY1164" fmla="*/ 5760610 h 6994526"/>
              <a:gd name="connsiteX1165" fmla="*/ 2462420 w 5932286"/>
              <a:gd name="connsiteY1165" fmla="*/ 5588229 h 6994526"/>
              <a:gd name="connsiteX1166" fmla="*/ 2634807 w 5932286"/>
              <a:gd name="connsiteY1166" fmla="*/ 5759200 h 6994526"/>
              <a:gd name="connsiteX1167" fmla="*/ 2463837 w 5932286"/>
              <a:gd name="connsiteY1167" fmla="*/ 5931581 h 6994526"/>
              <a:gd name="connsiteX1168" fmla="*/ 3798060 w 5932286"/>
              <a:gd name="connsiteY1168" fmla="*/ 5940306 h 6994526"/>
              <a:gd name="connsiteX1169" fmla="*/ 3638391 w 5932286"/>
              <a:gd name="connsiteY1169" fmla="*/ 5781343 h 6994526"/>
              <a:gd name="connsiteX1170" fmla="*/ 3797352 w 5932286"/>
              <a:gd name="connsiteY1170" fmla="*/ 5621676 h 6994526"/>
              <a:gd name="connsiteX1171" fmla="*/ 3957021 w 5932286"/>
              <a:gd name="connsiteY1171" fmla="*/ 5780635 h 6994526"/>
              <a:gd name="connsiteX1172" fmla="*/ 3798060 w 5932286"/>
              <a:gd name="connsiteY1172" fmla="*/ 5940306 h 6994526"/>
              <a:gd name="connsiteX1173" fmla="*/ 1104633 w 5932286"/>
              <a:gd name="connsiteY1173" fmla="*/ 5956428 h 6994526"/>
              <a:gd name="connsiteX1174" fmla="*/ 1031057 w 5932286"/>
              <a:gd name="connsiteY1174" fmla="*/ 5884367 h 6994526"/>
              <a:gd name="connsiteX1175" fmla="*/ 1103112 w 5932286"/>
              <a:gd name="connsiteY1175" fmla="*/ 5810770 h 6994526"/>
              <a:gd name="connsiteX1176" fmla="*/ 1176689 w 5932286"/>
              <a:gd name="connsiteY1176" fmla="*/ 5882834 h 6994526"/>
              <a:gd name="connsiteX1177" fmla="*/ 1104633 w 5932286"/>
              <a:gd name="connsiteY1177" fmla="*/ 5956428 h 6994526"/>
              <a:gd name="connsiteX1178" fmla="*/ 1818839 w 5932286"/>
              <a:gd name="connsiteY1178" fmla="*/ 5974160 h 6994526"/>
              <a:gd name="connsiteX1179" fmla="*/ 1711447 w 5932286"/>
              <a:gd name="connsiteY1179" fmla="*/ 5867486 h 6994526"/>
              <a:gd name="connsiteX1180" fmla="*/ 1818129 w 5932286"/>
              <a:gd name="connsiteY1180" fmla="*/ 5760094 h 6994526"/>
              <a:gd name="connsiteX1181" fmla="*/ 1925514 w 5932286"/>
              <a:gd name="connsiteY1181" fmla="*/ 5866776 h 6994526"/>
              <a:gd name="connsiteX1182" fmla="*/ 1818839 w 5932286"/>
              <a:gd name="connsiteY1182" fmla="*/ 5974160 h 6994526"/>
              <a:gd name="connsiteX1183" fmla="*/ 4168433 w 5932286"/>
              <a:gd name="connsiteY1183" fmla="*/ 5991951 h 6994526"/>
              <a:gd name="connsiteX1184" fmla="*/ 4046213 w 5932286"/>
              <a:gd name="connsiteY1184" fmla="*/ 5870441 h 6994526"/>
              <a:gd name="connsiteX1185" fmla="*/ 4167731 w 5932286"/>
              <a:gd name="connsiteY1185" fmla="*/ 5748215 h 6994526"/>
              <a:gd name="connsiteX1186" fmla="*/ 4289950 w 5932286"/>
              <a:gd name="connsiteY1186" fmla="*/ 5869732 h 6994526"/>
              <a:gd name="connsiteX1187" fmla="*/ 4168433 w 5932286"/>
              <a:gd name="connsiteY1187" fmla="*/ 5991951 h 6994526"/>
              <a:gd name="connsiteX1188" fmla="*/ 4537360 w 5932286"/>
              <a:gd name="connsiteY1188" fmla="*/ 6050417 h 6994526"/>
              <a:gd name="connsiteX1189" fmla="*/ 4444805 w 5932286"/>
              <a:gd name="connsiteY1189" fmla="*/ 5958578 h 6994526"/>
              <a:gd name="connsiteX1190" fmla="*/ 4536652 w 5932286"/>
              <a:gd name="connsiteY1190" fmla="*/ 5866023 h 6994526"/>
              <a:gd name="connsiteX1191" fmla="*/ 4629199 w 5932286"/>
              <a:gd name="connsiteY1191" fmla="*/ 5957869 h 6994526"/>
              <a:gd name="connsiteX1192" fmla="*/ 4537360 w 5932286"/>
              <a:gd name="connsiteY1192" fmla="*/ 6050417 h 6994526"/>
              <a:gd name="connsiteX1193" fmla="*/ 799114 w 5932286"/>
              <a:gd name="connsiteY1193" fmla="*/ 6078686 h 6994526"/>
              <a:gd name="connsiteX1194" fmla="*/ 726283 w 5932286"/>
              <a:gd name="connsiteY1194" fmla="*/ 6005858 h 6994526"/>
              <a:gd name="connsiteX1195" fmla="*/ 799114 w 5932286"/>
              <a:gd name="connsiteY1195" fmla="*/ 5933024 h 6994526"/>
              <a:gd name="connsiteX1196" fmla="*/ 871944 w 5932286"/>
              <a:gd name="connsiteY1196" fmla="*/ 6005858 h 6994526"/>
              <a:gd name="connsiteX1197" fmla="*/ 799114 w 5932286"/>
              <a:gd name="connsiteY1197" fmla="*/ 6078686 h 6994526"/>
              <a:gd name="connsiteX1198" fmla="*/ 4904240 w 5932286"/>
              <a:gd name="connsiteY1198" fmla="*/ 6117968 h 6994526"/>
              <a:gd name="connsiteX1199" fmla="*/ 4831419 w 5932286"/>
              <a:gd name="connsiteY1199" fmla="*/ 6045147 h 6994526"/>
              <a:gd name="connsiteX1200" fmla="*/ 4904240 w 5932286"/>
              <a:gd name="connsiteY1200" fmla="*/ 5972326 h 6994526"/>
              <a:gd name="connsiteX1201" fmla="*/ 4977060 w 5932286"/>
              <a:gd name="connsiteY1201" fmla="*/ 6045147 h 6994526"/>
              <a:gd name="connsiteX1202" fmla="*/ 4904240 w 5932286"/>
              <a:gd name="connsiteY1202" fmla="*/ 6117968 h 6994526"/>
              <a:gd name="connsiteX1203" fmla="*/ 2233269 w 5932286"/>
              <a:gd name="connsiteY1203" fmla="*/ 6138470 h 6994526"/>
              <a:gd name="connsiteX1204" fmla="*/ 2088437 w 5932286"/>
              <a:gd name="connsiteY1204" fmla="*/ 5994346 h 6994526"/>
              <a:gd name="connsiteX1205" fmla="*/ 2232561 w 5932286"/>
              <a:gd name="connsiteY1205" fmla="*/ 5849514 h 6994526"/>
              <a:gd name="connsiteX1206" fmla="*/ 2377393 w 5932286"/>
              <a:gd name="connsiteY1206" fmla="*/ 5993638 h 6994526"/>
              <a:gd name="connsiteX1207" fmla="*/ 2233269 w 5932286"/>
              <a:gd name="connsiteY1207" fmla="*/ 6138470 h 6994526"/>
              <a:gd name="connsiteX1208" fmla="*/ 481007 w 5932286"/>
              <a:gd name="connsiteY1208" fmla="*/ 6160973 h 6994526"/>
              <a:gd name="connsiteX1209" fmla="*/ 408192 w 5932286"/>
              <a:gd name="connsiteY1209" fmla="*/ 6089207 h 6994526"/>
              <a:gd name="connsiteX1210" fmla="*/ 481007 w 5932286"/>
              <a:gd name="connsiteY1210" fmla="*/ 6015334 h 6994526"/>
              <a:gd name="connsiteX1211" fmla="*/ 553830 w 5932286"/>
              <a:gd name="connsiteY1211" fmla="*/ 6088149 h 6994526"/>
              <a:gd name="connsiteX1212" fmla="*/ 481007 w 5932286"/>
              <a:gd name="connsiteY1212" fmla="*/ 6160973 h 6994526"/>
              <a:gd name="connsiteX1213" fmla="*/ 1550239 w 5932286"/>
              <a:gd name="connsiteY1213" fmla="*/ 6182436 h 6994526"/>
              <a:gd name="connsiteX1214" fmla="*/ 1423777 w 5932286"/>
              <a:gd name="connsiteY1214" fmla="*/ 6057384 h 6994526"/>
              <a:gd name="connsiteX1215" fmla="*/ 1548829 w 5932286"/>
              <a:gd name="connsiteY1215" fmla="*/ 5930918 h 6994526"/>
              <a:gd name="connsiteX1216" fmla="*/ 1675292 w 5932286"/>
              <a:gd name="connsiteY1216" fmla="*/ 6055966 h 6994526"/>
              <a:gd name="connsiteX1217" fmla="*/ 1550239 w 5932286"/>
              <a:gd name="connsiteY1217" fmla="*/ 6182436 h 6994526"/>
              <a:gd name="connsiteX1218" fmla="*/ 3622904 w 5932286"/>
              <a:gd name="connsiteY1218" fmla="*/ 6190656 h 6994526"/>
              <a:gd name="connsiteX1219" fmla="*/ 3490080 w 5932286"/>
              <a:gd name="connsiteY1219" fmla="*/ 6059245 h 6994526"/>
              <a:gd name="connsiteX1220" fmla="*/ 3622196 w 5932286"/>
              <a:gd name="connsiteY1220" fmla="*/ 5927133 h 6994526"/>
              <a:gd name="connsiteX1221" fmla="*/ 3754311 w 5932286"/>
              <a:gd name="connsiteY1221" fmla="*/ 6058537 h 6994526"/>
              <a:gd name="connsiteX1222" fmla="*/ 3622904 w 5932286"/>
              <a:gd name="connsiteY1222" fmla="*/ 6190656 h 6994526"/>
              <a:gd name="connsiteX1223" fmla="*/ 155173 w 5932286"/>
              <a:gd name="connsiteY1223" fmla="*/ 6201392 h 6994526"/>
              <a:gd name="connsiteX1224" fmla="*/ 81786 w 5932286"/>
              <a:gd name="connsiteY1224" fmla="*/ 6127999 h 6994526"/>
              <a:gd name="connsiteX1225" fmla="*/ 155173 w 5932286"/>
              <a:gd name="connsiteY1225" fmla="*/ 6055798 h 6994526"/>
              <a:gd name="connsiteX1226" fmla="*/ 228557 w 5932286"/>
              <a:gd name="connsiteY1226" fmla="*/ 6127999 h 6994526"/>
              <a:gd name="connsiteX1227" fmla="*/ 155173 w 5932286"/>
              <a:gd name="connsiteY1227" fmla="*/ 6201392 h 6994526"/>
              <a:gd name="connsiteX1228" fmla="*/ 5269637 w 5932286"/>
              <a:gd name="connsiteY1228" fmla="*/ 6204197 h 6994526"/>
              <a:gd name="connsiteX1229" fmla="*/ 5196975 w 5932286"/>
              <a:gd name="connsiteY1229" fmla="*/ 6131496 h 6994526"/>
              <a:gd name="connsiteX1230" fmla="*/ 5265842 w 5932286"/>
              <a:gd name="connsiteY1230" fmla="*/ 6058835 h 6994526"/>
              <a:gd name="connsiteX1231" fmla="*/ 5342338 w 5932286"/>
              <a:gd name="connsiteY1231" fmla="*/ 6131496 h 6994526"/>
              <a:gd name="connsiteX1232" fmla="*/ 5269637 w 5932286"/>
              <a:gd name="connsiteY1232" fmla="*/ 6204197 h 6994526"/>
              <a:gd name="connsiteX1233" fmla="*/ 3999947 w 5932286"/>
              <a:gd name="connsiteY1233" fmla="*/ 6249491 h 6994526"/>
              <a:gd name="connsiteX1234" fmla="*/ 3902452 w 5932286"/>
              <a:gd name="connsiteY1234" fmla="*/ 6152704 h 6994526"/>
              <a:gd name="connsiteX1235" fmla="*/ 3999239 w 5932286"/>
              <a:gd name="connsiteY1235" fmla="*/ 6055207 h 6994526"/>
              <a:gd name="connsiteX1236" fmla="*/ 4096735 w 5932286"/>
              <a:gd name="connsiteY1236" fmla="*/ 6151996 h 6994526"/>
              <a:gd name="connsiteX1237" fmla="*/ 3999947 w 5932286"/>
              <a:gd name="connsiteY1237" fmla="*/ 6249491 h 6994526"/>
              <a:gd name="connsiteX1238" fmla="*/ 1262057 w 5932286"/>
              <a:gd name="connsiteY1238" fmla="*/ 6307887 h 6994526"/>
              <a:gd name="connsiteX1239" fmla="*/ 1168095 w 5932286"/>
              <a:gd name="connsiteY1239" fmla="*/ 6214622 h 6994526"/>
              <a:gd name="connsiteX1240" fmla="*/ 1261350 w 5932286"/>
              <a:gd name="connsiteY1240" fmla="*/ 6120658 h 6994526"/>
              <a:gd name="connsiteX1241" fmla="*/ 1355319 w 5932286"/>
              <a:gd name="connsiteY1241" fmla="*/ 6213913 h 6994526"/>
              <a:gd name="connsiteX1242" fmla="*/ 1262057 w 5932286"/>
              <a:gd name="connsiteY1242" fmla="*/ 6307887 h 6994526"/>
              <a:gd name="connsiteX1243" fmla="*/ 4375181 w 5932286"/>
              <a:gd name="connsiteY1243" fmla="*/ 6316682 h 6994526"/>
              <a:gd name="connsiteX1244" fmla="*/ 4302000 w 5932286"/>
              <a:gd name="connsiteY1244" fmla="*/ 6244229 h 6994526"/>
              <a:gd name="connsiteX1245" fmla="*/ 4374454 w 5932286"/>
              <a:gd name="connsiteY1245" fmla="*/ 6171048 h 6994526"/>
              <a:gd name="connsiteX1246" fmla="*/ 4447635 w 5932286"/>
              <a:gd name="connsiteY1246" fmla="*/ 6243502 h 6994526"/>
              <a:gd name="connsiteX1247" fmla="*/ 4375181 w 5932286"/>
              <a:gd name="connsiteY1247" fmla="*/ 6316682 h 6994526"/>
              <a:gd name="connsiteX1248" fmla="*/ 1981139 w 5932286"/>
              <a:gd name="connsiteY1248" fmla="*/ 6352608 h 6994526"/>
              <a:gd name="connsiteX1249" fmla="*/ 1832073 w 5932286"/>
              <a:gd name="connsiteY1249" fmla="*/ 6204952 h 6994526"/>
              <a:gd name="connsiteX1250" fmla="*/ 1980438 w 5932286"/>
              <a:gd name="connsiteY1250" fmla="*/ 6056587 h 6994526"/>
              <a:gd name="connsiteX1251" fmla="*/ 2128795 w 5932286"/>
              <a:gd name="connsiteY1251" fmla="*/ 6204243 h 6994526"/>
              <a:gd name="connsiteX1252" fmla="*/ 1981139 w 5932286"/>
              <a:gd name="connsiteY1252" fmla="*/ 6352608 h 6994526"/>
              <a:gd name="connsiteX1253" fmla="*/ 4747377 w 5932286"/>
              <a:gd name="connsiteY1253" fmla="*/ 6406521 h 6994526"/>
              <a:gd name="connsiteX1254" fmla="*/ 4674556 w 5932286"/>
              <a:gd name="connsiteY1254" fmla="*/ 6333701 h 6994526"/>
              <a:gd name="connsiteX1255" fmla="*/ 4747377 w 5932286"/>
              <a:gd name="connsiteY1255" fmla="*/ 6260880 h 6994526"/>
              <a:gd name="connsiteX1256" fmla="*/ 4820184 w 5932286"/>
              <a:gd name="connsiteY1256" fmla="*/ 6333701 h 6994526"/>
              <a:gd name="connsiteX1257" fmla="*/ 4747377 w 5932286"/>
              <a:gd name="connsiteY1257" fmla="*/ 6406521 h 6994526"/>
              <a:gd name="connsiteX1258" fmla="*/ 958009 w 5932286"/>
              <a:gd name="connsiteY1258" fmla="*/ 6432315 h 6994526"/>
              <a:gd name="connsiteX1259" fmla="*/ 864045 w 5932286"/>
              <a:gd name="connsiteY1259" fmla="*/ 6339055 h 6994526"/>
              <a:gd name="connsiteX1260" fmla="*/ 957301 w 5932286"/>
              <a:gd name="connsiteY1260" fmla="*/ 6245091 h 6994526"/>
              <a:gd name="connsiteX1261" fmla="*/ 1051270 w 5932286"/>
              <a:gd name="connsiteY1261" fmla="*/ 6338347 h 6994526"/>
              <a:gd name="connsiteX1262" fmla="*/ 958009 w 5932286"/>
              <a:gd name="connsiteY1262" fmla="*/ 6432315 h 6994526"/>
              <a:gd name="connsiteX1263" fmla="*/ 3426338 w 5932286"/>
              <a:gd name="connsiteY1263" fmla="*/ 6484301 h 6994526"/>
              <a:gd name="connsiteX1264" fmla="*/ 3263843 w 5932286"/>
              <a:gd name="connsiteY1264" fmla="*/ 6323223 h 6994526"/>
              <a:gd name="connsiteX1265" fmla="*/ 3424921 w 5932286"/>
              <a:gd name="connsiteY1265" fmla="*/ 6160725 h 6994526"/>
              <a:gd name="connsiteX1266" fmla="*/ 3587416 w 5932286"/>
              <a:gd name="connsiteY1266" fmla="*/ 6321806 h 6994526"/>
              <a:gd name="connsiteX1267" fmla="*/ 3426338 w 5932286"/>
              <a:gd name="connsiteY1267" fmla="*/ 6484301 h 6994526"/>
              <a:gd name="connsiteX1268" fmla="*/ 5117751 w 5932286"/>
              <a:gd name="connsiteY1268" fmla="*/ 6495980 h 6994526"/>
              <a:gd name="connsiteX1269" fmla="*/ 5044937 w 5932286"/>
              <a:gd name="connsiteY1269" fmla="*/ 6423146 h 6994526"/>
              <a:gd name="connsiteX1270" fmla="*/ 5117751 w 5932286"/>
              <a:gd name="connsiteY1270" fmla="*/ 6350312 h 6994526"/>
              <a:gd name="connsiteX1271" fmla="*/ 5190564 w 5932286"/>
              <a:gd name="connsiteY1271" fmla="*/ 6423146 h 6994526"/>
              <a:gd name="connsiteX1272" fmla="*/ 5117751 w 5932286"/>
              <a:gd name="connsiteY1272" fmla="*/ 6495980 h 6994526"/>
              <a:gd name="connsiteX1273" fmla="*/ 2399822 w 5932286"/>
              <a:gd name="connsiteY1273" fmla="*/ 6500545 h 6994526"/>
              <a:gd name="connsiteX1274" fmla="*/ 2235207 w 5932286"/>
              <a:gd name="connsiteY1274" fmla="*/ 6336646 h 6994526"/>
              <a:gd name="connsiteX1275" fmla="*/ 2399114 w 5932286"/>
              <a:gd name="connsiteY1275" fmla="*/ 6172033 h 6994526"/>
              <a:gd name="connsiteX1276" fmla="*/ 2462988 w 5932286"/>
              <a:gd name="connsiteY1276" fmla="*/ 6184925 h 6994526"/>
              <a:gd name="connsiteX1277" fmla="*/ 2500338 w 5932286"/>
              <a:gd name="connsiteY1277" fmla="*/ 6210005 h 6994526"/>
              <a:gd name="connsiteX1278" fmla="*/ 2478864 w 5932286"/>
              <a:gd name="connsiteY1278" fmla="*/ 6178416 h 6994526"/>
              <a:gd name="connsiteX1279" fmla="*/ 2464821 w 5932286"/>
              <a:gd name="connsiteY1279" fmla="*/ 6111144 h 6994526"/>
              <a:gd name="connsiteX1280" fmla="*/ 2637204 w 5932286"/>
              <a:gd name="connsiteY1280" fmla="*/ 5937353 h 6994526"/>
              <a:gd name="connsiteX1281" fmla="*/ 2680258 w 5932286"/>
              <a:gd name="connsiteY1281" fmla="*/ 5945763 h 6994526"/>
              <a:gd name="connsiteX1282" fmla="*/ 2676188 w 5932286"/>
              <a:gd name="connsiteY1282" fmla="*/ 5939774 h 6994526"/>
              <a:gd name="connsiteX1283" fmla="*/ 2660523 w 5932286"/>
              <a:gd name="connsiteY1283" fmla="*/ 5864222 h 6994526"/>
              <a:gd name="connsiteX1284" fmla="*/ 2854103 w 5932286"/>
              <a:gd name="connsiteY1284" fmla="*/ 5669232 h 6994526"/>
              <a:gd name="connsiteX1285" fmla="*/ 2876716 w 5932286"/>
              <a:gd name="connsiteY1285" fmla="*/ 5673663 h 6994526"/>
              <a:gd name="connsiteX1286" fmla="*/ 2875899 w 5932286"/>
              <a:gd name="connsiteY1286" fmla="*/ 5672461 h 6994526"/>
              <a:gd name="connsiteX1287" fmla="*/ 2861030 w 5932286"/>
              <a:gd name="connsiteY1287" fmla="*/ 5599396 h 6994526"/>
              <a:gd name="connsiteX1288" fmla="*/ 3048249 w 5932286"/>
              <a:gd name="connsiteY1288" fmla="*/ 5410763 h 6994526"/>
              <a:gd name="connsiteX1289" fmla="*/ 3049311 w 5932286"/>
              <a:gd name="connsiteY1289" fmla="*/ 5410973 h 6994526"/>
              <a:gd name="connsiteX1290" fmla="*/ 3037902 w 5932286"/>
              <a:gd name="connsiteY1290" fmla="*/ 5394195 h 6994526"/>
              <a:gd name="connsiteX1291" fmla="*/ 3022009 w 5932286"/>
              <a:gd name="connsiteY1291" fmla="*/ 5317618 h 6994526"/>
              <a:gd name="connsiteX1292" fmla="*/ 3141127 w 5932286"/>
              <a:gd name="connsiteY1292" fmla="*/ 5136019 h 6994526"/>
              <a:gd name="connsiteX1293" fmla="*/ 3213112 w 5932286"/>
              <a:gd name="connsiteY1293" fmla="*/ 5121447 h 6994526"/>
              <a:gd name="connsiteX1294" fmla="*/ 3194016 w 5932286"/>
              <a:gd name="connsiteY1294" fmla="*/ 5093389 h 6994526"/>
              <a:gd name="connsiteX1295" fmla="*/ 3179224 w 5932286"/>
              <a:gd name="connsiteY1295" fmla="*/ 5022285 h 6994526"/>
              <a:gd name="connsiteX1296" fmla="*/ 3290395 w 5932286"/>
              <a:gd name="connsiteY1296" fmla="*/ 4853396 h 6994526"/>
              <a:gd name="connsiteX1297" fmla="*/ 3359764 w 5932286"/>
              <a:gd name="connsiteY1297" fmla="*/ 4838968 h 6994526"/>
              <a:gd name="connsiteX1298" fmla="*/ 3356937 w 5932286"/>
              <a:gd name="connsiteY1298" fmla="*/ 4837077 h 6994526"/>
              <a:gd name="connsiteX1299" fmla="*/ 3305805 w 5932286"/>
              <a:gd name="connsiteY1299" fmla="*/ 4714856 h 6994526"/>
              <a:gd name="connsiteX1300" fmla="*/ 3478185 w 5932286"/>
              <a:gd name="connsiteY1300" fmla="*/ 4541063 h 6994526"/>
              <a:gd name="connsiteX1301" fmla="*/ 3485099 w 5932286"/>
              <a:gd name="connsiteY1301" fmla="*/ 4542417 h 6994526"/>
              <a:gd name="connsiteX1302" fmla="*/ 3447824 w 5932286"/>
              <a:gd name="connsiteY1302" fmla="*/ 4517494 h 6994526"/>
              <a:gd name="connsiteX1303" fmla="*/ 3397928 w 5932286"/>
              <a:gd name="connsiteY1303" fmla="*/ 4398096 h 6994526"/>
              <a:gd name="connsiteX1304" fmla="*/ 3501057 w 5932286"/>
              <a:gd name="connsiteY1304" fmla="*/ 4241919 h 6994526"/>
              <a:gd name="connsiteX1305" fmla="*/ 3555561 w 5932286"/>
              <a:gd name="connsiteY1305" fmla="*/ 4230945 h 6994526"/>
              <a:gd name="connsiteX1306" fmla="*/ 3505082 w 5932286"/>
              <a:gd name="connsiteY1306" fmla="*/ 4197243 h 6994526"/>
              <a:gd name="connsiteX1307" fmla="*/ 3453952 w 5932286"/>
              <a:gd name="connsiteY1307" fmla="*/ 4075282 h 6994526"/>
              <a:gd name="connsiteX1308" fmla="*/ 3559164 w 5932286"/>
              <a:gd name="connsiteY1308" fmla="*/ 3915133 h 6994526"/>
              <a:gd name="connsiteX1309" fmla="*/ 3601066 w 5932286"/>
              <a:gd name="connsiteY1309" fmla="*/ 3906621 h 6994526"/>
              <a:gd name="connsiteX1310" fmla="*/ 3591780 w 5932286"/>
              <a:gd name="connsiteY1310" fmla="*/ 3904750 h 6994526"/>
              <a:gd name="connsiteX1311" fmla="*/ 3487165 w 5932286"/>
              <a:gd name="connsiteY1311" fmla="*/ 3747896 h 6994526"/>
              <a:gd name="connsiteX1312" fmla="*/ 3590884 w 5932286"/>
              <a:gd name="connsiteY1312" fmla="*/ 3590733 h 6994526"/>
              <a:gd name="connsiteX1313" fmla="*/ 3638553 w 5932286"/>
              <a:gd name="connsiteY1313" fmla="*/ 3580852 h 6994526"/>
              <a:gd name="connsiteX1314" fmla="*/ 3595297 w 5932286"/>
              <a:gd name="connsiteY1314" fmla="*/ 3572373 h 6994526"/>
              <a:gd name="connsiteX1315" fmla="*/ 3493564 w 5932286"/>
              <a:gd name="connsiteY1315" fmla="*/ 3420391 h 6994526"/>
              <a:gd name="connsiteX1316" fmla="*/ 3658886 w 5932286"/>
              <a:gd name="connsiteY1316" fmla="*/ 3253676 h 6994526"/>
              <a:gd name="connsiteX1317" fmla="*/ 3824909 w 5932286"/>
              <a:gd name="connsiteY1317" fmla="*/ 3418983 h 6994526"/>
              <a:gd name="connsiteX1318" fmla="*/ 3723868 w 5932286"/>
              <a:gd name="connsiteY1318" fmla="*/ 3571853 h 6994526"/>
              <a:gd name="connsiteX1319" fmla="*/ 3678299 w 5932286"/>
              <a:gd name="connsiteY1319" fmla="*/ 3581158 h 6994526"/>
              <a:gd name="connsiteX1320" fmla="*/ 3723682 w 5932286"/>
              <a:gd name="connsiteY1320" fmla="*/ 3590327 h 6994526"/>
              <a:gd name="connsiteX1321" fmla="*/ 3828397 w 5932286"/>
              <a:gd name="connsiteY1321" fmla="*/ 3747187 h 6994526"/>
              <a:gd name="connsiteX1322" fmla="*/ 3724380 w 5932286"/>
              <a:gd name="connsiteY1322" fmla="*/ 3904635 h 6994526"/>
              <a:gd name="connsiteX1323" fmla="*/ 3684115 w 5932286"/>
              <a:gd name="connsiteY1323" fmla="*/ 3912843 h 6994526"/>
              <a:gd name="connsiteX1324" fmla="*/ 3693627 w 5932286"/>
              <a:gd name="connsiteY1324" fmla="*/ 3914710 h 6994526"/>
              <a:gd name="connsiteX1325" fmla="*/ 3800132 w 5932286"/>
              <a:gd name="connsiteY1325" fmla="*/ 4073868 h 6994526"/>
              <a:gd name="connsiteX1326" fmla="*/ 3694919 w 5932286"/>
              <a:gd name="connsiteY1326" fmla="*/ 4233624 h 6994526"/>
              <a:gd name="connsiteX1327" fmla="*/ 3638655 w 5932286"/>
              <a:gd name="connsiteY1327" fmla="*/ 4245389 h 6994526"/>
              <a:gd name="connsiteX1328" fmla="*/ 3687241 w 5932286"/>
              <a:gd name="connsiteY1328" fmla="*/ 4277994 h 6994526"/>
              <a:gd name="connsiteX1329" fmla="*/ 3737049 w 5932286"/>
              <a:gd name="connsiteY1329" fmla="*/ 4397395 h 6994526"/>
              <a:gd name="connsiteX1330" fmla="*/ 3568192 w 5932286"/>
              <a:gd name="connsiteY1330" fmla="*/ 4566952 h 6994526"/>
              <a:gd name="connsiteX1331" fmla="*/ 3562966 w 5932286"/>
              <a:gd name="connsiteY1331" fmla="*/ 4565909 h 6994526"/>
              <a:gd name="connsiteX1332" fmla="*/ 3600850 w 5932286"/>
              <a:gd name="connsiteY1332" fmla="*/ 4591221 h 6994526"/>
              <a:gd name="connsiteX1333" fmla="*/ 3651980 w 5932286"/>
              <a:gd name="connsiteY1333" fmla="*/ 4713442 h 6994526"/>
              <a:gd name="connsiteX1334" fmla="*/ 3546870 w 5932286"/>
              <a:gd name="connsiteY1334" fmla="*/ 4873200 h 6994526"/>
              <a:gd name="connsiteX1335" fmla="*/ 3483492 w 5932286"/>
              <a:gd name="connsiteY1335" fmla="*/ 4886428 h 6994526"/>
              <a:gd name="connsiteX1336" fmla="*/ 3491228 w 5932286"/>
              <a:gd name="connsiteY1336" fmla="*/ 4891595 h 6994526"/>
              <a:gd name="connsiteX1337" fmla="*/ 3545187 w 5932286"/>
              <a:gd name="connsiteY1337" fmla="*/ 5020876 h 6994526"/>
              <a:gd name="connsiteX1338" fmla="*/ 3434112 w 5932286"/>
              <a:gd name="connsiteY1338" fmla="*/ 5190075 h 6994526"/>
              <a:gd name="connsiteX1339" fmla="*/ 3374016 w 5932286"/>
              <a:gd name="connsiteY1339" fmla="*/ 5202313 h 6994526"/>
              <a:gd name="connsiteX1340" fmla="*/ 3399316 w 5932286"/>
              <a:gd name="connsiteY1340" fmla="*/ 5239626 h 6994526"/>
              <a:gd name="connsiteX1341" fmla="*/ 3414815 w 5932286"/>
              <a:gd name="connsiteY1341" fmla="*/ 5316204 h 6994526"/>
              <a:gd name="connsiteX1342" fmla="*/ 3219121 w 5932286"/>
              <a:gd name="connsiteY1342" fmla="*/ 5513309 h 6994526"/>
              <a:gd name="connsiteX1343" fmla="*/ 3213113 w 5932286"/>
              <a:gd name="connsiteY1343" fmla="*/ 5512131 h 6994526"/>
              <a:gd name="connsiteX1344" fmla="*/ 3221715 w 5932286"/>
              <a:gd name="connsiteY1344" fmla="*/ 5524812 h 6994526"/>
              <a:gd name="connsiteX1345" fmla="*/ 3236884 w 5932286"/>
              <a:gd name="connsiteY1345" fmla="*/ 5597980 h 6994526"/>
              <a:gd name="connsiteX1346" fmla="*/ 3049665 w 5932286"/>
              <a:gd name="connsiteY1346" fmla="*/ 5786617 h 6994526"/>
              <a:gd name="connsiteX1347" fmla="*/ 3030806 w 5932286"/>
              <a:gd name="connsiteY1347" fmla="*/ 5782846 h 6994526"/>
              <a:gd name="connsiteX1348" fmla="*/ 3033734 w 5932286"/>
              <a:gd name="connsiteY1348" fmla="*/ 5787159 h 6994526"/>
              <a:gd name="connsiteX1349" fmla="*/ 3049099 w 5932286"/>
              <a:gd name="connsiteY1349" fmla="*/ 5862812 h 6994526"/>
              <a:gd name="connsiteX1350" fmla="*/ 2855519 w 5932286"/>
              <a:gd name="connsiteY1350" fmla="*/ 6057808 h 6994526"/>
              <a:gd name="connsiteX1351" fmla="*/ 2798141 w 5932286"/>
              <a:gd name="connsiteY1351" fmla="*/ 6046322 h 6994526"/>
              <a:gd name="connsiteX1352" fmla="*/ 2811002 w 5932286"/>
              <a:gd name="connsiteY1352" fmla="*/ 6109729 h 6994526"/>
              <a:gd name="connsiteX1353" fmla="*/ 2638619 w 5932286"/>
              <a:gd name="connsiteY1353" fmla="*/ 6283526 h 6994526"/>
              <a:gd name="connsiteX1354" fmla="*/ 2571325 w 5932286"/>
              <a:gd name="connsiteY1354" fmla="*/ 6270302 h 6994526"/>
              <a:gd name="connsiteX1355" fmla="*/ 2531170 w 5932286"/>
              <a:gd name="connsiteY1355" fmla="*/ 6243387 h 6994526"/>
              <a:gd name="connsiteX1356" fmla="*/ 2550725 w 5932286"/>
              <a:gd name="connsiteY1356" fmla="*/ 6272177 h 6994526"/>
              <a:gd name="connsiteX1357" fmla="*/ 2563729 w 5932286"/>
              <a:gd name="connsiteY1357" fmla="*/ 6335936 h 6994526"/>
              <a:gd name="connsiteX1358" fmla="*/ 2399822 w 5932286"/>
              <a:gd name="connsiteY1358" fmla="*/ 6500545 h 6994526"/>
              <a:gd name="connsiteX1359" fmla="*/ 3812095 w 5932286"/>
              <a:gd name="connsiteY1359" fmla="*/ 6527635 h 6994526"/>
              <a:gd name="connsiteX1360" fmla="*/ 3706118 w 5932286"/>
              <a:gd name="connsiteY1360" fmla="*/ 6422367 h 6994526"/>
              <a:gd name="connsiteX1361" fmla="*/ 3811387 w 5932286"/>
              <a:gd name="connsiteY1361" fmla="*/ 6316391 h 6994526"/>
              <a:gd name="connsiteX1362" fmla="*/ 3917363 w 5932286"/>
              <a:gd name="connsiteY1362" fmla="*/ 6421660 h 6994526"/>
              <a:gd name="connsiteX1363" fmla="*/ 3812095 w 5932286"/>
              <a:gd name="connsiteY1363" fmla="*/ 6527635 h 6994526"/>
              <a:gd name="connsiteX1364" fmla="*/ 1709037 w 5932286"/>
              <a:gd name="connsiteY1364" fmla="*/ 6537172 h 6994526"/>
              <a:gd name="connsiteX1365" fmla="*/ 1559971 w 5932286"/>
              <a:gd name="connsiteY1365" fmla="*/ 6389518 h 6994526"/>
              <a:gd name="connsiteX1366" fmla="*/ 1707627 w 5932286"/>
              <a:gd name="connsiteY1366" fmla="*/ 6240451 h 6994526"/>
              <a:gd name="connsiteX1367" fmla="*/ 1856693 w 5932286"/>
              <a:gd name="connsiteY1367" fmla="*/ 6388106 h 6994526"/>
              <a:gd name="connsiteX1368" fmla="*/ 1709037 w 5932286"/>
              <a:gd name="connsiteY1368" fmla="*/ 6537172 h 6994526"/>
              <a:gd name="connsiteX1369" fmla="*/ 642451 w 5932286"/>
              <a:gd name="connsiteY1369" fmla="*/ 6554755 h 6994526"/>
              <a:gd name="connsiteX1370" fmla="*/ 515987 w 5932286"/>
              <a:gd name="connsiteY1370" fmla="*/ 6429700 h 6994526"/>
              <a:gd name="connsiteX1371" fmla="*/ 641042 w 5932286"/>
              <a:gd name="connsiteY1371" fmla="*/ 6303240 h 6994526"/>
              <a:gd name="connsiteX1372" fmla="*/ 767505 w 5932286"/>
              <a:gd name="connsiteY1372" fmla="*/ 6428285 h 6994526"/>
              <a:gd name="connsiteX1373" fmla="*/ 642451 w 5932286"/>
              <a:gd name="connsiteY1373" fmla="*/ 6554755 h 6994526"/>
              <a:gd name="connsiteX1374" fmla="*/ 4194588 w 5932286"/>
              <a:gd name="connsiteY1374" fmla="*/ 6591200 h 6994526"/>
              <a:gd name="connsiteX1375" fmla="*/ 4121407 w 5932286"/>
              <a:gd name="connsiteY1375" fmla="*/ 6518745 h 6994526"/>
              <a:gd name="connsiteX1376" fmla="*/ 4193861 w 5932286"/>
              <a:gd name="connsiteY1376" fmla="*/ 6445565 h 6994526"/>
              <a:gd name="connsiteX1377" fmla="*/ 4267042 w 5932286"/>
              <a:gd name="connsiteY1377" fmla="*/ 6518019 h 6994526"/>
              <a:gd name="connsiteX1378" fmla="*/ 4194588 w 5932286"/>
              <a:gd name="connsiteY1378" fmla="*/ 6591200 h 6994526"/>
              <a:gd name="connsiteX1379" fmla="*/ 317955 w 5932286"/>
              <a:gd name="connsiteY1379" fmla="*/ 6594472 h 6994526"/>
              <a:gd name="connsiteX1380" fmla="*/ 205623 w 5932286"/>
              <a:gd name="connsiteY1380" fmla="*/ 6482847 h 6994526"/>
              <a:gd name="connsiteX1381" fmla="*/ 317247 w 5932286"/>
              <a:gd name="connsiteY1381" fmla="*/ 6370516 h 6994526"/>
              <a:gd name="connsiteX1382" fmla="*/ 429578 w 5932286"/>
              <a:gd name="connsiteY1382" fmla="*/ 6482138 h 6994526"/>
              <a:gd name="connsiteX1383" fmla="*/ 317955 w 5932286"/>
              <a:gd name="connsiteY1383" fmla="*/ 6594472 h 6994526"/>
              <a:gd name="connsiteX1384" fmla="*/ 0 w 5932286"/>
              <a:gd name="connsiteY1384" fmla="*/ 6602983 h 6994526"/>
              <a:gd name="connsiteX1385" fmla="*/ 0 w 5932286"/>
              <a:gd name="connsiteY1385" fmla="*/ 6395926 h 6994526"/>
              <a:gd name="connsiteX1386" fmla="*/ 30295 w 5932286"/>
              <a:gd name="connsiteY1386" fmla="*/ 6401722 h 6994526"/>
              <a:gd name="connsiteX1387" fmla="*/ 94975 w 5932286"/>
              <a:gd name="connsiteY1387" fmla="*/ 6499084 h 6994526"/>
              <a:gd name="connsiteX1388" fmla="*/ 30989 w 5932286"/>
              <a:gd name="connsiteY1388" fmla="*/ 6596667 h 6994526"/>
              <a:gd name="connsiteX1389" fmla="*/ 2809415 w 5932286"/>
              <a:gd name="connsiteY1389" fmla="*/ 6611719 h 6994526"/>
              <a:gd name="connsiteX1390" fmla="*/ 2654697 w 5932286"/>
              <a:gd name="connsiteY1390" fmla="*/ 6457689 h 6994526"/>
              <a:gd name="connsiteX1391" fmla="*/ 2808707 w 5932286"/>
              <a:gd name="connsiteY1391" fmla="*/ 6302974 h 6994526"/>
              <a:gd name="connsiteX1392" fmla="*/ 2868651 w 5932286"/>
              <a:gd name="connsiteY1392" fmla="*/ 6315017 h 6994526"/>
              <a:gd name="connsiteX1393" fmla="*/ 2909063 w 5932286"/>
              <a:gd name="connsiteY1393" fmla="*/ 6342039 h 6994526"/>
              <a:gd name="connsiteX1394" fmla="*/ 2872584 w 5932286"/>
              <a:gd name="connsiteY1394" fmla="*/ 6288313 h 6994526"/>
              <a:gd name="connsiteX1395" fmla="*/ 2858291 w 5932286"/>
              <a:gd name="connsiteY1395" fmla="*/ 6219594 h 6994526"/>
              <a:gd name="connsiteX1396" fmla="*/ 3034206 w 5932286"/>
              <a:gd name="connsiteY1396" fmla="*/ 6042271 h 6994526"/>
              <a:gd name="connsiteX1397" fmla="*/ 3077479 w 5932286"/>
              <a:gd name="connsiteY1397" fmla="*/ 6050742 h 6994526"/>
              <a:gd name="connsiteX1398" fmla="*/ 3067919 w 5932286"/>
              <a:gd name="connsiteY1398" fmla="*/ 6036652 h 6994526"/>
              <a:gd name="connsiteX1399" fmla="*/ 3052755 w 5932286"/>
              <a:gd name="connsiteY1399" fmla="*/ 5963487 h 6994526"/>
              <a:gd name="connsiteX1400" fmla="*/ 3239974 w 5932286"/>
              <a:gd name="connsiteY1400" fmla="*/ 5774851 h 6994526"/>
              <a:gd name="connsiteX1401" fmla="*/ 3262349 w 5932286"/>
              <a:gd name="connsiteY1401" fmla="*/ 5779233 h 6994526"/>
              <a:gd name="connsiteX1402" fmla="*/ 3252386 w 5932286"/>
              <a:gd name="connsiteY1402" fmla="*/ 5764547 h 6994526"/>
              <a:gd name="connsiteX1403" fmla="*/ 3237221 w 5932286"/>
              <a:gd name="connsiteY1403" fmla="*/ 5691380 h 6994526"/>
              <a:gd name="connsiteX1404" fmla="*/ 3424440 w 5932286"/>
              <a:gd name="connsiteY1404" fmla="*/ 5502744 h 6994526"/>
              <a:gd name="connsiteX1405" fmla="*/ 3449879 w 5932286"/>
              <a:gd name="connsiteY1405" fmla="*/ 5507836 h 6994526"/>
              <a:gd name="connsiteX1406" fmla="*/ 3426219 w 5932286"/>
              <a:gd name="connsiteY1406" fmla="*/ 5472952 h 6994526"/>
              <a:gd name="connsiteX1407" fmla="*/ 3412465 w 5932286"/>
              <a:gd name="connsiteY1407" fmla="*/ 5405261 h 6994526"/>
              <a:gd name="connsiteX1408" fmla="*/ 3585553 w 5932286"/>
              <a:gd name="connsiteY1408" fmla="*/ 5230046 h 6994526"/>
              <a:gd name="connsiteX1409" fmla="*/ 3608013 w 5932286"/>
              <a:gd name="connsiteY1409" fmla="*/ 5234538 h 6994526"/>
              <a:gd name="connsiteX1410" fmla="*/ 3601178 w 5932286"/>
              <a:gd name="connsiteY1410" fmla="*/ 5229950 h 6994526"/>
              <a:gd name="connsiteX1411" fmla="*/ 3549959 w 5932286"/>
              <a:gd name="connsiteY1411" fmla="*/ 5107029 h 6994526"/>
              <a:gd name="connsiteX1412" fmla="*/ 3723755 w 5932286"/>
              <a:gd name="connsiteY1412" fmla="*/ 4931805 h 6994526"/>
              <a:gd name="connsiteX1413" fmla="*/ 3748379 w 5932286"/>
              <a:gd name="connsiteY1413" fmla="*/ 4936760 h 6994526"/>
              <a:gd name="connsiteX1414" fmla="*/ 3718249 w 5932286"/>
              <a:gd name="connsiteY1414" fmla="*/ 4916569 h 6994526"/>
              <a:gd name="connsiteX1415" fmla="*/ 3668529 w 5932286"/>
              <a:gd name="connsiteY1415" fmla="*/ 4798134 h 6994526"/>
              <a:gd name="connsiteX1416" fmla="*/ 3835969 w 5932286"/>
              <a:gd name="connsiteY1416" fmla="*/ 4629284 h 6994526"/>
              <a:gd name="connsiteX1417" fmla="*/ 4004824 w 5932286"/>
              <a:gd name="connsiteY1417" fmla="*/ 4796726 h 6994526"/>
              <a:gd name="connsiteX1418" fmla="*/ 3837386 w 5932286"/>
              <a:gd name="connsiteY1418" fmla="*/ 4965582 h 6994526"/>
              <a:gd name="connsiteX1419" fmla="*/ 3814820 w 5932286"/>
              <a:gd name="connsiteY1419" fmla="*/ 4961058 h 6994526"/>
              <a:gd name="connsiteX1420" fmla="*/ 3847038 w 5932286"/>
              <a:gd name="connsiteY1420" fmla="*/ 4982675 h 6994526"/>
              <a:gd name="connsiteX1421" fmla="*/ 3898261 w 5932286"/>
              <a:gd name="connsiteY1421" fmla="*/ 5105609 h 6994526"/>
              <a:gd name="connsiteX1422" fmla="*/ 3724457 w 5932286"/>
              <a:gd name="connsiteY1422" fmla="*/ 5280821 h 6994526"/>
              <a:gd name="connsiteX1423" fmla="*/ 3702792 w 5932286"/>
              <a:gd name="connsiteY1423" fmla="*/ 5276460 h 6994526"/>
              <a:gd name="connsiteX1424" fmla="*/ 3709455 w 5932286"/>
              <a:gd name="connsiteY1424" fmla="*/ 5280914 h 6994526"/>
              <a:gd name="connsiteX1425" fmla="*/ 3760767 w 5932286"/>
              <a:gd name="connsiteY1425" fmla="*/ 5403845 h 6994526"/>
              <a:gd name="connsiteX1426" fmla="*/ 3586963 w 5932286"/>
              <a:gd name="connsiteY1426" fmla="*/ 5579062 h 6994526"/>
              <a:gd name="connsiteX1427" fmla="*/ 3569818 w 5932286"/>
              <a:gd name="connsiteY1427" fmla="*/ 5575612 h 6994526"/>
              <a:gd name="connsiteX1428" fmla="*/ 3597906 w 5932286"/>
              <a:gd name="connsiteY1428" fmla="*/ 5616900 h 6994526"/>
              <a:gd name="connsiteX1429" fmla="*/ 3613075 w 5932286"/>
              <a:gd name="connsiteY1429" fmla="*/ 5689965 h 6994526"/>
              <a:gd name="connsiteX1430" fmla="*/ 3425856 w 5932286"/>
              <a:gd name="connsiteY1430" fmla="*/ 5878600 h 6994526"/>
              <a:gd name="connsiteX1431" fmla="*/ 3403809 w 5932286"/>
              <a:gd name="connsiteY1431" fmla="*/ 5874278 h 6994526"/>
              <a:gd name="connsiteX1432" fmla="*/ 3413739 w 5932286"/>
              <a:gd name="connsiteY1432" fmla="*/ 5888904 h 6994526"/>
              <a:gd name="connsiteX1433" fmla="*/ 3428609 w 5932286"/>
              <a:gd name="connsiteY1433" fmla="*/ 5962072 h 6994526"/>
              <a:gd name="connsiteX1434" fmla="*/ 3241390 w 5932286"/>
              <a:gd name="connsiteY1434" fmla="*/ 6150705 h 6994526"/>
              <a:gd name="connsiteX1435" fmla="*/ 3191769 w 5932286"/>
              <a:gd name="connsiteY1435" fmla="*/ 6140976 h 6994526"/>
              <a:gd name="connsiteX1436" fmla="*/ 3197540 w 5932286"/>
              <a:gd name="connsiteY1436" fmla="*/ 6149466 h 6994526"/>
              <a:gd name="connsiteX1437" fmla="*/ 3211537 w 5932286"/>
              <a:gd name="connsiteY1437" fmla="*/ 6218185 h 6994526"/>
              <a:gd name="connsiteX1438" fmla="*/ 3035615 w 5932286"/>
              <a:gd name="connsiteY1438" fmla="*/ 6395516 h 6994526"/>
              <a:gd name="connsiteX1439" fmla="*/ 2966876 w 5932286"/>
              <a:gd name="connsiteY1439" fmla="*/ 6382037 h 6994526"/>
              <a:gd name="connsiteX1440" fmla="*/ 2919475 w 5932286"/>
              <a:gd name="connsiteY1440" fmla="*/ 6350290 h 6994526"/>
              <a:gd name="connsiteX1441" fmla="*/ 2951179 w 5932286"/>
              <a:gd name="connsiteY1441" fmla="*/ 6396858 h 6994526"/>
              <a:gd name="connsiteX1442" fmla="*/ 2963432 w 5932286"/>
              <a:gd name="connsiteY1442" fmla="*/ 6456987 h 6994526"/>
              <a:gd name="connsiteX1443" fmla="*/ 2809415 w 5932286"/>
              <a:gd name="connsiteY1443" fmla="*/ 6611719 h 6994526"/>
              <a:gd name="connsiteX1444" fmla="*/ 4573566 w 5932286"/>
              <a:gd name="connsiteY1444" fmla="*/ 6685393 h 6994526"/>
              <a:gd name="connsiteX1445" fmla="*/ 4500747 w 5932286"/>
              <a:gd name="connsiteY1445" fmla="*/ 6612573 h 6994526"/>
              <a:gd name="connsiteX1446" fmla="*/ 4573566 w 5932286"/>
              <a:gd name="connsiteY1446" fmla="*/ 6539751 h 6994526"/>
              <a:gd name="connsiteX1447" fmla="*/ 4646386 w 5932286"/>
              <a:gd name="connsiteY1447" fmla="*/ 6612573 h 6994526"/>
              <a:gd name="connsiteX1448" fmla="*/ 4573566 w 5932286"/>
              <a:gd name="connsiteY1448" fmla="*/ 6685393 h 6994526"/>
              <a:gd name="connsiteX1449" fmla="*/ 2142359 w 5932286"/>
              <a:gd name="connsiteY1449" fmla="*/ 6702651 h 6994526"/>
              <a:gd name="connsiteX1450" fmla="*/ 1979865 w 5932286"/>
              <a:gd name="connsiteY1450" fmla="*/ 6541555 h 6994526"/>
              <a:gd name="connsiteX1451" fmla="*/ 2140943 w 5932286"/>
              <a:gd name="connsiteY1451" fmla="*/ 6379060 h 6994526"/>
              <a:gd name="connsiteX1452" fmla="*/ 2303438 w 5932286"/>
              <a:gd name="connsiteY1452" fmla="*/ 6540139 h 6994526"/>
              <a:gd name="connsiteX1453" fmla="*/ 2142359 w 5932286"/>
              <a:gd name="connsiteY1453" fmla="*/ 6702651 h 6994526"/>
              <a:gd name="connsiteX1454" fmla="*/ 1419410 w 5932286"/>
              <a:gd name="connsiteY1454" fmla="*/ 6703796 h 6994526"/>
              <a:gd name="connsiteX1455" fmla="*/ 1259741 w 5932286"/>
              <a:gd name="connsiteY1455" fmla="*/ 6544821 h 6994526"/>
              <a:gd name="connsiteX1456" fmla="*/ 1418702 w 5932286"/>
              <a:gd name="connsiteY1456" fmla="*/ 6385151 h 6994526"/>
              <a:gd name="connsiteX1457" fmla="*/ 1578369 w 5932286"/>
              <a:gd name="connsiteY1457" fmla="*/ 6544112 h 6994526"/>
              <a:gd name="connsiteX1458" fmla="*/ 1419410 w 5932286"/>
              <a:gd name="connsiteY1458" fmla="*/ 6703796 h 6994526"/>
              <a:gd name="connsiteX1459" fmla="*/ 3211370 w 5932286"/>
              <a:gd name="connsiteY1459" fmla="*/ 6707954 h 6994526"/>
              <a:gd name="connsiteX1460" fmla="*/ 3073607 w 5932286"/>
              <a:gd name="connsiteY1460" fmla="*/ 6571591 h 6994526"/>
              <a:gd name="connsiteX1461" fmla="*/ 3210668 w 5932286"/>
              <a:gd name="connsiteY1461" fmla="*/ 6433826 h 6994526"/>
              <a:gd name="connsiteX1462" fmla="*/ 3347724 w 5932286"/>
              <a:gd name="connsiteY1462" fmla="*/ 6570182 h 6994526"/>
              <a:gd name="connsiteX1463" fmla="*/ 3211370 w 5932286"/>
              <a:gd name="connsiteY1463" fmla="*/ 6707954 h 6994526"/>
              <a:gd name="connsiteX1464" fmla="*/ 4950232 w 5932286"/>
              <a:gd name="connsiteY1464" fmla="*/ 6778374 h 6994526"/>
              <a:gd name="connsiteX1465" fmla="*/ 4877418 w 5932286"/>
              <a:gd name="connsiteY1465" fmla="*/ 6705537 h 6994526"/>
              <a:gd name="connsiteX1466" fmla="*/ 4950232 w 5932286"/>
              <a:gd name="connsiteY1466" fmla="*/ 6632724 h 6994526"/>
              <a:gd name="connsiteX1467" fmla="*/ 5023069 w 5932286"/>
              <a:gd name="connsiteY1467" fmla="*/ 6705537 h 6994526"/>
              <a:gd name="connsiteX1468" fmla="*/ 4950232 w 5932286"/>
              <a:gd name="connsiteY1468" fmla="*/ 6778374 h 6994526"/>
              <a:gd name="connsiteX1469" fmla="*/ 3606328 w 5932286"/>
              <a:gd name="connsiteY1469" fmla="*/ 6783767 h 6994526"/>
              <a:gd name="connsiteX1470" fmla="*/ 3500354 w 5932286"/>
              <a:gd name="connsiteY1470" fmla="*/ 6678501 h 6994526"/>
              <a:gd name="connsiteX1471" fmla="*/ 3605619 w 5932286"/>
              <a:gd name="connsiteY1471" fmla="*/ 6572519 h 6994526"/>
              <a:gd name="connsiteX1472" fmla="*/ 3711594 w 5932286"/>
              <a:gd name="connsiteY1472" fmla="*/ 6677794 h 6994526"/>
              <a:gd name="connsiteX1473" fmla="*/ 3606328 w 5932286"/>
              <a:gd name="connsiteY1473" fmla="*/ 6783767 h 6994526"/>
              <a:gd name="connsiteX1474" fmla="*/ 1116919 w 5932286"/>
              <a:gd name="connsiteY1474" fmla="*/ 6813582 h 6994526"/>
              <a:gd name="connsiteX1475" fmla="*/ 974210 w 5932286"/>
              <a:gd name="connsiteY1475" fmla="*/ 6672284 h 6994526"/>
              <a:gd name="connsiteX1476" fmla="*/ 1115509 w 5932286"/>
              <a:gd name="connsiteY1476" fmla="*/ 6529556 h 6994526"/>
              <a:gd name="connsiteX1477" fmla="*/ 1258223 w 5932286"/>
              <a:gd name="connsiteY1477" fmla="*/ 6670873 h 6994526"/>
              <a:gd name="connsiteX1478" fmla="*/ 1116919 w 5932286"/>
              <a:gd name="connsiteY1478" fmla="*/ 6813582 h 6994526"/>
              <a:gd name="connsiteX1479" fmla="*/ 2565027 w 5932286"/>
              <a:gd name="connsiteY1479" fmla="*/ 6835173 h 6994526"/>
              <a:gd name="connsiteX1480" fmla="*/ 2406067 w 5932286"/>
              <a:gd name="connsiteY1480" fmla="*/ 6677624 h 6994526"/>
              <a:gd name="connsiteX1481" fmla="*/ 2564319 w 5932286"/>
              <a:gd name="connsiteY1481" fmla="*/ 6518651 h 6994526"/>
              <a:gd name="connsiteX1482" fmla="*/ 2722570 w 5932286"/>
              <a:gd name="connsiteY1482" fmla="*/ 6676216 h 6994526"/>
              <a:gd name="connsiteX1483" fmla="*/ 2565027 w 5932286"/>
              <a:gd name="connsiteY1483" fmla="*/ 6835173 h 6994526"/>
              <a:gd name="connsiteX1484" fmla="*/ 3997274 w 5932286"/>
              <a:gd name="connsiteY1484" fmla="*/ 6854905 h 6994526"/>
              <a:gd name="connsiteX1485" fmla="*/ 3923884 w 5932286"/>
              <a:gd name="connsiteY1485" fmla="*/ 6782706 h 6994526"/>
              <a:gd name="connsiteX1486" fmla="*/ 3996087 w 5932286"/>
              <a:gd name="connsiteY1486" fmla="*/ 6708133 h 6994526"/>
              <a:gd name="connsiteX1487" fmla="*/ 4069476 w 5932286"/>
              <a:gd name="connsiteY1487" fmla="*/ 6781518 h 6994526"/>
              <a:gd name="connsiteX1488" fmla="*/ 3997274 w 5932286"/>
              <a:gd name="connsiteY1488" fmla="*/ 6854905 h 6994526"/>
              <a:gd name="connsiteX1489" fmla="*/ 5324485 w 5932286"/>
              <a:gd name="connsiteY1489" fmla="*/ 6869480 h 6994526"/>
              <a:gd name="connsiteX1490" fmla="*/ 5251671 w 5932286"/>
              <a:gd name="connsiteY1490" fmla="*/ 6796564 h 6994526"/>
              <a:gd name="connsiteX1491" fmla="*/ 5324485 w 5932286"/>
              <a:gd name="connsiteY1491" fmla="*/ 6723750 h 6994526"/>
              <a:gd name="connsiteX1492" fmla="*/ 5397402 w 5932286"/>
              <a:gd name="connsiteY1492" fmla="*/ 6796564 h 6994526"/>
              <a:gd name="connsiteX1493" fmla="*/ 5324485 w 5932286"/>
              <a:gd name="connsiteY1493" fmla="*/ 6869480 h 6994526"/>
              <a:gd name="connsiteX1494" fmla="*/ 1867847 w 5932286"/>
              <a:gd name="connsiteY1494" fmla="*/ 6884498 h 6994526"/>
              <a:gd name="connsiteX1495" fmla="*/ 1702529 w 5932286"/>
              <a:gd name="connsiteY1495" fmla="*/ 6720593 h 6994526"/>
              <a:gd name="connsiteX1496" fmla="*/ 1867138 w 5932286"/>
              <a:gd name="connsiteY1496" fmla="*/ 6555970 h 6994526"/>
              <a:gd name="connsiteX1497" fmla="*/ 2031749 w 5932286"/>
              <a:gd name="connsiteY1497" fmla="*/ 6719884 h 6994526"/>
              <a:gd name="connsiteX1498" fmla="*/ 1867847 w 5932286"/>
              <a:gd name="connsiteY1498" fmla="*/ 6884498 h 6994526"/>
              <a:gd name="connsiteX1499" fmla="*/ 2978008 w 5932286"/>
              <a:gd name="connsiteY1499" fmla="*/ 6936670 h 6994526"/>
              <a:gd name="connsiteX1500" fmla="*/ 2843071 w 5932286"/>
              <a:gd name="connsiteY1500" fmla="*/ 6802431 h 6994526"/>
              <a:gd name="connsiteX1501" fmla="*/ 2976598 w 5932286"/>
              <a:gd name="connsiteY1501" fmla="*/ 6667491 h 6994526"/>
              <a:gd name="connsiteX1502" fmla="*/ 3111535 w 5932286"/>
              <a:gd name="connsiteY1502" fmla="*/ 6801723 h 6994526"/>
              <a:gd name="connsiteX1503" fmla="*/ 2978008 w 5932286"/>
              <a:gd name="connsiteY1503" fmla="*/ 6936670 h 6994526"/>
              <a:gd name="connsiteX1504" fmla="*/ 4383297 w 5932286"/>
              <a:gd name="connsiteY1504" fmla="*/ 6953626 h 6994526"/>
              <a:gd name="connsiteX1505" fmla="*/ 4310471 w 5932286"/>
              <a:gd name="connsiteY1505" fmla="*/ 6880800 h 6994526"/>
              <a:gd name="connsiteX1506" fmla="*/ 4383297 w 5932286"/>
              <a:gd name="connsiteY1506" fmla="*/ 6807976 h 6994526"/>
              <a:gd name="connsiteX1507" fmla="*/ 4456124 w 5932286"/>
              <a:gd name="connsiteY1507" fmla="*/ 6880800 h 6994526"/>
              <a:gd name="connsiteX1508" fmla="*/ 4383297 w 5932286"/>
              <a:gd name="connsiteY1508" fmla="*/ 6953626 h 6994526"/>
              <a:gd name="connsiteX1509" fmla="*/ 243112 w 5932286"/>
              <a:gd name="connsiteY1509" fmla="*/ 6994526 h 6994526"/>
              <a:gd name="connsiteX1510" fmla="*/ 62124 w 5932286"/>
              <a:gd name="connsiteY1510" fmla="*/ 6994526 h 6994526"/>
              <a:gd name="connsiteX1511" fmla="*/ 37374 w 5932286"/>
              <a:gd name="connsiteY1511" fmla="*/ 6977930 h 6994526"/>
              <a:gd name="connsiteX1512" fmla="*/ 2260 w 5932286"/>
              <a:gd name="connsiteY1512" fmla="*/ 6926278 h 6994526"/>
              <a:gd name="connsiteX1513" fmla="*/ 0 w 5932286"/>
              <a:gd name="connsiteY1513" fmla="*/ 6915444 h 6994526"/>
              <a:gd name="connsiteX1514" fmla="*/ 0 w 5932286"/>
              <a:gd name="connsiteY1514" fmla="*/ 6808507 h 6994526"/>
              <a:gd name="connsiteX1515" fmla="*/ 1851 w 5932286"/>
              <a:gd name="connsiteY1515" fmla="*/ 6799275 h 6994526"/>
              <a:gd name="connsiteX1516" fmla="*/ 152272 w 5932286"/>
              <a:gd name="connsiteY1516" fmla="*/ 6699131 h 6994526"/>
              <a:gd name="connsiteX1517" fmla="*/ 315469 w 5932286"/>
              <a:gd name="connsiteY1517" fmla="*/ 6861626 h 6994526"/>
              <a:gd name="connsiteX1518" fmla="*/ 268135 w 5932286"/>
              <a:gd name="connsiteY1518" fmla="*/ 6977488 h 6994526"/>
              <a:gd name="connsiteX1519" fmla="*/ 487472 w 5932286"/>
              <a:gd name="connsiteY1519" fmla="*/ 6994526 h 6994526"/>
              <a:gd name="connsiteX1520" fmla="*/ 473965 w 5932286"/>
              <a:gd name="connsiteY1520" fmla="*/ 6994526 h 6994526"/>
              <a:gd name="connsiteX1521" fmla="*/ 415488 w 5932286"/>
              <a:gd name="connsiteY1521" fmla="*/ 6982688 h 6994526"/>
              <a:gd name="connsiteX1522" fmla="*/ 313750 w 5932286"/>
              <a:gd name="connsiteY1522" fmla="*/ 6830384 h 6994526"/>
              <a:gd name="connsiteX1523" fmla="*/ 478363 w 5932286"/>
              <a:gd name="connsiteY1523" fmla="*/ 6665065 h 6994526"/>
              <a:gd name="connsiteX1524" fmla="*/ 631266 w 5932286"/>
              <a:gd name="connsiteY1524" fmla="*/ 6765407 h 6994526"/>
              <a:gd name="connsiteX1525" fmla="*/ 631365 w 5932286"/>
              <a:gd name="connsiteY1525" fmla="*/ 6765897 h 6994526"/>
              <a:gd name="connsiteX1526" fmla="*/ 644531 w 5932286"/>
              <a:gd name="connsiteY1526" fmla="*/ 6700129 h 6994526"/>
              <a:gd name="connsiteX1527" fmla="*/ 800815 w 5932286"/>
              <a:gd name="connsiteY1527" fmla="*/ 6596193 h 6994526"/>
              <a:gd name="connsiteX1528" fmla="*/ 971789 w 5932286"/>
              <a:gd name="connsiteY1528" fmla="*/ 6765765 h 6994526"/>
              <a:gd name="connsiteX1529" fmla="*/ 802225 w 5932286"/>
              <a:gd name="connsiteY1529" fmla="*/ 6936738 h 6994526"/>
              <a:gd name="connsiteX1530" fmla="*/ 644751 w 5932286"/>
              <a:gd name="connsiteY1530" fmla="*/ 6832718 h 6994526"/>
              <a:gd name="connsiteX1531" fmla="*/ 644264 w 5932286"/>
              <a:gd name="connsiteY1531" fmla="*/ 6830328 h 6994526"/>
              <a:gd name="connsiteX1532" fmla="*/ 631785 w 5932286"/>
              <a:gd name="connsiteY1532" fmla="*/ 6894066 h 6994526"/>
              <a:gd name="connsiteX1533" fmla="*/ 528874 w 5932286"/>
              <a:gd name="connsiteY1533" fmla="*/ 6988191 h 6994526"/>
              <a:gd name="connsiteX1534" fmla="*/ 1089823 w 5932286"/>
              <a:gd name="connsiteY1534" fmla="*/ 6994526 h 6994526"/>
              <a:gd name="connsiteX1535" fmla="*/ 832853 w 5932286"/>
              <a:gd name="connsiteY1535" fmla="*/ 6994526 h 6994526"/>
              <a:gd name="connsiteX1536" fmla="*/ 840539 w 5932286"/>
              <a:gd name="connsiteY1536" fmla="*/ 6983078 h 6994526"/>
              <a:gd name="connsiteX1537" fmla="*/ 961170 w 5932286"/>
              <a:gd name="connsiteY1537" fmla="*/ 6933182 h 6994526"/>
              <a:gd name="connsiteX1538" fmla="*/ 1081625 w 5932286"/>
              <a:gd name="connsiteY1538" fmla="*/ 6982458 h 6994526"/>
              <a:gd name="connsiteX1539" fmla="*/ 1686900 w 5932286"/>
              <a:gd name="connsiteY1539" fmla="*/ 6994526 h 6994526"/>
              <a:gd name="connsiteX1540" fmla="*/ 1466869 w 5932286"/>
              <a:gd name="connsiteY1540" fmla="*/ 6994526 h 6994526"/>
              <a:gd name="connsiteX1541" fmla="*/ 1461972 w 5932286"/>
              <a:gd name="connsiteY1541" fmla="*/ 6991268 h 6994526"/>
              <a:gd name="connsiteX1542" fmla="*/ 1434489 w 5932286"/>
              <a:gd name="connsiteY1542" fmla="*/ 6950906 h 6994526"/>
              <a:gd name="connsiteX1543" fmla="*/ 1443380 w 5932286"/>
              <a:gd name="connsiteY1543" fmla="*/ 6994526 h 6994526"/>
              <a:gd name="connsiteX1544" fmla="*/ 1105323 w 5932286"/>
              <a:gd name="connsiteY1544" fmla="*/ 6994526 h 6994526"/>
              <a:gd name="connsiteX1545" fmla="*/ 1116968 w 5932286"/>
              <a:gd name="connsiteY1545" fmla="*/ 6936398 h 6994526"/>
              <a:gd name="connsiteX1546" fmla="*/ 1273939 w 5932286"/>
              <a:gd name="connsiteY1546" fmla="*/ 6832478 h 6994526"/>
              <a:gd name="connsiteX1547" fmla="*/ 1394661 w 5932286"/>
              <a:gd name="connsiteY1547" fmla="*/ 6881754 h 6994526"/>
              <a:gd name="connsiteX1548" fmla="*/ 1423761 w 5932286"/>
              <a:gd name="connsiteY1548" fmla="*/ 6924552 h 6994526"/>
              <a:gd name="connsiteX1549" fmla="*/ 1413931 w 5932286"/>
              <a:gd name="connsiteY1549" fmla="*/ 6876109 h 6994526"/>
              <a:gd name="connsiteX1550" fmla="*/ 1576424 w 5932286"/>
              <a:gd name="connsiteY1550" fmla="*/ 6712210 h 6994526"/>
              <a:gd name="connsiteX1551" fmla="*/ 1740325 w 5932286"/>
              <a:gd name="connsiteY1551" fmla="*/ 6874700 h 6994526"/>
              <a:gd name="connsiteX1552" fmla="*/ 1692726 w 5932286"/>
              <a:gd name="connsiteY1552" fmla="*/ 6990561 h 6994526"/>
              <a:gd name="connsiteX1553" fmla="*/ 2166566 w 5932286"/>
              <a:gd name="connsiteY1553" fmla="*/ 6994526 h 6994526"/>
              <a:gd name="connsiteX1554" fmla="*/ 1883474 w 5932286"/>
              <a:gd name="connsiteY1554" fmla="*/ 6994526 h 6994526"/>
              <a:gd name="connsiteX1555" fmla="*/ 1883882 w 5932286"/>
              <a:gd name="connsiteY1555" fmla="*/ 6992427 h 6994526"/>
              <a:gd name="connsiteX1556" fmla="*/ 2024861 w 5932286"/>
              <a:gd name="connsiteY1556" fmla="*/ 6898939 h 6994526"/>
              <a:gd name="connsiteX1557" fmla="*/ 2166037 w 5932286"/>
              <a:gd name="connsiteY1557" fmla="*/ 6991930 h 6994526"/>
              <a:gd name="connsiteX1558" fmla="*/ 2379658 w 5932286"/>
              <a:gd name="connsiteY1558" fmla="*/ 6994526 h 6994526"/>
              <a:gd name="connsiteX1559" fmla="*/ 2224803 w 5932286"/>
              <a:gd name="connsiteY1559" fmla="*/ 6994526 h 6994526"/>
              <a:gd name="connsiteX1560" fmla="*/ 2200153 w 5932286"/>
              <a:gd name="connsiteY1560" fmla="*/ 6978020 h 6994526"/>
              <a:gd name="connsiteX1561" fmla="*/ 2157675 w 5932286"/>
              <a:gd name="connsiteY1561" fmla="*/ 6876021 h 6994526"/>
              <a:gd name="connsiteX1562" fmla="*/ 2301799 w 5932286"/>
              <a:gd name="connsiteY1562" fmla="*/ 6731189 h 6994526"/>
              <a:gd name="connsiteX1563" fmla="*/ 2446631 w 5932286"/>
              <a:gd name="connsiteY1563" fmla="*/ 6875313 h 6994526"/>
              <a:gd name="connsiteX1564" fmla="*/ 2404507 w 5932286"/>
              <a:gd name="connsiteY1564" fmla="*/ 6977666 h 6994526"/>
              <a:gd name="connsiteX1565" fmla="*/ 2863882 w 5932286"/>
              <a:gd name="connsiteY1565" fmla="*/ 6994526 h 6994526"/>
              <a:gd name="connsiteX1566" fmla="*/ 2591274 w 5932286"/>
              <a:gd name="connsiteY1566" fmla="*/ 6994526 h 6994526"/>
              <a:gd name="connsiteX1567" fmla="*/ 2597818 w 5932286"/>
              <a:gd name="connsiteY1567" fmla="*/ 6961671 h 6994526"/>
              <a:gd name="connsiteX1568" fmla="*/ 2726779 w 5932286"/>
              <a:gd name="connsiteY1568" fmla="*/ 6875238 h 6994526"/>
              <a:gd name="connsiteX1569" fmla="*/ 2856927 w 5932286"/>
              <a:gd name="connsiteY1569" fmla="*/ 6960379 h 6994526"/>
              <a:gd name="connsiteX1570" fmla="*/ 3469436 w 5932286"/>
              <a:gd name="connsiteY1570" fmla="*/ 6994526 h 6994526"/>
              <a:gd name="connsiteX1571" fmla="*/ 3297068 w 5932286"/>
              <a:gd name="connsiteY1571" fmla="*/ 6994526 h 6994526"/>
              <a:gd name="connsiteX1572" fmla="*/ 3276916 w 5932286"/>
              <a:gd name="connsiteY1572" fmla="*/ 6964826 h 6994526"/>
              <a:gd name="connsiteX1573" fmla="*/ 3267754 w 5932286"/>
              <a:gd name="connsiteY1573" fmla="*/ 6919612 h 6994526"/>
              <a:gd name="connsiteX1574" fmla="*/ 3382915 w 5932286"/>
              <a:gd name="connsiteY1574" fmla="*/ 6803747 h 6994526"/>
              <a:gd name="connsiteX1575" fmla="*/ 3498782 w 5932286"/>
              <a:gd name="connsiteY1575" fmla="*/ 6918904 h 6994526"/>
              <a:gd name="connsiteX1576" fmla="*/ 3490026 w 5932286"/>
              <a:gd name="connsiteY1576" fmla="*/ 6963831 h 6994526"/>
              <a:gd name="connsiteX1577" fmla="*/ 3859494 w 5932286"/>
              <a:gd name="connsiteY1577" fmla="*/ 6994526 h 6994526"/>
              <a:gd name="connsiteX1578" fmla="*/ 3706722 w 5932286"/>
              <a:gd name="connsiteY1578" fmla="*/ 6994526 h 6994526"/>
              <a:gd name="connsiteX1579" fmla="*/ 3722796 w 5932286"/>
              <a:gd name="connsiteY1579" fmla="*/ 6970515 h 6994526"/>
              <a:gd name="connsiteX1580" fmla="*/ 3782936 w 5932286"/>
              <a:gd name="connsiteY1580" fmla="*/ 6945611 h 6994526"/>
              <a:gd name="connsiteX1581" fmla="*/ 3842808 w 5932286"/>
              <a:gd name="connsiteY1581" fmla="*/ 6969901 h 6994526"/>
              <a:gd name="connsiteX1582" fmla="*/ 4835937 w 5932286"/>
              <a:gd name="connsiteY1582" fmla="*/ 6994526 h 6994526"/>
              <a:gd name="connsiteX1583" fmla="*/ 4696568 w 5932286"/>
              <a:gd name="connsiteY1583" fmla="*/ 6994526 h 6994526"/>
              <a:gd name="connsiteX1584" fmla="*/ 4693436 w 5932286"/>
              <a:gd name="connsiteY1584" fmla="*/ 6978144 h 6994526"/>
              <a:gd name="connsiteX1585" fmla="*/ 4766277 w 5932286"/>
              <a:gd name="connsiteY1585" fmla="*/ 6905305 h 6994526"/>
              <a:gd name="connsiteX1586" fmla="*/ 4839064 w 5932286"/>
              <a:gd name="connsiteY1586" fmla="*/ 6978144 h 69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Lst>
            <a:rect l="l" t="t" r="r" b="b"/>
            <a:pathLst>
              <a:path w="5932286" h="6994526">
                <a:moveTo>
                  <a:pt x="4594375" y="5875"/>
                </a:moveTo>
                <a:lnTo>
                  <a:pt x="4565871" y="0"/>
                </a:lnTo>
                <a:lnTo>
                  <a:pt x="4622918" y="0"/>
                </a:lnTo>
                <a:close/>
                <a:moveTo>
                  <a:pt x="14015" y="12585"/>
                </a:moveTo>
                <a:lnTo>
                  <a:pt x="0" y="9918"/>
                </a:lnTo>
                <a:lnTo>
                  <a:pt x="0" y="0"/>
                </a:lnTo>
                <a:lnTo>
                  <a:pt x="61067" y="0"/>
                </a:lnTo>
                <a:lnTo>
                  <a:pt x="54785" y="4284"/>
                </a:lnTo>
                <a:cubicBezTo>
                  <a:pt x="42277" y="9627"/>
                  <a:pt x="28499" y="12585"/>
                  <a:pt x="14015" y="12585"/>
                </a:cubicBezTo>
                <a:close/>
                <a:moveTo>
                  <a:pt x="342166" y="27267"/>
                </a:moveTo>
                <a:cubicBezTo>
                  <a:pt x="327858" y="27267"/>
                  <a:pt x="314213" y="24396"/>
                  <a:pt x="301794" y="19197"/>
                </a:cubicBezTo>
                <a:lnTo>
                  <a:pt x="273043" y="0"/>
                </a:lnTo>
                <a:lnTo>
                  <a:pt x="410491" y="0"/>
                </a:lnTo>
                <a:lnTo>
                  <a:pt x="382423" y="19087"/>
                </a:lnTo>
                <a:cubicBezTo>
                  <a:pt x="370071" y="24353"/>
                  <a:pt x="356471" y="27267"/>
                  <a:pt x="342166" y="27267"/>
                </a:cubicBezTo>
                <a:close/>
                <a:moveTo>
                  <a:pt x="2488906" y="27452"/>
                </a:moveTo>
                <a:cubicBezTo>
                  <a:pt x="2467004" y="27452"/>
                  <a:pt x="2447045" y="18621"/>
                  <a:pt x="2432561" y="4314"/>
                </a:cubicBezTo>
                <a:lnTo>
                  <a:pt x="2429614" y="0"/>
                </a:lnTo>
                <a:lnTo>
                  <a:pt x="2547809" y="0"/>
                </a:lnTo>
                <a:lnTo>
                  <a:pt x="2545162" y="3960"/>
                </a:lnTo>
                <a:cubicBezTo>
                  <a:pt x="2530767" y="18444"/>
                  <a:pt x="2510808" y="27452"/>
                  <a:pt x="2488906" y="27452"/>
                </a:cubicBezTo>
                <a:close/>
                <a:moveTo>
                  <a:pt x="667513" y="71371"/>
                </a:moveTo>
                <a:cubicBezTo>
                  <a:pt x="625128" y="71371"/>
                  <a:pt x="588697" y="45936"/>
                  <a:pt x="573130" y="9373"/>
                </a:cubicBezTo>
                <a:lnTo>
                  <a:pt x="571230" y="0"/>
                </a:lnTo>
                <a:lnTo>
                  <a:pt x="763055" y="0"/>
                </a:lnTo>
                <a:lnTo>
                  <a:pt x="761304" y="8778"/>
                </a:lnTo>
                <a:cubicBezTo>
                  <a:pt x="745937" y="45537"/>
                  <a:pt x="709904" y="71371"/>
                  <a:pt x="667513" y="71371"/>
                </a:cubicBezTo>
                <a:close/>
                <a:moveTo>
                  <a:pt x="1907321" y="116369"/>
                </a:moveTo>
                <a:cubicBezTo>
                  <a:pt x="1855743" y="117078"/>
                  <a:pt x="1812647" y="74684"/>
                  <a:pt x="1812647" y="22405"/>
                </a:cubicBezTo>
                <a:lnTo>
                  <a:pt x="1817171" y="0"/>
                </a:lnTo>
                <a:lnTo>
                  <a:pt x="1997611" y="0"/>
                </a:lnTo>
                <a:lnTo>
                  <a:pt x="2001994" y="21697"/>
                </a:lnTo>
                <a:cubicBezTo>
                  <a:pt x="2001994" y="73983"/>
                  <a:pt x="1959601" y="116369"/>
                  <a:pt x="1907321" y="116369"/>
                </a:cubicBezTo>
                <a:close/>
                <a:moveTo>
                  <a:pt x="987061" y="144026"/>
                </a:moveTo>
                <a:cubicBezTo>
                  <a:pt x="931245" y="144727"/>
                  <a:pt x="886027" y="99516"/>
                  <a:pt x="886027" y="43701"/>
                </a:cubicBezTo>
                <a:cubicBezTo>
                  <a:pt x="886027" y="29747"/>
                  <a:pt x="888853" y="16456"/>
                  <a:pt x="893953" y="4368"/>
                </a:cubicBezTo>
                <a:lnTo>
                  <a:pt x="896887" y="0"/>
                </a:lnTo>
                <a:lnTo>
                  <a:pt x="1076886" y="0"/>
                </a:lnTo>
                <a:lnTo>
                  <a:pt x="1079447" y="3771"/>
                </a:lnTo>
                <a:cubicBezTo>
                  <a:pt x="1084559" y="15793"/>
                  <a:pt x="1087385" y="29040"/>
                  <a:pt x="1087385" y="42993"/>
                </a:cubicBezTo>
                <a:cubicBezTo>
                  <a:pt x="1088086" y="98806"/>
                  <a:pt x="1042874" y="144026"/>
                  <a:pt x="987061" y="144026"/>
                </a:cubicBezTo>
                <a:close/>
                <a:moveTo>
                  <a:pt x="3290557" y="202933"/>
                </a:moveTo>
                <a:cubicBezTo>
                  <a:pt x="3250096" y="202933"/>
                  <a:pt x="3217735" y="170560"/>
                  <a:pt x="3217735" y="130111"/>
                </a:cubicBezTo>
                <a:cubicBezTo>
                  <a:pt x="3217735" y="89652"/>
                  <a:pt x="3250096" y="56132"/>
                  <a:pt x="3289399" y="56132"/>
                </a:cubicBezTo>
                <a:cubicBezTo>
                  <a:pt x="3329858" y="56132"/>
                  <a:pt x="3363379" y="88493"/>
                  <a:pt x="3363379" y="128953"/>
                </a:cubicBezTo>
                <a:cubicBezTo>
                  <a:pt x="3363379" y="169402"/>
                  <a:pt x="3331006" y="202933"/>
                  <a:pt x="3290557" y="202933"/>
                </a:cubicBezTo>
                <a:close/>
                <a:moveTo>
                  <a:pt x="3808744" y="210107"/>
                </a:moveTo>
                <a:cubicBezTo>
                  <a:pt x="3769181" y="210107"/>
                  <a:pt x="3735026" y="177738"/>
                  <a:pt x="3735026" y="138177"/>
                </a:cubicBezTo>
                <a:cubicBezTo>
                  <a:pt x="3735026" y="98616"/>
                  <a:pt x="3767397" y="66265"/>
                  <a:pt x="3806941" y="64463"/>
                </a:cubicBezTo>
                <a:cubicBezTo>
                  <a:pt x="3848306" y="64463"/>
                  <a:pt x="3880677" y="96832"/>
                  <a:pt x="3880677" y="136393"/>
                </a:cubicBezTo>
                <a:cubicBezTo>
                  <a:pt x="3882462" y="177738"/>
                  <a:pt x="3850108" y="210107"/>
                  <a:pt x="3808744" y="210107"/>
                </a:cubicBezTo>
                <a:close/>
                <a:moveTo>
                  <a:pt x="2752770" y="223532"/>
                </a:moveTo>
                <a:cubicBezTo>
                  <a:pt x="2708967" y="223532"/>
                  <a:pt x="2672933" y="188206"/>
                  <a:pt x="2672933" y="144404"/>
                </a:cubicBezTo>
                <a:cubicBezTo>
                  <a:pt x="2672232" y="99893"/>
                  <a:pt x="2708259" y="64568"/>
                  <a:pt x="2752068" y="64568"/>
                </a:cubicBezTo>
                <a:cubicBezTo>
                  <a:pt x="2795870" y="64568"/>
                  <a:pt x="2831903" y="99893"/>
                  <a:pt x="2831903" y="143696"/>
                </a:cubicBezTo>
                <a:cubicBezTo>
                  <a:pt x="2832605" y="187498"/>
                  <a:pt x="2796579" y="223532"/>
                  <a:pt x="2752770" y="223532"/>
                </a:cubicBezTo>
                <a:close/>
                <a:moveTo>
                  <a:pt x="4310074" y="236639"/>
                </a:moveTo>
                <a:cubicBezTo>
                  <a:pt x="4268739" y="236639"/>
                  <a:pt x="4234246" y="202154"/>
                  <a:pt x="4234246" y="160757"/>
                </a:cubicBezTo>
                <a:cubicBezTo>
                  <a:pt x="4234246" y="119429"/>
                  <a:pt x="4268739" y="91855"/>
                  <a:pt x="4310074" y="84944"/>
                </a:cubicBezTo>
                <a:cubicBezTo>
                  <a:pt x="4351478" y="84944"/>
                  <a:pt x="4379057" y="119429"/>
                  <a:pt x="4379057" y="160757"/>
                </a:cubicBezTo>
                <a:cubicBezTo>
                  <a:pt x="4385969" y="202154"/>
                  <a:pt x="4351478" y="236639"/>
                  <a:pt x="4310074" y="236639"/>
                </a:cubicBezTo>
                <a:close/>
                <a:moveTo>
                  <a:pt x="1299339" y="246672"/>
                </a:moveTo>
                <a:cubicBezTo>
                  <a:pt x="1243527" y="246672"/>
                  <a:pt x="1198308" y="202163"/>
                  <a:pt x="1198308" y="146349"/>
                </a:cubicBezTo>
                <a:cubicBezTo>
                  <a:pt x="1198308" y="90537"/>
                  <a:pt x="1243527" y="45319"/>
                  <a:pt x="1298631" y="45319"/>
                </a:cubicBezTo>
                <a:cubicBezTo>
                  <a:pt x="1354444" y="45319"/>
                  <a:pt x="1399661" y="89828"/>
                  <a:pt x="1399661" y="145642"/>
                </a:cubicBezTo>
                <a:cubicBezTo>
                  <a:pt x="1399661" y="201454"/>
                  <a:pt x="1355152" y="246672"/>
                  <a:pt x="1299339" y="246672"/>
                </a:cubicBezTo>
                <a:close/>
                <a:moveTo>
                  <a:pt x="4790983" y="269478"/>
                </a:moveTo>
                <a:cubicBezTo>
                  <a:pt x="4750498" y="269478"/>
                  <a:pt x="4718128" y="237107"/>
                  <a:pt x="4718128" y="196624"/>
                </a:cubicBezTo>
                <a:cubicBezTo>
                  <a:pt x="4718128" y="156141"/>
                  <a:pt x="4750498" y="123771"/>
                  <a:pt x="4790983" y="123771"/>
                </a:cubicBezTo>
                <a:cubicBezTo>
                  <a:pt x="4831466" y="123771"/>
                  <a:pt x="4863836" y="156141"/>
                  <a:pt x="4863836" y="196624"/>
                </a:cubicBezTo>
                <a:cubicBezTo>
                  <a:pt x="4863836" y="237107"/>
                  <a:pt x="4831466" y="269478"/>
                  <a:pt x="4790983" y="269478"/>
                </a:cubicBezTo>
                <a:close/>
                <a:moveTo>
                  <a:pt x="2190175" y="296108"/>
                </a:moveTo>
                <a:cubicBezTo>
                  <a:pt x="2130836" y="296108"/>
                  <a:pt x="2082793" y="248772"/>
                  <a:pt x="2082793" y="189433"/>
                </a:cubicBezTo>
                <a:cubicBezTo>
                  <a:pt x="2082793" y="130086"/>
                  <a:pt x="2130836" y="82043"/>
                  <a:pt x="2189475" y="82043"/>
                </a:cubicBezTo>
                <a:cubicBezTo>
                  <a:pt x="2248821" y="82043"/>
                  <a:pt x="2296857" y="129379"/>
                  <a:pt x="2296857" y="188725"/>
                </a:cubicBezTo>
                <a:cubicBezTo>
                  <a:pt x="2296857" y="248071"/>
                  <a:pt x="2249522" y="296108"/>
                  <a:pt x="2190175" y="296108"/>
                </a:cubicBezTo>
                <a:close/>
                <a:moveTo>
                  <a:pt x="1600960" y="396686"/>
                </a:moveTo>
                <a:cubicBezTo>
                  <a:pt x="1534546" y="397395"/>
                  <a:pt x="1480149" y="342998"/>
                  <a:pt x="1480149" y="276581"/>
                </a:cubicBezTo>
                <a:cubicBezTo>
                  <a:pt x="1480149" y="209465"/>
                  <a:pt x="1533845" y="155768"/>
                  <a:pt x="1600252" y="155768"/>
                </a:cubicBezTo>
                <a:cubicBezTo>
                  <a:pt x="1666666" y="155060"/>
                  <a:pt x="1721063" y="208757"/>
                  <a:pt x="1721063" y="275873"/>
                </a:cubicBezTo>
                <a:cubicBezTo>
                  <a:pt x="1721771" y="342290"/>
                  <a:pt x="1667367" y="396686"/>
                  <a:pt x="1600960" y="396686"/>
                </a:cubicBezTo>
                <a:close/>
                <a:moveTo>
                  <a:pt x="12459" y="397574"/>
                </a:moveTo>
                <a:lnTo>
                  <a:pt x="0" y="395061"/>
                </a:lnTo>
                <a:lnTo>
                  <a:pt x="0" y="153466"/>
                </a:lnTo>
                <a:lnTo>
                  <a:pt x="11751" y="151009"/>
                </a:lnTo>
                <a:cubicBezTo>
                  <a:pt x="79575" y="151009"/>
                  <a:pt x="135387" y="206113"/>
                  <a:pt x="135387" y="273938"/>
                </a:cubicBezTo>
                <a:cubicBezTo>
                  <a:pt x="135387" y="341761"/>
                  <a:pt x="80283" y="397574"/>
                  <a:pt x="12459" y="397574"/>
                </a:cubicBezTo>
                <a:close/>
                <a:moveTo>
                  <a:pt x="340716" y="415001"/>
                </a:moveTo>
                <a:cubicBezTo>
                  <a:pt x="272893" y="415001"/>
                  <a:pt x="217079" y="359897"/>
                  <a:pt x="217079" y="292072"/>
                </a:cubicBezTo>
                <a:cubicBezTo>
                  <a:pt x="216372" y="224248"/>
                  <a:pt x="271484" y="168436"/>
                  <a:pt x="340009" y="168436"/>
                </a:cubicBezTo>
                <a:cubicBezTo>
                  <a:pt x="407833" y="168436"/>
                  <a:pt x="463645" y="223540"/>
                  <a:pt x="463645" y="291364"/>
                </a:cubicBezTo>
                <a:cubicBezTo>
                  <a:pt x="463645" y="359187"/>
                  <a:pt x="408541" y="415001"/>
                  <a:pt x="340716" y="415001"/>
                </a:cubicBezTo>
                <a:close/>
                <a:moveTo>
                  <a:pt x="3520665" y="437641"/>
                </a:moveTo>
                <a:cubicBezTo>
                  <a:pt x="3480174" y="437641"/>
                  <a:pt x="3447465" y="405713"/>
                  <a:pt x="3447465" y="365213"/>
                </a:cubicBezTo>
                <a:cubicBezTo>
                  <a:pt x="3447465" y="324722"/>
                  <a:pt x="3479393" y="292013"/>
                  <a:pt x="3519893" y="292013"/>
                </a:cubicBezTo>
                <a:cubicBezTo>
                  <a:pt x="3560384" y="292013"/>
                  <a:pt x="3593093" y="324722"/>
                  <a:pt x="3593093" y="364440"/>
                </a:cubicBezTo>
                <a:cubicBezTo>
                  <a:pt x="3593093" y="404932"/>
                  <a:pt x="3561165" y="437641"/>
                  <a:pt x="3520665" y="437641"/>
                </a:cubicBezTo>
                <a:close/>
                <a:moveTo>
                  <a:pt x="3001138" y="443447"/>
                </a:moveTo>
                <a:cubicBezTo>
                  <a:pt x="2954511" y="443447"/>
                  <a:pt x="2916352" y="405296"/>
                  <a:pt x="2916352" y="358669"/>
                </a:cubicBezTo>
                <a:cubicBezTo>
                  <a:pt x="2915651" y="312041"/>
                  <a:pt x="2953803" y="273891"/>
                  <a:pt x="3000431" y="274592"/>
                </a:cubicBezTo>
                <a:cubicBezTo>
                  <a:pt x="3047058" y="273891"/>
                  <a:pt x="3085210" y="312041"/>
                  <a:pt x="3085210" y="358669"/>
                </a:cubicBezTo>
                <a:cubicBezTo>
                  <a:pt x="3085918" y="405296"/>
                  <a:pt x="3047767" y="443447"/>
                  <a:pt x="3001138" y="443447"/>
                </a:cubicBezTo>
                <a:close/>
                <a:moveTo>
                  <a:pt x="4020801" y="460815"/>
                </a:moveTo>
                <a:cubicBezTo>
                  <a:pt x="3979475" y="462599"/>
                  <a:pt x="3947122" y="428461"/>
                  <a:pt x="3947122" y="388920"/>
                </a:cubicBezTo>
                <a:cubicBezTo>
                  <a:pt x="3947122" y="347595"/>
                  <a:pt x="3979475" y="315241"/>
                  <a:pt x="4019017" y="315241"/>
                </a:cubicBezTo>
                <a:cubicBezTo>
                  <a:pt x="4060342" y="315241"/>
                  <a:pt x="4092696" y="347595"/>
                  <a:pt x="4092696" y="387118"/>
                </a:cubicBezTo>
                <a:cubicBezTo>
                  <a:pt x="4094480" y="428461"/>
                  <a:pt x="4060342" y="460815"/>
                  <a:pt x="4020801" y="460815"/>
                </a:cubicBezTo>
                <a:close/>
                <a:moveTo>
                  <a:pt x="665095" y="465350"/>
                </a:moveTo>
                <a:cubicBezTo>
                  <a:pt x="597271" y="465350"/>
                  <a:pt x="541459" y="410246"/>
                  <a:pt x="541459" y="342422"/>
                </a:cubicBezTo>
                <a:cubicBezTo>
                  <a:pt x="541459" y="274597"/>
                  <a:pt x="596563" y="219493"/>
                  <a:pt x="664387" y="218785"/>
                </a:cubicBezTo>
                <a:cubicBezTo>
                  <a:pt x="732211" y="218785"/>
                  <a:pt x="788024" y="273889"/>
                  <a:pt x="788024" y="341714"/>
                </a:cubicBezTo>
                <a:cubicBezTo>
                  <a:pt x="788024" y="409537"/>
                  <a:pt x="732919" y="465350"/>
                  <a:pt x="665095" y="465350"/>
                </a:cubicBezTo>
                <a:close/>
                <a:moveTo>
                  <a:pt x="2458890" y="476012"/>
                </a:moveTo>
                <a:cubicBezTo>
                  <a:pt x="2405196" y="476012"/>
                  <a:pt x="2361395" y="432919"/>
                  <a:pt x="2361395" y="379225"/>
                </a:cubicBezTo>
                <a:cubicBezTo>
                  <a:pt x="2361395" y="325531"/>
                  <a:pt x="2404488" y="281729"/>
                  <a:pt x="2458182" y="281729"/>
                </a:cubicBezTo>
                <a:cubicBezTo>
                  <a:pt x="2511876" y="281729"/>
                  <a:pt x="2555677" y="324821"/>
                  <a:pt x="2555677" y="378517"/>
                </a:cubicBezTo>
                <a:cubicBezTo>
                  <a:pt x="2555677" y="432211"/>
                  <a:pt x="2512584" y="476012"/>
                  <a:pt x="2458890" y="476012"/>
                </a:cubicBezTo>
                <a:close/>
                <a:moveTo>
                  <a:pt x="4503358" y="497432"/>
                </a:moveTo>
                <a:cubicBezTo>
                  <a:pt x="4462572" y="497432"/>
                  <a:pt x="4430544" y="465404"/>
                  <a:pt x="4430544" y="427538"/>
                </a:cubicBezTo>
                <a:cubicBezTo>
                  <a:pt x="4430544" y="386752"/>
                  <a:pt x="4462572" y="354724"/>
                  <a:pt x="4503358" y="351805"/>
                </a:cubicBezTo>
                <a:cubicBezTo>
                  <a:pt x="4544144" y="351805"/>
                  <a:pt x="4576171" y="383832"/>
                  <a:pt x="4576171" y="424618"/>
                </a:cubicBezTo>
                <a:cubicBezTo>
                  <a:pt x="4576171" y="465404"/>
                  <a:pt x="4544144" y="497432"/>
                  <a:pt x="4503358" y="497432"/>
                </a:cubicBezTo>
                <a:close/>
                <a:moveTo>
                  <a:pt x="4972541" y="543506"/>
                </a:moveTo>
                <a:cubicBezTo>
                  <a:pt x="4932056" y="543506"/>
                  <a:pt x="4899686" y="511136"/>
                  <a:pt x="4899686" y="470653"/>
                </a:cubicBezTo>
                <a:cubicBezTo>
                  <a:pt x="4899686" y="430170"/>
                  <a:pt x="4932056" y="397799"/>
                  <a:pt x="4972541" y="397799"/>
                </a:cubicBezTo>
                <a:cubicBezTo>
                  <a:pt x="5013024" y="397799"/>
                  <a:pt x="5045394" y="430170"/>
                  <a:pt x="5045394" y="470653"/>
                </a:cubicBezTo>
                <a:cubicBezTo>
                  <a:pt x="5045394" y="511136"/>
                  <a:pt x="5013024" y="543506"/>
                  <a:pt x="4972541" y="543506"/>
                </a:cubicBezTo>
                <a:close/>
                <a:moveTo>
                  <a:pt x="983186" y="547658"/>
                </a:moveTo>
                <a:cubicBezTo>
                  <a:pt x="915361" y="547658"/>
                  <a:pt x="859549" y="492553"/>
                  <a:pt x="859549" y="424729"/>
                </a:cubicBezTo>
                <a:cubicBezTo>
                  <a:pt x="859549" y="356905"/>
                  <a:pt x="914653" y="301800"/>
                  <a:pt x="982478" y="301092"/>
                </a:cubicBezTo>
                <a:cubicBezTo>
                  <a:pt x="1050303" y="301092"/>
                  <a:pt x="1106115" y="356197"/>
                  <a:pt x="1106115" y="424021"/>
                </a:cubicBezTo>
                <a:cubicBezTo>
                  <a:pt x="1106115" y="491844"/>
                  <a:pt x="1051010" y="547658"/>
                  <a:pt x="983186" y="547658"/>
                </a:cubicBezTo>
                <a:close/>
                <a:moveTo>
                  <a:pt x="1890007" y="548606"/>
                </a:moveTo>
                <a:cubicBezTo>
                  <a:pt x="1826419" y="549307"/>
                  <a:pt x="1774139" y="497735"/>
                  <a:pt x="1774139" y="433445"/>
                </a:cubicBezTo>
                <a:cubicBezTo>
                  <a:pt x="1773431" y="369147"/>
                  <a:pt x="1825009" y="317576"/>
                  <a:pt x="1889300" y="317576"/>
                </a:cubicBezTo>
                <a:cubicBezTo>
                  <a:pt x="1952883" y="317576"/>
                  <a:pt x="2005169" y="369147"/>
                  <a:pt x="2005169" y="432737"/>
                </a:cubicBezTo>
                <a:cubicBezTo>
                  <a:pt x="2005870" y="496318"/>
                  <a:pt x="1954298" y="548606"/>
                  <a:pt x="1890007" y="548606"/>
                </a:cubicBezTo>
                <a:close/>
                <a:moveTo>
                  <a:pt x="1291591" y="664493"/>
                </a:moveTo>
                <a:cubicBezTo>
                  <a:pt x="1221648" y="664493"/>
                  <a:pt x="1164417" y="607972"/>
                  <a:pt x="1164417" y="538029"/>
                </a:cubicBezTo>
                <a:cubicBezTo>
                  <a:pt x="1164417" y="468086"/>
                  <a:pt x="1220940" y="410856"/>
                  <a:pt x="1290883" y="410856"/>
                </a:cubicBezTo>
                <a:cubicBezTo>
                  <a:pt x="1360833" y="410856"/>
                  <a:pt x="1418057" y="467377"/>
                  <a:pt x="1418057" y="537320"/>
                </a:cubicBezTo>
                <a:cubicBezTo>
                  <a:pt x="1418057" y="607262"/>
                  <a:pt x="1361534" y="664493"/>
                  <a:pt x="1291591" y="664493"/>
                </a:cubicBezTo>
                <a:close/>
                <a:moveTo>
                  <a:pt x="3232569" y="677291"/>
                </a:moveTo>
                <a:cubicBezTo>
                  <a:pt x="3185942" y="678000"/>
                  <a:pt x="3147783" y="639848"/>
                  <a:pt x="3147783" y="593221"/>
                </a:cubicBezTo>
                <a:cubicBezTo>
                  <a:pt x="3147082" y="546593"/>
                  <a:pt x="3185234" y="508435"/>
                  <a:pt x="3231861" y="508435"/>
                </a:cubicBezTo>
                <a:cubicBezTo>
                  <a:pt x="3278489" y="507734"/>
                  <a:pt x="3316641" y="545884"/>
                  <a:pt x="3316641" y="592513"/>
                </a:cubicBezTo>
                <a:cubicBezTo>
                  <a:pt x="3317349" y="639141"/>
                  <a:pt x="3279198" y="677291"/>
                  <a:pt x="3232569" y="677291"/>
                </a:cubicBezTo>
                <a:close/>
                <a:moveTo>
                  <a:pt x="3733068" y="688189"/>
                </a:moveTo>
                <a:cubicBezTo>
                  <a:pt x="3693286" y="688189"/>
                  <a:pt x="3660260" y="655915"/>
                  <a:pt x="3660260" y="615379"/>
                </a:cubicBezTo>
                <a:cubicBezTo>
                  <a:pt x="3659508" y="575588"/>
                  <a:pt x="3692533" y="542562"/>
                  <a:pt x="3733068" y="542562"/>
                </a:cubicBezTo>
                <a:cubicBezTo>
                  <a:pt x="3772858" y="542562"/>
                  <a:pt x="3805882" y="574842"/>
                  <a:pt x="3805882" y="615379"/>
                </a:cubicBezTo>
                <a:cubicBezTo>
                  <a:pt x="3805882" y="655163"/>
                  <a:pt x="3773602" y="688189"/>
                  <a:pt x="3733068" y="688189"/>
                </a:cubicBezTo>
                <a:close/>
                <a:moveTo>
                  <a:pt x="2710650" y="708304"/>
                </a:moveTo>
                <a:cubicBezTo>
                  <a:pt x="2644944" y="708304"/>
                  <a:pt x="2591957" y="655316"/>
                  <a:pt x="2591957" y="590318"/>
                </a:cubicBezTo>
                <a:cubicBezTo>
                  <a:pt x="2591957" y="525319"/>
                  <a:pt x="2644944" y="472332"/>
                  <a:pt x="2709942" y="471624"/>
                </a:cubicBezTo>
                <a:cubicBezTo>
                  <a:pt x="2774941" y="471624"/>
                  <a:pt x="2828636" y="524612"/>
                  <a:pt x="2828636" y="589610"/>
                </a:cubicBezTo>
                <a:cubicBezTo>
                  <a:pt x="2828636" y="654608"/>
                  <a:pt x="2776350" y="708304"/>
                  <a:pt x="2710650" y="708304"/>
                </a:cubicBezTo>
                <a:close/>
                <a:moveTo>
                  <a:pt x="4215782" y="724997"/>
                </a:moveTo>
                <a:cubicBezTo>
                  <a:pt x="4175430" y="724997"/>
                  <a:pt x="4142958" y="692526"/>
                  <a:pt x="4142958" y="652174"/>
                </a:cubicBezTo>
                <a:cubicBezTo>
                  <a:pt x="4141981" y="611832"/>
                  <a:pt x="4174453" y="579361"/>
                  <a:pt x="4215782" y="579361"/>
                </a:cubicBezTo>
                <a:cubicBezTo>
                  <a:pt x="4255138" y="579361"/>
                  <a:pt x="4288597" y="611832"/>
                  <a:pt x="4288597" y="652174"/>
                </a:cubicBezTo>
                <a:cubicBezTo>
                  <a:pt x="4288597" y="692526"/>
                  <a:pt x="4256124" y="724997"/>
                  <a:pt x="4215782" y="724997"/>
                </a:cubicBezTo>
                <a:close/>
                <a:moveTo>
                  <a:pt x="2163547" y="743360"/>
                </a:moveTo>
                <a:cubicBezTo>
                  <a:pt x="2092899" y="743360"/>
                  <a:pt x="2034968" y="686131"/>
                  <a:pt x="2034968" y="615481"/>
                </a:cubicBezTo>
                <a:cubicBezTo>
                  <a:pt x="2034968" y="544832"/>
                  <a:pt x="2092197" y="486901"/>
                  <a:pt x="2162847" y="486901"/>
                </a:cubicBezTo>
                <a:cubicBezTo>
                  <a:pt x="2233497" y="486901"/>
                  <a:pt x="2291427" y="544130"/>
                  <a:pt x="2291427" y="614779"/>
                </a:cubicBezTo>
                <a:cubicBezTo>
                  <a:pt x="2291427" y="685430"/>
                  <a:pt x="2234198" y="743360"/>
                  <a:pt x="2163547" y="743360"/>
                </a:cubicBezTo>
                <a:close/>
                <a:moveTo>
                  <a:pt x="11008" y="750068"/>
                </a:moveTo>
                <a:lnTo>
                  <a:pt x="0" y="747972"/>
                </a:lnTo>
                <a:lnTo>
                  <a:pt x="0" y="533205"/>
                </a:lnTo>
                <a:lnTo>
                  <a:pt x="10300" y="531042"/>
                </a:lnTo>
                <a:cubicBezTo>
                  <a:pt x="71058" y="530334"/>
                  <a:pt x="120511" y="579796"/>
                  <a:pt x="120511" y="639847"/>
                </a:cubicBezTo>
                <a:cubicBezTo>
                  <a:pt x="120511" y="700605"/>
                  <a:pt x="71765" y="750068"/>
                  <a:pt x="11008" y="750068"/>
                </a:cubicBezTo>
                <a:close/>
                <a:moveTo>
                  <a:pt x="338777" y="772141"/>
                </a:moveTo>
                <a:cubicBezTo>
                  <a:pt x="277314" y="772141"/>
                  <a:pt x="226445" y="722689"/>
                  <a:pt x="226445" y="660516"/>
                </a:cubicBezTo>
                <a:cubicBezTo>
                  <a:pt x="226445" y="599053"/>
                  <a:pt x="276605" y="548185"/>
                  <a:pt x="338068" y="548185"/>
                </a:cubicBezTo>
                <a:cubicBezTo>
                  <a:pt x="399531" y="548185"/>
                  <a:pt x="450400" y="597638"/>
                  <a:pt x="450400" y="659808"/>
                </a:cubicBezTo>
                <a:cubicBezTo>
                  <a:pt x="450400" y="721979"/>
                  <a:pt x="400948" y="772141"/>
                  <a:pt x="338777" y="772141"/>
                </a:cubicBezTo>
                <a:close/>
                <a:moveTo>
                  <a:pt x="4684710" y="773436"/>
                </a:moveTo>
                <a:cubicBezTo>
                  <a:pt x="4643089" y="773436"/>
                  <a:pt x="4610407" y="740754"/>
                  <a:pt x="4610407" y="699133"/>
                </a:cubicBezTo>
                <a:cubicBezTo>
                  <a:pt x="4610407" y="657514"/>
                  <a:pt x="4643089" y="624831"/>
                  <a:pt x="4681731" y="624831"/>
                </a:cubicBezTo>
                <a:cubicBezTo>
                  <a:pt x="4723352" y="627810"/>
                  <a:pt x="4756034" y="660493"/>
                  <a:pt x="4756034" y="699133"/>
                </a:cubicBezTo>
                <a:cubicBezTo>
                  <a:pt x="4756034" y="740754"/>
                  <a:pt x="4726330" y="773436"/>
                  <a:pt x="4684710" y="773436"/>
                </a:cubicBezTo>
                <a:close/>
                <a:moveTo>
                  <a:pt x="1587412" y="816055"/>
                </a:moveTo>
                <a:cubicBezTo>
                  <a:pt x="1513228" y="816055"/>
                  <a:pt x="1452471" y="755999"/>
                  <a:pt x="1452471" y="681815"/>
                </a:cubicBezTo>
                <a:cubicBezTo>
                  <a:pt x="1451763" y="608339"/>
                  <a:pt x="1511819" y="547582"/>
                  <a:pt x="1586704" y="546874"/>
                </a:cubicBezTo>
                <a:cubicBezTo>
                  <a:pt x="1660889" y="546874"/>
                  <a:pt x="1721651" y="606929"/>
                  <a:pt x="1721651" y="681107"/>
                </a:cubicBezTo>
                <a:cubicBezTo>
                  <a:pt x="1721651" y="755291"/>
                  <a:pt x="1661597" y="816055"/>
                  <a:pt x="1587412" y="816055"/>
                </a:cubicBezTo>
                <a:close/>
                <a:moveTo>
                  <a:pt x="5138605" y="827226"/>
                </a:moveTo>
                <a:cubicBezTo>
                  <a:pt x="5098120" y="827226"/>
                  <a:pt x="5065750" y="794855"/>
                  <a:pt x="5065750" y="754372"/>
                </a:cubicBezTo>
                <a:cubicBezTo>
                  <a:pt x="5065750" y="713889"/>
                  <a:pt x="5098120" y="681519"/>
                  <a:pt x="5138605" y="681519"/>
                </a:cubicBezTo>
                <a:cubicBezTo>
                  <a:pt x="5179088" y="681519"/>
                  <a:pt x="5211458" y="713889"/>
                  <a:pt x="5211458" y="754372"/>
                </a:cubicBezTo>
                <a:cubicBezTo>
                  <a:pt x="5211458" y="794855"/>
                  <a:pt x="5179088" y="827226"/>
                  <a:pt x="5138605" y="827226"/>
                </a:cubicBezTo>
                <a:close/>
                <a:moveTo>
                  <a:pt x="662786" y="836781"/>
                </a:moveTo>
                <a:cubicBezTo>
                  <a:pt x="595665" y="837490"/>
                  <a:pt x="541977" y="783086"/>
                  <a:pt x="541269" y="716679"/>
                </a:cubicBezTo>
                <a:cubicBezTo>
                  <a:pt x="541269" y="650271"/>
                  <a:pt x="594963" y="595867"/>
                  <a:pt x="662079" y="595867"/>
                </a:cubicBezTo>
                <a:cubicBezTo>
                  <a:pt x="728485" y="595159"/>
                  <a:pt x="782887" y="648854"/>
                  <a:pt x="782887" y="715971"/>
                </a:cubicBezTo>
                <a:cubicBezTo>
                  <a:pt x="783594" y="782385"/>
                  <a:pt x="729193" y="836781"/>
                  <a:pt x="662786" y="836781"/>
                </a:cubicBezTo>
                <a:close/>
                <a:moveTo>
                  <a:pt x="2944494" y="924405"/>
                </a:moveTo>
                <a:cubicBezTo>
                  <a:pt x="2887265" y="924405"/>
                  <a:pt x="2840638" y="878479"/>
                  <a:pt x="2840638" y="821256"/>
                </a:cubicBezTo>
                <a:cubicBezTo>
                  <a:pt x="2840638" y="764027"/>
                  <a:pt x="2886564" y="718107"/>
                  <a:pt x="2943786" y="717399"/>
                </a:cubicBezTo>
                <a:cubicBezTo>
                  <a:pt x="3001016" y="717399"/>
                  <a:pt x="3047643" y="763319"/>
                  <a:pt x="3047643" y="820548"/>
                </a:cubicBezTo>
                <a:cubicBezTo>
                  <a:pt x="3047643" y="877778"/>
                  <a:pt x="3001717" y="924405"/>
                  <a:pt x="2944494" y="924405"/>
                </a:cubicBezTo>
                <a:close/>
                <a:moveTo>
                  <a:pt x="3446189" y="927119"/>
                </a:moveTo>
                <a:cubicBezTo>
                  <a:pt x="3398854" y="927119"/>
                  <a:pt x="3361413" y="889676"/>
                  <a:pt x="3360705" y="843050"/>
                </a:cubicBezTo>
                <a:cubicBezTo>
                  <a:pt x="3360705" y="796422"/>
                  <a:pt x="3398854" y="758265"/>
                  <a:pt x="3445482" y="758265"/>
                </a:cubicBezTo>
                <a:cubicBezTo>
                  <a:pt x="3492108" y="757564"/>
                  <a:pt x="3530257" y="795714"/>
                  <a:pt x="3530257" y="842341"/>
                </a:cubicBezTo>
                <a:cubicBezTo>
                  <a:pt x="3530257" y="888968"/>
                  <a:pt x="3492816" y="927119"/>
                  <a:pt x="3446189" y="927119"/>
                </a:cubicBezTo>
                <a:close/>
                <a:moveTo>
                  <a:pt x="978459" y="935126"/>
                </a:moveTo>
                <a:cubicBezTo>
                  <a:pt x="907812" y="935126"/>
                  <a:pt x="850583" y="878604"/>
                  <a:pt x="850583" y="808664"/>
                </a:cubicBezTo>
                <a:cubicBezTo>
                  <a:pt x="850583" y="738723"/>
                  <a:pt x="907103" y="681495"/>
                  <a:pt x="977752" y="681495"/>
                </a:cubicBezTo>
                <a:cubicBezTo>
                  <a:pt x="1047693" y="681495"/>
                  <a:pt x="1104921" y="738015"/>
                  <a:pt x="1104921" y="807956"/>
                </a:cubicBezTo>
                <a:cubicBezTo>
                  <a:pt x="1104921" y="877896"/>
                  <a:pt x="1048401" y="935126"/>
                  <a:pt x="978459" y="935126"/>
                </a:cubicBezTo>
                <a:close/>
                <a:moveTo>
                  <a:pt x="2419665" y="949128"/>
                </a:moveTo>
                <a:cubicBezTo>
                  <a:pt x="2349015" y="949128"/>
                  <a:pt x="2291085" y="891899"/>
                  <a:pt x="2291085" y="821248"/>
                </a:cubicBezTo>
                <a:cubicBezTo>
                  <a:pt x="2291085" y="750599"/>
                  <a:pt x="2348314" y="692669"/>
                  <a:pt x="2418963" y="692669"/>
                </a:cubicBezTo>
                <a:cubicBezTo>
                  <a:pt x="2489612" y="692669"/>
                  <a:pt x="2547543" y="749898"/>
                  <a:pt x="2547543" y="820547"/>
                </a:cubicBezTo>
                <a:cubicBezTo>
                  <a:pt x="2547543" y="891197"/>
                  <a:pt x="2490314" y="949128"/>
                  <a:pt x="2419665" y="949128"/>
                </a:cubicBezTo>
                <a:close/>
                <a:moveTo>
                  <a:pt x="3927697" y="952547"/>
                </a:moveTo>
                <a:cubicBezTo>
                  <a:pt x="3887354" y="952547"/>
                  <a:pt x="3854883" y="920076"/>
                  <a:pt x="3854883" y="879723"/>
                </a:cubicBezTo>
                <a:cubicBezTo>
                  <a:pt x="3854883" y="839381"/>
                  <a:pt x="3887354" y="806910"/>
                  <a:pt x="3927697" y="806910"/>
                </a:cubicBezTo>
                <a:cubicBezTo>
                  <a:pt x="3968039" y="806910"/>
                  <a:pt x="4000510" y="839381"/>
                  <a:pt x="4000510" y="879723"/>
                </a:cubicBezTo>
                <a:cubicBezTo>
                  <a:pt x="4000510" y="920076"/>
                  <a:pt x="3968039" y="952547"/>
                  <a:pt x="3927697" y="952547"/>
                </a:cubicBezTo>
                <a:close/>
                <a:moveTo>
                  <a:pt x="1867364" y="989230"/>
                </a:moveTo>
                <a:cubicBezTo>
                  <a:pt x="1792473" y="989937"/>
                  <a:pt x="1731009" y="929174"/>
                  <a:pt x="1731009" y="854291"/>
                </a:cubicBezTo>
                <a:cubicBezTo>
                  <a:pt x="1730301" y="779401"/>
                  <a:pt x="1791056" y="717936"/>
                  <a:pt x="1865947" y="717936"/>
                </a:cubicBezTo>
                <a:cubicBezTo>
                  <a:pt x="1940839" y="717228"/>
                  <a:pt x="2002302" y="777990"/>
                  <a:pt x="2002302" y="852874"/>
                </a:cubicBezTo>
                <a:cubicBezTo>
                  <a:pt x="2003010" y="927765"/>
                  <a:pt x="1942248" y="989230"/>
                  <a:pt x="1867364" y="989230"/>
                </a:cubicBezTo>
                <a:close/>
                <a:moveTo>
                  <a:pt x="4394163" y="1001208"/>
                </a:moveTo>
                <a:cubicBezTo>
                  <a:pt x="4353767" y="1001208"/>
                  <a:pt x="4320878" y="969260"/>
                  <a:pt x="4320878" y="928856"/>
                </a:cubicBezTo>
                <a:cubicBezTo>
                  <a:pt x="4320878" y="888460"/>
                  <a:pt x="4353767" y="856513"/>
                  <a:pt x="4393231" y="855571"/>
                </a:cubicBezTo>
                <a:cubicBezTo>
                  <a:pt x="4433626" y="855571"/>
                  <a:pt x="4466515" y="887519"/>
                  <a:pt x="4466515" y="927923"/>
                </a:cubicBezTo>
                <a:cubicBezTo>
                  <a:pt x="4466515" y="968319"/>
                  <a:pt x="4434569" y="1001208"/>
                  <a:pt x="4394163" y="1001208"/>
                </a:cubicBezTo>
                <a:close/>
                <a:moveTo>
                  <a:pt x="1280941" y="1032300"/>
                </a:moveTo>
                <a:cubicBezTo>
                  <a:pt x="1227247" y="1032300"/>
                  <a:pt x="1183446" y="989206"/>
                  <a:pt x="1183446" y="935512"/>
                </a:cubicBezTo>
                <a:cubicBezTo>
                  <a:pt x="1183446" y="881818"/>
                  <a:pt x="1226540" y="838724"/>
                  <a:pt x="1280234" y="838017"/>
                </a:cubicBezTo>
                <a:cubicBezTo>
                  <a:pt x="1333928" y="838017"/>
                  <a:pt x="1377729" y="881109"/>
                  <a:pt x="1377729" y="934804"/>
                </a:cubicBezTo>
                <a:cubicBezTo>
                  <a:pt x="1377729" y="988498"/>
                  <a:pt x="1334635" y="1032300"/>
                  <a:pt x="1280941" y="1032300"/>
                </a:cubicBezTo>
                <a:close/>
                <a:moveTo>
                  <a:pt x="4847738" y="1057375"/>
                </a:moveTo>
                <a:cubicBezTo>
                  <a:pt x="4808175" y="1057375"/>
                  <a:pt x="4774020" y="1025006"/>
                  <a:pt x="4774020" y="985445"/>
                </a:cubicBezTo>
                <a:cubicBezTo>
                  <a:pt x="4774020" y="944100"/>
                  <a:pt x="4806392" y="911731"/>
                  <a:pt x="4845954" y="911731"/>
                </a:cubicBezTo>
                <a:cubicBezTo>
                  <a:pt x="4887300" y="911731"/>
                  <a:pt x="4919671" y="944100"/>
                  <a:pt x="4919671" y="983661"/>
                </a:cubicBezTo>
                <a:cubicBezTo>
                  <a:pt x="4921456" y="1025006"/>
                  <a:pt x="4889102" y="1057375"/>
                  <a:pt x="4847738" y="1057375"/>
                </a:cubicBezTo>
                <a:close/>
                <a:moveTo>
                  <a:pt x="9443" y="1079396"/>
                </a:moveTo>
                <a:lnTo>
                  <a:pt x="0" y="1077491"/>
                </a:lnTo>
                <a:lnTo>
                  <a:pt x="0" y="935674"/>
                </a:lnTo>
                <a:lnTo>
                  <a:pt x="9443" y="933761"/>
                </a:lnTo>
                <a:cubicBezTo>
                  <a:pt x="49156" y="933761"/>
                  <a:pt x="82257" y="966035"/>
                  <a:pt x="82257" y="1006578"/>
                </a:cubicBezTo>
                <a:cubicBezTo>
                  <a:pt x="82257" y="1046293"/>
                  <a:pt x="49156" y="1079396"/>
                  <a:pt x="9443" y="1079396"/>
                </a:cubicBezTo>
                <a:close/>
                <a:moveTo>
                  <a:pt x="336731" y="1102280"/>
                </a:moveTo>
                <a:cubicBezTo>
                  <a:pt x="296877" y="1102280"/>
                  <a:pt x="263916" y="1070087"/>
                  <a:pt x="263916" y="1029467"/>
                </a:cubicBezTo>
                <a:cubicBezTo>
                  <a:pt x="263916" y="989608"/>
                  <a:pt x="296877" y="956655"/>
                  <a:pt x="336731" y="955887"/>
                </a:cubicBezTo>
                <a:cubicBezTo>
                  <a:pt x="376591" y="955887"/>
                  <a:pt x="409551" y="988847"/>
                  <a:pt x="409551" y="1028699"/>
                </a:cubicBezTo>
                <a:cubicBezTo>
                  <a:pt x="409551" y="1069327"/>
                  <a:pt x="377351" y="1102280"/>
                  <a:pt x="336731" y="1102280"/>
                </a:cubicBezTo>
                <a:close/>
                <a:moveTo>
                  <a:pt x="5288877" y="1119568"/>
                </a:moveTo>
                <a:cubicBezTo>
                  <a:pt x="5247906" y="1119568"/>
                  <a:pt x="5216059" y="1087723"/>
                  <a:pt x="5216059" y="1046754"/>
                </a:cubicBezTo>
                <a:cubicBezTo>
                  <a:pt x="5211497" y="1005785"/>
                  <a:pt x="5243343" y="973941"/>
                  <a:pt x="5288877" y="973941"/>
                </a:cubicBezTo>
                <a:cubicBezTo>
                  <a:pt x="5329849" y="973941"/>
                  <a:pt x="5361696" y="1005785"/>
                  <a:pt x="5361696" y="1046754"/>
                </a:cubicBezTo>
                <a:cubicBezTo>
                  <a:pt x="5361696" y="1087723"/>
                  <a:pt x="5329849" y="1119568"/>
                  <a:pt x="5288877" y="1119568"/>
                </a:cubicBezTo>
                <a:close/>
                <a:moveTo>
                  <a:pt x="659772" y="1175301"/>
                </a:moveTo>
                <a:cubicBezTo>
                  <a:pt x="614553" y="1175301"/>
                  <a:pt x="577109" y="1138566"/>
                  <a:pt x="577109" y="1093346"/>
                </a:cubicBezTo>
                <a:cubicBezTo>
                  <a:pt x="577109" y="1048128"/>
                  <a:pt x="613143" y="1011393"/>
                  <a:pt x="659063" y="1010685"/>
                </a:cubicBezTo>
                <a:cubicBezTo>
                  <a:pt x="704991" y="1010685"/>
                  <a:pt x="741725" y="1047427"/>
                  <a:pt x="741725" y="1092638"/>
                </a:cubicBezTo>
                <a:cubicBezTo>
                  <a:pt x="741725" y="1138566"/>
                  <a:pt x="704991" y="1175301"/>
                  <a:pt x="659772" y="1175301"/>
                </a:cubicBezTo>
                <a:close/>
                <a:moveTo>
                  <a:pt x="2656418" y="1183530"/>
                </a:moveTo>
                <a:cubicBezTo>
                  <a:pt x="2582234" y="1183530"/>
                  <a:pt x="2521477" y="1123474"/>
                  <a:pt x="2521477" y="1049290"/>
                </a:cubicBezTo>
                <a:cubicBezTo>
                  <a:pt x="2521477" y="975106"/>
                  <a:pt x="2581533" y="915057"/>
                  <a:pt x="2655717" y="914349"/>
                </a:cubicBezTo>
                <a:cubicBezTo>
                  <a:pt x="2729895" y="914349"/>
                  <a:pt x="2789950" y="974405"/>
                  <a:pt x="2790658" y="1048582"/>
                </a:cubicBezTo>
                <a:cubicBezTo>
                  <a:pt x="2790658" y="1122767"/>
                  <a:pt x="2730602" y="1183530"/>
                  <a:pt x="2656418" y="1183530"/>
                </a:cubicBezTo>
                <a:close/>
                <a:moveTo>
                  <a:pt x="3158974" y="1188099"/>
                </a:moveTo>
                <a:cubicBezTo>
                  <a:pt x="3093976" y="1188099"/>
                  <a:pt x="3040280" y="1135112"/>
                  <a:pt x="3040280" y="1070113"/>
                </a:cubicBezTo>
                <a:cubicBezTo>
                  <a:pt x="3040280" y="1004407"/>
                  <a:pt x="3092560" y="951420"/>
                  <a:pt x="3158266" y="951420"/>
                </a:cubicBezTo>
                <a:cubicBezTo>
                  <a:pt x="3223972" y="951420"/>
                  <a:pt x="3276960" y="1004407"/>
                  <a:pt x="3276960" y="1069406"/>
                </a:cubicBezTo>
                <a:cubicBezTo>
                  <a:pt x="3276960" y="1134404"/>
                  <a:pt x="3223972" y="1187391"/>
                  <a:pt x="3158974" y="1188099"/>
                </a:cubicBezTo>
                <a:close/>
                <a:moveTo>
                  <a:pt x="3640216" y="1192069"/>
                </a:moveTo>
                <a:cubicBezTo>
                  <a:pt x="3593590" y="1192069"/>
                  <a:pt x="3555440" y="1153920"/>
                  <a:pt x="3555440" y="1107294"/>
                </a:cubicBezTo>
                <a:cubicBezTo>
                  <a:pt x="3555440" y="1059958"/>
                  <a:pt x="3592881" y="1022510"/>
                  <a:pt x="3639515" y="1022510"/>
                </a:cubicBezTo>
                <a:cubicBezTo>
                  <a:pt x="3686143" y="1021809"/>
                  <a:pt x="3724293" y="1059958"/>
                  <a:pt x="3724293" y="1106586"/>
                </a:cubicBezTo>
                <a:cubicBezTo>
                  <a:pt x="3725001" y="1153920"/>
                  <a:pt x="3686844" y="1192069"/>
                  <a:pt x="3640216" y="1192069"/>
                </a:cubicBezTo>
                <a:close/>
                <a:moveTo>
                  <a:pt x="2128210" y="1195056"/>
                </a:moveTo>
                <a:cubicBezTo>
                  <a:pt x="2049784" y="1195757"/>
                  <a:pt x="1986201" y="1132175"/>
                  <a:pt x="1986201" y="1053747"/>
                </a:cubicBezTo>
                <a:cubicBezTo>
                  <a:pt x="1985493" y="975328"/>
                  <a:pt x="2049076" y="911745"/>
                  <a:pt x="2126793" y="911037"/>
                </a:cubicBezTo>
                <a:cubicBezTo>
                  <a:pt x="2205219" y="911037"/>
                  <a:pt x="2269508" y="973919"/>
                  <a:pt x="2269508" y="1052338"/>
                </a:cubicBezTo>
                <a:cubicBezTo>
                  <a:pt x="2269508" y="1130758"/>
                  <a:pt x="2206628" y="1194347"/>
                  <a:pt x="2128210" y="1195056"/>
                </a:cubicBezTo>
                <a:close/>
                <a:moveTo>
                  <a:pt x="1568151" y="1214683"/>
                </a:moveTo>
                <a:cubicBezTo>
                  <a:pt x="1501745" y="1214683"/>
                  <a:pt x="1448049" y="1160989"/>
                  <a:pt x="1448049" y="1095283"/>
                </a:cubicBezTo>
                <a:cubicBezTo>
                  <a:pt x="1448049" y="1028876"/>
                  <a:pt x="1501035" y="975182"/>
                  <a:pt x="1566741" y="975182"/>
                </a:cubicBezTo>
                <a:cubicBezTo>
                  <a:pt x="1633147" y="975182"/>
                  <a:pt x="1686843" y="1028876"/>
                  <a:pt x="1686843" y="1094582"/>
                </a:cubicBezTo>
                <a:cubicBezTo>
                  <a:pt x="1687551" y="1160989"/>
                  <a:pt x="1633857" y="1214683"/>
                  <a:pt x="1568151" y="1214683"/>
                </a:cubicBezTo>
                <a:close/>
                <a:moveTo>
                  <a:pt x="4104539" y="1230206"/>
                </a:moveTo>
                <a:cubicBezTo>
                  <a:pt x="4063961" y="1230206"/>
                  <a:pt x="4031358" y="1197603"/>
                  <a:pt x="4031358" y="1157752"/>
                </a:cubicBezTo>
                <a:cubicBezTo>
                  <a:pt x="4031358" y="1117901"/>
                  <a:pt x="4063235" y="1085298"/>
                  <a:pt x="4103812" y="1084572"/>
                </a:cubicBezTo>
                <a:cubicBezTo>
                  <a:pt x="4143664" y="1084572"/>
                  <a:pt x="4176993" y="1117175"/>
                  <a:pt x="4176993" y="1157025"/>
                </a:cubicBezTo>
                <a:cubicBezTo>
                  <a:pt x="4176993" y="1197603"/>
                  <a:pt x="4144390" y="1230206"/>
                  <a:pt x="4104539" y="1230206"/>
                </a:cubicBezTo>
                <a:close/>
                <a:moveTo>
                  <a:pt x="4554422" y="1288307"/>
                </a:moveTo>
                <a:cubicBezTo>
                  <a:pt x="4514027" y="1288307"/>
                  <a:pt x="4481138" y="1256360"/>
                  <a:pt x="4481138" y="1215955"/>
                </a:cubicBezTo>
                <a:cubicBezTo>
                  <a:pt x="4481138" y="1176492"/>
                  <a:pt x="4514027" y="1143612"/>
                  <a:pt x="4553490" y="1142671"/>
                </a:cubicBezTo>
                <a:cubicBezTo>
                  <a:pt x="4593885" y="1142671"/>
                  <a:pt x="4626774" y="1174618"/>
                  <a:pt x="4626774" y="1215023"/>
                </a:cubicBezTo>
                <a:cubicBezTo>
                  <a:pt x="4626774" y="1255418"/>
                  <a:pt x="4594828" y="1288307"/>
                  <a:pt x="4554422" y="1288307"/>
                </a:cubicBezTo>
                <a:close/>
                <a:moveTo>
                  <a:pt x="971081" y="1294714"/>
                </a:moveTo>
                <a:cubicBezTo>
                  <a:pt x="917387" y="1294714"/>
                  <a:pt x="873585" y="1251620"/>
                  <a:pt x="873585" y="1197926"/>
                </a:cubicBezTo>
                <a:cubicBezTo>
                  <a:pt x="873585" y="1144232"/>
                  <a:pt x="916679" y="1101139"/>
                  <a:pt x="970373" y="1100431"/>
                </a:cubicBezTo>
                <a:cubicBezTo>
                  <a:pt x="1024067" y="1100431"/>
                  <a:pt x="1067869" y="1143523"/>
                  <a:pt x="1067869" y="1197219"/>
                </a:cubicBezTo>
                <a:cubicBezTo>
                  <a:pt x="1067869" y="1250913"/>
                  <a:pt x="1024775" y="1294714"/>
                  <a:pt x="971081" y="1294714"/>
                </a:cubicBezTo>
                <a:close/>
                <a:moveTo>
                  <a:pt x="4992844" y="1351992"/>
                </a:moveTo>
                <a:cubicBezTo>
                  <a:pt x="4954011" y="1351992"/>
                  <a:pt x="4920018" y="1320433"/>
                  <a:pt x="4920018" y="1279165"/>
                </a:cubicBezTo>
                <a:cubicBezTo>
                  <a:pt x="4920018" y="1240332"/>
                  <a:pt x="4951578" y="1206341"/>
                  <a:pt x="4992844" y="1206341"/>
                </a:cubicBezTo>
                <a:cubicBezTo>
                  <a:pt x="5031678" y="1206341"/>
                  <a:pt x="5065670" y="1237899"/>
                  <a:pt x="5065670" y="1279165"/>
                </a:cubicBezTo>
                <a:cubicBezTo>
                  <a:pt x="5065670" y="1320433"/>
                  <a:pt x="5034111" y="1351992"/>
                  <a:pt x="4992844" y="1351992"/>
                </a:cubicBezTo>
                <a:close/>
                <a:moveTo>
                  <a:pt x="1835303" y="1393201"/>
                </a:moveTo>
                <a:cubicBezTo>
                  <a:pt x="1775957" y="1393201"/>
                  <a:pt x="1727913" y="1345865"/>
                  <a:pt x="1727913" y="1286526"/>
                </a:cubicBezTo>
                <a:cubicBezTo>
                  <a:pt x="1727913" y="1227180"/>
                  <a:pt x="1775249" y="1179136"/>
                  <a:pt x="1834595" y="1179136"/>
                </a:cubicBezTo>
                <a:cubicBezTo>
                  <a:pt x="1893941" y="1179136"/>
                  <a:pt x="1941978" y="1226472"/>
                  <a:pt x="1941978" y="1285818"/>
                </a:cubicBezTo>
                <a:cubicBezTo>
                  <a:pt x="1941978" y="1345164"/>
                  <a:pt x="1893941" y="1393201"/>
                  <a:pt x="1835303" y="1393201"/>
                </a:cubicBezTo>
                <a:close/>
                <a:moveTo>
                  <a:pt x="1265820" y="1413937"/>
                </a:moveTo>
                <a:cubicBezTo>
                  <a:pt x="1225761" y="1413937"/>
                  <a:pt x="1193001" y="1381176"/>
                  <a:pt x="1193001" y="1341129"/>
                </a:cubicBezTo>
                <a:cubicBezTo>
                  <a:pt x="1193001" y="1301082"/>
                  <a:pt x="1225761" y="1268309"/>
                  <a:pt x="1265820" y="1268309"/>
                </a:cubicBezTo>
                <a:cubicBezTo>
                  <a:pt x="1305867" y="1268309"/>
                  <a:pt x="1338628" y="1301082"/>
                  <a:pt x="1338628" y="1341129"/>
                </a:cubicBezTo>
                <a:cubicBezTo>
                  <a:pt x="1338628" y="1381176"/>
                  <a:pt x="1305867" y="1413937"/>
                  <a:pt x="1265820" y="1413937"/>
                </a:cubicBezTo>
                <a:close/>
                <a:moveTo>
                  <a:pt x="2367864" y="1414754"/>
                </a:moveTo>
                <a:cubicBezTo>
                  <a:pt x="2292973" y="1414754"/>
                  <a:pt x="2230803" y="1353999"/>
                  <a:pt x="2230803" y="1278400"/>
                </a:cubicBezTo>
                <a:cubicBezTo>
                  <a:pt x="2230803" y="1202808"/>
                  <a:pt x="2291557" y="1141345"/>
                  <a:pt x="2366449" y="1140637"/>
                </a:cubicBezTo>
                <a:cubicBezTo>
                  <a:pt x="2442039" y="1140637"/>
                  <a:pt x="2504211" y="1201392"/>
                  <a:pt x="2504211" y="1276991"/>
                </a:cubicBezTo>
                <a:cubicBezTo>
                  <a:pt x="2504919" y="1352582"/>
                  <a:pt x="2443456" y="1414754"/>
                  <a:pt x="2367864" y="1414754"/>
                </a:cubicBezTo>
                <a:close/>
                <a:moveTo>
                  <a:pt x="5421837" y="1420312"/>
                </a:moveTo>
                <a:cubicBezTo>
                  <a:pt x="5381353" y="1420312"/>
                  <a:pt x="5348982" y="1387942"/>
                  <a:pt x="5348982" y="1347459"/>
                </a:cubicBezTo>
                <a:cubicBezTo>
                  <a:pt x="5348982" y="1306976"/>
                  <a:pt x="5373240" y="1274605"/>
                  <a:pt x="5421837" y="1274605"/>
                </a:cubicBezTo>
                <a:cubicBezTo>
                  <a:pt x="5462320" y="1274605"/>
                  <a:pt x="5494691" y="1306976"/>
                  <a:pt x="5494691" y="1347459"/>
                </a:cubicBezTo>
                <a:cubicBezTo>
                  <a:pt x="5494691" y="1387942"/>
                  <a:pt x="5462320" y="1420312"/>
                  <a:pt x="5421837" y="1420312"/>
                </a:cubicBezTo>
                <a:close/>
                <a:moveTo>
                  <a:pt x="2871869" y="1434948"/>
                </a:moveTo>
                <a:cubicBezTo>
                  <a:pt x="2795568" y="1434948"/>
                  <a:pt x="2733395" y="1373481"/>
                  <a:pt x="2733395" y="1297177"/>
                </a:cubicBezTo>
                <a:cubicBezTo>
                  <a:pt x="2732687" y="1220165"/>
                  <a:pt x="2794151" y="1158700"/>
                  <a:pt x="2871162" y="1158700"/>
                </a:cubicBezTo>
                <a:cubicBezTo>
                  <a:pt x="2947463" y="1158700"/>
                  <a:pt x="3009636" y="1220165"/>
                  <a:pt x="3009636" y="1296469"/>
                </a:cubicBezTo>
                <a:cubicBezTo>
                  <a:pt x="3009636" y="1372773"/>
                  <a:pt x="2948172" y="1434948"/>
                  <a:pt x="2871869" y="1434948"/>
                </a:cubicBezTo>
                <a:close/>
                <a:moveTo>
                  <a:pt x="8117" y="1447460"/>
                </a:moveTo>
                <a:lnTo>
                  <a:pt x="0" y="1445854"/>
                </a:lnTo>
                <a:lnTo>
                  <a:pt x="0" y="1299902"/>
                </a:lnTo>
                <a:lnTo>
                  <a:pt x="8117" y="1298248"/>
                </a:lnTo>
                <a:cubicBezTo>
                  <a:pt x="46385" y="1298248"/>
                  <a:pt x="80819" y="1328849"/>
                  <a:pt x="80819" y="1370917"/>
                </a:cubicBezTo>
                <a:cubicBezTo>
                  <a:pt x="80819" y="1413024"/>
                  <a:pt x="50219" y="1447460"/>
                  <a:pt x="8117" y="1447460"/>
                </a:cubicBezTo>
                <a:close/>
                <a:moveTo>
                  <a:pt x="3352149" y="1453897"/>
                </a:moveTo>
                <a:cubicBezTo>
                  <a:pt x="3286443" y="1453897"/>
                  <a:pt x="3233456" y="1400910"/>
                  <a:pt x="3233456" y="1335911"/>
                </a:cubicBezTo>
                <a:cubicBezTo>
                  <a:pt x="3233456" y="1270205"/>
                  <a:pt x="3286443" y="1217218"/>
                  <a:pt x="3351442" y="1217218"/>
                </a:cubicBezTo>
                <a:cubicBezTo>
                  <a:pt x="3417148" y="1217218"/>
                  <a:pt x="3470135" y="1270205"/>
                  <a:pt x="3470135" y="1335204"/>
                </a:cubicBezTo>
                <a:cubicBezTo>
                  <a:pt x="3470135" y="1400910"/>
                  <a:pt x="3417849" y="1453897"/>
                  <a:pt x="3352149" y="1453897"/>
                </a:cubicBezTo>
                <a:close/>
                <a:moveTo>
                  <a:pt x="335259" y="1471582"/>
                </a:moveTo>
                <a:cubicBezTo>
                  <a:pt x="294117" y="1471582"/>
                  <a:pt x="262435" y="1439905"/>
                  <a:pt x="262435" y="1398737"/>
                </a:cubicBezTo>
                <a:cubicBezTo>
                  <a:pt x="262435" y="1360743"/>
                  <a:pt x="297259" y="1329097"/>
                  <a:pt x="335259" y="1325924"/>
                </a:cubicBezTo>
                <a:cubicBezTo>
                  <a:pt x="376433" y="1325924"/>
                  <a:pt x="408115" y="1357601"/>
                  <a:pt x="408115" y="1398737"/>
                </a:cubicBezTo>
                <a:cubicBezTo>
                  <a:pt x="408115" y="1439905"/>
                  <a:pt x="376433" y="1471582"/>
                  <a:pt x="335259" y="1471582"/>
                </a:cubicBezTo>
                <a:close/>
                <a:moveTo>
                  <a:pt x="3814037" y="1489898"/>
                </a:moveTo>
                <a:cubicBezTo>
                  <a:pt x="3756806" y="1489898"/>
                  <a:pt x="3710179" y="1443972"/>
                  <a:pt x="3710179" y="1386749"/>
                </a:cubicBezTo>
                <a:cubicBezTo>
                  <a:pt x="3710179" y="1329520"/>
                  <a:pt x="3756098" y="1282893"/>
                  <a:pt x="3813328" y="1282893"/>
                </a:cubicBezTo>
                <a:cubicBezTo>
                  <a:pt x="3870557" y="1282893"/>
                  <a:pt x="3917186" y="1328819"/>
                  <a:pt x="3917186" y="1386042"/>
                </a:cubicBezTo>
                <a:cubicBezTo>
                  <a:pt x="3917186" y="1443271"/>
                  <a:pt x="3871258" y="1489898"/>
                  <a:pt x="3814037" y="1489898"/>
                </a:cubicBezTo>
                <a:close/>
                <a:moveTo>
                  <a:pt x="4260907" y="1522369"/>
                </a:moveTo>
                <a:cubicBezTo>
                  <a:pt x="4219222" y="1522369"/>
                  <a:pt x="4184606" y="1488460"/>
                  <a:pt x="4184606" y="1446776"/>
                </a:cubicBezTo>
                <a:cubicBezTo>
                  <a:pt x="4184606" y="1405093"/>
                  <a:pt x="4218521" y="1371184"/>
                  <a:pt x="4260199" y="1370476"/>
                </a:cubicBezTo>
                <a:cubicBezTo>
                  <a:pt x="4302591" y="1370476"/>
                  <a:pt x="4336507" y="1404384"/>
                  <a:pt x="4336507" y="1446068"/>
                </a:cubicBezTo>
                <a:cubicBezTo>
                  <a:pt x="4336507" y="1487753"/>
                  <a:pt x="4302591" y="1522369"/>
                  <a:pt x="4260907" y="1522369"/>
                </a:cubicBezTo>
                <a:close/>
                <a:moveTo>
                  <a:pt x="655315" y="1545624"/>
                </a:moveTo>
                <a:cubicBezTo>
                  <a:pt x="615775" y="1545624"/>
                  <a:pt x="582491" y="1512340"/>
                  <a:pt x="582491" y="1472820"/>
                </a:cubicBezTo>
                <a:cubicBezTo>
                  <a:pt x="582491" y="1433280"/>
                  <a:pt x="613691" y="1399997"/>
                  <a:pt x="655315" y="1399997"/>
                </a:cubicBezTo>
                <a:cubicBezTo>
                  <a:pt x="694835" y="1399997"/>
                  <a:pt x="728119" y="1431195"/>
                  <a:pt x="728119" y="1472820"/>
                </a:cubicBezTo>
                <a:cubicBezTo>
                  <a:pt x="728119" y="1512340"/>
                  <a:pt x="694835" y="1545624"/>
                  <a:pt x="655315" y="1545624"/>
                </a:cubicBezTo>
                <a:close/>
                <a:moveTo>
                  <a:pt x="4696346" y="1584587"/>
                </a:moveTo>
                <a:cubicBezTo>
                  <a:pt x="4655962" y="1585641"/>
                  <a:pt x="4623014" y="1552703"/>
                  <a:pt x="4623014" y="1512316"/>
                </a:cubicBezTo>
                <a:cubicBezTo>
                  <a:pt x="4621961" y="1471931"/>
                  <a:pt x="4654898" y="1438981"/>
                  <a:pt x="4695280" y="1438981"/>
                </a:cubicBezTo>
                <a:cubicBezTo>
                  <a:pt x="4735663" y="1437925"/>
                  <a:pt x="4768600" y="1470865"/>
                  <a:pt x="4768600" y="1511250"/>
                </a:cubicBezTo>
                <a:cubicBezTo>
                  <a:pt x="4769666" y="1551637"/>
                  <a:pt x="4736728" y="1584587"/>
                  <a:pt x="4696346" y="1584587"/>
                </a:cubicBezTo>
                <a:close/>
                <a:moveTo>
                  <a:pt x="1540823" y="1594697"/>
                </a:moveTo>
                <a:cubicBezTo>
                  <a:pt x="1500556" y="1594697"/>
                  <a:pt x="1467349" y="1561489"/>
                  <a:pt x="1467349" y="1521221"/>
                </a:cubicBezTo>
                <a:cubicBezTo>
                  <a:pt x="1467349" y="1480953"/>
                  <a:pt x="1499847" y="1447746"/>
                  <a:pt x="1540823" y="1447746"/>
                </a:cubicBezTo>
                <a:cubicBezTo>
                  <a:pt x="1581091" y="1447746"/>
                  <a:pt x="1614299" y="1480953"/>
                  <a:pt x="1614299" y="1521221"/>
                </a:cubicBezTo>
                <a:cubicBezTo>
                  <a:pt x="1614299" y="1561489"/>
                  <a:pt x="1581091" y="1594697"/>
                  <a:pt x="1540823" y="1594697"/>
                </a:cubicBezTo>
                <a:close/>
                <a:moveTo>
                  <a:pt x="2079311" y="1643271"/>
                </a:moveTo>
                <a:cubicBezTo>
                  <a:pt x="2003714" y="1643979"/>
                  <a:pt x="1942251" y="1582516"/>
                  <a:pt x="1942251" y="1506917"/>
                </a:cubicBezTo>
                <a:cubicBezTo>
                  <a:pt x="1942251" y="1431325"/>
                  <a:pt x="2003006" y="1369862"/>
                  <a:pt x="2078603" y="1369154"/>
                </a:cubicBezTo>
                <a:cubicBezTo>
                  <a:pt x="2154194" y="1369154"/>
                  <a:pt x="2215657" y="1429910"/>
                  <a:pt x="2215657" y="1505508"/>
                </a:cubicBezTo>
                <a:cubicBezTo>
                  <a:pt x="2215657" y="1581808"/>
                  <a:pt x="2154902" y="1643271"/>
                  <a:pt x="2079311" y="1643271"/>
                </a:cubicBezTo>
                <a:close/>
                <a:moveTo>
                  <a:pt x="5120664" y="1654586"/>
                </a:moveTo>
                <a:cubicBezTo>
                  <a:pt x="5079397" y="1654586"/>
                  <a:pt x="5047838" y="1620595"/>
                  <a:pt x="5047838" y="1581760"/>
                </a:cubicBezTo>
                <a:cubicBezTo>
                  <a:pt x="5047838" y="1542926"/>
                  <a:pt x="5081830" y="1508935"/>
                  <a:pt x="5120664" y="1508935"/>
                </a:cubicBezTo>
                <a:cubicBezTo>
                  <a:pt x="5159497" y="1508935"/>
                  <a:pt x="5193490" y="1540493"/>
                  <a:pt x="5193490" y="1581760"/>
                </a:cubicBezTo>
                <a:cubicBezTo>
                  <a:pt x="5193490" y="1623028"/>
                  <a:pt x="5161930" y="1654586"/>
                  <a:pt x="5120664" y="1654586"/>
                </a:cubicBezTo>
                <a:close/>
                <a:moveTo>
                  <a:pt x="960329" y="1666663"/>
                </a:moveTo>
                <a:cubicBezTo>
                  <a:pt x="920789" y="1666663"/>
                  <a:pt x="887505" y="1633379"/>
                  <a:pt x="887505" y="1593859"/>
                </a:cubicBezTo>
                <a:cubicBezTo>
                  <a:pt x="887505" y="1554319"/>
                  <a:pt x="920789" y="1521036"/>
                  <a:pt x="960329" y="1521036"/>
                </a:cubicBezTo>
                <a:cubicBezTo>
                  <a:pt x="999849" y="1521036"/>
                  <a:pt x="1033133" y="1552234"/>
                  <a:pt x="1033133" y="1593859"/>
                </a:cubicBezTo>
                <a:cubicBezTo>
                  <a:pt x="1033133" y="1633379"/>
                  <a:pt x="1001934" y="1666663"/>
                  <a:pt x="960329" y="1666663"/>
                </a:cubicBezTo>
                <a:close/>
                <a:moveTo>
                  <a:pt x="2584880" y="1671567"/>
                </a:moveTo>
                <a:cubicBezTo>
                  <a:pt x="2503630" y="1672275"/>
                  <a:pt x="2437223" y="1606569"/>
                  <a:pt x="2437223" y="1525326"/>
                </a:cubicBezTo>
                <a:cubicBezTo>
                  <a:pt x="2437223" y="1444076"/>
                  <a:pt x="2502929" y="1378377"/>
                  <a:pt x="2583464" y="1377669"/>
                </a:cubicBezTo>
                <a:cubicBezTo>
                  <a:pt x="2664714" y="1376961"/>
                  <a:pt x="2730413" y="1442666"/>
                  <a:pt x="2731121" y="1523910"/>
                </a:cubicBezTo>
                <a:cubicBezTo>
                  <a:pt x="2731121" y="1605153"/>
                  <a:pt x="2666124" y="1670858"/>
                  <a:pt x="2584880" y="1671567"/>
                </a:cubicBezTo>
                <a:close/>
                <a:moveTo>
                  <a:pt x="3064079" y="1701710"/>
                </a:moveTo>
                <a:cubicBezTo>
                  <a:pt x="2987777" y="1701710"/>
                  <a:pt x="2925604" y="1640243"/>
                  <a:pt x="2925604" y="1563939"/>
                </a:cubicBezTo>
                <a:cubicBezTo>
                  <a:pt x="2924896" y="1487636"/>
                  <a:pt x="2987069" y="1425462"/>
                  <a:pt x="3063371" y="1425462"/>
                </a:cubicBezTo>
                <a:cubicBezTo>
                  <a:pt x="3139672" y="1425462"/>
                  <a:pt x="3201845" y="1486927"/>
                  <a:pt x="3201845" y="1563231"/>
                </a:cubicBezTo>
                <a:cubicBezTo>
                  <a:pt x="3201845" y="1639535"/>
                  <a:pt x="3140381" y="1701710"/>
                  <a:pt x="3064079" y="1701710"/>
                </a:cubicBezTo>
                <a:close/>
                <a:moveTo>
                  <a:pt x="5539857" y="1729754"/>
                </a:moveTo>
                <a:cubicBezTo>
                  <a:pt x="5498223" y="1729754"/>
                  <a:pt x="5464933" y="1696465"/>
                  <a:pt x="5464933" y="1654875"/>
                </a:cubicBezTo>
                <a:cubicBezTo>
                  <a:pt x="5464933" y="1613244"/>
                  <a:pt x="5494052" y="1579955"/>
                  <a:pt x="5535684" y="1579955"/>
                </a:cubicBezTo>
                <a:cubicBezTo>
                  <a:pt x="5577318" y="1579955"/>
                  <a:pt x="5610608" y="1613244"/>
                  <a:pt x="5610608" y="1654875"/>
                </a:cubicBezTo>
                <a:cubicBezTo>
                  <a:pt x="5610608" y="1696465"/>
                  <a:pt x="5581449" y="1729754"/>
                  <a:pt x="5539857" y="1729754"/>
                </a:cubicBezTo>
                <a:close/>
                <a:moveTo>
                  <a:pt x="3523059" y="1734708"/>
                </a:moveTo>
                <a:cubicBezTo>
                  <a:pt x="3458060" y="1734708"/>
                  <a:pt x="3404365" y="1681721"/>
                  <a:pt x="3404365" y="1616723"/>
                </a:cubicBezTo>
                <a:cubicBezTo>
                  <a:pt x="3404365" y="1551724"/>
                  <a:pt x="3457353" y="1498737"/>
                  <a:pt x="3522351" y="1498029"/>
                </a:cubicBezTo>
                <a:cubicBezTo>
                  <a:pt x="3588057" y="1498029"/>
                  <a:pt x="3641044" y="1551017"/>
                  <a:pt x="3641044" y="1616015"/>
                </a:cubicBezTo>
                <a:cubicBezTo>
                  <a:pt x="3641044" y="1681013"/>
                  <a:pt x="3588057" y="1734708"/>
                  <a:pt x="3523059" y="1734708"/>
                </a:cubicBezTo>
                <a:close/>
                <a:moveTo>
                  <a:pt x="3966544" y="1783475"/>
                </a:moveTo>
                <a:cubicBezTo>
                  <a:pt x="3907904" y="1783475"/>
                  <a:pt x="3860568" y="1736848"/>
                  <a:pt x="3860568" y="1678208"/>
                </a:cubicBezTo>
                <a:cubicBezTo>
                  <a:pt x="3860568" y="1620277"/>
                  <a:pt x="3907904" y="1572234"/>
                  <a:pt x="3965836" y="1572234"/>
                </a:cubicBezTo>
                <a:cubicBezTo>
                  <a:pt x="4023774" y="1572234"/>
                  <a:pt x="4071812" y="1618862"/>
                  <a:pt x="4071812" y="1677500"/>
                </a:cubicBezTo>
                <a:cubicBezTo>
                  <a:pt x="4072520" y="1736138"/>
                  <a:pt x="4025183" y="1783475"/>
                  <a:pt x="3966544" y="1783475"/>
                </a:cubicBezTo>
                <a:close/>
                <a:moveTo>
                  <a:pt x="1790168" y="1807567"/>
                </a:moveTo>
                <a:cubicBezTo>
                  <a:pt x="1750451" y="1807567"/>
                  <a:pt x="1717359" y="1775297"/>
                  <a:pt x="1717359" y="1734758"/>
                </a:cubicBezTo>
                <a:cubicBezTo>
                  <a:pt x="1716529" y="1694219"/>
                  <a:pt x="1749621" y="1661118"/>
                  <a:pt x="1790168" y="1661948"/>
                </a:cubicBezTo>
                <a:cubicBezTo>
                  <a:pt x="1829878" y="1661948"/>
                  <a:pt x="1862977" y="1695039"/>
                  <a:pt x="1862977" y="1734758"/>
                </a:cubicBezTo>
                <a:cubicBezTo>
                  <a:pt x="1862977" y="1774468"/>
                  <a:pt x="1830707" y="1807567"/>
                  <a:pt x="1790168" y="1807567"/>
                </a:cubicBezTo>
                <a:close/>
                <a:moveTo>
                  <a:pt x="1244039" y="1832140"/>
                </a:moveTo>
                <a:cubicBezTo>
                  <a:pt x="1207663" y="1832140"/>
                  <a:pt x="1171225" y="1801838"/>
                  <a:pt x="1171225" y="1759306"/>
                </a:cubicBezTo>
                <a:cubicBezTo>
                  <a:pt x="1171225" y="1716835"/>
                  <a:pt x="1207663" y="1680388"/>
                  <a:pt x="1244039" y="1686472"/>
                </a:cubicBezTo>
                <a:cubicBezTo>
                  <a:pt x="1280475" y="1686472"/>
                  <a:pt x="1316853" y="1716835"/>
                  <a:pt x="1316853" y="1759306"/>
                </a:cubicBezTo>
                <a:cubicBezTo>
                  <a:pt x="1316853" y="1795752"/>
                  <a:pt x="1286499" y="1832140"/>
                  <a:pt x="1244039" y="1832140"/>
                </a:cubicBezTo>
                <a:close/>
                <a:moveTo>
                  <a:pt x="4397441" y="1842290"/>
                </a:moveTo>
                <a:cubicBezTo>
                  <a:pt x="4343747" y="1842290"/>
                  <a:pt x="4299945" y="1799196"/>
                  <a:pt x="4299945" y="1745502"/>
                </a:cubicBezTo>
                <a:cubicBezTo>
                  <a:pt x="4299945" y="1691808"/>
                  <a:pt x="4343039" y="1648007"/>
                  <a:pt x="4396733" y="1648007"/>
                </a:cubicBezTo>
                <a:cubicBezTo>
                  <a:pt x="4450427" y="1648007"/>
                  <a:pt x="4494229" y="1691099"/>
                  <a:pt x="4494229" y="1744794"/>
                </a:cubicBezTo>
                <a:cubicBezTo>
                  <a:pt x="4494229" y="1798488"/>
                  <a:pt x="4451136" y="1842290"/>
                  <a:pt x="4397441" y="1842290"/>
                </a:cubicBezTo>
                <a:close/>
                <a:moveTo>
                  <a:pt x="334007" y="1842774"/>
                </a:moveTo>
                <a:cubicBezTo>
                  <a:pt x="297433" y="1842774"/>
                  <a:pt x="260860" y="1806187"/>
                  <a:pt x="260860" y="1769598"/>
                </a:cubicBezTo>
                <a:cubicBezTo>
                  <a:pt x="260860" y="1733372"/>
                  <a:pt x="260860" y="1696785"/>
                  <a:pt x="334007" y="1696785"/>
                </a:cubicBezTo>
                <a:cubicBezTo>
                  <a:pt x="370217" y="1696785"/>
                  <a:pt x="406789" y="1733372"/>
                  <a:pt x="406789" y="1769598"/>
                </a:cubicBezTo>
                <a:cubicBezTo>
                  <a:pt x="406789" y="1806187"/>
                  <a:pt x="370217" y="1842774"/>
                  <a:pt x="334007" y="1842774"/>
                </a:cubicBezTo>
                <a:close/>
                <a:moveTo>
                  <a:pt x="2297175" y="1862498"/>
                </a:moveTo>
                <a:cubicBezTo>
                  <a:pt x="2236419" y="1863207"/>
                  <a:pt x="2186258" y="1813753"/>
                  <a:pt x="2186258" y="1752289"/>
                </a:cubicBezTo>
                <a:cubicBezTo>
                  <a:pt x="2186258" y="1691526"/>
                  <a:pt x="2235710" y="1641365"/>
                  <a:pt x="2296473" y="1641365"/>
                </a:cubicBezTo>
                <a:cubicBezTo>
                  <a:pt x="2357229" y="1640657"/>
                  <a:pt x="2407390" y="1690117"/>
                  <a:pt x="2407390" y="1751581"/>
                </a:cubicBezTo>
                <a:cubicBezTo>
                  <a:pt x="2408097" y="1812336"/>
                  <a:pt x="2358645" y="1862498"/>
                  <a:pt x="2297175" y="1862498"/>
                </a:cubicBezTo>
                <a:close/>
                <a:moveTo>
                  <a:pt x="4818059" y="1890035"/>
                </a:moveTo>
                <a:cubicBezTo>
                  <a:pt x="4777783" y="1890035"/>
                  <a:pt x="4744582" y="1856827"/>
                  <a:pt x="4744582" y="1816560"/>
                </a:cubicBezTo>
                <a:cubicBezTo>
                  <a:pt x="4743875" y="1775583"/>
                  <a:pt x="4777082" y="1743085"/>
                  <a:pt x="4818059" y="1743085"/>
                </a:cubicBezTo>
                <a:cubicBezTo>
                  <a:pt x="4858328" y="1743085"/>
                  <a:pt x="4891535" y="1776291"/>
                  <a:pt x="4891535" y="1816560"/>
                </a:cubicBezTo>
                <a:cubicBezTo>
                  <a:pt x="4891535" y="1856827"/>
                  <a:pt x="4858328" y="1890035"/>
                  <a:pt x="4818059" y="1890035"/>
                </a:cubicBezTo>
                <a:close/>
                <a:moveTo>
                  <a:pt x="639303" y="1930770"/>
                </a:moveTo>
                <a:cubicBezTo>
                  <a:pt x="597783" y="1930770"/>
                  <a:pt x="576920" y="1889250"/>
                  <a:pt x="576920" y="1847525"/>
                </a:cubicBezTo>
                <a:cubicBezTo>
                  <a:pt x="576920" y="1806005"/>
                  <a:pt x="597783" y="1785143"/>
                  <a:pt x="639303" y="1785143"/>
                </a:cubicBezTo>
                <a:cubicBezTo>
                  <a:pt x="681027" y="1785143"/>
                  <a:pt x="722547" y="1826868"/>
                  <a:pt x="722547" y="1868388"/>
                </a:cubicBezTo>
                <a:cubicBezTo>
                  <a:pt x="722547" y="1889250"/>
                  <a:pt x="681027" y="1930770"/>
                  <a:pt x="639303" y="1930770"/>
                </a:cubicBezTo>
                <a:close/>
                <a:moveTo>
                  <a:pt x="2775633" y="1932941"/>
                </a:moveTo>
                <a:cubicBezTo>
                  <a:pt x="2697916" y="1933650"/>
                  <a:pt x="2634335" y="1870770"/>
                  <a:pt x="2634335" y="1793059"/>
                </a:cubicBezTo>
                <a:cubicBezTo>
                  <a:pt x="2634335" y="1716050"/>
                  <a:pt x="2697215" y="1652469"/>
                  <a:pt x="2774224" y="1651761"/>
                </a:cubicBezTo>
                <a:cubicBezTo>
                  <a:pt x="2851934" y="1651053"/>
                  <a:pt x="2915522" y="1713933"/>
                  <a:pt x="2915522" y="1791642"/>
                </a:cubicBezTo>
                <a:cubicBezTo>
                  <a:pt x="2916223" y="1869359"/>
                  <a:pt x="2853350" y="1932941"/>
                  <a:pt x="2775633" y="1932941"/>
                </a:cubicBezTo>
                <a:close/>
                <a:moveTo>
                  <a:pt x="5230555" y="1964417"/>
                </a:moveTo>
                <a:cubicBezTo>
                  <a:pt x="5190386" y="1964417"/>
                  <a:pt x="5157741" y="1931772"/>
                  <a:pt x="5157741" y="1891602"/>
                </a:cubicBezTo>
                <a:cubicBezTo>
                  <a:pt x="5157741" y="1851433"/>
                  <a:pt x="5190386" y="1818789"/>
                  <a:pt x="5230555" y="1818789"/>
                </a:cubicBezTo>
                <a:cubicBezTo>
                  <a:pt x="5270737" y="1818789"/>
                  <a:pt x="5303368" y="1851433"/>
                  <a:pt x="5303368" y="1891602"/>
                </a:cubicBezTo>
                <a:cubicBezTo>
                  <a:pt x="5303368" y="1931772"/>
                  <a:pt x="5270737" y="1964417"/>
                  <a:pt x="5230555" y="1964417"/>
                </a:cubicBezTo>
                <a:close/>
                <a:moveTo>
                  <a:pt x="3231105" y="1983644"/>
                </a:moveTo>
                <a:cubicBezTo>
                  <a:pt x="3155513" y="1984352"/>
                  <a:pt x="3094050" y="1922889"/>
                  <a:pt x="3094050" y="1847290"/>
                </a:cubicBezTo>
                <a:cubicBezTo>
                  <a:pt x="3094050" y="1771698"/>
                  <a:pt x="3155513" y="1710234"/>
                  <a:pt x="3229696" y="1709526"/>
                </a:cubicBezTo>
                <a:cubicBezTo>
                  <a:pt x="3305287" y="1708818"/>
                  <a:pt x="3367459" y="1770281"/>
                  <a:pt x="3367459" y="1845880"/>
                </a:cubicBezTo>
                <a:cubicBezTo>
                  <a:pt x="3368167" y="1922180"/>
                  <a:pt x="3306704" y="1983644"/>
                  <a:pt x="3231105" y="1983644"/>
                </a:cubicBezTo>
                <a:close/>
                <a:moveTo>
                  <a:pt x="3670721" y="2029517"/>
                </a:moveTo>
                <a:cubicBezTo>
                  <a:pt x="3604312" y="2029517"/>
                  <a:pt x="3550615" y="1975820"/>
                  <a:pt x="3550615" y="1910113"/>
                </a:cubicBezTo>
                <a:cubicBezTo>
                  <a:pt x="3550615" y="1843704"/>
                  <a:pt x="3604312" y="1790009"/>
                  <a:pt x="3670019" y="1790009"/>
                </a:cubicBezTo>
                <a:cubicBezTo>
                  <a:pt x="3736428" y="1790009"/>
                  <a:pt x="3790125" y="1843704"/>
                  <a:pt x="3790125" y="1909411"/>
                </a:cubicBezTo>
                <a:cubicBezTo>
                  <a:pt x="3790125" y="1975820"/>
                  <a:pt x="3736428" y="2029517"/>
                  <a:pt x="3670721" y="2029517"/>
                </a:cubicBezTo>
                <a:close/>
                <a:moveTo>
                  <a:pt x="1501320" y="2038423"/>
                </a:moveTo>
                <a:cubicBezTo>
                  <a:pt x="1459725" y="2038423"/>
                  <a:pt x="1427585" y="2004413"/>
                  <a:pt x="1427585" y="1964718"/>
                </a:cubicBezTo>
                <a:cubicBezTo>
                  <a:pt x="1427585" y="1923129"/>
                  <a:pt x="1459725" y="1890995"/>
                  <a:pt x="1499425" y="1890995"/>
                </a:cubicBezTo>
                <a:cubicBezTo>
                  <a:pt x="1541022" y="1890995"/>
                  <a:pt x="1573143" y="1925024"/>
                  <a:pt x="1573143" y="1964718"/>
                </a:cubicBezTo>
                <a:cubicBezTo>
                  <a:pt x="1575038" y="2006288"/>
                  <a:pt x="1541022" y="2038423"/>
                  <a:pt x="1501320" y="2038423"/>
                </a:cubicBezTo>
                <a:close/>
                <a:moveTo>
                  <a:pt x="5636293" y="2041197"/>
                </a:moveTo>
                <a:cubicBezTo>
                  <a:pt x="5594664" y="2041197"/>
                  <a:pt x="5561375" y="2007909"/>
                  <a:pt x="5561375" y="1966278"/>
                </a:cubicBezTo>
                <a:cubicBezTo>
                  <a:pt x="5561375" y="1928818"/>
                  <a:pt x="5594664" y="1895529"/>
                  <a:pt x="5636293" y="1895529"/>
                </a:cubicBezTo>
                <a:cubicBezTo>
                  <a:pt x="5677882" y="1895529"/>
                  <a:pt x="5711170" y="1924647"/>
                  <a:pt x="5711170" y="1966278"/>
                </a:cubicBezTo>
                <a:cubicBezTo>
                  <a:pt x="5711170" y="2007909"/>
                  <a:pt x="5677882" y="2041197"/>
                  <a:pt x="5636293" y="2041197"/>
                </a:cubicBezTo>
                <a:close/>
                <a:moveTo>
                  <a:pt x="2009972" y="2052222"/>
                </a:moveTo>
                <a:cubicBezTo>
                  <a:pt x="1970249" y="2052222"/>
                  <a:pt x="1937153" y="2019955"/>
                  <a:pt x="1937153" y="1979410"/>
                </a:cubicBezTo>
                <a:cubicBezTo>
                  <a:pt x="1937153" y="1938858"/>
                  <a:pt x="1969427" y="1905763"/>
                  <a:pt x="2009972" y="1905763"/>
                </a:cubicBezTo>
                <a:cubicBezTo>
                  <a:pt x="2049686" y="1905763"/>
                  <a:pt x="2082789" y="1938036"/>
                  <a:pt x="2082789" y="1978581"/>
                </a:cubicBezTo>
                <a:cubicBezTo>
                  <a:pt x="2082789" y="2019125"/>
                  <a:pt x="2050515" y="2052222"/>
                  <a:pt x="2009972" y="2052222"/>
                </a:cubicBezTo>
                <a:close/>
                <a:moveTo>
                  <a:pt x="4096782" y="2085107"/>
                </a:moveTo>
                <a:cubicBezTo>
                  <a:pt x="4038850" y="2085808"/>
                  <a:pt x="3990806" y="2038473"/>
                  <a:pt x="3990806" y="1979835"/>
                </a:cubicBezTo>
                <a:cubicBezTo>
                  <a:pt x="3990806" y="1921198"/>
                  <a:pt x="4037435" y="1873862"/>
                  <a:pt x="4096074" y="1873862"/>
                </a:cubicBezTo>
                <a:cubicBezTo>
                  <a:pt x="4154012" y="1873154"/>
                  <a:pt x="4202050" y="1920490"/>
                  <a:pt x="4202050" y="1979127"/>
                </a:cubicBezTo>
                <a:cubicBezTo>
                  <a:pt x="4202758" y="2037064"/>
                  <a:pt x="4155422" y="2085107"/>
                  <a:pt x="4096782" y="2085107"/>
                </a:cubicBezTo>
                <a:close/>
                <a:moveTo>
                  <a:pt x="2486483" y="2142015"/>
                </a:moveTo>
                <a:cubicBezTo>
                  <a:pt x="2419361" y="2142015"/>
                  <a:pt x="2364257" y="2087618"/>
                  <a:pt x="2364257" y="2020497"/>
                </a:cubicBezTo>
                <a:cubicBezTo>
                  <a:pt x="2364257" y="1952681"/>
                  <a:pt x="2418660" y="1898278"/>
                  <a:pt x="2485775" y="1898278"/>
                </a:cubicBezTo>
                <a:cubicBezTo>
                  <a:pt x="2552889" y="1898278"/>
                  <a:pt x="2607994" y="1952681"/>
                  <a:pt x="2607994" y="2019795"/>
                </a:cubicBezTo>
                <a:cubicBezTo>
                  <a:pt x="2607994" y="2086911"/>
                  <a:pt x="2553598" y="2142015"/>
                  <a:pt x="2486483" y="2142015"/>
                </a:cubicBezTo>
                <a:close/>
                <a:moveTo>
                  <a:pt x="4513156" y="2162831"/>
                </a:moveTo>
                <a:cubicBezTo>
                  <a:pt x="4452391" y="2163538"/>
                  <a:pt x="4402936" y="2114785"/>
                  <a:pt x="4402936" y="2054025"/>
                </a:cubicBezTo>
                <a:cubicBezTo>
                  <a:pt x="4402936" y="1993969"/>
                  <a:pt x="4451682" y="1944513"/>
                  <a:pt x="4512446" y="1943805"/>
                </a:cubicBezTo>
                <a:cubicBezTo>
                  <a:pt x="4573204" y="1943097"/>
                  <a:pt x="4622658" y="1991851"/>
                  <a:pt x="4622658" y="2052610"/>
                </a:cubicBezTo>
                <a:cubicBezTo>
                  <a:pt x="4622658" y="2113374"/>
                  <a:pt x="4573912" y="2162831"/>
                  <a:pt x="4513156" y="2162831"/>
                </a:cubicBezTo>
                <a:close/>
                <a:moveTo>
                  <a:pt x="4920812" y="2222703"/>
                </a:moveTo>
                <a:cubicBezTo>
                  <a:pt x="4869242" y="2222703"/>
                  <a:pt x="4826849" y="2181018"/>
                  <a:pt x="4826849" y="2129441"/>
                </a:cubicBezTo>
                <a:cubicBezTo>
                  <a:pt x="4826849" y="2077871"/>
                  <a:pt x="4868534" y="2035478"/>
                  <a:pt x="4920104" y="2035478"/>
                </a:cubicBezTo>
                <a:cubicBezTo>
                  <a:pt x="4971683" y="2035478"/>
                  <a:pt x="5014067" y="2077163"/>
                  <a:pt x="5014067" y="2128734"/>
                </a:cubicBezTo>
                <a:cubicBezTo>
                  <a:pt x="5014067" y="2180311"/>
                  <a:pt x="4972390" y="2222703"/>
                  <a:pt x="4920812" y="2222703"/>
                </a:cubicBezTo>
                <a:close/>
                <a:moveTo>
                  <a:pt x="2939280" y="2228936"/>
                </a:moveTo>
                <a:cubicBezTo>
                  <a:pt x="2855202" y="2229638"/>
                  <a:pt x="2786676" y="2161820"/>
                  <a:pt x="2786676" y="2077743"/>
                </a:cubicBezTo>
                <a:cubicBezTo>
                  <a:pt x="2785968" y="1993671"/>
                  <a:pt x="2853792" y="1925139"/>
                  <a:pt x="2937863" y="1925139"/>
                </a:cubicBezTo>
                <a:cubicBezTo>
                  <a:pt x="3021941" y="1924431"/>
                  <a:pt x="3090473" y="1992255"/>
                  <a:pt x="3090473" y="2076326"/>
                </a:cubicBezTo>
                <a:cubicBezTo>
                  <a:pt x="3091174" y="2160403"/>
                  <a:pt x="3023350" y="2228936"/>
                  <a:pt x="2939280" y="2228936"/>
                </a:cubicBezTo>
                <a:close/>
                <a:moveTo>
                  <a:pt x="1209657" y="2268830"/>
                </a:moveTo>
                <a:cubicBezTo>
                  <a:pt x="1173429" y="2268830"/>
                  <a:pt x="1136842" y="2232243"/>
                  <a:pt x="1136842" y="2195654"/>
                </a:cubicBezTo>
                <a:cubicBezTo>
                  <a:pt x="1136842" y="2159429"/>
                  <a:pt x="1173429" y="2122841"/>
                  <a:pt x="1209657" y="2122841"/>
                </a:cubicBezTo>
                <a:cubicBezTo>
                  <a:pt x="1246244" y="2122841"/>
                  <a:pt x="1282831" y="2159429"/>
                  <a:pt x="1282831" y="2195654"/>
                </a:cubicBezTo>
                <a:cubicBezTo>
                  <a:pt x="1282831" y="2232243"/>
                  <a:pt x="1246244" y="2268830"/>
                  <a:pt x="1209657" y="2268830"/>
                </a:cubicBezTo>
                <a:close/>
                <a:moveTo>
                  <a:pt x="1722867" y="2280246"/>
                </a:moveTo>
                <a:cubicBezTo>
                  <a:pt x="1682980" y="2280246"/>
                  <a:pt x="1650045" y="2247294"/>
                  <a:pt x="1650045" y="2207425"/>
                </a:cubicBezTo>
                <a:cubicBezTo>
                  <a:pt x="1650045" y="2167538"/>
                  <a:pt x="1682980" y="2134604"/>
                  <a:pt x="1722867" y="2132866"/>
                </a:cubicBezTo>
                <a:cubicBezTo>
                  <a:pt x="1762738" y="2132866"/>
                  <a:pt x="1795689" y="2165800"/>
                  <a:pt x="1795689" y="2205686"/>
                </a:cubicBezTo>
                <a:cubicBezTo>
                  <a:pt x="1795689" y="2247294"/>
                  <a:pt x="1762738" y="2280246"/>
                  <a:pt x="1722867" y="2280246"/>
                </a:cubicBezTo>
                <a:close/>
                <a:moveTo>
                  <a:pt x="5321772" y="2280522"/>
                </a:moveTo>
                <a:cubicBezTo>
                  <a:pt x="5282060" y="2280522"/>
                  <a:pt x="5248524" y="2247869"/>
                  <a:pt x="5248524" y="2207271"/>
                </a:cubicBezTo>
                <a:cubicBezTo>
                  <a:pt x="5248524" y="2166673"/>
                  <a:pt x="5281176" y="2134020"/>
                  <a:pt x="5320886" y="2134020"/>
                </a:cubicBezTo>
                <a:cubicBezTo>
                  <a:pt x="5361483" y="2134020"/>
                  <a:pt x="5394134" y="2166673"/>
                  <a:pt x="5394134" y="2207271"/>
                </a:cubicBezTo>
                <a:cubicBezTo>
                  <a:pt x="5395018" y="2246984"/>
                  <a:pt x="5362367" y="2280522"/>
                  <a:pt x="5321772" y="2280522"/>
                </a:cubicBezTo>
                <a:close/>
                <a:moveTo>
                  <a:pt x="3372970" y="2292550"/>
                </a:moveTo>
                <a:cubicBezTo>
                  <a:pt x="3291018" y="2292550"/>
                  <a:pt x="3223195" y="2226136"/>
                  <a:pt x="3223195" y="2143476"/>
                </a:cubicBezTo>
                <a:cubicBezTo>
                  <a:pt x="3223195" y="2061525"/>
                  <a:pt x="3289602" y="1994410"/>
                  <a:pt x="3372261" y="1993702"/>
                </a:cubicBezTo>
                <a:cubicBezTo>
                  <a:pt x="3454921" y="1993702"/>
                  <a:pt x="3522043" y="2060109"/>
                  <a:pt x="3522043" y="2142769"/>
                </a:cubicBezTo>
                <a:cubicBezTo>
                  <a:pt x="3522043" y="2225428"/>
                  <a:pt x="3455629" y="2292550"/>
                  <a:pt x="3372970" y="2292550"/>
                </a:cubicBezTo>
                <a:close/>
                <a:moveTo>
                  <a:pt x="2197439" y="2328649"/>
                </a:moveTo>
                <a:cubicBezTo>
                  <a:pt x="2153635" y="2328649"/>
                  <a:pt x="2117601" y="2293323"/>
                  <a:pt x="2117601" y="2249514"/>
                </a:cubicBezTo>
                <a:cubicBezTo>
                  <a:pt x="2116901" y="2205710"/>
                  <a:pt x="2152927" y="2169676"/>
                  <a:pt x="2196738" y="2169676"/>
                </a:cubicBezTo>
                <a:cubicBezTo>
                  <a:pt x="2240541" y="2168975"/>
                  <a:pt x="2276575" y="2205002"/>
                  <a:pt x="2276575" y="2248813"/>
                </a:cubicBezTo>
                <a:cubicBezTo>
                  <a:pt x="2277276" y="2292615"/>
                  <a:pt x="2241249" y="2328649"/>
                  <a:pt x="2197439" y="2328649"/>
                </a:cubicBezTo>
                <a:close/>
                <a:moveTo>
                  <a:pt x="3793699" y="2347956"/>
                </a:moveTo>
                <a:cubicBezTo>
                  <a:pt x="3720224" y="2347956"/>
                  <a:pt x="3660169" y="2288610"/>
                  <a:pt x="3660169" y="2215135"/>
                </a:cubicBezTo>
                <a:cubicBezTo>
                  <a:pt x="3660169" y="2141658"/>
                  <a:pt x="3719516" y="2082312"/>
                  <a:pt x="3792991" y="2081605"/>
                </a:cubicBezTo>
                <a:cubicBezTo>
                  <a:pt x="3866467" y="2081605"/>
                  <a:pt x="3925813" y="2140951"/>
                  <a:pt x="3926522" y="2214426"/>
                </a:cubicBezTo>
                <a:cubicBezTo>
                  <a:pt x="3926522" y="2287901"/>
                  <a:pt x="3867174" y="2347956"/>
                  <a:pt x="3793699" y="2347956"/>
                </a:cubicBezTo>
                <a:close/>
                <a:moveTo>
                  <a:pt x="5717144" y="2359584"/>
                </a:moveTo>
                <a:cubicBezTo>
                  <a:pt x="5677924" y="2359584"/>
                  <a:pt x="5644317" y="2325980"/>
                  <a:pt x="5644317" y="2286787"/>
                </a:cubicBezTo>
                <a:cubicBezTo>
                  <a:pt x="5644317" y="2244760"/>
                  <a:pt x="5677924" y="2211156"/>
                  <a:pt x="5714338" y="2213962"/>
                </a:cubicBezTo>
                <a:cubicBezTo>
                  <a:pt x="5756338" y="2213962"/>
                  <a:pt x="5789944" y="2244760"/>
                  <a:pt x="5789944" y="2286787"/>
                </a:cubicBezTo>
                <a:cubicBezTo>
                  <a:pt x="5789944" y="2325980"/>
                  <a:pt x="5759146" y="2359584"/>
                  <a:pt x="5717144" y="2359584"/>
                </a:cubicBezTo>
                <a:close/>
                <a:moveTo>
                  <a:pt x="4204257" y="2406747"/>
                </a:moveTo>
                <a:cubicBezTo>
                  <a:pt x="4139968" y="2406747"/>
                  <a:pt x="4086982" y="2354463"/>
                  <a:pt x="4086982" y="2290173"/>
                </a:cubicBezTo>
                <a:cubicBezTo>
                  <a:pt x="4086982" y="2225176"/>
                  <a:pt x="4139260" y="2172898"/>
                  <a:pt x="4203556" y="2172898"/>
                </a:cubicBezTo>
                <a:cubicBezTo>
                  <a:pt x="4267845" y="2172898"/>
                  <a:pt x="4320833" y="2224467"/>
                  <a:pt x="4320833" y="2289466"/>
                </a:cubicBezTo>
                <a:cubicBezTo>
                  <a:pt x="4320833" y="2353761"/>
                  <a:pt x="4268547" y="2406747"/>
                  <a:pt x="4204257" y="2406747"/>
                </a:cubicBezTo>
                <a:close/>
                <a:moveTo>
                  <a:pt x="2644311" y="2430091"/>
                </a:moveTo>
                <a:cubicBezTo>
                  <a:pt x="2577197" y="2430091"/>
                  <a:pt x="2522800" y="2375695"/>
                  <a:pt x="2522092" y="2308573"/>
                </a:cubicBezTo>
                <a:cubicBezTo>
                  <a:pt x="2522092" y="2240750"/>
                  <a:pt x="2576496" y="2185647"/>
                  <a:pt x="2643609" y="2186355"/>
                </a:cubicBezTo>
                <a:cubicBezTo>
                  <a:pt x="2710725" y="2186355"/>
                  <a:pt x="2765829" y="2240050"/>
                  <a:pt x="2765829" y="2307872"/>
                </a:cubicBezTo>
                <a:cubicBezTo>
                  <a:pt x="2766537" y="2374987"/>
                  <a:pt x="2711432" y="2430091"/>
                  <a:pt x="2644311" y="2430091"/>
                </a:cubicBezTo>
                <a:close/>
                <a:moveTo>
                  <a:pt x="4607189" y="2477047"/>
                </a:moveTo>
                <a:cubicBezTo>
                  <a:pt x="4546426" y="2477047"/>
                  <a:pt x="4496974" y="2428296"/>
                  <a:pt x="4496974" y="2367540"/>
                </a:cubicBezTo>
                <a:cubicBezTo>
                  <a:pt x="4496974" y="2306785"/>
                  <a:pt x="4545718" y="2258034"/>
                  <a:pt x="4606480" y="2258034"/>
                </a:cubicBezTo>
                <a:cubicBezTo>
                  <a:pt x="4666534" y="2257326"/>
                  <a:pt x="4715986" y="2306077"/>
                  <a:pt x="4715986" y="2366832"/>
                </a:cubicBezTo>
                <a:cubicBezTo>
                  <a:pt x="4716687" y="2427594"/>
                  <a:pt x="4667235" y="2477047"/>
                  <a:pt x="4607189" y="2477047"/>
                </a:cubicBezTo>
                <a:close/>
                <a:moveTo>
                  <a:pt x="1436119" y="2507032"/>
                </a:moveTo>
                <a:cubicBezTo>
                  <a:pt x="1399531" y="2507032"/>
                  <a:pt x="1362943" y="2470445"/>
                  <a:pt x="1362943" y="2433856"/>
                </a:cubicBezTo>
                <a:cubicBezTo>
                  <a:pt x="1362943" y="2433856"/>
                  <a:pt x="1436119" y="2397631"/>
                  <a:pt x="1436119" y="2361043"/>
                </a:cubicBezTo>
                <a:cubicBezTo>
                  <a:pt x="1472345" y="2361043"/>
                  <a:pt x="1508933" y="2397631"/>
                  <a:pt x="1508933" y="2433856"/>
                </a:cubicBezTo>
                <a:cubicBezTo>
                  <a:pt x="1508933" y="2470445"/>
                  <a:pt x="1472345" y="2507032"/>
                  <a:pt x="1436119" y="2507032"/>
                </a:cubicBezTo>
                <a:close/>
                <a:moveTo>
                  <a:pt x="3073391" y="2519230"/>
                </a:moveTo>
                <a:cubicBezTo>
                  <a:pt x="2994972" y="2519230"/>
                  <a:pt x="2931389" y="2456349"/>
                  <a:pt x="2930680" y="2377923"/>
                </a:cubicBezTo>
                <a:cubicBezTo>
                  <a:pt x="2929972" y="2299502"/>
                  <a:pt x="2993555" y="2235919"/>
                  <a:pt x="3072690" y="2235211"/>
                </a:cubicBezTo>
                <a:cubicBezTo>
                  <a:pt x="3150402" y="2234503"/>
                  <a:pt x="3214699" y="2298086"/>
                  <a:pt x="3214699" y="2376512"/>
                </a:cubicBezTo>
                <a:cubicBezTo>
                  <a:pt x="3214699" y="2454932"/>
                  <a:pt x="3151817" y="2519230"/>
                  <a:pt x="3073391" y="2519230"/>
                </a:cubicBezTo>
                <a:close/>
                <a:moveTo>
                  <a:pt x="5002631" y="2526666"/>
                </a:moveTo>
                <a:cubicBezTo>
                  <a:pt x="4958828" y="2526666"/>
                  <a:pt x="4922794" y="2491340"/>
                  <a:pt x="4922794" y="2447531"/>
                </a:cubicBezTo>
                <a:cubicBezTo>
                  <a:pt x="4922794" y="2403019"/>
                  <a:pt x="4958120" y="2366992"/>
                  <a:pt x="5001923" y="2367693"/>
                </a:cubicBezTo>
                <a:cubicBezTo>
                  <a:pt x="5045725" y="2367693"/>
                  <a:pt x="5081758" y="2403019"/>
                  <a:pt x="5081758" y="2446830"/>
                </a:cubicBezTo>
                <a:cubicBezTo>
                  <a:pt x="5081758" y="2490632"/>
                  <a:pt x="5046434" y="2526666"/>
                  <a:pt x="5002631" y="2526666"/>
                </a:cubicBezTo>
                <a:close/>
                <a:moveTo>
                  <a:pt x="1906866" y="2551213"/>
                </a:moveTo>
                <a:cubicBezTo>
                  <a:pt x="1865259" y="2551213"/>
                  <a:pt x="1834027" y="2520032"/>
                  <a:pt x="1834027" y="2478424"/>
                </a:cubicBezTo>
                <a:cubicBezTo>
                  <a:pt x="1834027" y="2436817"/>
                  <a:pt x="1865259" y="2405585"/>
                  <a:pt x="1906866" y="2405585"/>
                </a:cubicBezTo>
                <a:cubicBezTo>
                  <a:pt x="1948475" y="2405585"/>
                  <a:pt x="1979655" y="2436817"/>
                  <a:pt x="1979655" y="2478424"/>
                </a:cubicBezTo>
                <a:cubicBezTo>
                  <a:pt x="1979655" y="2520032"/>
                  <a:pt x="1948475" y="2551213"/>
                  <a:pt x="1906866" y="2551213"/>
                </a:cubicBezTo>
                <a:close/>
                <a:moveTo>
                  <a:pt x="5392571" y="2600889"/>
                </a:moveTo>
                <a:cubicBezTo>
                  <a:pt x="5353026" y="2600889"/>
                  <a:pt x="5320655" y="2568535"/>
                  <a:pt x="5320655" y="2528971"/>
                </a:cubicBezTo>
                <a:cubicBezTo>
                  <a:pt x="5320655" y="2487605"/>
                  <a:pt x="5353026" y="2455250"/>
                  <a:pt x="5392571" y="2455250"/>
                </a:cubicBezTo>
                <a:cubicBezTo>
                  <a:pt x="5433935" y="2453448"/>
                  <a:pt x="5466306" y="2487605"/>
                  <a:pt x="5466306" y="2527169"/>
                </a:cubicBezTo>
                <a:cubicBezTo>
                  <a:pt x="5466306" y="2568535"/>
                  <a:pt x="5433935" y="2600889"/>
                  <a:pt x="5392571" y="2600889"/>
                </a:cubicBezTo>
                <a:close/>
                <a:moveTo>
                  <a:pt x="3487827" y="2609541"/>
                </a:moveTo>
                <a:cubicBezTo>
                  <a:pt x="3400224" y="2609541"/>
                  <a:pt x="3328867" y="2539594"/>
                  <a:pt x="3328867" y="2451992"/>
                </a:cubicBezTo>
                <a:cubicBezTo>
                  <a:pt x="3328159" y="2365090"/>
                  <a:pt x="3398808" y="2293740"/>
                  <a:pt x="3487119" y="2293032"/>
                </a:cubicBezTo>
                <a:cubicBezTo>
                  <a:pt x="3574021" y="2293032"/>
                  <a:pt x="3645370" y="2363680"/>
                  <a:pt x="3645370" y="2450581"/>
                </a:cubicBezTo>
                <a:cubicBezTo>
                  <a:pt x="3645370" y="2538184"/>
                  <a:pt x="3575430" y="2609541"/>
                  <a:pt x="3487827" y="2609541"/>
                </a:cubicBezTo>
                <a:close/>
                <a:moveTo>
                  <a:pt x="2348242" y="2614712"/>
                </a:moveTo>
                <a:cubicBezTo>
                  <a:pt x="2307993" y="2615897"/>
                  <a:pt x="2274851" y="2582755"/>
                  <a:pt x="2274851" y="2542504"/>
                </a:cubicBezTo>
                <a:cubicBezTo>
                  <a:pt x="2274851" y="2502255"/>
                  <a:pt x="2307993" y="2469112"/>
                  <a:pt x="2347057" y="2467926"/>
                </a:cubicBezTo>
                <a:cubicBezTo>
                  <a:pt x="2387305" y="2467926"/>
                  <a:pt x="2420459" y="2501068"/>
                  <a:pt x="2420459" y="2541319"/>
                </a:cubicBezTo>
                <a:cubicBezTo>
                  <a:pt x="2421635" y="2581569"/>
                  <a:pt x="2388493" y="2614712"/>
                  <a:pt x="2348242" y="2614712"/>
                </a:cubicBezTo>
                <a:close/>
                <a:moveTo>
                  <a:pt x="3891496" y="2656743"/>
                </a:moveTo>
                <a:cubicBezTo>
                  <a:pt x="3820846" y="2656743"/>
                  <a:pt x="3762915" y="2599514"/>
                  <a:pt x="3762915" y="2528866"/>
                </a:cubicBezTo>
                <a:cubicBezTo>
                  <a:pt x="3762915" y="2458216"/>
                  <a:pt x="3820145" y="2400995"/>
                  <a:pt x="3890795" y="2400287"/>
                </a:cubicBezTo>
                <a:cubicBezTo>
                  <a:pt x="3961444" y="2400287"/>
                  <a:pt x="4019375" y="2457515"/>
                  <a:pt x="4019375" y="2528165"/>
                </a:cubicBezTo>
                <a:cubicBezTo>
                  <a:pt x="4019375" y="2598814"/>
                  <a:pt x="3962145" y="2656743"/>
                  <a:pt x="3891496" y="2656743"/>
                </a:cubicBezTo>
                <a:close/>
                <a:moveTo>
                  <a:pt x="5780553" y="2682276"/>
                </a:moveTo>
                <a:cubicBezTo>
                  <a:pt x="5739227" y="2682276"/>
                  <a:pt x="5704742" y="2647786"/>
                  <a:pt x="5704742" y="2606451"/>
                </a:cubicBezTo>
                <a:cubicBezTo>
                  <a:pt x="5704742" y="2565049"/>
                  <a:pt x="5732316" y="2530559"/>
                  <a:pt x="5780553" y="2537470"/>
                </a:cubicBezTo>
                <a:cubicBezTo>
                  <a:pt x="5821948" y="2530559"/>
                  <a:pt x="5856433" y="2565049"/>
                  <a:pt x="5856433" y="2606451"/>
                </a:cubicBezTo>
                <a:cubicBezTo>
                  <a:pt x="5856433" y="2647786"/>
                  <a:pt x="5821948" y="2682276"/>
                  <a:pt x="5780553" y="2682276"/>
                </a:cubicBezTo>
                <a:close/>
                <a:moveTo>
                  <a:pt x="2768743" y="2706584"/>
                </a:moveTo>
                <a:cubicBezTo>
                  <a:pt x="2716466" y="2707293"/>
                  <a:pt x="2674075" y="2664902"/>
                  <a:pt x="2674075" y="2612623"/>
                </a:cubicBezTo>
                <a:cubicBezTo>
                  <a:pt x="2674075" y="2559638"/>
                  <a:pt x="2716466" y="2517247"/>
                  <a:pt x="2768035" y="2517955"/>
                </a:cubicBezTo>
                <a:cubicBezTo>
                  <a:pt x="2820312" y="2517247"/>
                  <a:pt x="2862704" y="2559638"/>
                  <a:pt x="2862704" y="2611916"/>
                </a:cubicBezTo>
                <a:cubicBezTo>
                  <a:pt x="2863412" y="2663493"/>
                  <a:pt x="2821021" y="2706584"/>
                  <a:pt x="2768743" y="2706584"/>
                </a:cubicBezTo>
                <a:close/>
                <a:moveTo>
                  <a:pt x="4288014" y="2729299"/>
                </a:moveTo>
                <a:cubicBezTo>
                  <a:pt x="4220899" y="2729299"/>
                  <a:pt x="4165795" y="2674904"/>
                  <a:pt x="4165795" y="2607782"/>
                </a:cubicBezTo>
                <a:cubicBezTo>
                  <a:pt x="4165795" y="2539966"/>
                  <a:pt x="4220198" y="2484855"/>
                  <a:pt x="4287313" y="2485563"/>
                </a:cubicBezTo>
                <a:cubicBezTo>
                  <a:pt x="4354428" y="2485563"/>
                  <a:pt x="4409531" y="2539966"/>
                  <a:pt x="4409531" y="2607081"/>
                </a:cubicBezTo>
                <a:cubicBezTo>
                  <a:pt x="4409531" y="2674195"/>
                  <a:pt x="4355136" y="2729299"/>
                  <a:pt x="4288014" y="2729299"/>
                </a:cubicBezTo>
                <a:close/>
                <a:moveTo>
                  <a:pt x="1615861" y="2781335"/>
                </a:moveTo>
                <a:cubicBezTo>
                  <a:pt x="1579635" y="2781335"/>
                  <a:pt x="1543048" y="2744762"/>
                  <a:pt x="1543048" y="2708552"/>
                </a:cubicBezTo>
                <a:cubicBezTo>
                  <a:pt x="1543048" y="2671979"/>
                  <a:pt x="1579635" y="2671979"/>
                  <a:pt x="1615861" y="2635406"/>
                </a:cubicBezTo>
                <a:cubicBezTo>
                  <a:pt x="1652449" y="2635406"/>
                  <a:pt x="1689037" y="2671979"/>
                  <a:pt x="1689037" y="2708552"/>
                </a:cubicBezTo>
                <a:cubicBezTo>
                  <a:pt x="1689037" y="2744762"/>
                  <a:pt x="1652449" y="2781335"/>
                  <a:pt x="1615861" y="2781335"/>
                </a:cubicBezTo>
                <a:close/>
                <a:moveTo>
                  <a:pt x="4678737" y="2798847"/>
                </a:moveTo>
                <a:cubicBezTo>
                  <a:pt x="4617973" y="2799557"/>
                  <a:pt x="4567813" y="2750103"/>
                  <a:pt x="4567813" y="2688632"/>
                </a:cubicBezTo>
                <a:cubicBezTo>
                  <a:pt x="4567104" y="2627168"/>
                  <a:pt x="4616564" y="2577006"/>
                  <a:pt x="4677320" y="2577714"/>
                </a:cubicBezTo>
                <a:cubicBezTo>
                  <a:pt x="4738784" y="2577006"/>
                  <a:pt x="4788236" y="2626466"/>
                  <a:pt x="4788944" y="2687931"/>
                </a:cubicBezTo>
                <a:cubicBezTo>
                  <a:pt x="4788944" y="2748687"/>
                  <a:pt x="4739492" y="2798847"/>
                  <a:pt x="4678737" y="2798847"/>
                </a:cubicBezTo>
                <a:close/>
                <a:moveTo>
                  <a:pt x="3176997" y="2847261"/>
                </a:moveTo>
                <a:cubicBezTo>
                  <a:pt x="3089388" y="2847261"/>
                  <a:pt x="3018739" y="2777314"/>
                  <a:pt x="3018037" y="2689712"/>
                </a:cubicBezTo>
                <a:cubicBezTo>
                  <a:pt x="3017330" y="2602817"/>
                  <a:pt x="3087979" y="2531460"/>
                  <a:pt x="3175580" y="2530752"/>
                </a:cubicBezTo>
                <a:cubicBezTo>
                  <a:pt x="3263191" y="2530752"/>
                  <a:pt x="3333839" y="2600692"/>
                  <a:pt x="3334540" y="2688302"/>
                </a:cubicBezTo>
                <a:cubicBezTo>
                  <a:pt x="3334540" y="2775905"/>
                  <a:pt x="3264600" y="2847261"/>
                  <a:pt x="3176997" y="2847261"/>
                </a:cubicBezTo>
                <a:close/>
                <a:moveTo>
                  <a:pt x="2058885" y="2858028"/>
                </a:moveTo>
                <a:cubicBezTo>
                  <a:pt x="1996503" y="2858028"/>
                  <a:pt x="1975640" y="2816469"/>
                  <a:pt x="1975640" y="2774702"/>
                </a:cubicBezTo>
                <a:cubicBezTo>
                  <a:pt x="1975640" y="2733143"/>
                  <a:pt x="1996503" y="2691376"/>
                  <a:pt x="2058885" y="2691376"/>
                </a:cubicBezTo>
                <a:cubicBezTo>
                  <a:pt x="2079749" y="2691376"/>
                  <a:pt x="2121267" y="2733143"/>
                  <a:pt x="2121267" y="2774702"/>
                </a:cubicBezTo>
                <a:cubicBezTo>
                  <a:pt x="2121267" y="2816469"/>
                  <a:pt x="2100611" y="2858028"/>
                  <a:pt x="2058885" y="2858028"/>
                </a:cubicBezTo>
                <a:close/>
                <a:moveTo>
                  <a:pt x="5064001" y="2863705"/>
                </a:moveTo>
                <a:cubicBezTo>
                  <a:pt x="5013141" y="2863705"/>
                  <a:pt x="4970750" y="2822029"/>
                  <a:pt x="4970750" y="2770454"/>
                </a:cubicBezTo>
                <a:cubicBezTo>
                  <a:pt x="4970750" y="2718886"/>
                  <a:pt x="5012433" y="2676496"/>
                  <a:pt x="5063300" y="2676496"/>
                </a:cubicBezTo>
                <a:cubicBezTo>
                  <a:pt x="5114868" y="2676496"/>
                  <a:pt x="5157259" y="2718178"/>
                  <a:pt x="5157259" y="2769746"/>
                </a:cubicBezTo>
                <a:cubicBezTo>
                  <a:pt x="5157259" y="2821321"/>
                  <a:pt x="5115576" y="2863705"/>
                  <a:pt x="5064001" y="2863705"/>
                </a:cubicBezTo>
                <a:close/>
                <a:moveTo>
                  <a:pt x="2460230" y="2922733"/>
                </a:moveTo>
                <a:cubicBezTo>
                  <a:pt x="2419962" y="2922733"/>
                  <a:pt x="2386755" y="2889526"/>
                  <a:pt x="2386755" y="2849258"/>
                </a:cubicBezTo>
                <a:cubicBezTo>
                  <a:pt x="2386755" y="2808282"/>
                  <a:pt x="2419253" y="2775783"/>
                  <a:pt x="2460230" y="2775783"/>
                </a:cubicBezTo>
                <a:cubicBezTo>
                  <a:pt x="2500497" y="2775783"/>
                  <a:pt x="2533705" y="2808991"/>
                  <a:pt x="2533705" y="2849258"/>
                </a:cubicBezTo>
                <a:cubicBezTo>
                  <a:pt x="2533705" y="2889526"/>
                  <a:pt x="2500497" y="2922733"/>
                  <a:pt x="2460230" y="2922733"/>
                </a:cubicBezTo>
                <a:close/>
                <a:moveTo>
                  <a:pt x="5446926" y="2925236"/>
                </a:moveTo>
                <a:cubicBezTo>
                  <a:pt x="5406838" y="2925236"/>
                  <a:pt x="5373435" y="2893172"/>
                  <a:pt x="5373435" y="2853085"/>
                </a:cubicBezTo>
                <a:cubicBezTo>
                  <a:pt x="5373435" y="2811659"/>
                  <a:pt x="5405500" y="2779595"/>
                  <a:pt x="5445586" y="2779595"/>
                </a:cubicBezTo>
                <a:cubicBezTo>
                  <a:pt x="5485673" y="2779595"/>
                  <a:pt x="5519075" y="2811659"/>
                  <a:pt x="5519075" y="2851746"/>
                </a:cubicBezTo>
                <a:cubicBezTo>
                  <a:pt x="5519075" y="2891832"/>
                  <a:pt x="5487012" y="2925236"/>
                  <a:pt x="5446926" y="2925236"/>
                </a:cubicBezTo>
                <a:close/>
                <a:moveTo>
                  <a:pt x="3573998" y="2925247"/>
                </a:moveTo>
                <a:cubicBezTo>
                  <a:pt x="3487101" y="2925955"/>
                  <a:pt x="3416450" y="2856013"/>
                  <a:pt x="3416450" y="2769118"/>
                </a:cubicBezTo>
                <a:cubicBezTo>
                  <a:pt x="3415743" y="2682922"/>
                  <a:pt x="3485685" y="2612272"/>
                  <a:pt x="3572588" y="2611564"/>
                </a:cubicBezTo>
                <a:cubicBezTo>
                  <a:pt x="3659486" y="2611564"/>
                  <a:pt x="3730136" y="2680798"/>
                  <a:pt x="3730136" y="2767701"/>
                </a:cubicBezTo>
                <a:cubicBezTo>
                  <a:pt x="3730844" y="2854597"/>
                  <a:pt x="3660901" y="2925247"/>
                  <a:pt x="3573998" y="2925247"/>
                </a:cubicBezTo>
                <a:close/>
                <a:moveTo>
                  <a:pt x="3963753" y="2984913"/>
                </a:moveTo>
                <a:cubicBezTo>
                  <a:pt x="3888862" y="2985621"/>
                  <a:pt x="3827399" y="2924860"/>
                  <a:pt x="3827399" y="2849975"/>
                </a:cubicBezTo>
                <a:cubicBezTo>
                  <a:pt x="3827399" y="2775084"/>
                  <a:pt x="3888154" y="2714329"/>
                  <a:pt x="3962336" y="2713620"/>
                </a:cubicBezTo>
                <a:cubicBezTo>
                  <a:pt x="4037227" y="2712912"/>
                  <a:pt x="4098690" y="2773675"/>
                  <a:pt x="4098690" y="2848558"/>
                </a:cubicBezTo>
                <a:cubicBezTo>
                  <a:pt x="4099399" y="2923450"/>
                  <a:pt x="4038636" y="2984913"/>
                  <a:pt x="3963753" y="2984913"/>
                </a:cubicBezTo>
                <a:close/>
                <a:moveTo>
                  <a:pt x="5825099" y="3007771"/>
                </a:moveTo>
                <a:cubicBezTo>
                  <a:pt x="5784130" y="3007771"/>
                  <a:pt x="5752285" y="2975927"/>
                  <a:pt x="5752285" y="2934958"/>
                </a:cubicBezTo>
                <a:cubicBezTo>
                  <a:pt x="5752285" y="2893990"/>
                  <a:pt x="5784130" y="2862144"/>
                  <a:pt x="5825099" y="2862144"/>
                </a:cubicBezTo>
                <a:cubicBezTo>
                  <a:pt x="5866068" y="2862144"/>
                  <a:pt x="5897912" y="2893990"/>
                  <a:pt x="5897912" y="2934958"/>
                </a:cubicBezTo>
                <a:cubicBezTo>
                  <a:pt x="5897912" y="2975927"/>
                  <a:pt x="5866068" y="3007771"/>
                  <a:pt x="5825099" y="3007771"/>
                </a:cubicBezTo>
                <a:close/>
                <a:moveTo>
                  <a:pt x="4348053" y="3059068"/>
                </a:moveTo>
                <a:cubicBezTo>
                  <a:pt x="4277402" y="3059068"/>
                  <a:pt x="4219472" y="3001839"/>
                  <a:pt x="4219472" y="2931189"/>
                </a:cubicBezTo>
                <a:cubicBezTo>
                  <a:pt x="4219472" y="2860539"/>
                  <a:pt x="4276701" y="2802609"/>
                  <a:pt x="4347351" y="2802609"/>
                </a:cubicBezTo>
                <a:cubicBezTo>
                  <a:pt x="4418000" y="2802609"/>
                  <a:pt x="4475931" y="2859838"/>
                  <a:pt x="4475931" y="2930488"/>
                </a:cubicBezTo>
                <a:cubicBezTo>
                  <a:pt x="4475931" y="3001137"/>
                  <a:pt x="4418702" y="3059068"/>
                  <a:pt x="4348053" y="3059068"/>
                </a:cubicBezTo>
                <a:close/>
                <a:moveTo>
                  <a:pt x="2859391" y="3059363"/>
                </a:moveTo>
                <a:cubicBezTo>
                  <a:pt x="2786624" y="3060071"/>
                  <a:pt x="2727985" y="3001432"/>
                  <a:pt x="2727985" y="2929368"/>
                </a:cubicBezTo>
                <a:cubicBezTo>
                  <a:pt x="2727278" y="2857309"/>
                  <a:pt x="2785916" y="2798671"/>
                  <a:pt x="2857981" y="2797962"/>
                </a:cubicBezTo>
                <a:cubicBezTo>
                  <a:pt x="2930748" y="2797254"/>
                  <a:pt x="2989386" y="2855892"/>
                  <a:pt x="2989386" y="2927959"/>
                </a:cubicBezTo>
                <a:cubicBezTo>
                  <a:pt x="2990094" y="3000017"/>
                  <a:pt x="2931456" y="3059363"/>
                  <a:pt x="2859391" y="3059363"/>
                </a:cubicBezTo>
                <a:close/>
                <a:moveTo>
                  <a:pt x="1743677" y="3083119"/>
                </a:moveTo>
                <a:cubicBezTo>
                  <a:pt x="1703678" y="3063026"/>
                  <a:pt x="1663481" y="3043131"/>
                  <a:pt x="1663481" y="3002945"/>
                </a:cubicBezTo>
                <a:cubicBezTo>
                  <a:pt x="1663481" y="2962957"/>
                  <a:pt x="1703678" y="2922770"/>
                  <a:pt x="1743677" y="2942863"/>
                </a:cubicBezTo>
                <a:cubicBezTo>
                  <a:pt x="1783872" y="2922770"/>
                  <a:pt x="1823871" y="2962957"/>
                  <a:pt x="1823871" y="3002945"/>
                </a:cubicBezTo>
                <a:cubicBezTo>
                  <a:pt x="1823871" y="3043131"/>
                  <a:pt x="1783872" y="3083119"/>
                  <a:pt x="1743677" y="3083119"/>
                </a:cubicBezTo>
                <a:close/>
                <a:moveTo>
                  <a:pt x="4728714" y="3133603"/>
                </a:moveTo>
                <a:cubicBezTo>
                  <a:pt x="4661600" y="3134311"/>
                  <a:pt x="4607197" y="3080616"/>
                  <a:pt x="4607197" y="3013499"/>
                </a:cubicBezTo>
                <a:cubicBezTo>
                  <a:pt x="4607197" y="2946384"/>
                  <a:pt x="4660891" y="2891980"/>
                  <a:pt x="4727297" y="2892688"/>
                </a:cubicBezTo>
                <a:cubicBezTo>
                  <a:pt x="4794412" y="2891980"/>
                  <a:pt x="4848814" y="2946384"/>
                  <a:pt x="4848814" y="3012792"/>
                </a:cubicBezTo>
                <a:cubicBezTo>
                  <a:pt x="4848814" y="3079207"/>
                  <a:pt x="4795120" y="3133603"/>
                  <a:pt x="4728714" y="3133603"/>
                </a:cubicBezTo>
                <a:close/>
                <a:moveTo>
                  <a:pt x="2143589" y="3163085"/>
                </a:moveTo>
                <a:cubicBezTo>
                  <a:pt x="2103863" y="3163085"/>
                  <a:pt x="2070773" y="3132189"/>
                  <a:pt x="2070773" y="3090277"/>
                </a:cubicBezTo>
                <a:cubicBezTo>
                  <a:pt x="2070773" y="3050557"/>
                  <a:pt x="2103863" y="3017471"/>
                  <a:pt x="2141377" y="3015258"/>
                </a:cubicBezTo>
                <a:cubicBezTo>
                  <a:pt x="2183315" y="3015258"/>
                  <a:pt x="2216405" y="3048345"/>
                  <a:pt x="2216405" y="3088066"/>
                </a:cubicBezTo>
                <a:cubicBezTo>
                  <a:pt x="2216405" y="3129999"/>
                  <a:pt x="2185527" y="3163085"/>
                  <a:pt x="2143589" y="3163085"/>
                </a:cubicBezTo>
                <a:close/>
                <a:moveTo>
                  <a:pt x="3248651" y="3171303"/>
                </a:moveTo>
                <a:cubicBezTo>
                  <a:pt x="3158928" y="3172011"/>
                  <a:pt x="3086161" y="3099945"/>
                  <a:pt x="3086161" y="3010224"/>
                </a:cubicBezTo>
                <a:cubicBezTo>
                  <a:pt x="3085453" y="2920495"/>
                  <a:pt x="3158220" y="2848429"/>
                  <a:pt x="3247240" y="2847728"/>
                </a:cubicBezTo>
                <a:cubicBezTo>
                  <a:pt x="3336969" y="2847020"/>
                  <a:pt x="3409736" y="2919079"/>
                  <a:pt x="3409736" y="3008808"/>
                </a:cubicBezTo>
                <a:cubicBezTo>
                  <a:pt x="3410444" y="3098536"/>
                  <a:pt x="3338378" y="3171303"/>
                  <a:pt x="3248651" y="3171303"/>
                </a:cubicBezTo>
                <a:close/>
                <a:moveTo>
                  <a:pt x="5105157" y="3190027"/>
                </a:moveTo>
                <a:cubicBezTo>
                  <a:pt x="5054297" y="3190027"/>
                  <a:pt x="5011906" y="3148351"/>
                  <a:pt x="5011906" y="3096777"/>
                </a:cubicBezTo>
                <a:cubicBezTo>
                  <a:pt x="5011906" y="3045209"/>
                  <a:pt x="5052880" y="3003526"/>
                  <a:pt x="5104456" y="3002818"/>
                </a:cubicBezTo>
                <a:cubicBezTo>
                  <a:pt x="5156023" y="3002818"/>
                  <a:pt x="5198415" y="3044500"/>
                  <a:pt x="5198415" y="3096069"/>
                </a:cubicBezTo>
                <a:cubicBezTo>
                  <a:pt x="5198415" y="3147644"/>
                  <a:pt x="5156731" y="3190027"/>
                  <a:pt x="5105157" y="3190027"/>
                </a:cubicBezTo>
                <a:close/>
                <a:moveTo>
                  <a:pt x="2531890" y="3242602"/>
                </a:moveTo>
                <a:cubicBezTo>
                  <a:pt x="2492331" y="3242602"/>
                  <a:pt x="2459071" y="3210243"/>
                  <a:pt x="2459071" y="3169791"/>
                </a:cubicBezTo>
                <a:cubicBezTo>
                  <a:pt x="2459071" y="3129330"/>
                  <a:pt x="2491430" y="3096070"/>
                  <a:pt x="2531890" y="3096972"/>
                </a:cubicBezTo>
                <a:cubicBezTo>
                  <a:pt x="2572340" y="3096972"/>
                  <a:pt x="2604699" y="3129330"/>
                  <a:pt x="2604699" y="3169791"/>
                </a:cubicBezTo>
                <a:cubicBezTo>
                  <a:pt x="2604699" y="3209342"/>
                  <a:pt x="2572340" y="3242602"/>
                  <a:pt x="2531890" y="3242602"/>
                </a:cubicBezTo>
                <a:close/>
                <a:moveTo>
                  <a:pt x="3631618" y="3248662"/>
                </a:moveTo>
                <a:cubicBezTo>
                  <a:pt x="3544720" y="3249370"/>
                  <a:pt x="3474771" y="3179428"/>
                  <a:pt x="3474070" y="3092525"/>
                </a:cubicBezTo>
                <a:cubicBezTo>
                  <a:pt x="3473362" y="3005628"/>
                  <a:pt x="3543305" y="2935686"/>
                  <a:pt x="3630208" y="2934977"/>
                </a:cubicBezTo>
                <a:cubicBezTo>
                  <a:pt x="3717105" y="2934269"/>
                  <a:pt x="3787055" y="3004211"/>
                  <a:pt x="3787756" y="3091116"/>
                </a:cubicBezTo>
                <a:cubicBezTo>
                  <a:pt x="3788464" y="3178012"/>
                  <a:pt x="3718521" y="3248662"/>
                  <a:pt x="3631618" y="3248662"/>
                </a:cubicBezTo>
                <a:close/>
                <a:moveTo>
                  <a:pt x="5479755" y="3252835"/>
                </a:moveTo>
                <a:cubicBezTo>
                  <a:pt x="5439505" y="3252835"/>
                  <a:pt x="5406364" y="3219695"/>
                  <a:pt x="5406364" y="3179450"/>
                </a:cubicBezTo>
                <a:cubicBezTo>
                  <a:pt x="5406364" y="3139203"/>
                  <a:pt x="5439505" y="3107251"/>
                  <a:pt x="5478567" y="3106064"/>
                </a:cubicBezTo>
                <a:cubicBezTo>
                  <a:pt x="5518815" y="3106064"/>
                  <a:pt x="5551956" y="3139203"/>
                  <a:pt x="5551956" y="3179450"/>
                </a:cubicBezTo>
                <a:cubicBezTo>
                  <a:pt x="5553144" y="3219695"/>
                  <a:pt x="5520003" y="3252835"/>
                  <a:pt x="5479755" y="3252835"/>
                </a:cubicBezTo>
                <a:close/>
                <a:moveTo>
                  <a:pt x="4009150" y="3317439"/>
                </a:moveTo>
                <a:cubicBezTo>
                  <a:pt x="3930731" y="3317439"/>
                  <a:pt x="3866442" y="3253850"/>
                  <a:pt x="3865733" y="3174722"/>
                </a:cubicBezTo>
                <a:cubicBezTo>
                  <a:pt x="3865733" y="3095595"/>
                  <a:pt x="3929315" y="3031305"/>
                  <a:pt x="4008449" y="3031305"/>
                </a:cubicBezTo>
                <a:cubicBezTo>
                  <a:pt x="4087576" y="3031305"/>
                  <a:pt x="4151867" y="3094887"/>
                  <a:pt x="4151867" y="3174021"/>
                </a:cubicBezTo>
                <a:cubicBezTo>
                  <a:pt x="4151867" y="3253148"/>
                  <a:pt x="4088278" y="3317439"/>
                  <a:pt x="4009150" y="3317439"/>
                </a:cubicBezTo>
                <a:close/>
                <a:moveTo>
                  <a:pt x="5851244" y="3335538"/>
                </a:moveTo>
                <a:cubicBezTo>
                  <a:pt x="5810275" y="3335538"/>
                  <a:pt x="5778430" y="3303694"/>
                  <a:pt x="5778430" y="3262725"/>
                </a:cubicBezTo>
                <a:cubicBezTo>
                  <a:pt x="5778430" y="3221756"/>
                  <a:pt x="5810275" y="3189911"/>
                  <a:pt x="5851244" y="3189911"/>
                </a:cubicBezTo>
                <a:cubicBezTo>
                  <a:pt x="5892213" y="3189911"/>
                  <a:pt x="5924057" y="3221756"/>
                  <a:pt x="5924057" y="3262725"/>
                </a:cubicBezTo>
                <a:cubicBezTo>
                  <a:pt x="5924057" y="3303694"/>
                  <a:pt x="5892213" y="3335538"/>
                  <a:pt x="5851244" y="3335538"/>
                </a:cubicBezTo>
                <a:close/>
                <a:moveTo>
                  <a:pt x="2912537" y="3373262"/>
                </a:moveTo>
                <a:cubicBezTo>
                  <a:pt x="2846129" y="3373969"/>
                  <a:pt x="2791726" y="3319565"/>
                  <a:pt x="2791726" y="3253156"/>
                </a:cubicBezTo>
                <a:cubicBezTo>
                  <a:pt x="2791726" y="3186748"/>
                  <a:pt x="2845421" y="3132342"/>
                  <a:pt x="2911127" y="3132342"/>
                </a:cubicBezTo>
                <a:cubicBezTo>
                  <a:pt x="2978243" y="3131634"/>
                  <a:pt x="3032639" y="3186038"/>
                  <a:pt x="3032639" y="3252447"/>
                </a:cubicBezTo>
                <a:cubicBezTo>
                  <a:pt x="3033347" y="3318864"/>
                  <a:pt x="2978944" y="3373262"/>
                  <a:pt x="2912537" y="3373262"/>
                </a:cubicBezTo>
                <a:close/>
                <a:moveTo>
                  <a:pt x="4383877" y="3392229"/>
                </a:moveTo>
                <a:cubicBezTo>
                  <a:pt x="4309693" y="3392229"/>
                  <a:pt x="4248936" y="3332183"/>
                  <a:pt x="4248936" y="3257999"/>
                </a:cubicBezTo>
                <a:cubicBezTo>
                  <a:pt x="4248936" y="3183814"/>
                  <a:pt x="4308993" y="3123766"/>
                  <a:pt x="4383170" y="3123058"/>
                </a:cubicBezTo>
                <a:cubicBezTo>
                  <a:pt x="4457354" y="3123058"/>
                  <a:pt x="4518118" y="3183113"/>
                  <a:pt x="4518118" y="3257297"/>
                </a:cubicBezTo>
                <a:cubicBezTo>
                  <a:pt x="4518118" y="3331475"/>
                  <a:pt x="4458062" y="3392229"/>
                  <a:pt x="4383877" y="3392229"/>
                </a:cubicBezTo>
                <a:close/>
                <a:moveTo>
                  <a:pt x="1828141" y="3416801"/>
                </a:moveTo>
                <a:cubicBezTo>
                  <a:pt x="1785258" y="3416801"/>
                  <a:pt x="1742375" y="3373907"/>
                  <a:pt x="1742375" y="3330997"/>
                </a:cubicBezTo>
                <a:cubicBezTo>
                  <a:pt x="1742375" y="3288512"/>
                  <a:pt x="1785258" y="3245603"/>
                  <a:pt x="1785258" y="3245603"/>
                </a:cubicBezTo>
                <a:cubicBezTo>
                  <a:pt x="1828141" y="3245603"/>
                  <a:pt x="1870599" y="3288512"/>
                  <a:pt x="1870599" y="3330997"/>
                </a:cubicBezTo>
                <a:cubicBezTo>
                  <a:pt x="1913482" y="3373907"/>
                  <a:pt x="1870599" y="3416801"/>
                  <a:pt x="1828141" y="3416801"/>
                </a:cubicBezTo>
                <a:close/>
                <a:moveTo>
                  <a:pt x="4755713" y="3469142"/>
                </a:moveTo>
                <a:cubicBezTo>
                  <a:pt x="4685064" y="3469142"/>
                  <a:pt x="4627133" y="3411914"/>
                  <a:pt x="4627133" y="3341275"/>
                </a:cubicBezTo>
                <a:cubicBezTo>
                  <a:pt x="4626424" y="3270626"/>
                  <a:pt x="4684355" y="3212695"/>
                  <a:pt x="4755012" y="3212695"/>
                </a:cubicBezTo>
                <a:cubicBezTo>
                  <a:pt x="4825662" y="3212695"/>
                  <a:pt x="4882883" y="3269925"/>
                  <a:pt x="4883593" y="3340574"/>
                </a:cubicBezTo>
                <a:cubicBezTo>
                  <a:pt x="4883593" y="3411211"/>
                  <a:pt x="4826363" y="3469142"/>
                  <a:pt x="4755713" y="3469142"/>
                </a:cubicBezTo>
                <a:close/>
                <a:moveTo>
                  <a:pt x="2191543" y="3486615"/>
                </a:moveTo>
                <a:cubicBezTo>
                  <a:pt x="2153407" y="3486615"/>
                  <a:pt x="2118711" y="3455398"/>
                  <a:pt x="2118711" y="3413786"/>
                </a:cubicBezTo>
                <a:cubicBezTo>
                  <a:pt x="2118711" y="3372188"/>
                  <a:pt x="2153407" y="3340969"/>
                  <a:pt x="2191543" y="3340969"/>
                </a:cubicBezTo>
                <a:cubicBezTo>
                  <a:pt x="2233155" y="3340969"/>
                  <a:pt x="2264373" y="3372188"/>
                  <a:pt x="2264373" y="3413786"/>
                </a:cubicBezTo>
                <a:cubicBezTo>
                  <a:pt x="2264373" y="3455398"/>
                  <a:pt x="2233155" y="3486615"/>
                  <a:pt x="2191543" y="3486615"/>
                </a:cubicBezTo>
                <a:close/>
                <a:moveTo>
                  <a:pt x="3287758" y="3499834"/>
                </a:moveTo>
                <a:cubicBezTo>
                  <a:pt x="3197331" y="3499834"/>
                  <a:pt x="3123150" y="3426352"/>
                  <a:pt x="3123150" y="3335945"/>
                </a:cubicBezTo>
                <a:cubicBezTo>
                  <a:pt x="3123150" y="3245519"/>
                  <a:pt x="3196623" y="3171337"/>
                  <a:pt x="3287049" y="3171337"/>
                </a:cubicBezTo>
                <a:cubicBezTo>
                  <a:pt x="3377484" y="3171337"/>
                  <a:pt x="3451657" y="3244102"/>
                  <a:pt x="3451657" y="3335238"/>
                </a:cubicBezTo>
                <a:cubicBezTo>
                  <a:pt x="3451657" y="3425654"/>
                  <a:pt x="3378893" y="3499834"/>
                  <a:pt x="3287758" y="3499834"/>
                </a:cubicBezTo>
                <a:close/>
                <a:moveTo>
                  <a:pt x="5125121" y="3526285"/>
                </a:moveTo>
                <a:cubicBezTo>
                  <a:pt x="5068601" y="3526285"/>
                  <a:pt x="5022681" y="3481067"/>
                  <a:pt x="5022681" y="3424547"/>
                </a:cubicBezTo>
                <a:cubicBezTo>
                  <a:pt x="5022681" y="3368033"/>
                  <a:pt x="5067900" y="3322113"/>
                  <a:pt x="5124413" y="3322113"/>
                </a:cubicBezTo>
                <a:cubicBezTo>
                  <a:pt x="5180933" y="3322113"/>
                  <a:pt x="5226859" y="3367331"/>
                  <a:pt x="5226859" y="3423846"/>
                </a:cubicBezTo>
                <a:cubicBezTo>
                  <a:pt x="5226859" y="3480358"/>
                  <a:pt x="5181641" y="3526285"/>
                  <a:pt x="5125121" y="3526285"/>
                </a:cubicBezTo>
                <a:close/>
                <a:moveTo>
                  <a:pt x="2563137" y="3569844"/>
                </a:moveTo>
                <a:cubicBezTo>
                  <a:pt x="2522677" y="3569844"/>
                  <a:pt x="2489304" y="3537494"/>
                  <a:pt x="2489304" y="3497047"/>
                </a:cubicBezTo>
                <a:cubicBezTo>
                  <a:pt x="2489304" y="3456590"/>
                  <a:pt x="2521664" y="3424229"/>
                  <a:pt x="2562124" y="3424229"/>
                </a:cubicBezTo>
                <a:cubicBezTo>
                  <a:pt x="2602573" y="3424229"/>
                  <a:pt x="2635946" y="3456590"/>
                  <a:pt x="2635946" y="3497047"/>
                </a:cubicBezTo>
                <a:cubicBezTo>
                  <a:pt x="2635946" y="3536477"/>
                  <a:pt x="2603586" y="3569844"/>
                  <a:pt x="2563137" y="3569844"/>
                </a:cubicBezTo>
                <a:close/>
                <a:moveTo>
                  <a:pt x="5492972" y="3580517"/>
                </a:moveTo>
                <a:cubicBezTo>
                  <a:pt x="5452913" y="3580517"/>
                  <a:pt x="5420153" y="3547765"/>
                  <a:pt x="5420153" y="3507717"/>
                </a:cubicBezTo>
                <a:cubicBezTo>
                  <a:pt x="5420153" y="3467670"/>
                  <a:pt x="5452913" y="3434897"/>
                  <a:pt x="5492972" y="3434897"/>
                </a:cubicBezTo>
                <a:cubicBezTo>
                  <a:pt x="5533020" y="3434897"/>
                  <a:pt x="5565780" y="3467670"/>
                  <a:pt x="5565780" y="3507717"/>
                </a:cubicBezTo>
                <a:cubicBezTo>
                  <a:pt x="5565780" y="3547765"/>
                  <a:pt x="5533020" y="3580517"/>
                  <a:pt x="5492972" y="3580517"/>
                </a:cubicBezTo>
                <a:close/>
                <a:moveTo>
                  <a:pt x="4028026" y="3652007"/>
                </a:moveTo>
                <a:cubicBezTo>
                  <a:pt x="3946074" y="3652007"/>
                  <a:pt x="3878961" y="3585592"/>
                  <a:pt x="3878251" y="3502969"/>
                </a:cubicBezTo>
                <a:cubicBezTo>
                  <a:pt x="3878251" y="3421015"/>
                  <a:pt x="3944659" y="3353917"/>
                  <a:pt x="4027319" y="3353209"/>
                </a:cubicBezTo>
                <a:cubicBezTo>
                  <a:pt x="4109277" y="3353209"/>
                  <a:pt x="4177100" y="3419600"/>
                  <a:pt x="4177100" y="3502260"/>
                </a:cubicBezTo>
                <a:cubicBezTo>
                  <a:pt x="4177100" y="3584882"/>
                  <a:pt x="4110686" y="3652007"/>
                  <a:pt x="4028026" y="3652007"/>
                </a:cubicBezTo>
                <a:close/>
                <a:moveTo>
                  <a:pt x="5859473" y="3664284"/>
                </a:moveTo>
                <a:cubicBezTo>
                  <a:pt x="5818504" y="3664284"/>
                  <a:pt x="5786659" y="3632440"/>
                  <a:pt x="5786659" y="3591471"/>
                </a:cubicBezTo>
                <a:cubicBezTo>
                  <a:pt x="5786659" y="3555064"/>
                  <a:pt x="5818504" y="3518657"/>
                  <a:pt x="5859473" y="3518657"/>
                </a:cubicBezTo>
                <a:cubicBezTo>
                  <a:pt x="5900442" y="3518657"/>
                  <a:pt x="5932286" y="3550502"/>
                  <a:pt x="5932286" y="3591471"/>
                </a:cubicBezTo>
                <a:cubicBezTo>
                  <a:pt x="5932286" y="3632440"/>
                  <a:pt x="5900442" y="3664284"/>
                  <a:pt x="5859473" y="3664284"/>
                </a:cubicBezTo>
                <a:close/>
                <a:moveTo>
                  <a:pt x="2929967" y="3697434"/>
                </a:moveTo>
                <a:cubicBezTo>
                  <a:pt x="2865678" y="3698135"/>
                  <a:pt x="2812692" y="3645865"/>
                  <a:pt x="2812692" y="3580873"/>
                </a:cubicBezTo>
                <a:cubicBezTo>
                  <a:pt x="2812692" y="3515906"/>
                  <a:pt x="2864970" y="3463632"/>
                  <a:pt x="2929259" y="3463632"/>
                </a:cubicBezTo>
                <a:cubicBezTo>
                  <a:pt x="2993555" y="3463632"/>
                  <a:pt x="3046541" y="3515205"/>
                  <a:pt x="3046541" y="3580164"/>
                </a:cubicBezTo>
                <a:cubicBezTo>
                  <a:pt x="3046541" y="3644454"/>
                  <a:pt x="2994256" y="3697434"/>
                  <a:pt x="2929967" y="3697434"/>
                </a:cubicBezTo>
                <a:close/>
                <a:moveTo>
                  <a:pt x="4395129" y="3725385"/>
                </a:moveTo>
                <a:cubicBezTo>
                  <a:pt x="4318119" y="3725385"/>
                  <a:pt x="4255238" y="3663217"/>
                  <a:pt x="4255238" y="3586212"/>
                </a:cubicBezTo>
                <a:cubicBezTo>
                  <a:pt x="4255238" y="3509233"/>
                  <a:pt x="4317411" y="3446354"/>
                  <a:pt x="4393712" y="3446354"/>
                </a:cubicBezTo>
                <a:cubicBezTo>
                  <a:pt x="4470721" y="3446354"/>
                  <a:pt x="4533596" y="3508525"/>
                  <a:pt x="4533596" y="3585503"/>
                </a:cubicBezTo>
                <a:cubicBezTo>
                  <a:pt x="4534304" y="3662514"/>
                  <a:pt x="4472132" y="3725385"/>
                  <a:pt x="4395129" y="3725385"/>
                </a:cubicBezTo>
                <a:close/>
                <a:moveTo>
                  <a:pt x="4760666" y="3800894"/>
                </a:moveTo>
                <a:cubicBezTo>
                  <a:pt x="4687190" y="3800894"/>
                  <a:pt x="4627843" y="3742261"/>
                  <a:pt x="4627843" y="3669497"/>
                </a:cubicBezTo>
                <a:cubicBezTo>
                  <a:pt x="4627133" y="3596026"/>
                  <a:pt x="4686482" y="3536701"/>
                  <a:pt x="4759959" y="3537409"/>
                </a:cubicBezTo>
                <a:cubicBezTo>
                  <a:pt x="4832727" y="3536701"/>
                  <a:pt x="4892075" y="3596026"/>
                  <a:pt x="4892075" y="3668791"/>
                </a:cubicBezTo>
                <a:cubicBezTo>
                  <a:pt x="4892783" y="3741558"/>
                  <a:pt x="4833435" y="3800894"/>
                  <a:pt x="4760666" y="3800894"/>
                </a:cubicBezTo>
                <a:close/>
                <a:moveTo>
                  <a:pt x="2190569" y="3814783"/>
                </a:moveTo>
                <a:cubicBezTo>
                  <a:pt x="2150096" y="3814783"/>
                  <a:pt x="2117735" y="3782423"/>
                  <a:pt x="2117735" y="3742003"/>
                </a:cubicBezTo>
                <a:cubicBezTo>
                  <a:pt x="2117735" y="3701527"/>
                  <a:pt x="2150096" y="3669172"/>
                  <a:pt x="2190569" y="3669172"/>
                </a:cubicBezTo>
                <a:cubicBezTo>
                  <a:pt x="2231001" y="3669172"/>
                  <a:pt x="2263362" y="3701527"/>
                  <a:pt x="2263362" y="3742003"/>
                </a:cubicBezTo>
                <a:cubicBezTo>
                  <a:pt x="2263362" y="3782423"/>
                  <a:pt x="2231001" y="3814783"/>
                  <a:pt x="2190569" y="3814783"/>
                </a:cubicBezTo>
                <a:close/>
                <a:moveTo>
                  <a:pt x="3295022" y="3828033"/>
                </a:moveTo>
                <a:cubicBezTo>
                  <a:pt x="3204592" y="3828033"/>
                  <a:pt x="3130408" y="3754561"/>
                  <a:pt x="3130408" y="3664146"/>
                </a:cubicBezTo>
                <a:cubicBezTo>
                  <a:pt x="3129700" y="3573020"/>
                  <a:pt x="3203176" y="3499577"/>
                  <a:pt x="3293607" y="3499577"/>
                </a:cubicBezTo>
                <a:cubicBezTo>
                  <a:pt x="3384751" y="3499577"/>
                  <a:pt x="3458228" y="3573020"/>
                  <a:pt x="3458929" y="3663442"/>
                </a:cubicBezTo>
                <a:cubicBezTo>
                  <a:pt x="3458929" y="3753868"/>
                  <a:pt x="3385452" y="3827325"/>
                  <a:pt x="3295022" y="3828033"/>
                </a:cubicBezTo>
                <a:close/>
                <a:moveTo>
                  <a:pt x="5124152" y="3854992"/>
                </a:moveTo>
                <a:cubicBezTo>
                  <a:pt x="5067632" y="3854992"/>
                  <a:pt x="5021712" y="3809774"/>
                  <a:pt x="5021712" y="3753265"/>
                </a:cubicBezTo>
                <a:cubicBezTo>
                  <a:pt x="5021712" y="3696745"/>
                  <a:pt x="5066931" y="3650833"/>
                  <a:pt x="5123451" y="3650833"/>
                </a:cubicBezTo>
                <a:cubicBezTo>
                  <a:pt x="5179964" y="3650833"/>
                  <a:pt x="5225890" y="3696042"/>
                  <a:pt x="5225890" y="3752562"/>
                </a:cubicBezTo>
                <a:cubicBezTo>
                  <a:pt x="5225890" y="3809068"/>
                  <a:pt x="5180672" y="3854992"/>
                  <a:pt x="5124152" y="3854992"/>
                </a:cubicBezTo>
                <a:close/>
                <a:moveTo>
                  <a:pt x="2551031" y="3898047"/>
                </a:moveTo>
                <a:cubicBezTo>
                  <a:pt x="2510571" y="3898047"/>
                  <a:pt x="2477198" y="3865688"/>
                  <a:pt x="2477198" y="3825241"/>
                </a:cubicBezTo>
                <a:cubicBezTo>
                  <a:pt x="2477198" y="3784786"/>
                  <a:pt x="2510571" y="3752438"/>
                  <a:pt x="2551031" y="3752438"/>
                </a:cubicBezTo>
                <a:cubicBezTo>
                  <a:pt x="2590467" y="3752438"/>
                  <a:pt x="2623840" y="3784786"/>
                  <a:pt x="2623840" y="3825241"/>
                </a:cubicBezTo>
                <a:cubicBezTo>
                  <a:pt x="2623840" y="3864670"/>
                  <a:pt x="2591480" y="3898047"/>
                  <a:pt x="2551031" y="3898047"/>
                </a:cubicBezTo>
                <a:close/>
                <a:moveTo>
                  <a:pt x="5486679" y="3909244"/>
                </a:moveTo>
                <a:cubicBezTo>
                  <a:pt x="5446632" y="3909244"/>
                  <a:pt x="5413859" y="3876485"/>
                  <a:pt x="5413859" y="3836436"/>
                </a:cubicBezTo>
                <a:cubicBezTo>
                  <a:pt x="5413859" y="3796379"/>
                  <a:pt x="5446632" y="3763621"/>
                  <a:pt x="5486679" y="3763621"/>
                </a:cubicBezTo>
                <a:cubicBezTo>
                  <a:pt x="5526727" y="3763621"/>
                  <a:pt x="5559487" y="3796379"/>
                  <a:pt x="5559487" y="3836436"/>
                </a:cubicBezTo>
                <a:cubicBezTo>
                  <a:pt x="5559487" y="3876485"/>
                  <a:pt x="5526727" y="3909244"/>
                  <a:pt x="5486679" y="3909244"/>
                </a:cubicBezTo>
                <a:close/>
                <a:moveTo>
                  <a:pt x="4020280" y="3980226"/>
                </a:moveTo>
                <a:cubicBezTo>
                  <a:pt x="3938328" y="3980226"/>
                  <a:pt x="3870505" y="3913812"/>
                  <a:pt x="3870505" y="3831156"/>
                </a:cubicBezTo>
                <a:cubicBezTo>
                  <a:pt x="3869795" y="3748518"/>
                  <a:pt x="3936911" y="3681406"/>
                  <a:pt x="4019570" y="3681406"/>
                </a:cubicBezTo>
                <a:cubicBezTo>
                  <a:pt x="4101523" y="3681406"/>
                  <a:pt x="4169346" y="3747806"/>
                  <a:pt x="4169346" y="3830452"/>
                </a:cubicBezTo>
                <a:cubicBezTo>
                  <a:pt x="4169346" y="3913107"/>
                  <a:pt x="4102939" y="3980226"/>
                  <a:pt x="4020280" y="3980226"/>
                </a:cubicBezTo>
                <a:close/>
                <a:moveTo>
                  <a:pt x="5848846" y="3992529"/>
                </a:moveTo>
                <a:cubicBezTo>
                  <a:pt x="5807238" y="3992529"/>
                  <a:pt x="5776006" y="3961348"/>
                  <a:pt x="5776006" y="3919742"/>
                </a:cubicBezTo>
                <a:cubicBezTo>
                  <a:pt x="5776006" y="3878134"/>
                  <a:pt x="5807238" y="3846903"/>
                  <a:pt x="5848846" y="3846903"/>
                </a:cubicBezTo>
                <a:cubicBezTo>
                  <a:pt x="5890454" y="3846903"/>
                  <a:pt x="5921633" y="3878134"/>
                  <a:pt x="5921633" y="3919742"/>
                </a:cubicBezTo>
                <a:cubicBezTo>
                  <a:pt x="5921633" y="3961348"/>
                  <a:pt x="5890454" y="3992529"/>
                  <a:pt x="5848846" y="3992529"/>
                </a:cubicBezTo>
                <a:close/>
                <a:moveTo>
                  <a:pt x="2910711" y="4029206"/>
                </a:moveTo>
                <a:cubicBezTo>
                  <a:pt x="2843596" y="4029915"/>
                  <a:pt x="2789194" y="3975513"/>
                  <a:pt x="2789194" y="3909103"/>
                </a:cubicBezTo>
                <a:cubicBezTo>
                  <a:pt x="2789194" y="3842694"/>
                  <a:pt x="2842888" y="3788302"/>
                  <a:pt x="2910002" y="3788302"/>
                </a:cubicBezTo>
                <a:cubicBezTo>
                  <a:pt x="2976416" y="3787591"/>
                  <a:pt x="3030811" y="3841988"/>
                  <a:pt x="3030811" y="3908395"/>
                </a:cubicBezTo>
                <a:cubicBezTo>
                  <a:pt x="3031519" y="3974806"/>
                  <a:pt x="2977117" y="4029206"/>
                  <a:pt x="2910711" y="4029206"/>
                </a:cubicBezTo>
                <a:close/>
                <a:moveTo>
                  <a:pt x="1783865" y="4056998"/>
                </a:moveTo>
                <a:cubicBezTo>
                  <a:pt x="1747639" y="4056998"/>
                  <a:pt x="1711051" y="4020426"/>
                  <a:pt x="1711051" y="3983854"/>
                </a:cubicBezTo>
                <a:cubicBezTo>
                  <a:pt x="1711051" y="3947641"/>
                  <a:pt x="1747639" y="3947641"/>
                  <a:pt x="1783865" y="3911070"/>
                </a:cubicBezTo>
                <a:cubicBezTo>
                  <a:pt x="1820453" y="3911070"/>
                  <a:pt x="1857041" y="3947641"/>
                  <a:pt x="1857041" y="3983854"/>
                </a:cubicBezTo>
                <a:cubicBezTo>
                  <a:pt x="1857041" y="4020426"/>
                  <a:pt x="1820453" y="4056998"/>
                  <a:pt x="1783865" y="4056998"/>
                </a:cubicBezTo>
                <a:close/>
                <a:moveTo>
                  <a:pt x="4381567" y="4059873"/>
                </a:moveTo>
                <a:cubicBezTo>
                  <a:pt x="4301031" y="4060583"/>
                  <a:pt x="4235325" y="3995583"/>
                  <a:pt x="4235325" y="3915045"/>
                </a:cubicBezTo>
                <a:cubicBezTo>
                  <a:pt x="4235325" y="3834511"/>
                  <a:pt x="4300323" y="3768805"/>
                  <a:pt x="4380157" y="3768805"/>
                </a:cubicBezTo>
                <a:cubicBezTo>
                  <a:pt x="4460700" y="3768096"/>
                  <a:pt x="4526399" y="3833093"/>
                  <a:pt x="4526399" y="3913637"/>
                </a:cubicBezTo>
                <a:cubicBezTo>
                  <a:pt x="4527107" y="3994167"/>
                  <a:pt x="4462109" y="4059873"/>
                  <a:pt x="4381567" y="4059873"/>
                </a:cubicBezTo>
                <a:close/>
                <a:moveTo>
                  <a:pt x="4742160" y="4131976"/>
                </a:moveTo>
                <a:cubicBezTo>
                  <a:pt x="4667976" y="4131976"/>
                  <a:pt x="4607219" y="4071920"/>
                  <a:pt x="4607219" y="3997732"/>
                </a:cubicBezTo>
                <a:cubicBezTo>
                  <a:pt x="4606510" y="3923553"/>
                  <a:pt x="4666566" y="3862794"/>
                  <a:pt x="4741451" y="3862794"/>
                </a:cubicBezTo>
                <a:cubicBezTo>
                  <a:pt x="4815635" y="3862794"/>
                  <a:pt x="4876399" y="3922849"/>
                  <a:pt x="4876399" y="3997026"/>
                </a:cubicBezTo>
                <a:cubicBezTo>
                  <a:pt x="4876399" y="4071213"/>
                  <a:pt x="4816343" y="4131976"/>
                  <a:pt x="4742160" y="4131976"/>
                </a:cubicBezTo>
                <a:close/>
                <a:moveTo>
                  <a:pt x="2142321" y="4139916"/>
                </a:moveTo>
                <a:cubicBezTo>
                  <a:pt x="2101253" y="4139916"/>
                  <a:pt x="2067635" y="4110041"/>
                  <a:pt x="2067635" y="4068935"/>
                </a:cubicBezTo>
                <a:cubicBezTo>
                  <a:pt x="2067635" y="4031614"/>
                  <a:pt x="2101253" y="3997991"/>
                  <a:pt x="2138577" y="3994249"/>
                </a:cubicBezTo>
                <a:cubicBezTo>
                  <a:pt x="2179681" y="3994249"/>
                  <a:pt x="2213299" y="4024128"/>
                  <a:pt x="2213299" y="4065194"/>
                </a:cubicBezTo>
                <a:cubicBezTo>
                  <a:pt x="2213299" y="4106299"/>
                  <a:pt x="2183425" y="4139916"/>
                  <a:pt x="2142321" y="4139916"/>
                </a:cubicBezTo>
                <a:close/>
                <a:moveTo>
                  <a:pt x="5101884" y="4180058"/>
                </a:moveTo>
                <a:cubicBezTo>
                  <a:pt x="5046781" y="4180058"/>
                  <a:pt x="5001564" y="4135545"/>
                  <a:pt x="5001564" y="4080433"/>
                </a:cubicBezTo>
                <a:cubicBezTo>
                  <a:pt x="5001564" y="4025328"/>
                  <a:pt x="5046073" y="3980108"/>
                  <a:pt x="5101176" y="3980819"/>
                </a:cubicBezTo>
                <a:cubicBezTo>
                  <a:pt x="5156286" y="3980108"/>
                  <a:pt x="5201495" y="4024622"/>
                  <a:pt x="5201495" y="4079734"/>
                </a:cubicBezTo>
                <a:cubicBezTo>
                  <a:pt x="5201495" y="4134837"/>
                  <a:pt x="5156987" y="4180058"/>
                  <a:pt x="5101884" y="4180058"/>
                </a:cubicBezTo>
                <a:close/>
                <a:moveTo>
                  <a:pt x="2497738" y="4222683"/>
                </a:moveTo>
                <a:cubicBezTo>
                  <a:pt x="2457342" y="4222683"/>
                  <a:pt x="2424452" y="4190735"/>
                  <a:pt x="2424452" y="4150337"/>
                </a:cubicBezTo>
                <a:cubicBezTo>
                  <a:pt x="2423511" y="4110869"/>
                  <a:pt x="2456401" y="4077985"/>
                  <a:pt x="2496805" y="4077044"/>
                </a:cubicBezTo>
                <a:cubicBezTo>
                  <a:pt x="2537202" y="4077044"/>
                  <a:pt x="2570091" y="4108994"/>
                  <a:pt x="2570091" y="4149395"/>
                </a:cubicBezTo>
                <a:cubicBezTo>
                  <a:pt x="2570091" y="4189793"/>
                  <a:pt x="2538144" y="4222683"/>
                  <a:pt x="2497738" y="4222683"/>
                </a:cubicBezTo>
                <a:close/>
                <a:moveTo>
                  <a:pt x="5461432" y="4236788"/>
                </a:moveTo>
                <a:cubicBezTo>
                  <a:pt x="5421344" y="4236788"/>
                  <a:pt x="5387939" y="4204724"/>
                  <a:pt x="5387939" y="4164637"/>
                </a:cubicBezTo>
                <a:cubicBezTo>
                  <a:pt x="5387939" y="4123210"/>
                  <a:pt x="5421344" y="4091148"/>
                  <a:pt x="5460092" y="4091148"/>
                </a:cubicBezTo>
                <a:cubicBezTo>
                  <a:pt x="5500181" y="4091148"/>
                  <a:pt x="5533586" y="4123210"/>
                  <a:pt x="5533586" y="4163297"/>
                </a:cubicBezTo>
                <a:cubicBezTo>
                  <a:pt x="5534926" y="4203386"/>
                  <a:pt x="5501521" y="4236788"/>
                  <a:pt x="5461432" y="4236788"/>
                </a:cubicBezTo>
                <a:close/>
                <a:moveTo>
                  <a:pt x="3985425" y="4311155"/>
                </a:moveTo>
                <a:cubicBezTo>
                  <a:pt x="3901347" y="4311155"/>
                  <a:pt x="3832112" y="4243335"/>
                  <a:pt x="3832112" y="4158562"/>
                </a:cubicBezTo>
                <a:cubicBezTo>
                  <a:pt x="3832112" y="4073781"/>
                  <a:pt x="3899938" y="4005251"/>
                  <a:pt x="3984016" y="4004543"/>
                </a:cubicBezTo>
                <a:cubicBezTo>
                  <a:pt x="4068796" y="4004543"/>
                  <a:pt x="4137328" y="4072367"/>
                  <a:pt x="4138029" y="4157148"/>
                </a:cubicBezTo>
                <a:cubicBezTo>
                  <a:pt x="4138029" y="4241919"/>
                  <a:pt x="4070205" y="4311155"/>
                  <a:pt x="3985425" y="4311155"/>
                </a:cubicBezTo>
                <a:close/>
                <a:moveTo>
                  <a:pt x="5820258" y="4319815"/>
                </a:moveTo>
                <a:cubicBezTo>
                  <a:pt x="5779289" y="4319815"/>
                  <a:pt x="5747444" y="4287971"/>
                  <a:pt x="5747444" y="4247003"/>
                </a:cubicBezTo>
                <a:cubicBezTo>
                  <a:pt x="5747444" y="4206033"/>
                  <a:pt x="5779289" y="4174188"/>
                  <a:pt x="5820258" y="4174188"/>
                </a:cubicBezTo>
                <a:cubicBezTo>
                  <a:pt x="5861227" y="4174188"/>
                  <a:pt x="5893071" y="4206033"/>
                  <a:pt x="5893071" y="4247003"/>
                </a:cubicBezTo>
                <a:cubicBezTo>
                  <a:pt x="5893071" y="4287971"/>
                  <a:pt x="5861227" y="4319815"/>
                  <a:pt x="5820258" y="4319815"/>
                </a:cubicBezTo>
                <a:close/>
                <a:moveTo>
                  <a:pt x="2853847" y="4363108"/>
                </a:moveTo>
                <a:cubicBezTo>
                  <a:pt x="2781781" y="4363814"/>
                  <a:pt x="2723143" y="4305177"/>
                  <a:pt x="2723143" y="4233115"/>
                </a:cubicBezTo>
                <a:cubicBezTo>
                  <a:pt x="2723143" y="4161055"/>
                  <a:pt x="2781073" y="4102417"/>
                  <a:pt x="2853139" y="4101708"/>
                </a:cubicBezTo>
                <a:cubicBezTo>
                  <a:pt x="2925198" y="4101002"/>
                  <a:pt x="2984545" y="4159638"/>
                  <a:pt x="2984545" y="4231704"/>
                </a:cubicBezTo>
                <a:cubicBezTo>
                  <a:pt x="2984545" y="4304470"/>
                  <a:pt x="2925907" y="4363108"/>
                  <a:pt x="2853847" y="4363108"/>
                </a:cubicBezTo>
                <a:close/>
                <a:moveTo>
                  <a:pt x="4343810" y="4391141"/>
                </a:moveTo>
                <a:cubicBezTo>
                  <a:pt x="4260448" y="4391845"/>
                  <a:pt x="4192625" y="4324729"/>
                  <a:pt x="4192625" y="4241360"/>
                </a:cubicBezTo>
                <a:cubicBezTo>
                  <a:pt x="4191916" y="4157999"/>
                  <a:pt x="4259741" y="4090175"/>
                  <a:pt x="4342400" y="4090175"/>
                </a:cubicBezTo>
                <a:cubicBezTo>
                  <a:pt x="4425769" y="4089467"/>
                  <a:pt x="4493593" y="4156580"/>
                  <a:pt x="4493593" y="4239950"/>
                </a:cubicBezTo>
                <a:cubicBezTo>
                  <a:pt x="4494294" y="4323320"/>
                  <a:pt x="4427179" y="4391141"/>
                  <a:pt x="4343810" y="4391141"/>
                </a:cubicBezTo>
                <a:close/>
                <a:moveTo>
                  <a:pt x="2050073" y="4460270"/>
                </a:moveTo>
                <a:cubicBezTo>
                  <a:pt x="1989991" y="4460270"/>
                  <a:pt x="1969897" y="4420272"/>
                  <a:pt x="1969897" y="4380074"/>
                </a:cubicBezTo>
                <a:cubicBezTo>
                  <a:pt x="1969897" y="4340076"/>
                  <a:pt x="1989991" y="4299880"/>
                  <a:pt x="2050073" y="4299880"/>
                </a:cubicBezTo>
                <a:cubicBezTo>
                  <a:pt x="2090259" y="4299880"/>
                  <a:pt x="2110154" y="4340076"/>
                  <a:pt x="2110154" y="4380074"/>
                </a:cubicBezTo>
                <a:cubicBezTo>
                  <a:pt x="2130247" y="4420272"/>
                  <a:pt x="2090259" y="4460270"/>
                  <a:pt x="2050073" y="4460270"/>
                </a:cubicBezTo>
                <a:close/>
                <a:moveTo>
                  <a:pt x="4700999" y="4461819"/>
                </a:moveTo>
                <a:cubicBezTo>
                  <a:pt x="4624695" y="4461819"/>
                  <a:pt x="4562520" y="4400354"/>
                  <a:pt x="4562520" y="4324050"/>
                </a:cubicBezTo>
                <a:cubicBezTo>
                  <a:pt x="4562520" y="4247746"/>
                  <a:pt x="4623987" y="4185572"/>
                  <a:pt x="4700291" y="4185572"/>
                </a:cubicBezTo>
                <a:cubicBezTo>
                  <a:pt x="4776594" y="4185572"/>
                  <a:pt x="4838769" y="4247039"/>
                  <a:pt x="4838769" y="4323343"/>
                </a:cubicBezTo>
                <a:cubicBezTo>
                  <a:pt x="4838769" y="4399645"/>
                  <a:pt x="4777303" y="4461819"/>
                  <a:pt x="4700999" y="4461819"/>
                </a:cubicBezTo>
                <a:close/>
                <a:moveTo>
                  <a:pt x="3211374" y="4484756"/>
                </a:moveTo>
                <a:cubicBezTo>
                  <a:pt x="3117411" y="4484756"/>
                  <a:pt x="3041110" y="4409167"/>
                  <a:pt x="3041110" y="4315900"/>
                </a:cubicBezTo>
                <a:cubicBezTo>
                  <a:pt x="3041110" y="4245966"/>
                  <a:pt x="3083631" y="4185561"/>
                  <a:pt x="3144531" y="4159429"/>
                </a:cubicBezTo>
                <a:lnTo>
                  <a:pt x="3207351" y="4146334"/>
                </a:lnTo>
                <a:lnTo>
                  <a:pt x="3204562" y="4145781"/>
                </a:lnTo>
                <a:cubicBezTo>
                  <a:pt x="3144556" y="4120714"/>
                  <a:pt x="3102036" y="4061371"/>
                  <a:pt x="3102036" y="3992481"/>
                </a:cubicBezTo>
                <a:cubicBezTo>
                  <a:pt x="3102036" y="3900639"/>
                  <a:pt x="3176218" y="3825056"/>
                  <a:pt x="3268061" y="3825056"/>
                </a:cubicBezTo>
                <a:cubicBezTo>
                  <a:pt x="3359898" y="3824346"/>
                  <a:pt x="3435495" y="3899224"/>
                  <a:pt x="3435495" y="3991068"/>
                </a:cubicBezTo>
                <a:cubicBezTo>
                  <a:pt x="3436025" y="4060484"/>
                  <a:pt x="3394032" y="4119967"/>
                  <a:pt x="3334257" y="4145366"/>
                </a:cubicBezTo>
                <a:lnTo>
                  <a:pt x="3271954" y="4158006"/>
                </a:lnTo>
                <a:lnTo>
                  <a:pt x="3276406" y="4158911"/>
                </a:lnTo>
                <a:cubicBezTo>
                  <a:pt x="3337045" y="4184541"/>
                  <a:pt x="3379697" y="4244548"/>
                  <a:pt x="3380229" y="4314495"/>
                </a:cubicBezTo>
                <a:cubicBezTo>
                  <a:pt x="3380229" y="4408458"/>
                  <a:pt x="3304637" y="4484756"/>
                  <a:pt x="3211374" y="4484756"/>
                </a:cubicBezTo>
                <a:close/>
                <a:moveTo>
                  <a:pt x="5058310" y="4507182"/>
                </a:moveTo>
                <a:cubicBezTo>
                  <a:pt x="5002495" y="4507890"/>
                  <a:pt x="4957274" y="4462667"/>
                  <a:pt x="4957274" y="4406854"/>
                </a:cubicBezTo>
                <a:cubicBezTo>
                  <a:pt x="4957274" y="4351038"/>
                  <a:pt x="5002495" y="4305820"/>
                  <a:pt x="5057602" y="4305820"/>
                </a:cubicBezTo>
                <a:cubicBezTo>
                  <a:pt x="5112709" y="4305111"/>
                  <a:pt x="5158637" y="4350334"/>
                  <a:pt x="5158637" y="4406147"/>
                </a:cubicBezTo>
                <a:cubicBezTo>
                  <a:pt x="5159338" y="4461961"/>
                  <a:pt x="5114125" y="4507182"/>
                  <a:pt x="5058310" y="4507182"/>
                </a:cubicBezTo>
                <a:close/>
                <a:moveTo>
                  <a:pt x="2402623" y="4536670"/>
                </a:moveTo>
                <a:cubicBezTo>
                  <a:pt x="2363788" y="4536670"/>
                  <a:pt x="2329797" y="4505109"/>
                  <a:pt x="2329797" y="4463841"/>
                </a:cubicBezTo>
                <a:cubicBezTo>
                  <a:pt x="2329797" y="4422571"/>
                  <a:pt x="2361355" y="4391011"/>
                  <a:pt x="2402623" y="4391011"/>
                </a:cubicBezTo>
                <a:cubicBezTo>
                  <a:pt x="2443889" y="4391011"/>
                  <a:pt x="2475448" y="4425009"/>
                  <a:pt x="2475448" y="4463841"/>
                </a:cubicBezTo>
                <a:cubicBezTo>
                  <a:pt x="2475448" y="4505109"/>
                  <a:pt x="2441457" y="4536670"/>
                  <a:pt x="2402623" y="4536670"/>
                </a:cubicBezTo>
                <a:close/>
                <a:moveTo>
                  <a:pt x="5415506" y="4562365"/>
                </a:moveTo>
                <a:cubicBezTo>
                  <a:pt x="5375336" y="4562365"/>
                  <a:pt x="5342692" y="4529724"/>
                  <a:pt x="5342692" y="4489553"/>
                </a:cubicBezTo>
                <a:cubicBezTo>
                  <a:pt x="5342692" y="4449378"/>
                  <a:pt x="5375336" y="4416739"/>
                  <a:pt x="5415506" y="4416739"/>
                </a:cubicBezTo>
                <a:cubicBezTo>
                  <a:pt x="5455676" y="4416739"/>
                  <a:pt x="5488319" y="4449378"/>
                  <a:pt x="5488319" y="4489553"/>
                </a:cubicBezTo>
                <a:cubicBezTo>
                  <a:pt x="5488319" y="4529724"/>
                  <a:pt x="5455676" y="4562365"/>
                  <a:pt x="5415506" y="4562365"/>
                </a:cubicBezTo>
                <a:close/>
                <a:moveTo>
                  <a:pt x="2761855" y="4621031"/>
                </a:moveTo>
                <a:cubicBezTo>
                  <a:pt x="2722002" y="4621031"/>
                  <a:pt x="2689041" y="4588840"/>
                  <a:pt x="2689041" y="4548216"/>
                </a:cubicBezTo>
                <a:cubicBezTo>
                  <a:pt x="2689041" y="4508366"/>
                  <a:pt x="2721234" y="4475410"/>
                  <a:pt x="2761086" y="4474635"/>
                </a:cubicBezTo>
                <a:cubicBezTo>
                  <a:pt x="2801715" y="4474635"/>
                  <a:pt x="2834676" y="4506828"/>
                  <a:pt x="2834676" y="4547449"/>
                </a:cubicBezTo>
                <a:cubicBezTo>
                  <a:pt x="2834676" y="4588077"/>
                  <a:pt x="2802483" y="4621031"/>
                  <a:pt x="2761855" y="4621031"/>
                </a:cubicBezTo>
                <a:close/>
                <a:moveTo>
                  <a:pt x="3924421" y="4636800"/>
                </a:moveTo>
                <a:cubicBezTo>
                  <a:pt x="3838225" y="4637515"/>
                  <a:pt x="3768284" y="4568278"/>
                  <a:pt x="3768284" y="4482081"/>
                </a:cubicBezTo>
                <a:cubicBezTo>
                  <a:pt x="3768284" y="4395879"/>
                  <a:pt x="3837524" y="4325937"/>
                  <a:pt x="3923713" y="4325235"/>
                </a:cubicBezTo>
                <a:cubicBezTo>
                  <a:pt x="4009906" y="4325235"/>
                  <a:pt x="4079146" y="4394472"/>
                  <a:pt x="4079848" y="4480662"/>
                </a:cubicBezTo>
                <a:cubicBezTo>
                  <a:pt x="4079848" y="4566862"/>
                  <a:pt x="4010614" y="4636800"/>
                  <a:pt x="3924421" y="4636800"/>
                </a:cubicBezTo>
                <a:close/>
                <a:moveTo>
                  <a:pt x="5773294" y="4645164"/>
                </a:moveTo>
                <a:cubicBezTo>
                  <a:pt x="5732325" y="4645164"/>
                  <a:pt x="5700479" y="4613319"/>
                  <a:pt x="5700479" y="4572352"/>
                </a:cubicBezTo>
                <a:cubicBezTo>
                  <a:pt x="5700479" y="4531381"/>
                  <a:pt x="5732325" y="4499536"/>
                  <a:pt x="5773294" y="4499536"/>
                </a:cubicBezTo>
                <a:cubicBezTo>
                  <a:pt x="5814262" y="4499536"/>
                  <a:pt x="5846107" y="4531381"/>
                  <a:pt x="5846107" y="4572352"/>
                </a:cubicBezTo>
                <a:cubicBezTo>
                  <a:pt x="5846107" y="4613319"/>
                  <a:pt x="5814262" y="4645164"/>
                  <a:pt x="5773294" y="4645164"/>
                </a:cubicBezTo>
                <a:close/>
                <a:moveTo>
                  <a:pt x="1524353" y="4657347"/>
                </a:moveTo>
                <a:cubicBezTo>
                  <a:pt x="1488127" y="4657347"/>
                  <a:pt x="1451540" y="4620777"/>
                  <a:pt x="1451540" y="4584207"/>
                </a:cubicBezTo>
                <a:cubicBezTo>
                  <a:pt x="1451540" y="4547990"/>
                  <a:pt x="1488127" y="4511422"/>
                  <a:pt x="1524353" y="4511422"/>
                </a:cubicBezTo>
                <a:cubicBezTo>
                  <a:pt x="1560942" y="4511422"/>
                  <a:pt x="1597529" y="4584207"/>
                  <a:pt x="1597529" y="4584207"/>
                </a:cubicBezTo>
                <a:cubicBezTo>
                  <a:pt x="1597529" y="4620777"/>
                  <a:pt x="1560942" y="4657347"/>
                  <a:pt x="1524353" y="4657347"/>
                </a:cubicBezTo>
                <a:close/>
                <a:moveTo>
                  <a:pt x="4281357" y="4713592"/>
                </a:moveTo>
                <a:cubicBezTo>
                  <a:pt x="4197986" y="4713592"/>
                  <a:pt x="4130162" y="4646474"/>
                  <a:pt x="4130162" y="4563106"/>
                </a:cubicBezTo>
                <a:cubicBezTo>
                  <a:pt x="4130162" y="4479739"/>
                  <a:pt x="4197278" y="4412621"/>
                  <a:pt x="4279940" y="4412621"/>
                </a:cubicBezTo>
                <a:cubicBezTo>
                  <a:pt x="4363310" y="4411913"/>
                  <a:pt x="4431134" y="4479030"/>
                  <a:pt x="4431134" y="4562401"/>
                </a:cubicBezTo>
                <a:cubicBezTo>
                  <a:pt x="4431843" y="4645768"/>
                  <a:pt x="4364727" y="4713592"/>
                  <a:pt x="4281357" y="4713592"/>
                </a:cubicBezTo>
                <a:close/>
                <a:moveTo>
                  <a:pt x="1898609" y="4748603"/>
                </a:moveTo>
                <a:cubicBezTo>
                  <a:pt x="1856150" y="4748603"/>
                  <a:pt x="1825795" y="4718241"/>
                  <a:pt x="1825795" y="4675769"/>
                </a:cubicBezTo>
                <a:cubicBezTo>
                  <a:pt x="1825795" y="4633296"/>
                  <a:pt x="1862233" y="4596848"/>
                  <a:pt x="1898609" y="4602937"/>
                </a:cubicBezTo>
                <a:cubicBezTo>
                  <a:pt x="1935046" y="4602937"/>
                  <a:pt x="1971423" y="4633296"/>
                  <a:pt x="1971423" y="4675769"/>
                </a:cubicBezTo>
                <a:cubicBezTo>
                  <a:pt x="1971423" y="4718241"/>
                  <a:pt x="1941069" y="4748603"/>
                  <a:pt x="1898609" y="4748603"/>
                </a:cubicBezTo>
                <a:close/>
                <a:moveTo>
                  <a:pt x="4638170" y="4777091"/>
                </a:moveTo>
                <a:cubicBezTo>
                  <a:pt x="4565404" y="4777798"/>
                  <a:pt x="4506766" y="4719161"/>
                  <a:pt x="4506766" y="4647098"/>
                </a:cubicBezTo>
                <a:cubicBezTo>
                  <a:pt x="4506766" y="4575039"/>
                  <a:pt x="4564696" y="4516399"/>
                  <a:pt x="4636761" y="4515689"/>
                </a:cubicBezTo>
                <a:cubicBezTo>
                  <a:pt x="4709527" y="4514984"/>
                  <a:pt x="4768165" y="4573621"/>
                  <a:pt x="4768165" y="4645688"/>
                </a:cubicBezTo>
                <a:cubicBezTo>
                  <a:pt x="4768873" y="4718455"/>
                  <a:pt x="4710235" y="4777091"/>
                  <a:pt x="4638170" y="4777091"/>
                </a:cubicBezTo>
                <a:close/>
                <a:moveTo>
                  <a:pt x="3121323" y="4778306"/>
                </a:moveTo>
                <a:cubicBezTo>
                  <a:pt x="3040074" y="4779019"/>
                  <a:pt x="2973667" y="4713312"/>
                  <a:pt x="2973667" y="4632064"/>
                </a:cubicBezTo>
                <a:cubicBezTo>
                  <a:pt x="2972959" y="4551524"/>
                  <a:pt x="3038665" y="4485115"/>
                  <a:pt x="3119908" y="4484404"/>
                </a:cubicBezTo>
                <a:cubicBezTo>
                  <a:pt x="3201159" y="4483698"/>
                  <a:pt x="3267565" y="4549403"/>
                  <a:pt x="3267565" y="4630646"/>
                </a:cubicBezTo>
                <a:cubicBezTo>
                  <a:pt x="3267565" y="4711902"/>
                  <a:pt x="3202568" y="4778306"/>
                  <a:pt x="3121323" y="4778306"/>
                </a:cubicBezTo>
                <a:close/>
                <a:moveTo>
                  <a:pt x="4994396" y="4824678"/>
                </a:moveTo>
                <a:cubicBezTo>
                  <a:pt x="4941407" y="4824678"/>
                  <a:pt x="4898311" y="4782289"/>
                  <a:pt x="4898311" y="4729297"/>
                </a:cubicBezTo>
                <a:cubicBezTo>
                  <a:pt x="4898311" y="4676310"/>
                  <a:pt x="4941407" y="4633212"/>
                  <a:pt x="4993694" y="4633212"/>
                </a:cubicBezTo>
                <a:cubicBezTo>
                  <a:pt x="5046683" y="4633212"/>
                  <a:pt x="5089779" y="4675608"/>
                  <a:pt x="5089779" y="4728596"/>
                </a:cubicBezTo>
                <a:cubicBezTo>
                  <a:pt x="5090487" y="4781587"/>
                  <a:pt x="5047384" y="4824678"/>
                  <a:pt x="4994396" y="4824678"/>
                </a:cubicBezTo>
                <a:close/>
                <a:moveTo>
                  <a:pt x="2268509" y="4836828"/>
                </a:moveTo>
                <a:cubicBezTo>
                  <a:pt x="2228462" y="4836828"/>
                  <a:pt x="2195689" y="4804063"/>
                  <a:pt x="2195689" y="4764020"/>
                </a:cubicBezTo>
                <a:cubicBezTo>
                  <a:pt x="2195689" y="4723972"/>
                  <a:pt x="2228462" y="4691195"/>
                  <a:pt x="2268509" y="4691195"/>
                </a:cubicBezTo>
                <a:cubicBezTo>
                  <a:pt x="2308556" y="4691195"/>
                  <a:pt x="2341317" y="4723972"/>
                  <a:pt x="2341317" y="4764020"/>
                </a:cubicBezTo>
                <a:cubicBezTo>
                  <a:pt x="2341317" y="4804063"/>
                  <a:pt x="2308556" y="4836828"/>
                  <a:pt x="2268509" y="4836828"/>
                </a:cubicBezTo>
                <a:close/>
                <a:moveTo>
                  <a:pt x="5351112" y="4884809"/>
                </a:moveTo>
                <a:cubicBezTo>
                  <a:pt x="5310943" y="4884809"/>
                  <a:pt x="5278298" y="4852163"/>
                  <a:pt x="5278298" y="4811995"/>
                </a:cubicBezTo>
                <a:cubicBezTo>
                  <a:pt x="5278298" y="4773082"/>
                  <a:pt x="5310943" y="4739179"/>
                  <a:pt x="5349853" y="4739179"/>
                </a:cubicBezTo>
                <a:cubicBezTo>
                  <a:pt x="5391282" y="4739179"/>
                  <a:pt x="5423925" y="4771824"/>
                  <a:pt x="5423925" y="4811995"/>
                </a:cubicBezTo>
                <a:cubicBezTo>
                  <a:pt x="5423925" y="4852163"/>
                  <a:pt x="5391282" y="4884809"/>
                  <a:pt x="5351112" y="4884809"/>
                </a:cubicBezTo>
                <a:close/>
                <a:moveTo>
                  <a:pt x="1319439" y="4912984"/>
                </a:moveTo>
                <a:cubicBezTo>
                  <a:pt x="1282849" y="4912984"/>
                  <a:pt x="1246262" y="4876414"/>
                  <a:pt x="1246262" y="4839838"/>
                </a:cubicBezTo>
                <a:cubicBezTo>
                  <a:pt x="1246262" y="4803627"/>
                  <a:pt x="1246262" y="4767055"/>
                  <a:pt x="1319439" y="4767055"/>
                </a:cubicBezTo>
                <a:cubicBezTo>
                  <a:pt x="1355664" y="4767055"/>
                  <a:pt x="1392251" y="4803627"/>
                  <a:pt x="1392251" y="4839838"/>
                </a:cubicBezTo>
                <a:cubicBezTo>
                  <a:pt x="1392251" y="4876414"/>
                  <a:pt x="1355664" y="4912984"/>
                  <a:pt x="1319439" y="4912984"/>
                </a:cubicBezTo>
                <a:close/>
                <a:moveTo>
                  <a:pt x="2635603" y="4944521"/>
                </a:moveTo>
                <a:cubicBezTo>
                  <a:pt x="2584033" y="4944521"/>
                  <a:pt x="2541642" y="4902847"/>
                  <a:pt x="2541642" y="4851268"/>
                </a:cubicBezTo>
                <a:cubicBezTo>
                  <a:pt x="2540935" y="4799698"/>
                  <a:pt x="2582618" y="4758019"/>
                  <a:pt x="2634901" y="4757313"/>
                </a:cubicBezTo>
                <a:cubicBezTo>
                  <a:pt x="2686471" y="4757313"/>
                  <a:pt x="2728860" y="4798991"/>
                  <a:pt x="2728860" y="4850558"/>
                </a:cubicBezTo>
                <a:cubicBezTo>
                  <a:pt x="2728860" y="4902137"/>
                  <a:pt x="2687178" y="4944521"/>
                  <a:pt x="2635603" y="4944521"/>
                </a:cubicBezTo>
                <a:close/>
                <a:moveTo>
                  <a:pt x="5707448" y="4967166"/>
                </a:moveTo>
                <a:cubicBezTo>
                  <a:pt x="5667278" y="4967166"/>
                  <a:pt x="5634633" y="4934520"/>
                  <a:pt x="5634633" y="4894348"/>
                </a:cubicBezTo>
                <a:cubicBezTo>
                  <a:pt x="5634633" y="4854177"/>
                  <a:pt x="5667278" y="4820271"/>
                  <a:pt x="5707448" y="4821530"/>
                </a:cubicBezTo>
                <a:cubicBezTo>
                  <a:pt x="5747617" y="4821530"/>
                  <a:pt x="5780261" y="4854177"/>
                  <a:pt x="5780261" y="4894348"/>
                </a:cubicBezTo>
                <a:cubicBezTo>
                  <a:pt x="5780261" y="4934520"/>
                  <a:pt x="5747617" y="4967166"/>
                  <a:pt x="5707448" y="4967166"/>
                </a:cubicBezTo>
                <a:close/>
                <a:moveTo>
                  <a:pt x="1714008" y="5018904"/>
                </a:moveTo>
                <a:cubicBezTo>
                  <a:pt x="1672093" y="5018904"/>
                  <a:pt x="1639021" y="4988015"/>
                  <a:pt x="1639021" y="4946134"/>
                </a:cubicBezTo>
                <a:cubicBezTo>
                  <a:pt x="1639021" y="4904221"/>
                  <a:pt x="1672093" y="4871153"/>
                  <a:pt x="1711797" y="4873364"/>
                </a:cubicBezTo>
                <a:cubicBezTo>
                  <a:pt x="1753691" y="4871153"/>
                  <a:pt x="1786785" y="4904221"/>
                  <a:pt x="1786785" y="4946134"/>
                </a:cubicBezTo>
                <a:cubicBezTo>
                  <a:pt x="1788995" y="4985828"/>
                  <a:pt x="1755901" y="5018904"/>
                  <a:pt x="1714008" y="5018904"/>
                </a:cubicBezTo>
                <a:close/>
                <a:moveTo>
                  <a:pt x="4195062" y="5039784"/>
                </a:moveTo>
                <a:cubicBezTo>
                  <a:pt x="4107453" y="5039784"/>
                  <a:pt x="4036096" y="4969132"/>
                  <a:pt x="4035395" y="4880820"/>
                </a:cubicBezTo>
                <a:cubicBezTo>
                  <a:pt x="4034685" y="4793217"/>
                  <a:pt x="4106044" y="4721149"/>
                  <a:pt x="4194354" y="4721149"/>
                </a:cubicBezTo>
                <a:cubicBezTo>
                  <a:pt x="4281957" y="4721149"/>
                  <a:pt x="4353314" y="4791800"/>
                  <a:pt x="4354023" y="4880113"/>
                </a:cubicBezTo>
                <a:cubicBezTo>
                  <a:pt x="4354023" y="4967716"/>
                  <a:pt x="4283374" y="5039784"/>
                  <a:pt x="4195062" y="5039784"/>
                </a:cubicBezTo>
                <a:close/>
                <a:moveTo>
                  <a:pt x="2999685" y="5100391"/>
                </a:moveTo>
                <a:cubicBezTo>
                  <a:pt x="2909257" y="5100391"/>
                  <a:pt x="2835077" y="5027616"/>
                  <a:pt x="2835077" y="4936484"/>
                </a:cubicBezTo>
                <a:cubicBezTo>
                  <a:pt x="2835077" y="4845342"/>
                  <a:pt x="2907842" y="4771870"/>
                  <a:pt x="2998976" y="4771870"/>
                </a:cubicBezTo>
                <a:cubicBezTo>
                  <a:pt x="3089410" y="4771870"/>
                  <a:pt x="3163590" y="4844639"/>
                  <a:pt x="3163590" y="4935771"/>
                </a:cubicBezTo>
                <a:cubicBezTo>
                  <a:pt x="3163590" y="5026202"/>
                  <a:pt x="3090111" y="5099686"/>
                  <a:pt x="2999685" y="5100391"/>
                </a:cubicBezTo>
                <a:close/>
                <a:moveTo>
                  <a:pt x="4552965" y="5104582"/>
                </a:moveTo>
                <a:cubicBezTo>
                  <a:pt x="4475256" y="5105287"/>
                  <a:pt x="4411667" y="5042414"/>
                  <a:pt x="4411667" y="4964697"/>
                </a:cubicBezTo>
                <a:cubicBezTo>
                  <a:pt x="4411667" y="4887690"/>
                  <a:pt x="4473839" y="4824108"/>
                  <a:pt x="4551556" y="4823400"/>
                </a:cubicBezTo>
                <a:cubicBezTo>
                  <a:pt x="4629266" y="4822693"/>
                  <a:pt x="4692854" y="4885568"/>
                  <a:pt x="4692854" y="4963284"/>
                </a:cubicBezTo>
                <a:cubicBezTo>
                  <a:pt x="4693555" y="5040998"/>
                  <a:pt x="4630682" y="5104582"/>
                  <a:pt x="4552965" y="5104582"/>
                </a:cubicBezTo>
                <a:close/>
                <a:moveTo>
                  <a:pt x="2097708" y="5116687"/>
                </a:moveTo>
                <a:cubicBezTo>
                  <a:pt x="2057023" y="5116687"/>
                  <a:pt x="2024186" y="5083846"/>
                  <a:pt x="2024186" y="5043869"/>
                </a:cubicBezTo>
                <a:cubicBezTo>
                  <a:pt x="2024186" y="5003182"/>
                  <a:pt x="2056307" y="4970345"/>
                  <a:pt x="2097708" y="4971061"/>
                </a:cubicBezTo>
                <a:cubicBezTo>
                  <a:pt x="2137687" y="4971061"/>
                  <a:pt x="2170523" y="5003897"/>
                  <a:pt x="2170523" y="5043869"/>
                </a:cubicBezTo>
                <a:cubicBezTo>
                  <a:pt x="2170523" y="5083846"/>
                  <a:pt x="2137687" y="5116687"/>
                  <a:pt x="2097708" y="5116687"/>
                </a:cubicBezTo>
                <a:close/>
                <a:moveTo>
                  <a:pt x="1071193" y="5128439"/>
                </a:moveTo>
                <a:cubicBezTo>
                  <a:pt x="1034965" y="5128439"/>
                  <a:pt x="998378" y="5091862"/>
                  <a:pt x="998378" y="5055655"/>
                </a:cubicBezTo>
                <a:cubicBezTo>
                  <a:pt x="998378" y="5019079"/>
                  <a:pt x="998378" y="5019079"/>
                  <a:pt x="1071193" y="4982505"/>
                </a:cubicBezTo>
                <a:cubicBezTo>
                  <a:pt x="1107779" y="4982505"/>
                  <a:pt x="1144367" y="5019079"/>
                  <a:pt x="1144367" y="5055655"/>
                </a:cubicBezTo>
                <a:cubicBezTo>
                  <a:pt x="1144367" y="5091862"/>
                  <a:pt x="1107779" y="5128439"/>
                  <a:pt x="1071193" y="5128439"/>
                </a:cubicBezTo>
                <a:close/>
                <a:moveTo>
                  <a:pt x="4910268" y="5156309"/>
                </a:moveTo>
                <a:cubicBezTo>
                  <a:pt x="4849505" y="5157020"/>
                  <a:pt x="4800052" y="5107560"/>
                  <a:pt x="4800052" y="5047508"/>
                </a:cubicBezTo>
                <a:cubicBezTo>
                  <a:pt x="4800052" y="4986745"/>
                  <a:pt x="4848797" y="4938001"/>
                  <a:pt x="4908851" y="4937292"/>
                </a:cubicBezTo>
                <a:cubicBezTo>
                  <a:pt x="4969606" y="4936585"/>
                  <a:pt x="5019065" y="4985337"/>
                  <a:pt x="5019065" y="5046094"/>
                </a:cubicBezTo>
                <a:cubicBezTo>
                  <a:pt x="5019766" y="5106856"/>
                  <a:pt x="4971022" y="5156309"/>
                  <a:pt x="4910268" y="5156309"/>
                </a:cubicBezTo>
                <a:close/>
                <a:moveTo>
                  <a:pt x="5267464" y="5204369"/>
                </a:moveTo>
                <a:cubicBezTo>
                  <a:pt x="5226487" y="5205079"/>
                  <a:pt x="5192570" y="5171170"/>
                  <a:pt x="5192570" y="5130194"/>
                </a:cubicBezTo>
                <a:cubicBezTo>
                  <a:pt x="5192570" y="5089218"/>
                  <a:pt x="5225778" y="5055300"/>
                  <a:pt x="5266755" y="5055300"/>
                </a:cubicBezTo>
                <a:cubicBezTo>
                  <a:pt x="5307731" y="5055300"/>
                  <a:pt x="5341640" y="5088505"/>
                  <a:pt x="5341640" y="5129483"/>
                </a:cubicBezTo>
                <a:cubicBezTo>
                  <a:pt x="5341640" y="5170462"/>
                  <a:pt x="5308441" y="5204369"/>
                  <a:pt x="5267464" y="5204369"/>
                </a:cubicBezTo>
                <a:close/>
                <a:moveTo>
                  <a:pt x="2475354" y="5255855"/>
                </a:moveTo>
                <a:cubicBezTo>
                  <a:pt x="2410355" y="5255855"/>
                  <a:pt x="2356661" y="5202900"/>
                  <a:pt x="2356661" y="5137898"/>
                </a:cubicBezTo>
                <a:cubicBezTo>
                  <a:pt x="2356661" y="5072188"/>
                  <a:pt x="2409648" y="5019202"/>
                  <a:pt x="2474646" y="5019202"/>
                </a:cubicBezTo>
                <a:cubicBezTo>
                  <a:pt x="2539644" y="5019202"/>
                  <a:pt x="2593340" y="5072188"/>
                  <a:pt x="2593340" y="5137190"/>
                </a:cubicBezTo>
                <a:cubicBezTo>
                  <a:pt x="2593340" y="5202192"/>
                  <a:pt x="2541053" y="5255855"/>
                  <a:pt x="2475354" y="5255855"/>
                </a:cubicBezTo>
                <a:close/>
                <a:moveTo>
                  <a:pt x="1488569" y="5259059"/>
                </a:moveTo>
                <a:cubicBezTo>
                  <a:pt x="1448086" y="5259059"/>
                  <a:pt x="1415715" y="5226718"/>
                  <a:pt x="1415715" y="5186234"/>
                </a:cubicBezTo>
                <a:cubicBezTo>
                  <a:pt x="1415715" y="5145753"/>
                  <a:pt x="1448086" y="5113388"/>
                  <a:pt x="1488569" y="5113388"/>
                </a:cubicBezTo>
                <a:cubicBezTo>
                  <a:pt x="1529052" y="5113388"/>
                  <a:pt x="1561423" y="5145753"/>
                  <a:pt x="1561423" y="5186234"/>
                </a:cubicBezTo>
                <a:cubicBezTo>
                  <a:pt x="1561423" y="5226718"/>
                  <a:pt x="1529052" y="5259059"/>
                  <a:pt x="1488569" y="5259059"/>
                </a:cubicBezTo>
                <a:close/>
                <a:moveTo>
                  <a:pt x="5624659" y="5285236"/>
                </a:moveTo>
                <a:cubicBezTo>
                  <a:pt x="5584942" y="5285236"/>
                  <a:pt x="5551844" y="5252138"/>
                  <a:pt x="5551844" y="5212405"/>
                </a:cubicBezTo>
                <a:cubicBezTo>
                  <a:pt x="5551844" y="5172687"/>
                  <a:pt x="5583282" y="5139591"/>
                  <a:pt x="5624659" y="5139591"/>
                </a:cubicBezTo>
                <a:cubicBezTo>
                  <a:pt x="5664391" y="5139591"/>
                  <a:pt x="5697489" y="5172687"/>
                  <a:pt x="5697489" y="5212405"/>
                </a:cubicBezTo>
                <a:cubicBezTo>
                  <a:pt x="5697489" y="5252138"/>
                  <a:pt x="5664391" y="5285236"/>
                  <a:pt x="5624659" y="5285236"/>
                </a:cubicBezTo>
                <a:close/>
                <a:moveTo>
                  <a:pt x="4085752" y="5348825"/>
                </a:moveTo>
                <a:cubicBezTo>
                  <a:pt x="3998148" y="5348825"/>
                  <a:pt x="3927499" y="5278175"/>
                  <a:pt x="3926789" y="5191273"/>
                </a:cubicBezTo>
                <a:cubicBezTo>
                  <a:pt x="3926789" y="5104381"/>
                  <a:pt x="3996732" y="5033020"/>
                  <a:pt x="4084343" y="5032310"/>
                </a:cubicBezTo>
                <a:cubicBezTo>
                  <a:pt x="4171947" y="5032310"/>
                  <a:pt x="4243305" y="5102255"/>
                  <a:pt x="4243305" y="5189860"/>
                </a:cubicBezTo>
                <a:cubicBezTo>
                  <a:pt x="4243305" y="5277468"/>
                  <a:pt x="4172655" y="5348116"/>
                  <a:pt x="4085752" y="5348825"/>
                </a:cubicBezTo>
                <a:close/>
                <a:moveTo>
                  <a:pt x="1891993" y="5373014"/>
                </a:moveTo>
                <a:cubicBezTo>
                  <a:pt x="1851408" y="5373014"/>
                  <a:pt x="1818784" y="5341187"/>
                  <a:pt x="1818784" y="5300601"/>
                </a:cubicBezTo>
                <a:cubicBezTo>
                  <a:pt x="1817986" y="5260017"/>
                  <a:pt x="1850610" y="5227422"/>
                  <a:pt x="1891195" y="5227422"/>
                </a:cubicBezTo>
                <a:cubicBezTo>
                  <a:pt x="1931779" y="5226623"/>
                  <a:pt x="1964403" y="5259217"/>
                  <a:pt x="1964403" y="5299805"/>
                </a:cubicBezTo>
                <a:cubicBezTo>
                  <a:pt x="1964403" y="5340388"/>
                  <a:pt x="1931779" y="5373014"/>
                  <a:pt x="1891993" y="5373014"/>
                </a:cubicBezTo>
                <a:close/>
                <a:moveTo>
                  <a:pt x="2849224" y="5392317"/>
                </a:moveTo>
                <a:cubicBezTo>
                  <a:pt x="2758087" y="5392317"/>
                  <a:pt x="2683906" y="5318840"/>
                  <a:pt x="2683906" y="5228412"/>
                </a:cubicBezTo>
                <a:cubicBezTo>
                  <a:pt x="2683906" y="5137297"/>
                  <a:pt x="2756672" y="5063820"/>
                  <a:pt x="2848515" y="5063820"/>
                </a:cubicBezTo>
                <a:cubicBezTo>
                  <a:pt x="2938944" y="5063820"/>
                  <a:pt x="3013126" y="5136588"/>
                  <a:pt x="3013126" y="5227721"/>
                </a:cubicBezTo>
                <a:cubicBezTo>
                  <a:pt x="3013126" y="5318138"/>
                  <a:pt x="2940360" y="5391610"/>
                  <a:pt x="2849224" y="5392317"/>
                </a:cubicBezTo>
                <a:close/>
                <a:moveTo>
                  <a:pt x="4445965" y="5414448"/>
                </a:moveTo>
                <a:cubicBezTo>
                  <a:pt x="4368246" y="5414448"/>
                  <a:pt x="4304664" y="5351573"/>
                  <a:pt x="4304664" y="5273854"/>
                </a:cubicBezTo>
                <a:cubicBezTo>
                  <a:pt x="4304664" y="5196145"/>
                  <a:pt x="4366837" y="5132555"/>
                  <a:pt x="4444556" y="5133265"/>
                </a:cubicBezTo>
                <a:cubicBezTo>
                  <a:pt x="4522267" y="5132555"/>
                  <a:pt x="4585856" y="5195434"/>
                  <a:pt x="4585856" y="5273147"/>
                </a:cubicBezTo>
                <a:cubicBezTo>
                  <a:pt x="4586558" y="5350864"/>
                  <a:pt x="4523683" y="5414448"/>
                  <a:pt x="4445965" y="5414448"/>
                </a:cubicBezTo>
                <a:close/>
                <a:moveTo>
                  <a:pt x="4804984" y="5431581"/>
                </a:moveTo>
                <a:cubicBezTo>
                  <a:pt x="4764716" y="5431581"/>
                  <a:pt x="4731509" y="5398373"/>
                  <a:pt x="4731509" y="5358103"/>
                </a:cubicBezTo>
                <a:cubicBezTo>
                  <a:pt x="4731509" y="5317837"/>
                  <a:pt x="4764008" y="5284629"/>
                  <a:pt x="4804984" y="5284629"/>
                </a:cubicBezTo>
                <a:cubicBezTo>
                  <a:pt x="4845253" y="5284629"/>
                  <a:pt x="4878459" y="5317837"/>
                  <a:pt x="4878459" y="5358103"/>
                </a:cubicBezTo>
                <a:cubicBezTo>
                  <a:pt x="4878459" y="5398373"/>
                  <a:pt x="4845253" y="5431581"/>
                  <a:pt x="4804984" y="5431581"/>
                </a:cubicBezTo>
                <a:close/>
                <a:moveTo>
                  <a:pt x="1230962" y="5462807"/>
                </a:moveTo>
                <a:cubicBezTo>
                  <a:pt x="1194585" y="5462807"/>
                  <a:pt x="1158147" y="5432454"/>
                  <a:pt x="1158147" y="5389997"/>
                </a:cubicBezTo>
                <a:cubicBezTo>
                  <a:pt x="1158147" y="5347535"/>
                  <a:pt x="1194585" y="5317184"/>
                  <a:pt x="1230962" y="5317184"/>
                </a:cubicBezTo>
                <a:cubicBezTo>
                  <a:pt x="1267397" y="5317184"/>
                  <a:pt x="1303775" y="5347535"/>
                  <a:pt x="1303775" y="5389997"/>
                </a:cubicBezTo>
                <a:cubicBezTo>
                  <a:pt x="1303775" y="5426430"/>
                  <a:pt x="1273421" y="5462807"/>
                  <a:pt x="1230962" y="5462807"/>
                </a:cubicBezTo>
                <a:close/>
                <a:moveTo>
                  <a:pt x="5164226" y="5514692"/>
                </a:moveTo>
                <a:cubicBezTo>
                  <a:pt x="5124057" y="5514692"/>
                  <a:pt x="5091412" y="5482049"/>
                  <a:pt x="5091412" y="5441879"/>
                </a:cubicBezTo>
                <a:cubicBezTo>
                  <a:pt x="5091412" y="5401710"/>
                  <a:pt x="5124057" y="5369064"/>
                  <a:pt x="5164226" y="5369064"/>
                </a:cubicBezTo>
                <a:cubicBezTo>
                  <a:pt x="5204396" y="5369064"/>
                  <a:pt x="5237039" y="5401710"/>
                  <a:pt x="5237039" y="5441879"/>
                </a:cubicBezTo>
                <a:cubicBezTo>
                  <a:pt x="5237039" y="5482049"/>
                  <a:pt x="5204396" y="5514692"/>
                  <a:pt x="5164226" y="5514692"/>
                </a:cubicBezTo>
                <a:close/>
                <a:moveTo>
                  <a:pt x="2284587" y="5518153"/>
                </a:moveTo>
                <a:cubicBezTo>
                  <a:pt x="2221715" y="5518153"/>
                  <a:pt x="2170845" y="5467992"/>
                  <a:pt x="2170845" y="5405112"/>
                </a:cubicBezTo>
                <a:cubicBezTo>
                  <a:pt x="2170137" y="5342240"/>
                  <a:pt x="2221007" y="5291369"/>
                  <a:pt x="2283887" y="5291369"/>
                </a:cubicBezTo>
                <a:cubicBezTo>
                  <a:pt x="2346760" y="5291369"/>
                  <a:pt x="2397629" y="5342240"/>
                  <a:pt x="2397629" y="5404412"/>
                </a:cubicBezTo>
                <a:cubicBezTo>
                  <a:pt x="2397629" y="5467285"/>
                  <a:pt x="2346760" y="5518153"/>
                  <a:pt x="2284587" y="5518153"/>
                </a:cubicBezTo>
                <a:close/>
                <a:moveTo>
                  <a:pt x="5523466" y="5598020"/>
                </a:moveTo>
                <a:cubicBezTo>
                  <a:pt x="5482329" y="5598020"/>
                  <a:pt x="5450652" y="5566343"/>
                  <a:pt x="5450652" y="5525174"/>
                </a:cubicBezTo>
                <a:cubicBezTo>
                  <a:pt x="5450652" y="5484038"/>
                  <a:pt x="5485472" y="5452361"/>
                  <a:pt x="5523466" y="5452361"/>
                </a:cubicBezTo>
                <a:cubicBezTo>
                  <a:pt x="5564633" y="5452361"/>
                  <a:pt x="5596310" y="5484038"/>
                  <a:pt x="5596310" y="5525174"/>
                </a:cubicBezTo>
                <a:cubicBezTo>
                  <a:pt x="5596310" y="5566343"/>
                  <a:pt x="5561491" y="5598020"/>
                  <a:pt x="5523466" y="5598020"/>
                </a:cubicBezTo>
                <a:close/>
                <a:moveTo>
                  <a:pt x="1655079" y="5600972"/>
                </a:moveTo>
                <a:cubicBezTo>
                  <a:pt x="1613751" y="5602758"/>
                  <a:pt x="1581395" y="5568620"/>
                  <a:pt x="1581395" y="5529077"/>
                </a:cubicBezTo>
                <a:cubicBezTo>
                  <a:pt x="1581395" y="5489536"/>
                  <a:pt x="1613751" y="5455400"/>
                  <a:pt x="1655079" y="5455400"/>
                </a:cubicBezTo>
                <a:cubicBezTo>
                  <a:pt x="1696425" y="5455400"/>
                  <a:pt x="1728763" y="5487752"/>
                  <a:pt x="1728763" y="5527274"/>
                </a:cubicBezTo>
                <a:cubicBezTo>
                  <a:pt x="1728763" y="5568620"/>
                  <a:pt x="1694623" y="5600972"/>
                  <a:pt x="1655079" y="5600972"/>
                </a:cubicBezTo>
                <a:close/>
                <a:moveTo>
                  <a:pt x="956466" y="5629118"/>
                </a:moveTo>
                <a:cubicBezTo>
                  <a:pt x="914946" y="5629118"/>
                  <a:pt x="873219" y="5608239"/>
                  <a:pt x="873219" y="5566687"/>
                </a:cubicBezTo>
                <a:cubicBezTo>
                  <a:pt x="873219" y="5524928"/>
                  <a:pt x="914946" y="5483376"/>
                  <a:pt x="935603" y="5483376"/>
                </a:cubicBezTo>
                <a:cubicBezTo>
                  <a:pt x="977330" y="5462499"/>
                  <a:pt x="1018851" y="5504257"/>
                  <a:pt x="1018851" y="5545807"/>
                </a:cubicBezTo>
                <a:cubicBezTo>
                  <a:pt x="1018851" y="5587566"/>
                  <a:pt x="998194" y="5629118"/>
                  <a:pt x="956466" y="5629118"/>
                </a:cubicBezTo>
                <a:close/>
                <a:moveTo>
                  <a:pt x="3952984" y="5631810"/>
                </a:moveTo>
                <a:cubicBezTo>
                  <a:pt x="3875275" y="5632518"/>
                  <a:pt x="3811686" y="5569647"/>
                  <a:pt x="3811686" y="5491928"/>
                </a:cubicBezTo>
                <a:cubicBezTo>
                  <a:pt x="3811686" y="5414212"/>
                  <a:pt x="3874566" y="5350632"/>
                  <a:pt x="3952276" y="5350632"/>
                </a:cubicBezTo>
                <a:cubicBezTo>
                  <a:pt x="4029992" y="5349922"/>
                  <a:pt x="4093573" y="5412804"/>
                  <a:pt x="4093573" y="5490511"/>
                </a:cubicBezTo>
                <a:cubicBezTo>
                  <a:pt x="4093573" y="5568231"/>
                  <a:pt x="4030701" y="5631810"/>
                  <a:pt x="3952984" y="5631810"/>
                </a:cubicBezTo>
                <a:close/>
                <a:moveTo>
                  <a:pt x="2669604" y="5654267"/>
                </a:moveTo>
                <a:cubicBezTo>
                  <a:pt x="2586237" y="5654968"/>
                  <a:pt x="2518412" y="5587852"/>
                  <a:pt x="2518412" y="5504481"/>
                </a:cubicBezTo>
                <a:cubicBezTo>
                  <a:pt x="2518412" y="5421121"/>
                  <a:pt x="2585527" y="5353300"/>
                  <a:pt x="2668189" y="5353300"/>
                </a:cubicBezTo>
                <a:cubicBezTo>
                  <a:pt x="2751556" y="5352593"/>
                  <a:pt x="2818673" y="5419706"/>
                  <a:pt x="2819381" y="5503075"/>
                </a:cubicBezTo>
                <a:cubicBezTo>
                  <a:pt x="2820089" y="5586444"/>
                  <a:pt x="2752967" y="5654267"/>
                  <a:pt x="2669604" y="5654267"/>
                </a:cubicBezTo>
                <a:close/>
                <a:moveTo>
                  <a:pt x="4317552" y="5689147"/>
                </a:moveTo>
                <a:cubicBezTo>
                  <a:pt x="4255381" y="5689147"/>
                  <a:pt x="4205221" y="5639694"/>
                  <a:pt x="4205221" y="5577524"/>
                </a:cubicBezTo>
                <a:cubicBezTo>
                  <a:pt x="4204512" y="5516060"/>
                  <a:pt x="4254674" y="5465900"/>
                  <a:pt x="4316844" y="5465192"/>
                </a:cubicBezTo>
                <a:cubicBezTo>
                  <a:pt x="4379015" y="5465192"/>
                  <a:pt x="4429175" y="5514644"/>
                  <a:pt x="4429175" y="5576815"/>
                </a:cubicBezTo>
                <a:cubicBezTo>
                  <a:pt x="4429175" y="5638278"/>
                  <a:pt x="4379015" y="5689147"/>
                  <a:pt x="4317552" y="5689147"/>
                </a:cubicBezTo>
                <a:close/>
                <a:moveTo>
                  <a:pt x="4680554" y="5735625"/>
                </a:moveTo>
                <a:cubicBezTo>
                  <a:pt x="4640287" y="5735625"/>
                  <a:pt x="4607079" y="5702417"/>
                  <a:pt x="4607079" y="5662149"/>
                </a:cubicBezTo>
                <a:cubicBezTo>
                  <a:pt x="4607079" y="5621882"/>
                  <a:pt x="4639579" y="5588674"/>
                  <a:pt x="4680554" y="5588674"/>
                </a:cubicBezTo>
                <a:cubicBezTo>
                  <a:pt x="4720823" y="5588674"/>
                  <a:pt x="4754030" y="5621882"/>
                  <a:pt x="4754030" y="5662149"/>
                </a:cubicBezTo>
                <a:cubicBezTo>
                  <a:pt x="4754030" y="5702417"/>
                  <a:pt x="4720823" y="5735625"/>
                  <a:pt x="4680554" y="5735625"/>
                </a:cubicBezTo>
                <a:close/>
                <a:moveTo>
                  <a:pt x="639823" y="5744752"/>
                </a:moveTo>
                <a:cubicBezTo>
                  <a:pt x="601686" y="5744752"/>
                  <a:pt x="566990" y="5713535"/>
                  <a:pt x="566990" y="5671926"/>
                </a:cubicBezTo>
                <a:cubicBezTo>
                  <a:pt x="566990" y="5630313"/>
                  <a:pt x="601686" y="5595619"/>
                  <a:pt x="639823" y="5599097"/>
                </a:cubicBezTo>
                <a:cubicBezTo>
                  <a:pt x="677961" y="5599097"/>
                  <a:pt x="712657" y="5630313"/>
                  <a:pt x="712657" y="5671926"/>
                </a:cubicBezTo>
                <a:cubicBezTo>
                  <a:pt x="712657" y="5713535"/>
                  <a:pt x="681437" y="5744752"/>
                  <a:pt x="639823" y="5744752"/>
                </a:cubicBezTo>
                <a:close/>
                <a:moveTo>
                  <a:pt x="2064785" y="5762654"/>
                </a:moveTo>
                <a:cubicBezTo>
                  <a:pt x="2001911" y="5762654"/>
                  <a:pt x="1951043" y="5712492"/>
                  <a:pt x="1951043" y="5649612"/>
                </a:cubicBezTo>
                <a:cubicBezTo>
                  <a:pt x="1950335" y="5587447"/>
                  <a:pt x="2001204" y="5536575"/>
                  <a:pt x="2064084" y="5535866"/>
                </a:cubicBezTo>
                <a:cubicBezTo>
                  <a:pt x="2126957" y="5535866"/>
                  <a:pt x="2177827" y="5586738"/>
                  <a:pt x="2177827" y="5648908"/>
                </a:cubicBezTo>
                <a:cubicBezTo>
                  <a:pt x="2177827" y="5711785"/>
                  <a:pt x="2126957" y="5762654"/>
                  <a:pt x="2064785" y="5762654"/>
                </a:cubicBezTo>
                <a:close/>
                <a:moveTo>
                  <a:pt x="1391324" y="5796155"/>
                </a:moveTo>
                <a:cubicBezTo>
                  <a:pt x="1350833" y="5796155"/>
                  <a:pt x="1318155" y="5763478"/>
                  <a:pt x="1318155" y="5723691"/>
                </a:cubicBezTo>
                <a:cubicBezTo>
                  <a:pt x="1318155" y="5683203"/>
                  <a:pt x="1350121" y="5650520"/>
                  <a:pt x="1391324" y="5650520"/>
                </a:cubicBezTo>
                <a:cubicBezTo>
                  <a:pt x="1431110" y="5650520"/>
                  <a:pt x="1463789" y="5682490"/>
                  <a:pt x="1463789" y="5722988"/>
                </a:cubicBezTo>
                <a:cubicBezTo>
                  <a:pt x="1463789" y="5763478"/>
                  <a:pt x="1431110" y="5796155"/>
                  <a:pt x="1391324" y="5796155"/>
                </a:cubicBezTo>
                <a:close/>
                <a:moveTo>
                  <a:pt x="319820" y="5816809"/>
                </a:moveTo>
                <a:cubicBezTo>
                  <a:pt x="279337" y="5816809"/>
                  <a:pt x="246967" y="5784436"/>
                  <a:pt x="246967" y="5743955"/>
                </a:cubicBezTo>
                <a:cubicBezTo>
                  <a:pt x="246967" y="5703474"/>
                  <a:pt x="279337" y="5671100"/>
                  <a:pt x="319820" y="5671100"/>
                </a:cubicBezTo>
                <a:cubicBezTo>
                  <a:pt x="360303" y="5671100"/>
                  <a:pt x="392675" y="5703474"/>
                  <a:pt x="392675" y="5743955"/>
                </a:cubicBezTo>
                <a:cubicBezTo>
                  <a:pt x="392675" y="5784436"/>
                  <a:pt x="360303" y="5816809"/>
                  <a:pt x="319820" y="5816809"/>
                </a:cubicBezTo>
                <a:close/>
                <a:moveTo>
                  <a:pt x="5043199" y="5820223"/>
                </a:moveTo>
                <a:cubicBezTo>
                  <a:pt x="5004365" y="5820223"/>
                  <a:pt x="4970373" y="5788664"/>
                  <a:pt x="4970373" y="5747396"/>
                </a:cubicBezTo>
                <a:cubicBezTo>
                  <a:pt x="4970373" y="5708563"/>
                  <a:pt x="5004365" y="5674570"/>
                  <a:pt x="5043199" y="5674570"/>
                </a:cubicBezTo>
                <a:cubicBezTo>
                  <a:pt x="5084465" y="5674570"/>
                  <a:pt x="5116025" y="5706130"/>
                  <a:pt x="5116025" y="5747396"/>
                </a:cubicBezTo>
                <a:cubicBezTo>
                  <a:pt x="5116025" y="5788664"/>
                  <a:pt x="5084465" y="5820223"/>
                  <a:pt x="5043199" y="5820223"/>
                </a:cubicBezTo>
                <a:close/>
                <a:moveTo>
                  <a:pt x="0" y="5838543"/>
                </a:moveTo>
                <a:lnTo>
                  <a:pt x="0" y="5695865"/>
                </a:lnTo>
                <a:lnTo>
                  <a:pt x="20966" y="5699865"/>
                </a:lnTo>
                <a:cubicBezTo>
                  <a:pt x="47328" y="5710588"/>
                  <a:pt x="64931" y="5735936"/>
                  <a:pt x="64931" y="5767151"/>
                </a:cubicBezTo>
                <a:cubicBezTo>
                  <a:pt x="64931" y="5798370"/>
                  <a:pt x="47328" y="5823778"/>
                  <a:pt x="20966" y="5834531"/>
                </a:cubicBezTo>
                <a:close/>
                <a:moveTo>
                  <a:pt x="5405330" y="5904968"/>
                </a:moveTo>
                <a:cubicBezTo>
                  <a:pt x="5361965" y="5904968"/>
                  <a:pt x="5325780" y="5876028"/>
                  <a:pt x="5325780" y="5832583"/>
                </a:cubicBezTo>
                <a:cubicBezTo>
                  <a:pt x="5325780" y="5789212"/>
                  <a:pt x="5361965" y="5760274"/>
                  <a:pt x="5405330" y="5760274"/>
                </a:cubicBezTo>
                <a:cubicBezTo>
                  <a:pt x="5448766" y="5753021"/>
                  <a:pt x="5484951" y="5789212"/>
                  <a:pt x="5484951" y="5832583"/>
                </a:cubicBezTo>
                <a:cubicBezTo>
                  <a:pt x="5484951" y="5868776"/>
                  <a:pt x="5448766" y="5904968"/>
                  <a:pt x="5405330" y="5904968"/>
                </a:cubicBezTo>
                <a:close/>
                <a:moveTo>
                  <a:pt x="2463837" y="5931581"/>
                </a:moveTo>
                <a:cubicBezTo>
                  <a:pt x="2369166" y="5932287"/>
                  <a:pt x="2291449" y="5855281"/>
                  <a:pt x="2291449" y="5760610"/>
                </a:cubicBezTo>
                <a:cubicBezTo>
                  <a:pt x="2291449" y="5665939"/>
                  <a:pt x="2367749" y="5588229"/>
                  <a:pt x="2462420" y="5588229"/>
                </a:cubicBezTo>
                <a:cubicBezTo>
                  <a:pt x="2557090" y="5587520"/>
                  <a:pt x="2634807" y="5664529"/>
                  <a:pt x="2634807" y="5759200"/>
                </a:cubicBezTo>
                <a:cubicBezTo>
                  <a:pt x="2635509" y="5853870"/>
                  <a:pt x="2558500" y="5931581"/>
                  <a:pt x="2463837" y="5931581"/>
                </a:cubicBezTo>
                <a:close/>
                <a:moveTo>
                  <a:pt x="3798060" y="5940306"/>
                </a:moveTo>
                <a:cubicBezTo>
                  <a:pt x="3710449" y="5940306"/>
                  <a:pt x="3638391" y="5869655"/>
                  <a:pt x="3638391" y="5781343"/>
                </a:cubicBezTo>
                <a:cubicBezTo>
                  <a:pt x="3638391" y="5693740"/>
                  <a:pt x="3709040" y="5621676"/>
                  <a:pt x="3797352" y="5621676"/>
                </a:cubicBezTo>
                <a:cubicBezTo>
                  <a:pt x="3884955" y="5621676"/>
                  <a:pt x="3957021" y="5692325"/>
                  <a:pt x="3957021" y="5780635"/>
                </a:cubicBezTo>
                <a:cubicBezTo>
                  <a:pt x="3957021" y="5868238"/>
                  <a:pt x="3885663" y="5940306"/>
                  <a:pt x="3798060" y="5940306"/>
                </a:cubicBezTo>
                <a:close/>
                <a:moveTo>
                  <a:pt x="1104633" y="5956428"/>
                </a:moveTo>
                <a:cubicBezTo>
                  <a:pt x="1063251" y="5957950"/>
                  <a:pt x="1031057" y="5924232"/>
                  <a:pt x="1031057" y="5884367"/>
                </a:cubicBezTo>
                <a:cubicBezTo>
                  <a:pt x="1031057" y="5842968"/>
                  <a:pt x="1063251" y="5810770"/>
                  <a:pt x="1103112" y="5810770"/>
                </a:cubicBezTo>
                <a:cubicBezTo>
                  <a:pt x="1144495" y="5809249"/>
                  <a:pt x="1176689" y="5842968"/>
                  <a:pt x="1176689" y="5882834"/>
                </a:cubicBezTo>
                <a:cubicBezTo>
                  <a:pt x="1176689" y="5924232"/>
                  <a:pt x="1144495" y="5956428"/>
                  <a:pt x="1104633" y="5956428"/>
                </a:cubicBezTo>
                <a:close/>
                <a:moveTo>
                  <a:pt x="1818839" y="5974160"/>
                </a:moveTo>
                <a:cubicBezTo>
                  <a:pt x="1760193" y="5974160"/>
                  <a:pt x="1711447" y="5926824"/>
                  <a:pt x="1711447" y="5867486"/>
                </a:cubicBezTo>
                <a:cubicBezTo>
                  <a:pt x="1710739" y="5808139"/>
                  <a:pt x="1758783" y="5760094"/>
                  <a:pt x="1818129" y="5760094"/>
                </a:cubicBezTo>
                <a:cubicBezTo>
                  <a:pt x="1877477" y="5760094"/>
                  <a:pt x="1925514" y="5807431"/>
                  <a:pt x="1925514" y="5866776"/>
                </a:cubicBezTo>
                <a:cubicBezTo>
                  <a:pt x="1925514" y="5926123"/>
                  <a:pt x="1878185" y="5974160"/>
                  <a:pt x="1818839" y="5974160"/>
                </a:cubicBezTo>
                <a:close/>
                <a:moveTo>
                  <a:pt x="4168433" y="5991951"/>
                </a:moveTo>
                <a:cubicBezTo>
                  <a:pt x="4101318" y="5991951"/>
                  <a:pt x="4046213" y="5938263"/>
                  <a:pt x="4046213" y="5870441"/>
                </a:cubicBezTo>
                <a:cubicBezTo>
                  <a:pt x="4046213" y="5803317"/>
                  <a:pt x="4100616" y="5748215"/>
                  <a:pt x="4167731" y="5748215"/>
                </a:cubicBezTo>
                <a:cubicBezTo>
                  <a:pt x="4234847" y="5748215"/>
                  <a:pt x="4289950" y="5801909"/>
                  <a:pt x="4289950" y="5869732"/>
                </a:cubicBezTo>
                <a:cubicBezTo>
                  <a:pt x="4289950" y="5936847"/>
                  <a:pt x="4235554" y="5991951"/>
                  <a:pt x="4168433" y="5991951"/>
                </a:cubicBezTo>
                <a:close/>
                <a:moveTo>
                  <a:pt x="4537360" y="6050417"/>
                </a:moveTo>
                <a:cubicBezTo>
                  <a:pt x="4486489" y="6050417"/>
                  <a:pt x="4444805" y="6009440"/>
                  <a:pt x="4444805" y="5958578"/>
                </a:cubicBezTo>
                <a:cubicBezTo>
                  <a:pt x="4444805" y="5908416"/>
                  <a:pt x="4485782" y="5866731"/>
                  <a:pt x="4536652" y="5866023"/>
                </a:cubicBezTo>
                <a:cubicBezTo>
                  <a:pt x="4587515" y="5866023"/>
                  <a:pt x="4629199" y="5907000"/>
                  <a:pt x="4629199" y="5957869"/>
                </a:cubicBezTo>
                <a:cubicBezTo>
                  <a:pt x="4629199" y="6008740"/>
                  <a:pt x="4588223" y="6050417"/>
                  <a:pt x="4537360" y="6050417"/>
                </a:cubicBezTo>
                <a:close/>
                <a:moveTo>
                  <a:pt x="799114" y="6078686"/>
                </a:moveTo>
                <a:cubicBezTo>
                  <a:pt x="760977" y="6078686"/>
                  <a:pt x="726283" y="6047469"/>
                  <a:pt x="726283" y="6005858"/>
                </a:cubicBezTo>
                <a:cubicBezTo>
                  <a:pt x="726283" y="5964244"/>
                  <a:pt x="757501" y="5933024"/>
                  <a:pt x="799114" y="5933024"/>
                </a:cubicBezTo>
                <a:cubicBezTo>
                  <a:pt x="837250" y="5933024"/>
                  <a:pt x="871944" y="5964244"/>
                  <a:pt x="871944" y="6005858"/>
                </a:cubicBezTo>
                <a:cubicBezTo>
                  <a:pt x="871944" y="6047469"/>
                  <a:pt x="840727" y="6078686"/>
                  <a:pt x="799114" y="6078686"/>
                </a:cubicBezTo>
                <a:close/>
                <a:moveTo>
                  <a:pt x="4904240" y="6117968"/>
                </a:moveTo>
                <a:cubicBezTo>
                  <a:pt x="4864252" y="6117968"/>
                  <a:pt x="4831419" y="6085121"/>
                  <a:pt x="4831419" y="6045147"/>
                </a:cubicBezTo>
                <a:cubicBezTo>
                  <a:pt x="4831419" y="6005173"/>
                  <a:pt x="4862835" y="5972326"/>
                  <a:pt x="4904240" y="5972326"/>
                </a:cubicBezTo>
                <a:cubicBezTo>
                  <a:pt x="4944215" y="5972326"/>
                  <a:pt x="4977060" y="6005173"/>
                  <a:pt x="4977060" y="6045147"/>
                </a:cubicBezTo>
                <a:cubicBezTo>
                  <a:pt x="4977060" y="6085121"/>
                  <a:pt x="4944215" y="6117968"/>
                  <a:pt x="4904240" y="6117968"/>
                </a:cubicBezTo>
                <a:close/>
                <a:moveTo>
                  <a:pt x="2233269" y="6138470"/>
                </a:moveTo>
                <a:cubicBezTo>
                  <a:pt x="2153435" y="6138470"/>
                  <a:pt x="2088437" y="6074180"/>
                  <a:pt x="2088437" y="5994346"/>
                </a:cubicBezTo>
                <a:cubicBezTo>
                  <a:pt x="2088437" y="5914511"/>
                  <a:pt x="2152727" y="5849514"/>
                  <a:pt x="2232561" y="5849514"/>
                </a:cubicBezTo>
                <a:cubicBezTo>
                  <a:pt x="2312397" y="5849514"/>
                  <a:pt x="2377393" y="5913803"/>
                  <a:pt x="2377393" y="5993638"/>
                </a:cubicBezTo>
                <a:cubicBezTo>
                  <a:pt x="2377393" y="6073470"/>
                  <a:pt x="2313105" y="6138470"/>
                  <a:pt x="2233269" y="6138470"/>
                </a:cubicBezTo>
                <a:close/>
                <a:moveTo>
                  <a:pt x="481007" y="6160973"/>
                </a:moveTo>
                <a:cubicBezTo>
                  <a:pt x="440913" y="6160973"/>
                  <a:pt x="408192" y="6129310"/>
                  <a:pt x="408192" y="6089207"/>
                </a:cubicBezTo>
                <a:cubicBezTo>
                  <a:pt x="408192" y="6048057"/>
                  <a:pt x="440913" y="6016395"/>
                  <a:pt x="481007" y="6015334"/>
                </a:cubicBezTo>
                <a:cubicBezTo>
                  <a:pt x="521109" y="6015334"/>
                  <a:pt x="553830" y="6048057"/>
                  <a:pt x="553830" y="6088149"/>
                </a:cubicBezTo>
                <a:cubicBezTo>
                  <a:pt x="553830" y="6128251"/>
                  <a:pt x="521109" y="6160973"/>
                  <a:pt x="481007" y="6160973"/>
                </a:cubicBezTo>
                <a:close/>
                <a:moveTo>
                  <a:pt x="1550239" y="6182436"/>
                </a:moveTo>
                <a:cubicBezTo>
                  <a:pt x="1480299" y="6183137"/>
                  <a:pt x="1423777" y="6126624"/>
                  <a:pt x="1423777" y="6057384"/>
                </a:cubicBezTo>
                <a:cubicBezTo>
                  <a:pt x="1423777" y="5988145"/>
                  <a:pt x="1480299" y="5931629"/>
                  <a:pt x="1548829" y="5930918"/>
                </a:cubicBezTo>
                <a:cubicBezTo>
                  <a:pt x="1618771" y="5930212"/>
                  <a:pt x="1675292" y="5986732"/>
                  <a:pt x="1675292" y="6055966"/>
                </a:cubicBezTo>
                <a:cubicBezTo>
                  <a:pt x="1675999" y="6125913"/>
                  <a:pt x="1619479" y="6182436"/>
                  <a:pt x="1550239" y="6182436"/>
                </a:cubicBezTo>
                <a:close/>
                <a:moveTo>
                  <a:pt x="3622904" y="6190656"/>
                </a:moveTo>
                <a:cubicBezTo>
                  <a:pt x="3549427" y="6191357"/>
                  <a:pt x="3490080" y="6132011"/>
                  <a:pt x="3490080" y="6059245"/>
                </a:cubicBezTo>
                <a:cubicBezTo>
                  <a:pt x="3489372" y="5986481"/>
                  <a:pt x="3548719" y="5927133"/>
                  <a:pt x="3622196" y="5927133"/>
                </a:cubicBezTo>
                <a:cubicBezTo>
                  <a:pt x="3694963" y="5926427"/>
                  <a:pt x="3754311" y="5985772"/>
                  <a:pt x="3754311" y="6058537"/>
                </a:cubicBezTo>
                <a:cubicBezTo>
                  <a:pt x="3754311" y="6131308"/>
                  <a:pt x="3695671" y="6190656"/>
                  <a:pt x="3622904" y="6190656"/>
                </a:cubicBezTo>
                <a:close/>
                <a:moveTo>
                  <a:pt x="155173" y="6201392"/>
                </a:moveTo>
                <a:cubicBezTo>
                  <a:pt x="114926" y="6201392"/>
                  <a:pt x="81786" y="6168247"/>
                  <a:pt x="81786" y="6127999"/>
                </a:cubicBezTo>
                <a:cubicBezTo>
                  <a:pt x="81786" y="6087750"/>
                  <a:pt x="113739" y="6054611"/>
                  <a:pt x="155173" y="6055798"/>
                </a:cubicBezTo>
                <a:cubicBezTo>
                  <a:pt x="195418" y="6054611"/>
                  <a:pt x="228557" y="6087750"/>
                  <a:pt x="228557" y="6127999"/>
                </a:cubicBezTo>
                <a:cubicBezTo>
                  <a:pt x="228557" y="6168247"/>
                  <a:pt x="195418" y="6201392"/>
                  <a:pt x="155173" y="6201392"/>
                </a:cubicBezTo>
                <a:close/>
                <a:moveTo>
                  <a:pt x="5269637" y="6204197"/>
                </a:moveTo>
                <a:cubicBezTo>
                  <a:pt x="5231408" y="6204197"/>
                  <a:pt x="5196975" y="6173561"/>
                  <a:pt x="5196975" y="6131496"/>
                </a:cubicBezTo>
                <a:cubicBezTo>
                  <a:pt x="5196975" y="6089433"/>
                  <a:pt x="5231408" y="6055000"/>
                  <a:pt x="5265842" y="6058835"/>
                </a:cubicBezTo>
                <a:cubicBezTo>
                  <a:pt x="5307905" y="6058835"/>
                  <a:pt x="5342338" y="6089433"/>
                  <a:pt x="5342338" y="6131496"/>
                </a:cubicBezTo>
                <a:cubicBezTo>
                  <a:pt x="5346172" y="6169764"/>
                  <a:pt x="5311739" y="6204197"/>
                  <a:pt x="5269637" y="6204197"/>
                </a:cubicBezTo>
                <a:close/>
                <a:moveTo>
                  <a:pt x="3999947" y="6249491"/>
                </a:moveTo>
                <a:cubicBezTo>
                  <a:pt x="3946253" y="6249491"/>
                  <a:pt x="3902452" y="6206399"/>
                  <a:pt x="3902452" y="6152704"/>
                </a:cubicBezTo>
                <a:cubicBezTo>
                  <a:pt x="3902452" y="6099717"/>
                  <a:pt x="3945545" y="6055916"/>
                  <a:pt x="3999239" y="6055207"/>
                </a:cubicBezTo>
                <a:cubicBezTo>
                  <a:pt x="4052933" y="6055207"/>
                  <a:pt x="4096735" y="6098300"/>
                  <a:pt x="4096735" y="6151996"/>
                </a:cubicBezTo>
                <a:cubicBezTo>
                  <a:pt x="4096735" y="6205690"/>
                  <a:pt x="4053643" y="6249491"/>
                  <a:pt x="3999947" y="6249491"/>
                </a:cubicBezTo>
                <a:close/>
                <a:moveTo>
                  <a:pt x="1262057" y="6307887"/>
                </a:moveTo>
                <a:cubicBezTo>
                  <a:pt x="1210487" y="6307887"/>
                  <a:pt x="1168095" y="6266198"/>
                  <a:pt x="1168095" y="6214622"/>
                </a:cubicBezTo>
                <a:cubicBezTo>
                  <a:pt x="1168095" y="6163051"/>
                  <a:pt x="1209779" y="6121366"/>
                  <a:pt x="1261350" y="6120658"/>
                </a:cubicBezTo>
                <a:cubicBezTo>
                  <a:pt x="1312927" y="6120658"/>
                  <a:pt x="1355319" y="6162341"/>
                  <a:pt x="1355319" y="6213913"/>
                </a:cubicBezTo>
                <a:cubicBezTo>
                  <a:pt x="1355319" y="6265493"/>
                  <a:pt x="1313636" y="6307887"/>
                  <a:pt x="1262057" y="6307887"/>
                </a:cubicBezTo>
                <a:close/>
                <a:moveTo>
                  <a:pt x="4375181" y="6316682"/>
                </a:moveTo>
                <a:cubicBezTo>
                  <a:pt x="4334603" y="6316682"/>
                  <a:pt x="4302000" y="6284079"/>
                  <a:pt x="4302000" y="6244229"/>
                </a:cubicBezTo>
                <a:cubicBezTo>
                  <a:pt x="4302000" y="6204376"/>
                  <a:pt x="4333877" y="6171773"/>
                  <a:pt x="4374454" y="6171048"/>
                </a:cubicBezTo>
                <a:cubicBezTo>
                  <a:pt x="4415032" y="6171048"/>
                  <a:pt x="4447635" y="6203651"/>
                  <a:pt x="4447635" y="6243502"/>
                </a:cubicBezTo>
                <a:cubicBezTo>
                  <a:pt x="4447635" y="6284079"/>
                  <a:pt x="4415032" y="6316682"/>
                  <a:pt x="4375181" y="6316682"/>
                </a:cubicBezTo>
                <a:close/>
                <a:moveTo>
                  <a:pt x="1981139" y="6352608"/>
                </a:moveTo>
                <a:cubicBezTo>
                  <a:pt x="1899187" y="6352608"/>
                  <a:pt x="1832781" y="6286904"/>
                  <a:pt x="1832073" y="6204952"/>
                </a:cubicBezTo>
                <a:cubicBezTo>
                  <a:pt x="1832073" y="6123700"/>
                  <a:pt x="1898479" y="6057296"/>
                  <a:pt x="1980438" y="6056587"/>
                </a:cubicBezTo>
                <a:cubicBezTo>
                  <a:pt x="2061681" y="6056587"/>
                  <a:pt x="2128795" y="6122292"/>
                  <a:pt x="2128795" y="6204243"/>
                </a:cubicBezTo>
                <a:cubicBezTo>
                  <a:pt x="2128795" y="6285486"/>
                  <a:pt x="2063097" y="6352608"/>
                  <a:pt x="1981139" y="6352608"/>
                </a:cubicBezTo>
                <a:close/>
                <a:moveTo>
                  <a:pt x="4747377" y="6406521"/>
                </a:moveTo>
                <a:cubicBezTo>
                  <a:pt x="4707389" y="6406521"/>
                  <a:pt x="4674556" y="6373675"/>
                  <a:pt x="4674556" y="6333701"/>
                </a:cubicBezTo>
                <a:cubicBezTo>
                  <a:pt x="4674556" y="6293726"/>
                  <a:pt x="4705972" y="6260880"/>
                  <a:pt x="4747377" y="6260880"/>
                </a:cubicBezTo>
                <a:cubicBezTo>
                  <a:pt x="4787352" y="6260880"/>
                  <a:pt x="4820184" y="6293726"/>
                  <a:pt x="4820184" y="6333701"/>
                </a:cubicBezTo>
                <a:cubicBezTo>
                  <a:pt x="4820184" y="6373675"/>
                  <a:pt x="4787352" y="6406521"/>
                  <a:pt x="4747377" y="6406521"/>
                </a:cubicBezTo>
                <a:close/>
                <a:moveTo>
                  <a:pt x="958009" y="6432315"/>
                </a:moveTo>
                <a:cubicBezTo>
                  <a:pt x="906438" y="6432315"/>
                  <a:pt x="864045" y="6390633"/>
                  <a:pt x="864045" y="6339055"/>
                </a:cubicBezTo>
                <a:cubicBezTo>
                  <a:pt x="864045" y="6287483"/>
                  <a:pt x="905730" y="6245091"/>
                  <a:pt x="957301" y="6245091"/>
                </a:cubicBezTo>
                <a:cubicBezTo>
                  <a:pt x="1008877" y="6245091"/>
                  <a:pt x="1051270" y="6286776"/>
                  <a:pt x="1051270" y="6338347"/>
                </a:cubicBezTo>
                <a:cubicBezTo>
                  <a:pt x="1051270" y="6389922"/>
                  <a:pt x="1009587" y="6432315"/>
                  <a:pt x="958009" y="6432315"/>
                </a:cubicBezTo>
                <a:close/>
                <a:moveTo>
                  <a:pt x="3426338" y="6484301"/>
                </a:moveTo>
                <a:cubicBezTo>
                  <a:pt x="3337318" y="6485010"/>
                  <a:pt x="3264550" y="6412944"/>
                  <a:pt x="3263843" y="6323223"/>
                </a:cubicBezTo>
                <a:cubicBezTo>
                  <a:pt x="3263843" y="6233493"/>
                  <a:pt x="3335901" y="6161426"/>
                  <a:pt x="3424921" y="6160725"/>
                </a:cubicBezTo>
                <a:cubicBezTo>
                  <a:pt x="3513941" y="6160017"/>
                  <a:pt x="3586708" y="6232076"/>
                  <a:pt x="3587416" y="6321806"/>
                </a:cubicBezTo>
                <a:cubicBezTo>
                  <a:pt x="3588124" y="6410825"/>
                  <a:pt x="3515358" y="6484301"/>
                  <a:pt x="3426338" y="6484301"/>
                </a:cubicBezTo>
                <a:close/>
                <a:moveTo>
                  <a:pt x="5117751" y="6495980"/>
                </a:moveTo>
                <a:cubicBezTo>
                  <a:pt x="5081374" y="6495980"/>
                  <a:pt x="5044937" y="6465676"/>
                  <a:pt x="5044937" y="6423146"/>
                </a:cubicBezTo>
                <a:cubicBezTo>
                  <a:pt x="5044937" y="6380675"/>
                  <a:pt x="5081374" y="6344229"/>
                  <a:pt x="5117751" y="6350312"/>
                </a:cubicBezTo>
                <a:cubicBezTo>
                  <a:pt x="5160210" y="6350312"/>
                  <a:pt x="5190564" y="6380675"/>
                  <a:pt x="5190564" y="6423146"/>
                </a:cubicBezTo>
                <a:cubicBezTo>
                  <a:pt x="5190564" y="6465676"/>
                  <a:pt x="5160210" y="6495980"/>
                  <a:pt x="5117751" y="6495980"/>
                </a:cubicBezTo>
                <a:close/>
                <a:moveTo>
                  <a:pt x="2399822" y="6500545"/>
                </a:moveTo>
                <a:cubicBezTo>
                  <a:pt x="2309391" y="6500545"/>
                  <a:pt x="2235207" y="6427073"/>
                  <a:pt x="2235207" y="6336646"/>
                </a:cubicBezTo>
                <a:cubicBezTo>
                  <a:pt x="2234499" y="6245508"/>
                  <a:pt x="2307976" y="6172033"/>
                  <a:pt x="2399114" y="6172033"/>
                </a:cubicBezTo>
                <a:cubicBezTo>
                  <a:pt x="2421723" y="6172033"/>
                  <a:pt x="2443317" y="6176625"/>
                  <a:pt x="2462988" y="6184925"/>
                </a:cubicBezTo>
                <a:lnTo>
                  <a:pt x="2500338" y="6210005"/>
                </a:lnTo>
                <a:lnTo>
                  <a:pt x="2478864" y="6178416"/>
                </a:lnTo>
                <a:cubicBezTo>
                  <a:pt x="2469988" y="6157729"/>
                  <a:pt x="2464999" y="6134990"/>
                  <a:pt x="2464821" y="6111144"/>
                </a:cubicBezTo>
                <a:cubicBezTo>
                  <a:pt x="2464114" y="6015770"/>
                  <a:pt x="2541830" y="5938053"/>
                  <a:pt x="2637204" y="5937353"/>
                </a:cubicBezTo>
                <a:lnTo>
                  <a:pt x="2680258" y="5945763"/>
                </a:lnTo>
                <a:lnTo>
                  <a:pt x="2676188" y="5939774"/>
                </a:lnTo>
                <a:cubicBezTo>
                  <a:pt x="2666264" y="5916591"/>
                  <a:pt x="2660699" y="5891068"/>
                  <a:pt x="2660523" y="5864222"/>
                </a:cubicBezTo>
                <a:cubicBezTo>
                  <a:pt x="2660523" y="5756836"/>
                  <a:pt x="2747419" y="5669232"/>
                  <a:pt x="2854103" y="5669232"/>
                </a:cubicBezTo>
                <a:lnTo>
                  <a:pt x="2876716" y="5673663"/>
                </a:lnTo>
                <a:lnTo>
                  <a:pt x="2875899" y="5672461"/>
                </a:lnTo>
                <a:cubicBezTo>
                  <a:pt x="2866328" y="5650042"/>
                  <a:pt x="2861030" y="5625360"/>
                  <a:pt x="2861030" y="5599396"/>
                </a:cubicBezTo>
                <a:cubicBezTo>
                  <a:pt x="2860322" y="5495539"/>
                  <a:pt x="2944392" y="5411464"/>
                  <a:pt x="3048249" y="5410763"/>
                </a:cubicBezTo>
                <a:lnTo>
                  <a:pt x="3049311" y="5410973"/>
                </a:lnTo>
                <a:lnTo>
                  <a:pt x="3037902" y="5394195"/>
                </a:lnTo>
                <a:cubicBezTo>
                  <a:pt x="3027835" y="5370692"/>
                  <a:pt x="3022184" y="5344819"/>
                  <a:pt x="3022009" y="5317618"/>
                </a:cubicBezTo>
                <a:cubicBezTo>
                  <a:pt x="3021477" y="5236016"/>
                  <a:pt x="3070623" y="5165955"/>
                  <a:pt x="3141127" y="5136019"/>
                </a:cubicBezTo>
                <a:lnTo>
                  <a:pt x="3213112" y="5121447"/>
                </a:lnTo>
                <a:lnTo>
                  <a:pt x="3194016" y="5093389"/>
                </a:lnTo>
                <a:cubicBezTo>
                  <a:pt x="3184655" y="5071574"/>
                  <a:pt x="3179400" y="5047546"/>
                  <a:pt x="3179224" y="5022285"/>
                </a:cubicBezTo>
                <a:cubicBezTo>
                  <a:pt x="3179224" y="4946521"/>
                  <a:pt x="3224923" y="4881477"/>
                  <a:pt x="3290395" y="4853396"/>
                </a:cubicBezTo>
                <a:lnTo>
                  <a:pt x="3359764" y="4838968"/>
                </a:lnTo>
                <a:lnTo>
                  <a:pt x="3356937" y="4837077"/>
                </a:lnTo>
                <a:cubicBezTo>
                  <a:pt x="3325410" y="4805817"/>
                  <a:pt x="3305805" y="4762542"/>
                  <a:pt x="3305805" y="4714856"/>
                </a:cubicBezTo>
                <a:cubicBezTo>
                  <a:pt x="3305098" y="4618775"/>
                  <a:pt x="3382814" y="4541063"/>
                  <a:pt x="3478185" y="4541063"/>
                </a:cubicBezTo>
                <a:lnTo>
                  <a:pt x="3485099" y="4542417"/>
                </a:lnTo>
                <a:lnTo>
                  <a:pt x="3447824" y="4517494"/>
                </a:lnTo>
                <a:cubicBezTo>
                  <a:pt x="3417003" y="4486940"/>
                  <a:pt x="3397928" y="4444728"/>
                  <a:pt x="3397928" y="4398096"/>
                </a:cubicBezTo>
                <a:cubicBezTo>
                  <a:pt x="3397928" y="4328154"/>
                  <a:pt x="3440055" y="4267752"/>
                  <a:pt x="3501057" y="4241919"/>
                </a:cubicBezTo>
                <a:lnTo>
                  <a:pt x="3555561" y="4230945"/>
                </a:lnTo>
                <a:lnTo>
                  <a:pt x="3505082" y="4197243"/>
                </a:lnTo>
                <a:cubicBezTo>
                  <a:pt x="3473555" y="4166069"/>
                  <a:pt x="3453952" y="4122974"/>
                  <a:pt x="3453952" y="4075282"/>
                </a:cubicBezTo>
                <a:cubicBezTo>
                  <a:pt x="3453952" y="4003221"/>
                  <a:pt x="3497269" y="3941494"/>
                  <a:pt x="3559164" y="3915133"/>
                </a:cubicBezTo>
                <a:lnTo>
                  <a:pt x="3601066" y="3906621"/>
                </a:lnTo>
                <a:lnTo>
                  <a:pt x="3591780" y="3904750"/>
                </a:lnTo>
                <a:cubicBezTo>
                  <a:pt x="3530482" y="3878885"/>
                  <a:pt x="3487165" y="3818351"/>
                  <a:pt x="3487165" y="3747896"/>
                </a:cubicBezTo>
                <a:cubicBezTo>
                  <a:pt x="3487165" y="3677432"/>
                  <a:pt x="3529685" y="3616900"/>
                  <a:pt x="3590884" y="3590733"/>
                </a:cubicBezTo>
                <a:lnTo>
                  <a:pt x="3638553" y="3580852"/>
                </a:lnTo>
                <a:lnTo>
                  <a:pt x="3595297" y="3572373"/>
                </a:lnTo>
                <a:cubicBezTo>
                  <a:pt x="3535952" y="3547558"/>
                  <a:pt x="3494095" y="3488746"/>
                  <a:pt x="3493564" y="3420391"/>
                </a:cubicBezTo>
                <a:cubicBezTo>
                  <a:pt x="3492856" y="3329269"/>
                  <a:pt x="3567040" y="3254384"/>
                  <a:pt x="3658886" y="3253676"/>
                </a:cubicBezTo>
                <a:cubicBezTo>
                  <a:pt x="3750024" y="3253676"/>
                  <a:pt x="3824909" y="3327860"/>
                  <a:pt x="3824909" y="3418983"/>
                </a:cubicBezTo>
                <a:cubicBezTo>
                  <a:pt x="3824909" y="3487333"/>
                  <a:pt x="3783181" y="3546545"/>
                  <a:pt x="3723868" y="3571853"/>
                </a:cubicBezTo>
                <a:lnTo>
                  <a:pt x="3678299" y="3581158"/>
                </a:lnTo>
                <a:lnTo>
                  <a:pt x="3723682" y="3590327"/>
                </a:lnTo>
                <a:cubicBezTo>
                  <a:pt x="3784815" y="3616191"/>
                  <a:pt x="3827865" y="3676723"/>
                  <a:pt x="3828397" y="3747187"/>
                </a:cubicBezTo>
                <a:cubicBezTo>
                  <a:pt x="3828397" y="3817642"/>
                  <a:pt x="3785478" y="3878575"/>
                  <a:pt x="3724380" y="3904635"/>
                </a:cubicBezTo>
                <a:lnTo>
                  <a:pt x="3684115" y="3912843"/>
                </a:lnTo>
                <a:lnTo>
                  <a:pt x="3693627" y="3914710"/>
                </a:lnTo>
                <a:cubicBezTo>
                  <a:pt x="3755752" y="3940741"/>
                  <a:pt x="3799601" y="4002340"/>
                  <a:pt x="3800132" y="4073868"/>
                </a:cubicBezTo>
                <a:cubicBezTo>
                  <a:pt x="3800132" y="4145406"/>
                  <a:pt x="3756815" y="4206996"/>
                  <a:pt x="3694919" y="4233624"/>
                </a:cubicBezTo>
                <a:lnTo>
                  <a:pt x="3638655" y="4245389"/>
                </a:lnTo>
                <a:lnTo>
                  <a:pt x="3687241" y="4277994"/>
                </a:lnTo>
                <a:cubicBezTo>
                  <a:pt x="3717973" y="4308548"/>
                  <a:pt x="3737049" y="4350765"/>
                  <a:pt x="3737049" y="4397395"/>
                </a:cubicBezTo>
                <a:cubicBezTo>
                  <a:pt x="3737049" y="4490650"/>
                  <a:pt x="3661455" y="4566952"/>
                  <a:pt x="3568192" y="4566952"/>
                </a:cubicBezTo>
                <a:lnTo>
                  <a:pt x="3562966" y="4565909"/>
                </a:lnTo>
                <a:lnTo>
                  <a:pt x="3600850" y="4591221"/>
                </a:lnTo>
                <a:cubicBezTo>
                  <a:pt x="3632376" y="4622488"/>
                  <a:pt x="3651980" y="4665759"/>
                  <a:pt x="3651980" y="4713442"/>
                </a:cubicBezTo>
                <a:cubicBezTo>
                  <a:pt x="3652511" y="4784976"/>
                  <a:pt x="3608929" y="4846575"/>
                  <a:pt x="3546870" y="4873200"/>
                </a:cubicBezTo>
                <a:lnTo>
                  <a:pt x="3483492" y="4886428"/>
                </a:lnTo>
                <a:lnTo>
                  <a:pt x="3491228" y="4891595"/>
                </a:lnTo>
                <a:cubicBezTo>
                  <a:pt x="3524521" y="4924620"/>
                  <a:pt x="3545187" y="4970365"/>
                  <a:pt x="3545187" y="5020876"/>
                </a:cubicBezTo>
                <a:cubicBezTo>
                  <a:pt x="3545717" y="5096652"/>
                  <a:pt x="3499749" y="5162089"/>
                  <a:pt x="3434112" y="5190075"/>
                </a:cubicBezTo>
                <a:lnTo>
                  <a:pt x="3374016" y="5202313"/>
                </a:lnTo>
                <a:lnTo>
                  <a:pt x="3399316" y="5239626"/>
                </a:lnTo>
                <a:cubicBezTo>
                  <a:pt x="3409295" y="5263124"/>
                  <a:pt x="3414815" y="5289000"/>
                  <a:pt x="3414815" y="5316204"/>
                </a:cubicBezTo>
                <a:cubicBezTo>
                  <a:pt x="3415523" y="5424299"/>
                  <a:pt x="3327920" y="5513309"/>
                  <a:pt x="3219121" y="5513309"/>
                </a:cubicBezTo>
                <a:lnTo>
                  <a:pt x="3213113" y="5512131"/>
                </a:lnTo>
                <a:lnTo>
                  <a:pt x="3221715" y="5524812"/>
                </a:lnTo>
                <a:cubicBezTo>
                  <a:pt x="3231319" y="5547290"/>
                  <a:pt x="3236706" y="5572017"/>
                  <a:pt x="3236884" y="5597980"/>
                </a:cubicBezTo>
                <a:cubicBezTo>
                  <a:pt x="3237592" y="5701838"/>
                  <a:pt x="3153515" y="5785909"/>
                  <a:pt x="3049665" y="5786617"/>
                </a:cubicBezTo>
                <a:lnTo>
                  <a:pt x="3030806" y="5782846"/>
                </a:lnTo>
                <a:lnTo>
                  <a:pt x="3033734" y="5787159"/>
                </a:lnTo>
                <a:cubicBezTo>
                  <a:pt x="3043624" y="5810397"/>
                  <a:pt x="3049099" y="5835963"/>
                  <a:pt x="3049099" y="5862812"/>
                </a:cubicBezTo>
                <a:cubicBezTo>
                  <a:pt x="3049099" y="5970204"/>
                  <a:pt x="2962904" y="6057808"/>
                  <a:pt x="2855519" y="6057808"/>
                </a:cubicBezTo>
                <a:lnTo>
                  <a:pt x="2798141" y="6046322"/>
                </a:lnTo>
                <a:lnTo>
                  <a:pt x="2811002" y="6109729"/>
                </a:lnTo>
                <a:cubicBezTo>
                  <a:pt x="2811710" y="6205107"/>
                  <a:pt x="2733993" y="6283526"/>
                  <a:pt x="2638619" y="6283526"/>
                </a:cubicBezTo>
                <a:cubicBezTo>
                  <a:pt x="2614774" y="6283703"/>
                  <a:pt x="2592034" y="6278980"/>
                  <a:pt x="2571325" y="6270302"/>
                </a:cubicBezTo>
                <a:lnTo>
                  <a:pt x="2531170" y="6243387"/>
                </a:lnTo>
                <a:lnTo>
                  <a:pt x="2550725" y="6272177"/>
                </a:lnTo>
                <a:cubicBezTo>
                  <a:pt x="2559092" y="6291783"/>
                  <a:pt x="2563729" y="6313330"/>
                  <a:pt x="2563729" y="6335936"/>
                </a:cubicBezTo>
                <a:cubicBezTo>
                  <a:pt x="2563729" y="6426370"/>
                  <a:pt x="2490252" y="6500545"/>
                  <a:pt x="2399822" y="6500545"/>
                </a:cubicBezTo>
                <a:close/>
                <a:moveTo>
                  <a:pt x="3812095" y="6527635"/>
                </a:moveTo>
                <a:cubicBezTo>
                  <a:pt x="3754163" y="6528344"/>
                  <a:pt x="3706118" y="6481007"/>
                  <a:pt x="3706118" y="6422367"/>
                </a:cubicBezTo>
                <a:cubicBezTo>
                  <a:pt x="3706118" y="6363728"/>
                  <a:pt x="3753455" y="6316391"/>
                  <a:pt x="3811387" y="6316391"/>
                </a:cubicBezTo>
                <a:cubicBezTo>
                  <a:pt x="3869325" y="6316391"/>
                  <a:pt x="3917363" y="6363019"/>
                  <a:pt x="3917363" y="6421660"/>
                </a:cubicBezTo>
                <a:cubicBezTo>
                  <a:pt x="3918071" y="6479598"/>
                  <a:pt x="3870734" y="6527635"/>
                  <a:pt x="3812095" y="6527635"/>
                </a:cubicBezTo>
                <a:close/>
                <a:moveTo>
                  <a:pt x="1709037" y="6537172"/>
                </a:moveTo>
                <a:cubicBezTo>
                  <a:pt x="1627085" y="6537172"/>
                  <a:pt x="1560679" y="6471475"/>
                  <a:pt x="1559971" y="6389518"/>
                </a:cubicBezTo>
                <a:cubicBezTo>
                  <a:pt x="1559971" y="6307568"/>
                  <a:pt x="1626377" y="6241158"/>
                  <a:pt x="1707627" y="6240451"/>
                </a:cubicBezTo>
                <a:cubicBezTo>
                  <a:pt x="1789579" y="6240451"/>
                  <a:pt x="1856693" y="6306159"/>
                  <a:pt x="1856693" y="6388106"/>
                </a:cubicBezTo>
                <a:cubicBezTo>
                  <a:pt x="1856693" y="6470057"/>
                  <a:pt x="1790995" y="6537172"/>
                  <a:pt x="1709037" y="6537172"/>
                </a:cubicBezTo>
                <a:close/>
                <a:moveTo>
                  <a:pt x="642451" y="6554755"/>
                </a:moveTo>
                <a:cubicBezTo>
                  <a:pt x="572509" y="6555458"/>
                  <a:pt x="515987" y="6498940"/>
                  <a:pt x="515987" y="6429700"/>
                </a:cubicBezTo>
                <a:cubicBezTo>
                  <a:pt x="515279" y="6360462"/>
                  <a:pt x="571801" y="6303948"/>
                  <a:pt x="641042" y="6303240"/>
                </a:cubicBezTo>
                <a:cubicBezTo>
                  <a:pt x="710983" y="6302531"/>
                  <a:pt x="767505" y="6359052"/>
                  <a:pt x="767505" y="6428285"/>
                </a:cubicBezTo>
                <a:cubicBezTo>
                  <a:pt x="768206" y="6498232"/>
                  <a:pt x="711691" y="6554755"/>
                  <a:pt x="642451" y="6554755"/>
                </a:cubicBezTo>
                <a:close/>
                <a:moveTo>
                  <a:pt x="4194588" y="6591200"/>
                </a:moveTo>
                <a:cubicBezTo>
                  <a:pt x="4154736" y="6591200"/>
                  <a:pt x="4121407" y="6558597"/>
                  <a:pt x="4121407" y="6518745"/>
                </a:cubicBezTo>
                <a:cubicBezTo>
                  <a:pt x="4121407" y="6478169"/>
                  <a:pt x="4154010" y="6445565"/>
                  <a:pt x="4193861" y="6445565"/>
                </a:cubicBezTo>
                <a:cubicBezTo>
                  <a:pt x="4234439" y="6445565"/>
                  <a:pt x="4267042" y="6478169"/>
                  <a:pt x="4267042" y="6518019"/>
                </a:cubicBezTo>
                <a:cubicBezTo>
                  <a:pt x="4267042" y="6558597"/>
                  <a:pt x="4235157" y="6591200"/>
                  <a:pt x="4194588" y="6591200"/>
                </a:cubicBezTo>
                <a:close/>
                <a:moveTo>
                  <a:pt x="317955" y="6594472"/>
                </a:moveTo>
                <a:cubicBezTo>
                  <a:pt x="255784" y="6594472"/>
                  <a:pt x="205623" y="6545019"/>
                  <a:pt x="205623" y="6482847"/>
                </a:cubicBezTo>
                <a:cubicBezTo>
                  <a:pt x="204915" y="6421384"/>
                  <a:pt x="255075" y="6370516"/>
                  <a:pt x="317247" y="6370516"/>
                </a:cubicBezTo>
                <a:cubicBezTo>
                  <a:pt x="379418" y="6369810"/>
                  <a:pt x="429578" y="6419968"/>
                  <a:pt x="429578" y="6482138"/>
                </a:cubicBezTo>
                <a:cubicBezTo>
                  <a:pt x="429578" y="6543601"/>
                  <a:pt x="380126" y="6594472"/>
                  <a:pt x="317955" y="6594472"/>
                </a:cubicBezTo>
                <a:close/>
                <a:moveTo>
                  <a:pt x="0" y="6602983"/>
                </a:moveTo>
                <a:lnTo>
                  <a:pt x="0" y="6395926"/>
                </a:lnTo>
                <a:lnTo>
                  <a:pt x="30295" y="6401722"/>
                </a:lnTo>
                <a:cubicBezTo>
                  <a:pt x="68348" y="6417483"/>
                  <a:pt x="94975" y="6455104"/>
                  <a:pt x="94975" y="6499084"/>
                </a:cubicBezTo>
                <a:cubicBezTo>
                  <a:pt x="95502" y="6542540"/>
                  <a:pt x="69007" y="6580435"/>
                  <a:pt x="30989" y="6596667"/>
                </a:cubicBezTo>
                <a:close/>
                <a:moveTo>
                  <a:pt x="2809415" y="6611719"/>
                </a:moveTo>
                <a:cubicBezTo>
                  <a:pt x="2724638" y="6611719"/>
                  <a:pt x="2654697" y="6543179"/>
                  <a:pt x="2654697" y="6457689"/>
                </a:cubicBezTo>
                <a:cubicBezTo>
                  <a:pt x="2653989" y="6372203"/>
                  <a:pt x="2722521" y="6302974"/>
                  <a:pt x="2808707" y="6302974"/>
                </a:cubicBezTo>
                <a:cubicBezTo>
                  <a:pt x="2829903" y="6302974"/>
                  <a:pt x="2850171" y="6307255"/>
                  <a:pt x="2868651" y="6315017"/>
                </a:cubicBezTo>
                <a:lnTo>
                  <a:pt x="2909063" y="6342039"/>
                </a:lnTo>
                <a:lnTo>
                  <a:pt x="2872584" y="6288313"/>
                </a:lnTo>
                <a:cubicBezTo>
                  <a:pt x="2863544" y="6267196"/>
                  <a:pt x="2858466" y="6243968"/>
                  <a:pt x="2858291" y="6219594"/>
                </a:cubicBezTo>
                <a:cubicBezTo>
                  <a:pt x="2857584" y="6121395"/>
                  <a:pt x="2936710" y="6042271"/>
                  <a:pt x="3034206" y="6042271"/>
                </a:cubicBezTo>
                <a:lnTo>
                  <a:pt x="3077479" y="6050742"/>
                </a:lnTo>
                <a:lnTo>
                  <a:pt x="3067919" y="6036652"/>
                </a:lnTo>
                <a:cubicBezTo>
                  <a:pt x="3058317" y="6014177"/>
                  <a:pt x="3052930" y="5989452"/>
                  <a:pt x="3052755" y="5963487"/>
                </a:cubicBezTo>
                <a:cubicBezTo>
                  <a:pt x="3052047" y="5859631"/>
                  <a:pt x="3136117" y="5774851"/>
                  <a:pt x="3239974" y="5774851"/>
                </a:cubicBezTo>
                <a:lnTo>
                  <a:pt x="3262349" y="5779233"/>
                </a:lnTo>
                <a:lnTo>
                  <a:pt x="3252386" y="5764547"/>
                </a:lnTo>
                <a:cubicBezTo>
                  <a:pt x="3242783" y="5742072"/>
                  <a:pt x="3237396" y="5717345"/>
                  <a:pt x="3237221" y="5691380"/>
                </a:cubicBezTo>
                <a:cubicBezTo>
                  <a:pt x="3236513" y="5587525"/>
                  <a:pt x="3320583" y="5502744"/>
                  <a:pt x="3424440" y="5502744"/>
                </a:cubicBezTo>
                <a:lnTo>
                  <a:pt x="3449879" y="5507836"/>
                </a:lnTo>
                <a:lnTo>
                  <a:pt x="3426219" y="5472952"/>
                </a:lnTo>
                <a:cubicBezTo>
                  <a:pt x="3417366" y="5452155"/>
                  <a:pt x="3412465" y="5429282"/>
                  <a:pt x="3412465" y="5405261"/>
                </a:cubicBezTo>
                <a:cubicBezTo>
                  <a:pt x="3411757" y="5309172"/>
                  <a:pt x="3489474" y="5230753"/>
                  <a:pt x="3585553" y="5230046"/>
                </a:cubicBezTo>
                <a:lnTo>
                  <a:pt x="3608013" y="5234538"/>
                </a:lnTo>
                <a:lnTo>
                  <a:pt x="3601178" y="5229950"/>
                </a:lnTo>
                <a:cubicBezTo>
                  <a:pt x="3569563" y="5198515"/>
                  <a:pt x="3549959" y="5155066"/>
                  <a:pt x="3549959" y="5107029"/>
                </a:cubicBezTo>
                <a:cubicBezTo>
                  <a:pt x="3549251" y="5010937"/>
                  <a:pt x="3626968" y="4932514"/>
                  <a:pt x="3723755" y="4931805"/>
                </a:cubicBezTo>
                <a:lnTo>
                  <a:pt x="3748379" y="4936760"/>
                </a:lnTo>
                <a:lnTo>
                  <a:pt x="3718249" y="4916569"/>
                </a:lnTo>
                <a:cubicBezTo>
                  <a:pt x="3687782" y="4886272"/>
                  <a:pt x="3668883" y="4844414"/>
                  <a:pt x="3668529" y="4798134"/>
                </a:cubicBezTo>
                <a:cubicBezTo>
                  <a:pt x="3668529" y="4704877"/>
                  <a:pt x="3743422" y="4629985"/>
                  <a:pt x="3835969" y="4629284"/>
                </a:cubicBezTo>
                <a:cubicBezTo>
                  <a:pt x="3929232" y="4628575"/>
                  <a:pt x="4004824" y="4704167"/>
                  <a:pt x="4004824" y="4796726"/>
                </a:cubicBezTo>
                <a:cubicBezTo>
                  <a:pt x="4005533" y="4889984"/>
                  <a:pt x="3929933" y="4965582"/>
                  <a:pt x="3837386" y="4965582"/>
                </a:cubicBezTo>
                <a:lnTo>
                  <a:pt x="3814820" y="4961058"/>
                </a:lnTo>
                <a:lnTo>
                  <a:pt x="3847038" y="4982675"/>
                </a:lnTo>
                <a:cubicBezTo>
                  <a:pt x="3878655" y="5014114"/>
                  <a:pt x="3898261" y="5057565"/>
                  <a:pt x="3898261" y="5105609"/>
                </a:cubicBezTo>
                <a:cubicBezTo>
                  <a:pt x="3898261" y="5202397"/>
                  <a:pt x="3820544" y="5280821"/>
                  <a:pt x="3724457" y="5280821"/>
                </a:cubicBezTo>
                <a:lnTo>
                  <a:pt x="3702792" y="5276460"/>
                </a:lnTo>
                <a:lnTo>
                  <a:pt x="3709455" y="5280914"/>
                </a:lnTo>
                <a:cubicBezTo>
                  <a:pt x="3741161" y="5312354"/>
                  <a:pt x="3760767" y="5355804"/>
                  <a:pt x="3760767" y="5403845"/>
                </a:cubicBezTo>
                <a:cubicBezTo>
                  <a:pt x="3760767" y="5500635"/>
                  <a:pt x="3683050" y="5579062"/>
                  <a:pt x="3586963" y="5579062"/>
                </a:cubicBezTo>
                <a:lnTo>
                  <a:pt x="3569818" y="5575612"/>
                </a:lnTo>
                <a:lnTo>
                  <a:pt x="3597906" y="5616900"/>
                </a:lnTo>
                <a:cubicBezTo>
                  <a:pt x="3607510" y="5639318"/>
                  <a:pt x="3612897" y="5664003"/>
                  <a:pt x="3613075" y="5689965"/>
                </a:cubicBezTo>
                <a:cubicBezTo>
                  <a:pt x="3613783" y="5793820"/>
                  <a:pt x="3529706" y="5877898"/>
                  <a:pt x="3425856" y="5878600"/>
                </a:cubicBezTo>
                <a:lnTo>
                  <a:pt x="3403809" y="5874278"/>
                </a:lnTo>
                <a:lnTo>
                  <a:pt x="3413739" y="5888904"/>
                </a:lnTo>
                <a:cubicBezTo>
                  <a:pt x="3423311" y="5911379"/>
                  <a:pt x="3428609" y="5936107"/>
                  <a:pt x="3428609" y="5962072"/>
                </a:cubicBezTo>
                <a:cubicBezTo>
                  <a:pt x="3429317" y="6065929"/>
                  <a:pt x="3345240" y="6150705"/>
                  <a:pt x="3241390" y="6150705"/>
                </a:cubicBezTo>
                <a:lnTo>
                  <a:pt x="3191769" y="6140976"/>
                </a:lnTo>
                <a:lnTo>
                  <a:pt x="3197540" y="6149466"/>
                </a:lnTo>
                <a:cubicBezTo>
                  <a:pt x="3206547" y="6170585"/>
                  <a:pt x="3211537" y="6193812"/>
                  <a:pt x="3211537" y="6218185"/>
                </a:cubicBezTo>
                <a:cubicBezTo>
                  <a:pt x="3212245" y="6315683"/>
                  <a:pt x="3133112" y="6395516"/>
                  <a:pt x="3035615" y="6395516"/>
                </a:cubicBezTo>
                <a:cubicBezTo>
                  <a:pt x="3011241" y="6395692"/>
                  <a:pt x="2988015" y="6390880"/>
                  <a:pt x="2966876" y="6382037"/>
                </a:cubicBezTo>
                <a:lnTo>
                  <a:pt x="2919475" y="6350290"/>
                </a:lnTo>
                <a:lnTo>
                  <a:pt x="2951179" y="6396858"/>
                </a:lnTo>
                <a:cubicBezTo>
                  <a:pt x="2959061" y="6415304"/>
                  <a:pt x="2963432" y="6435616"/>
                  <a:pt x="2963432" y="6456987"/>
                </a:cubicBezTo>
                <a:cubicBezTo>
                  <a:pt x="2963432" y="6541764"/>
                  <a:pt x="2894901" y="6611719"/>
                  <a:pt x="2809415" y="6611719"/>
                </a:cubicBezTo>
                <a:close/>
                <a:moveTo>
                  <a:pt x="4573566" y="6685393"/>
                </a:moveTo>
                <a:cubicBezTo>
                  <a:pt x="4533355" y="6685393"/>
                  <a:pt x="4500747" y="6652785"/>
                  <a:pt x="4500747" y="6612573"/>
                </a:cubicBezTo>
                <a:cubicBezTo>
                  <a:pt x="4500747" y="6572358"/>
                  <a:pt x="4533355" y="6539751"/>
                  <a:pt x="4573566" y="6539751"/>
                </a:cubicBezTo>
                <a:cubicBezTo>
                  <a:pt x="4613777" y="6539751"/>
                  <a:pt x="4646386" y="6572358"/>
                  <a:pt x="4646386" y="6612573"/>
                </a:cubicBezTo>
                <a:cubicBezTo>
                  <a:pt x="4646386" y="6652785"/>
                  <a:pt x="4613777" y="6685393"/>
                  <a:pt x="4573566" y="6685393"/>
                </a:cubicBezTo>
                <a:close/>
                <a:moveTo>
                  <a:pt x="2142359" y="6702651"/>
                </a:moveTo>
                <a:cubicBezTo>
                  <a:pt x="2052632" y="6703359"/>
                  <a:pt x="1979865" y="6631291"/>
                  <a:pt x="1979865" y="6541555"/>
                </a:cubicBezTo>
                <a:cubicBezTo>
                  <a:pt x="1979865" y="6452533"/>
                  <a:pt x="2051931" y="6379760"/>
                  <a:pt x="2140943" y="6379060"/>
                </a:cubicBezTo>
                <a:cubicBezTo>
                  <a:pt x="2230671" y="6378350"/>
                  <a:pt x="2302730" y="6450415"/>
                  <a:pt x="2303438" y="6540139"/>
                </a:cubicBezTo>
                <a:cubicBezTo>
                  <a:pt x="2304145" y="6629176"/>
                  <a:pt x="2232081" y="6702651"/>
                  <a:pt x="2142359" y="6702651"/>
                </a:cubicBezTo>
                <a:close/>
                <a:moveTo>
                  <a:pt x="1419410" y="6703796"/>
                </a:moveTo>
                <a:cubicBezTo>
                  <a:pt x="1331807" y="6703796"/>
                  <a:pt x="1259741" y="6632439"/>
                  <a:pt x="1259741" y="6544821"/>
                </a:cubicBezTo>
                <a:cubicBezTo>
                  <a:pt x="1259741" y="6456509"/>
                  <a:pt x="1330390" y="6385151"/>
                  <a:pt x="1418702" y="6385151"/>
                </a:cubicBezTo>
                <a:cubicBezTo>
                  <a:pt x="1506305" y="6385151"/>
                  <a:pt x="1578369" y="6456509"/>
                  <a:pt x="1578369" y="6544112"/>
                </a:cubicBezTo>
                <a:cubicBezTo>
                  <a:pt x="1578369" y="6631730"/>
                  <a:pt x="1507013" y="6703796"/>
                  <a:pt x="1419410" y="6703796"/>
                </a:cubicBezTo>
                <a:close/>
                <a:moveTo>
                  <a:pt x="3211370" y="6707954"/>
                </a:moveTo>
                <a:cubicBezTo>
                  <a:pt x="3135778" y="6708664"/>
                  <a:pt x="3073607" y="6647193"/>
                  <a:pt x="3073607" y="6571591"/>
                </a:cubicBezTo>
                <a:cubicBezTo>
                  <a:pt x="3073607" y="6495998"/>
                  <a:pt x="3134362" y="6434535"/>
                  <a:pt x="3210668" y="6433826"/>
                </a:cubicBezTo>
                <a:cubicBezTo>
                  <a:pt x="3285553" y="6433118"/>
                  <a:pt x="3347724" y="6494582"/>
                  <a:pt x="3347724" y="6570182"/>
                </a:cubicBezTo>
                <a:cubicBezTo>
                  <a:pt x="3347724" y="6645784"/>
                  <a:pt x="3286968" y="6707954"/>
                  <a:pt x="3211370" y="6707954"/>
                </a:cubicBezTo>
                <a:close/>
                <a:moveTo>
                  <a:pt x="4950232" y="6778374"/>
                </a:moveTo>
                <a:cubicBezTo>
                  <a:pt x="4909286" y="6778374"/>
                  <a:pt x="4877418" y="6744224"/>
                  <a:pt x="4877418" y="6705537"/>
                </a:cubicBezTo>
                <a:cubicBezTo>
                  <a:pt x="4877418" y="6666850"/>
                  <a:pt x="4909286" y="6632724"/>
                  <a:pt x="4950232" y="6632724"/>
                </a:cubicBezTo>
                <a:cubicBezTo>
                  <a:pt x="4991201" y="6632724"/>
                  <a:pt x="5023069" y="6664590"/>
                  <a:pt x="5023069" y="6705537"/>
                </a:cubicBezTo>
                <a:cubicBezTo>
                  <a:pt x="5023069" y="6746506"/>
                  <a:pt x="4988920" y="6778374"/>
                  <a:pt x="4950232" y="6778374"/>
                </a:cubicBezTo>
                <a:close/>
                <a:moveTo>
                  <a:pt x="3606328" y="6783767"/>
                </a:moveTo>
                <a:cubicBezTo>
                  <a:pt x="3548398" y="6783767"/>
                  <a:pt x="3500354" y="6737140"/>
                  <a:pt x="3500354" y="6678501"/>
                </a:cubicBezTo>
                <a:cubicBezTo>
                  <a:pt x="3500354" y="6619863"/>
                  <a:pt x="3547689" y="6572519"/>
                  <a:pt x="3605619" y="6572519"/>
                </a:cubicBezTo>
                <a:cubicBezTo>
                  <a:pt x="3664259" y="6572519"/>
                  <a:pt x="3711594" y="6619157"/>
                  <a:pt x="3711594" y="6677794"/>
                </a:cubicBezTo>
                <a:cubicBezTo>
                  <a:pt x="3711594" y="6735731"/>
                  <a:pt x="3664967" y="6783767"/>
                  <a:pt x="3606328" y="6783767"/>
                </a:cubicBezTo>
                <a:close/>
                <a:moveTo>
                  <a:pt x="1116919" y="6813582"/>
                </a:moveTo>
                <a:cubicBezTo>
                  <a:pt x="1038501" y="6813582"/>
                  <a:pt x="974210" y="6750709"/>
                  <a:pt x="974210" y="6672284"/>
                </a:cubicBezTo>
                <a:cubicBezTo>
                  <a:pt x="974210" y="6594558"/>
                  <a:pt x="1037090" y="6530265"/>
                  <a:pt x="1115509" y="6529556"/>
                </a:cubicBezTo>
                <a:cubicBezTo>
                  <a:pt x="1193927" y="6528846"/>
                  <a:pt x="1258223" y="6592432"/>
                  <a:pt x="1258223" y="6670873"/>
                </a:cubicBezTo>
                <a:cubicBezTo>
                  <a:pt x="1258223" y="6749293"/>
                  <a:pt x="1195343" y="6813582"/>
                  <a:pt x="1116919" y="6813582"/>
                </a:cubicBezTo>
                <a:close/>
                <a:moveTo>
                  <a:pt x="2565027" y="6835173"/>
                </a:moveTo>
                <a:cubicBezTo>
                  <a:pt x="2477417" y="6835173"/>
                  <a:pt x="2406067" y="6765225"/>
                  <a:pt x="2406067" y="6677624"/>
                </a:cubicBezTo>
                <a:cubicBezTo>
                  <a:pt x="2405359" y="6590009"/>
                  <a:pt x="2476008" y="6519359"/>
                  <a:pt x="2564319" y="6518651"/>
                </a:cubicBezTo>
                <a:cubicBezTo>
                  <a:pt x="2651221" y="6518651"/>
                  <a:pt x="2721868" y="6588594"/>
                  <a:pt x="2722570" y="6676216"/>
                </a:cubicBezTo>
                <a:cubicBezTo>
                  <a:pt x="2722570" y="6763818"/>
                  <a:pt x="2652630" y="6835173"/>
                  <a:pt x="2565027" y="6835173"/>
                </a:cubicBezTo>
                <a:close/>
                <a:moveTo>
                  <a:pt x="3997274" y="6854905"/>
                </a:moveTo>
                <a:cubicBezTo>
                  <a:pt x="3957025" y="6854905"/>
                  <a:pt x="3923884" y="6822952"/>
                  <a:pt x="3923884" y="6782706"/>
                </a:cubicBezTo>
                <a:cubicBezTo>
                  <a:pt x="3923884" y="6742459"/>
                  <a:pt x="3957025" y="6709320"/>
                  <a:pt x="3996087" y="6708133"/>
                </a:cubicBezTo>
                <a:cubicBezTo>
                  <a:pt x="4036335" y="6708133"/>
                  <a:pt x="4069476" y="6741273"/>
                  <a:pt x="4069476" y="6781518"/>
                </a:cubicBezTo>
                <a:cubicBezTo>
                  <a:pt x="4070663" y="6821765"/>
                  <a:pt x="4037522" y="6854905"/>
                  <a:pt x="3997274" y="6854905"/>
                </a:cubicBezTo>
                <a:close/>
                <a:moveTo>
                  <a:pt x="5324485" y="6869480"/>
                </a:moveTo>
                <a:cubicBezTo>
                  <a:pt x="5282862" y="6869480"/>
                  <a:pt x="5251671" y="6838186"/>
                  <a:pt x="5251671" y="6796564"/>
                </a:cubicBezTo>
                <a:cubicBezTo>
                  <a:pt x="5251671" y="6754941"/>
                  <a:pt x="5282862" y="6723750"/>
                  <a:pt x="5324485" y="6723750"/>
                </a:cubicBezTo>
                <a:cubicBezTo>
                  <a:pt x="5366107" y="6723750"/>
                  <a:pt x="5397402" y="6754941"/>
                  <a:pt x="5397402" y="6796564"/>
                </a:cubicBezTo>
                <a:cubicBezTo>
                  <a:pt x="5397402" y="6838186"/>
                  <a:pt x="5366107" y="6869480"/>
                  <a:pt x="5324485" y="6869480"/>
                </a:cubicBezTo>
                <a:close/>
                <a:moveTo>
                  <a:pt x="1867847" y="6884498"/>
                </a:moveTo>
                <a:cubicBezTo>
                  <a:pt x="1776711" y="6884498"/>
                  <a:pt x="1703237" y="6811020"/>
                  <a:pt x="1702529" y="6720593"/>
                </a:cubicBezTo>
                <a:cubicBezTo>
                  <a:pt x="1702529" y="6629459"/>
                  <a:pt x="1775295" y="6555970"/>
                  <a:pt x="1867138" y="6555970"/>
                </a:cubicBezTo>
                <a:cubicBezTo>
                  <a:pt x="1957567" y="6555970"/>
                  <a:pt x="2031749" y="6629459"/>
                  <a:pt x="2031749" y="6719884"/>
                </a:cubicBezTo>
                <a:cubicBezTo>
                  <a:pt x="2031749" y="6810318"/>
                  <a:pt x="1958275" y="6884498"/>
                  <a:pt x="1867847" y="6884498"/>
                </a:cubicBezTo>
                <a:close/>
                <a:moveTo>
                  <a:pt x="2978008" y="6936670"/>
                </a:moveTo>
                <a:cubicBezTo>
                  <a:pt x="2903826" y="6936670"/>
                  <a:pt x="2843071" y="6876614"/>
                  <a:pt x="2843071" y="6802431"/>
                </a:cubicBezTo>
                <a:cubicBezTo>
                  <a:pt x="2843071" y="6728246"/>
                  <a:pt x="2902417" y="6667491"/>
                  <a:pt x="2976598" y="6667491"/>
                </a:cubicBezTo>
                <a:cubicBezTo>
                  <a:pt x="3050780" y="6667491"/>
                  <a:pt x="3111535" y="6727545"/>
                  <a:pt x="3111535" y="6801723"/>
                </a:cubicBezTo>
                <a:cubicBezTo>
                  <a:pt x="3112243" y="6875906"/>
                  <a:pt x="3052189" y="6936670"/>
                  <a:pt x="2978008" y="6936670"/>
                </a:cubicBezTo>
                <a:close/>
                <a:moveTo>
                  <a:pt x="4383297" y="6953626"/>
                </a:moveTo>
                <a:cubicBezTo>
                  <a:pt x="4344464" y="6953626"/>
                  <a:pt x="4310471" y="6922068"/>
                  <a:pt x="4310471" y="6880800"/>
                </a:cubicBezTo>
                <a:cubicBezTo>
                  <a:pt x="4310471" y="6839534"/>
                  <a:pt x="4342031" y="6807976"/>
                  <a:pt x="4383297" y="6807976"/>
                </a:cubicBezTo>
                <a:cubicBezTo>
                  <a:pt x="4424564" y="6807976"/>
                  <a:pt x="4456124" y="6841968"/>
                  <a:pt x="4456124" y="6880800"/>
                </a:cubicBezTo>
                <a:cubicBezTo>
                  <a:pt x="4456124" y="6922068"/>
                  <a:pt x="4424564" y="6953626"/>
                  <a:pt x="4383297" y="6953626"/>
                </a:cubicBezTo>
                <a:close/>
                <a:moveTo>
                  <a:pt x="243112" y="6994526"/>
                </a:moveTo>
                <a:lnTo>
                  <a:pt x="62124" y="6994526"/>
                </a:lnTo>
                <a:lnTo>
                  <a:pt x="37374" y="6977930"/>
                </a:lnTo>
                <a:cubicBezTo>
                  <a:pt x="22582" y="6963226"/>
                  <a:pt x="10594" y="6945718"/>
                  <a:pt x="2260" y="6926278"/>
                </a:cubicBezTo>
                <a:lnTo>
                  <a:pt x="0" y="6915444"/>
                </a:lnTo>
                <a:lnTo>
                  <a:pt x="0" y="6808507"/>
                </a:lnTo>
                <a:lnTo>
                  <a:pt x="1851" y="6799275"/>
                </a:lnTo>
                <a:cubicBezTo>
                  <a:pt x="26556" y="6740461"/>
                  <a:pt x="84444" y="6699131"/>
                  <a:pt x="152272" y="6699131"/>
                </a:cubicBezTo>
                <a:cubicBezTo>
                  <a:pt x="241993" y="6699131"/>
                  <a:pt x="315469" y="6771899"/>
                  <a:pt x="315469" y="6861626"/>
                </a:cubicBezTo>
                <a:cubicBezTo>
                  <a:pt x="315469" y="6906840"/>
                  <a:pt x="297454" y="6947816"/>
                  <a:pt x="268135" y="6977488"/>
                </a:cubicBezTo>
                <a:close/>
                <a:moveTo>
                  <a:pt x="487472" y="6994526"/>
                </a:moveTo>
                <a:lnTo>
                  <a:pt x="473965" y="6994526"/>
                </a:lnTo>
                <a:lnTo>
                  <a:pt x="415488" y="6982688"/>
                </a:lnTo>
                <a:cubicBezTo>
                  <a:pt x="356142" y="6957552"/>
                  <a:pt x="314280" y="6898737"/>
                  <a:pt x="313750" y="6830384"/>
                </a:cubicBezTo>
                <a:cubicBezTo>
                  <a:pt x="313750" y="6738538"/>
                  <a:pt x="387225" y="6664357"/>
                  <a:pt x="478363" y="6665065"/>
                </a:cubicBezTo>
                <a:cubicBezTo>
                  <a:pt x="546715" y="6664533"/>
                  <a:pt x="605931" y="6706129"/>
                  <a:pt x="631266" y="6765407"/>
                </a:cubicBezTo>
                <a:lnTo>
                  <a:pt x="631365" y="6765897"/>
                </a:lnTo>
                <a:lnTo>
                  <a:pt x="644531" y="6700129"/>
                </a:lnTo>
                <a:cubicBezTo>
                  <a:pt x="670195" y="6638862"/>
                  <a:pt x="730337" y="6595664"/>
                  <a:pt x="800815" y="6596193"/>
                </a:cubicBezTo>
                <a:cubicBezTo>
                  <a:pt x="894779" y="6595486"/>
                  <a:pt x="971789" y="6671802"/>
                  <a:pt x="971789" y="6765765"/>
                </a:cubicBezTo>
                <a:cubicBezTo>
                  <a:pt x="972490" y="6859729"/>
                  <a:pt x="896189" y="6936029"/>
                  <a:pt x="802225" y="6936738"/>
                </a:cubicBezTo>
                <a:cubicBezTo>
                  <a:pt x="731752" y="6936738"/>
                  <a:pt x="670815" y="6893818"/>
                  <a:pt x="644751" y="6832718"/>
                </a:cubicBezTo>
                <a:lnTo>
                  <a:pt x="644264" y="6830328"/>
                </a:lnTo>
                <a:lnTo>
                  <a:pt x="631785" y="6894066"/>
                </a:lnTo>
                <a:cubicBezTo>
                  <a:pt x="613157" y="6938700"/>
                  <a:pt x="575416" y="6973554"/>
                  <a:pt x="528874" y="6988191"/>
                </a:cubicBezTo>
                <a:close/>
                <a:moveTo>
                  <a:pt x="1089823" y="6994526"/>
                </a:moveTo>
                <a:lnTo>
                  <a:pt x="832853" y="6994526"/>
                </a:lnTo>
                <a:lnTo>
                  <a:pt x="840539" y="6983078"/>
                </a:lnTo>
                <a:cubicBezTo>
                  <a:pt x="871270" y="6952257"/>
                  <a:pt x="913835" y="6933182"/>
                  <a:pt x="961170" y="6933182"/>
                </a:cubicBezTo>
                <a:cubicBezTo>
                  <a:pt x="1008151" y="6932828"/>
                  <a:pt x="1050717" y="6951726"/>
                  <a:pt x="1081625" y="6982458"/>
                </a:cubicBezTo>
                <a:close/>
                <a:moveTo>
                  <a:pt x="1686900" y="6994526"/>
                </a:moveTo>
                <a:lnTo>
                  <a:pt x="1466869" y="6994526"/>
                </a:lnTo>
                <a:lnTo>
                  <a:pt x="1461972" y="6991268"/>
                </a:lnTo>
                <a:lnTo>
                  <a:pt x="1434489" y="6950906"/>
                </a:lnTo>
                <a:lnTo>
                  <a:pt x="1443380" y="6994526"/>
                </a:lnTo>
                <a:lnTo>
                  <a:pt x="1105323" y="6994526"/>
                </a:lnTo>
                <a:lnTo>
                  <a:pt x="1116968" y="6936398"/>
                </a:lnTo>
                <a:cubicBezTo>
                  <a:pt x="1142666" y="6875131"/>
                  <a:pt x="1202937" y="6831946"/>
                  <a:pt x="1273939" y="6832478"/>
                </a:cubicBezTo>
                <a:cubicBezTo>
                  <a:pt x="1320921" y="6832123"/>
                  <a:pt x="1363663" y="6851022"/>
                  <a:pt x="1394661" y="6881754"/>
                </a:cubicBezTo>
                <a:lnTo>
                  <a:pt x="1423761" y="6924552"/>
                </a:lnTo>
                <a:lnTo>
                  <a:pt x="1413931" y="6876109"/>
                </a:lnTo>
                <a:cubicBezTo>
                  <a:pt x="1413223" y="6786392"/>
                  <a:pt x="1485989" y="6712920"/>
                  <a:pt x="1576424" y="6712210"/>
                </a:cubicBezTo>
                <a:cubicBezTo>
                  <a:pt x="1666851" y="6712210"/>
                  <a:pt x="1740325" y="6784975"/>
                  <a:pt x="1740325" y="6874700"/>
                </a:cubicBezTo>
                <a:cubicBezTo>
                  <a:pt x="1740325" y="6919914"/>
                  <a:pt x="1722133" y="6960889"/>
                  <a:pt x="1692726" y="6990561"/>
                </a:cubicBezTo>
                <a:close/>
                <a:moveTo>
                  <a:pt x="2166566" y="6994526"/>
                </a:moveTo>
                <a:lnTo>
                  <a:pt x="1883474" y="6994526"/>
                </a:lnTo>
                <a:lnTo>
                  <a:pt x="1883882" y="6992427"/>
                </a:lnTo>
                <a:cubicBezTo>
                  <a:pt x="1906832" y="6937222"/>
                  <a:pt x="1961277" y="6898407"/>
                  <a:pt x="2024861" y="6898939"/>
                </a:cubicBezTo>
                <a:cubicBezTo>
                  <a:pt x="2087913" y="6898939"/>
                  <a:pt x="2142623" y="6937089"/>
                  <a:pt x="2166037" y="6991930"/>
                </a:cubicBezTo>
                <a:close/>
                <a:moveTo>
                  <a:pt x="2379658" y="6994526"/>
                </a:moveTo>
                <a:lnTo>
                  <a:pt x="2224803" y="6994526"/>
                </a:lnTo>
                <a:lnTo>
                  <a:pt x="2200153" y="6978020"/>
                </a:lnTo>
                <a:cubicBezTo>
                  <a:pt x="2173924" y="6951968"/>
                  <a:pt x="2157675" y="6915937"/>
                  <a:pt x="2157675" y="6876021"/>
                </a:cubicBezTo>
                <a:cubicBezTo>
                  <a:pt x="2157675" y="6796187"/>
                  <a:pt x="2221963" y="6731896"/>
                  <a:pt x="2301799" y="6731189"/>
                </a:cubicBezTo>
                <a:cubicBezTo>
                  <a:pt x="2381634" y="6731189"/>
                  <a:pt x="2446631" y="6795478"/>
                  <a:pt x="2446631" y="6875313"/>
                </a:cubicBezTo>
                <a:cubicBezTo>
                  <a:pt x="2446631" y="6915230"/>
                  <a:pt x="2430559" y="6951438"/>
                  <a:pt x="2404507" y="6977666"/>
                </a:cubicBezTo>
                <a:close/>
                <a:moveTo>
                  <a:pt x="2863882" y="6994526"/>
                </a:moveTo>
                <a:lnTo>
                  <a:pt x="2591274" y="6994526"/>
                </a:lnTo>
                <a:lnTo>
                  <a:pt x="2597818" y="6961671"/>
                </a:lnTo>
                <a:cubicBezTo>
                  <a:pt x="2618947" y="6911003"/>
                  <a:pt x="2668491" y="6875238"/>
                  <a:pt x="2726779" y="6875238"/>
                </a:cubicBezTo>
                <a:cubicBezTo>
                  <a:pt x="2785061" y="6874708"/>
                  <a:pt x="2835400" y="6909944"/>
                  <a:pt x="2856927" y="6960379"/>
                </a:cubicBezTo>
                <a:close/>
                <a:moveTo>
                  <a:pt x="3469436" y="6994526"/>
                </a:moveTo>
                <a:lnTo>
                  <a:pt x="3297068" y="6994526"/>
                </a:lnTo>
                <a:lnTo>
                  <a:pt x="3276916" y="6964826"/>
                </a:lnTo>
                <a:cubicBezTo>
                  <a:pt x="3271021" y="6950961"/>
                  <a:pt x="3267754" y="6935684"/>
                  <a:pt x="3267754" y="6919612"/>
                </a:cubicBezTo>
                <a:cubicBezTo>
                  <a:pt x="3267046" y="6855323"/>
                  <a:pt x="3318625" y="6803038"/>
                  <a:pt x="3382915" y="6803747"/>
                </a:cubicBezTo>
                <a:cubicBezTo>
                  <a:pt x="3446496" y="6803747"/>
                  <a:pt x="3498782" y="6855323"/>
                  <a:pt x="3498782" y="6918904"/>
                </a:cubicBezTo>
                <a:cubicBezTo>
                  <a:pt x="3498957" y="6934799"/>
                  <a:pt x="3495821" y="6949988"/>
                  <a:pt x="3490026" y="6963831"/>
                </a:cubicBezTo>
                <a:close/>
                <a:moveTo>
                  <a:pt x="3859494" y="6994526"/>
                </a:moveTo>
                <a:lnTo>
                  <a:pt x="3706722" y="6994526"/>
                </a:lnTo>
                <a:lnTo>
                  <a:pt x="3722796" y="6970515"/>
                </a:lnTo>
                <a:cubicBezTo>
                  <a:pt x="3738074" y="6955148"/>
                  <a:pt x="3759268" y="6945611"/>
                  <a:pt x="3782936" y="6945611"/>
                </a:cubicBezTo>
                <a:cubicBezTo>
                  <a:pt x="3806249" y="6945261"/>
                  <a:pt x="3827443" y="6954623"/>
                  <a:pt x="3842808" y="6969901"/>
                </a:cubicBezTo>
                <a:close/>
                <a:moveTo>
                  <a:pt x="4835937" y="6994526"/>
                </a:moveTo>
                <a:lnTo>
                  <a:pt x="4696568" y="6994526"/>
                </a:lnTo>
                <a:lnTo>
                  <a:pt x="4693436" y="6978144"/>
                </a:lnTo>
                <a:cubicBezTo>
                  <a:pt x="4693436" y="6936537"/>
                  <a:pt x="4729830" y="6905305"/>
                  <a:pt x="4766277" y="6905305"/>
                </a:cubicBezTo>
                <a:cubicBezTo>
                  <a:pt x="4807884" y="6905305"/>
                  <a:pt x="4839064" y="6936537"/>
                  <a:pt x="4839064" y="6978144"/>
                </a:cubicBezTo>
                <a:close/>
              </a:path>
            </a:pathLst>
          </a:custGeom>
          <a:solidFill>
            <a:schemeClr val="tx2">
              <a:alpha val="24000"/>
            </a:schemeClr>
          </a:solidFill>
          <a:ln w="10076" cap="flat">
            <a:noFill/>
            <a:prstDash val="solid"/>
            <a:miter/>
          </a:ln>
        </p:spPr>
        <p:txBody>
          <a:bodyPr wrap="square" rtlCol="0" anchor="ctr">
            <a:noAutofit/>
          </a:bodyPr>
          <a:lstStyle/>
          <a:p>
            <a:endParaRPr lang="en-US" sz="1765"/>
          </a:p>
        </p:txBody>
      </p:sp>
      <p:pic>
        <p:nvPicPr>
          <p:cNvPr id="4" name="MS logo white - EMF" descr="Microsoft logo">
            <a:extLst>
              <a:ext uri="{FF2B5EF4-FFF2-40B4-BE49-F238E27FC236}">
                <a16:creationId xmlns:a16="http://schemas.microsoft.com/office/drawing/2014/main" id="{25068C60-FF88-449A-B982-C4270F447E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72717" y="574354"/>
            <a:ext cx="1339387" cy="286897"/>
          </a:xfrm>
          <a:prstGeom prst="rect">
            <a:avLst/>
          </a:prstGeom>
        </p:spPr>
      </p:pic>
      <p:sp>
        <p:nvSpPr>
          <p:cNvPr id="16" name="Text Placeholder 4">
            <a:extLst>
              <a:ext uri="{FF2B5EF4-FFF2-40B4-BE49-F238E27FC236}">
                <a16:creationId xmlns:a16="http://schemas.microsoft.com/office/drawing/2014/main" id="{744383EB-BE88-497D-A24B-D7A9C21794EE}"/>
              </a:ext>
            </a:extLst>
          </p:cNvPr>
          <p:cNvSpPr>
            <a:spLocks noGrp="1"/>
          </p:cNvSpPr>
          <p:nvPr>
            <p:ph type="body" sz="quarter" idx="12" hasCustomPrompt="1"/>
          </p:nvPr>
        </p:nvSpPr>
        <p:spPr>
          <a:xfrm>
            <a:off x="572716" y="3916789"/>
            <a:ext cx="5557834" cy="986207"/>
          </a:xfrm>
          <a:noFill/>
        </p:spPr>
        <p:txBody>
          <a:bodyPr lIns="0" tIns="109728" rIns="0" bIns="109728" anchor="t">
            <a:noAutofit/>
          </a:bodyPr>
          <a:lstStyle>
            <a:lvl1pPr marL="0" indent="0">
              <a:spcBef>
                <a:spcPts val="0"/>
              </a:spcBef>
              <a:buNone/>
              <a:defRPr sz="1961" spc="0" baseline="0">
                <a:solidFill>
                  <a:schemeClr val="bg1"/>
                </a:solidFill>
                <a:latin typeface="+mj-lt"/>
              </a:defRPr>
            </a:lvl1pPr>
          </a:lstStyle>
          <a:p>
            <a:pPr lvl="0"/>
            <a:r>
              <a:rPr lang="en-US"/>
              <a:t>Speaker Name</a:t>
            </a:r>
          </a:p>
        </p:txBody>
      </p:sp>
      <p:sp>
        <p:nvSpPr>
          <p:cNvPr id="55" name="Rectangle 54">
            <a:extLst>
              <a:ext uri="{FF2B5EF4-FFF2-40B4-BE49-F238E27FC236}">
                <a16:creationId xmlns:a16="http://schemas.microsoft.com/office/drawing/2014/main" id="{37F90016-C9B1-4545-AA33-82E51F625163}"/>
              </a:ext>
            </a:extLst>
          </p:cNvPr>
          <p:cNvSpPr/>
          <p:nvPr userDrawn="1"/>
        </p:nvSpPr>
        <p:spPr>
          <a:xfrm>
            <a:off x="588263" y="6598452"/>
            <a:ext cx="1232049" cy="135796"/>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bg1"/>
                </a:solidFill>
                <a:latin typeface="+mn-lt"/>
              </a:rPr>
              <a:t>Microsoft Confidential</a:t>
            </a:r>
          </a:p>
        </p:txBody>
      </p:sp>
      <p:sp>
        <p:nvSpPr>
          <p:cNvPr id="1725" name="Freeform: Shape 1724">
            <a:extLst>
              <a:ext uri="{FF2B5EF4-FFF2-40B4-BE49-F238E27FC236}">
                <a16:creationId xmlns:a16="http://schemas.microsoft.com/office/drawing/2014/main" id="{5BADBCA2-EDBE-4FD3-BE04-5E67773566A6}"/>
              </a:ext>
              <a:ext uri="{C183D7F6-B498-43B3-948B-1728B52AA6E4}">
                <adec:decorative xmlns:adec="http://schemas.microsoft.com/office/drawing/2017/decorative" val="1"/>
              </a:ext>
            </a:extLst>
          </p:cNvPr>
          <p:cNvSpPr/>
          <p:nvPr/>
        </p:nvSpPr>
        <p:spPr>
          <a:xfrm flipH="1" flipV="1">
            <a:off x="8546220" y="1"/>
            <a:ext cx="3645781" cy="6858000"/>
          </a:xfrm>
          <a:custGeom>
            <a:avLst/>
            <a:gdLst>
              <a:gd name="connsiteX0" fmla="*/ 1629926 w 3718887"/>
              <a:gd name="connsiteY0" fmla="*/ 82914 h 6994525"/>
              <a:gd name="connsiteX1" fmla="*/ 1564429 w 3718887"/>
              <a:gd name="connsiteY1" fmla="*/ 19002 h 6994525"/>
              <a:gd name="connsiteX2" fmla="*/ 1567987 w 3718887"/>
              <a:gd name="connsiteY2" fmla="*/ 0 h 6994525"/>
              <a:gd name="connsiteX3" fmla="*/ 1690282 w 3718887"/>
              <a:gd name="connsiteY3" fmla="*/ 0 h 6994525"/>
              <a:gd name="connsiteX4" fmla="*/ 1693837 w 3718887"/>
              <a:gd name="connsiteY4" fmla="*/ 17401 h 6994525"/>
              <a:gd name="connsiteX5" fmla="*/ 1629926 w 3718887"/>
              <a:gd name="connsiteY5" fmla="*/ 82914 h 6994525"/>
              <a:gd name="connsiteX6" fmla="*/ 2087064 w 3718887"/>
              <a:gd name="connsiteY6" fmla="*/ 91005 h 6994525"/>
              <a:gd name="connsiteX7" fmla="*/ 2022351 w 3718887"/>
              <a:gd name="connsiteY7" fmla="*/ 26297 h 6994525"/>
              <a:gd name="connsiteX8" fmla="*/ 2027263 w 3718887"/>
              <a:gd name="connsiteY8" fmla="*/ 155 h 6994525"/>
              <a:gd name="connsiteX9" fmla="*/ 2027362 w 3718887"/>
              <a:gd name="connsiteY9" fmla="*/ 0 h 6994525"/>
              <a:gd name="connsiteX10" fmla="*/ 2146021 w 3718887"/>
              <a:gd name="connsiteY10" fmla="*/ 0 h 6994525"/>
              <a:gd name="connsiteX11" fmla="*/ 2146432 w 3718887"/>
              <a:gd name="connsiteY11" fmla="*/ 589 h 6994525"/>
              <a:gd name="connsiteX12" fmla="*/ 2151778 w 3718887"/>
              <a:gd name="connsiteY12" fmla="*/ 26297 h 6994525"/>
              <a:gd name="connsiteX13" fmla="*/ 2087064 w 3718887"/>
              <a:gd name="connsiteY13" fmla="*/ 91005 h 6994525"/>
              <a:gd name="connsiteX14" fmla="*/ 1154122 w 3718887"/>
              <a:gd name="connsiteY14" fmla="*/ 92359 h 6994525"/>
              <a:gd name="connsiteX15" fmla="*/ 1089083 w 3718887"/>
              <a:gd name="connsiteY15" fmla="*/ 28006 h 6994525"/>
              <a:gd name="connsiteX16" fmla="*/ 1094175 w 3718887"/>
              <a:gd name="connsiteY16" fmla="*/ 2666 h 6994525"/>
              <a:gd name="connsiteX17" fmla="*/ 1095961 w 3718887"/>
              <a:gd name="connsiteY17" fmla="*/ 0 h 6994525"/>
              <a:gd name="connsiteX18" fmla="*/ 1211952 w 3718887"/>
              <a:gd name="connsiteY18" fmla="*/ 0 h 6994525"/>
              <a:gd name="connsiteX19" fmla="*/ 1213372 w 3718887"/>
              <a:gd name="connsiteY19" fmla="*/ 2084 h 6994525"/>
              <a:gd name="connsiteX20" fmla="*/ 1218475 w 3718887"/>
              <a:gd name="connsiteY20" fmla="*/ 27319 h 6994525"/>
              <a:gd name="connsiteX21" fmla="*/ 1154122 w 3718887"/>
              <a:gd name="connsiteY21" fmla="*/ 92359 h 6994525"/>
              <a:gd name="connsiteX22" fmla="*/ 2530133 w 3718887"/>
              <a:gd name="connsiteY22" fmla="*/ 112239 h 6994525"/>
              <a:gd name="connsiteX23" fmla="*/ 2462774 w 3718887"/>
              <a:gd name="connsiteY23" fmla="*/ 44867 h 6994525"/>
              <a:gd name="connsiteX24" fmla="*/ 2468135 w 3718887"/>
              <a:gd name="connsiteY24" fmla="*/ 18907 h 6994525"/>
              <a:gd name="connsiteX25" fmla="*/ 2481370 w 3718887"/>
              <a:gd name="connsiteY25" fmla="*/ 0 h 6994525"/>
              <a:gd name="connsiteX26" fmla="*/ 2578949 w 3718887"/>
              <a:gd name="connsiteY26" fmla="*/ 0 h 6994525"/>
              <a:gd name="connsiteX27" fmla="*/ 2592191 w 3718887"/>
              <a:gd name="connsiteY27" fmla="*/ 18907 h 6994525"/>
              <a:gd name="connsiteX28" fmla="*/ 2597553 w 3718887"/>
              <a:gd name="connsiteY28" fmla="*/ 44867 h 6994525"/>
              <a:gd name="connsiteX29" fmla="*/ 2530133 w 3718887"/>
              <a:gd name="connsiteY29" fmla="*/ 112239 h 6994525"/>
              <a:gd name="connsiteX30" fmla="*/ 659393 w 3718887"/>
              <a:gd name="connsiteY30" fmla="*/ 131409 h 6994525"/>
              <a:gd name="connsiteX31" fmla="*/ 588456 w 3718887"/>
              <a:gd name="connsiteY31" fmla="*/ 61102 h 6994525"/>
              <a:gd name="connsiteX32" fmla="*/ 609015 w 3718887"/>
              <a:gd name="connsiteY32" fmla="*/ 10804 h 6994525"/>
              <a:gd name="connsiteX33" fmla="*/ 624986 w 3718887"/>
              <a:gd name="connsiteY33" fmla="*/ 0 h 6994525"/>
              <a:gd name="connsiteX34" fmla="*/ 692744 w 3718887"/>
              <a:gd name="connsiteY34" fmla="*/ 0 h 6994525"/>
              <a:gd name="connsiteX35" fmla="*/ 708826 w 3718887"/>
              <a:gd name="connsiteY35" fmla="*/ 10726 h 6994525"/>
              <a:gd name="connsiteX36" fmla="*/ 729700 w 3718887"/>
              <a:gd name="connsiteY36" fmla="*/ 60473 h 6994525"/>
              <a:gd name="connsiteX37" fmla="*/ 659393 w 3718887"/>
              <a:gd name="connsiteY37" fmla="*/ 131409 h 6994525"/>
              <a:gd name="connsiteX38" fmla="*/ 142646 w 3718887"/>
              <a:gd name="connsiteY38" fmla="*/ 210413 h 6994525"/>
              <a:gd name="connsiteX39" fmla="*/ 58527 w 3718887"/>
              <a:gd name="connsiteY39" fmla="*/ 126923 h 6994525"/>
              <a:gd name="connsiteX40" fmla="*/ 142646 w 3718887"/>
              <a:gd name="connsiteY40" fmla="*/ 42805 h 6994525"/>
              <a:gd name="connsiteX41" fmla="*/ 226764 w 3718887"/>
              <a:gd name="connsiteY41" fmla="*/ 126294 h 6994525"/>
              <a:gd name="connsiteX42" fmla="*/ 142646 w 3718887"/>
              <a:gd name="connsiteY42" fmla="*/ 210413 h 6994525"/>
              <a:gd name="connsiteX43" fmla="*/ 1371671 w 3718887"/>
              <a:gd name="connsiteY43" fmla="*/ 287327 h 6994525"/>
              <a:gd name="connsiteX44" fmla="*/ 1306968 w 3718887"/>
              <a:gd name="connsiteY44" fmla="*/ 222624 h 6994525"/>
              <a:gd name="connsiteX45" fmla="*/ 1370642 w 3718887"/>
              <a:gd name="connsiteY45" fmla="*/ 156892 h 6994525"/>
              <a:gd name="connsiteX46" fmla="*/ 1436374 w 3718887"/>
              <a:gd name="connsiteY46" fmla="*/ 221595 h 6994525"/>
              <a:gd name="connsiteX47" fmla="*/ 1371671 w 3718887"/>
              <a:gd name="connsiteY47" fmla="*/ 287327 h 6994525"/>
              <a:gd name="connsiteX48" fmla="*/ 1832087 w 3718887"/>
              <a:gd name="connsiteY48" fmla="*/ 293701 h 6994525"/>
              <a:gd name="connsiteX49" fmla="*/ 1766588 w 3718887"/>
              <a:gd name="connsiteY49" fmla="*/ 229789 h 6994525"/>
              <a:gd name="connsiteX50" fmla="*/ 1830486 w 3718887"/>
              <a:gd name="connsiteY50" fmla="*/ 164293 h 6994525"/>
              <a:gd name="connsiteX51" fmla="*/ 1896001 w 3718887"/>
              <a:gd name="connsiteY51" fmla="*/ 228204 h 6994525"/>
              <a:gd name="connsiteX52" fmla="*/ 1832087 w 3718887"/>
              <a:gd name="connsiteY52" fmla="*/ 293701 h 6994525"/>
              <a:gd name="connsiteX53" fmla="*/ 893839 w 3718887"/>
              <a:gd name="connsiteY53" fmla="*/ 305629 h 6994525"/>
              <a:gd name="connsiteX54" fmla="*/ 822903 w 3718887"/>
              <a:gd name="connsiteY54" fmla="*/ 235322 h 6994525"/>
              <a:gd name="connsiteX55" fmla="*/ 893216 w 3718887"/>
              <a:gd name="connsiteY55" fmla="*/ 164387 h 6994525"/>
              <a:gd name="connsiteX56" fmla="*/ 964151 w 3718887"/>
              <a:gd name="connsiteY56" fmla="*/ 234693 h 6994525"/>
              <a:gd name="connsiteX57" fmla="*/ 893839 w 3718887"/>
              <a:gd name="connsiteY57" fmla="*/ 305629 h 6994525"/>
              <a:gd name="connsiteX58" fmla="*/ 2277527 w 3718887"/>
              <a:gd name="connsiteY58" fmla="*/ 317275 h 6994525"/>
              <a:gd name="connsiteX59" fmla="*/ 2210154 w 3718887"/>
              <a:gd name="connsiteY59" fmla="*/ 249853 h 6994525"/>
              <a:gd name="connsiteX60" fmla="*/ 2277527 w 3718887"/>
              <a:gd name="connsiteY60" fmla="*/ 182492 h 6994525"/>
              <a:gd name="connsiteX61" fmla="*/ 2338820 w 3718887"/>
              <a:gd name="connsiteY61" fmla="*/ 249853 h 6994525"/>
              <a:gd name="connsiteX62" fmla="*/ 2277527 w 3718887"/>
              <a:gd name="connsiteY62" fmla="*/ 317275 h 6994525"/>
              <a:gd name="connsiteX63" fmla="*/ 2704822 w 3718887"/>
              <a:gd name="connsiteY63" fmla="*/ 346452 h 6994525"/>
              <a:gd name="connsiteX64" fmla="*/ 2640090 w 3718887"/>
              <a:gd name="connsiteY64" fmla="*/ 281720 h 6994525"/>
              <a:gd name="connsiteX65" fmla="*/ 2704822 w 3718887"/>
              <a:gd name="connsiteY65" fmla="*/ 216989 h 6994525"/>
              <a:gd name="connsiteX66" fmla="*/ 2769553 w 3718887"/>
              <a:gd name="connsiteY66" fmla="*/ 281720 h 6994525"/>
              <a:gd name="connsiteX67" fmla="*/ 2704822 w 3718887"/>
              <a:gd name="connsiteY67" fmla="*/ 346452 h 6994525"/>
              <a:gd name="connsiteX68" fmla="*/ 393966 w 3718887"/>
              <a:gd name="connsiteY68" fmla="*/ 370114 h 6994525"/>
              <a:gd name="connsiteX69" fmla="*/ 298555 w 3718887"/>
              <a:gd name="connsiteY69" fmla="*/ 275332 h 6994525"/>
              <a:gd name="connsiteX70" fmla="*/ 393343 w 3718887"/>
              <a:gd name="connsiteY70" fmla="*/ 179915 h 6994525"/>
              <a:gd name="connsiteX71" fmla="*/ 488754 w 3718887"/>
              <a:gd name="connsiteY71" fmla="*/ 274703 h 6994525"/>
              <a:gd name="connsiteX72" fmla="*/ 393966 w 3718887"/>
              <a:gd name="connsiteY72" fmla="*/ 370114 h 6994525"/>
              <a:gd name="connsiteX73" fmla="*/ 1576126 w 3718887"/>
              <a:gd name="connsiteY73" fmla="*/ 495868 h 6994525"/>
              <a:gd name="connsiteX74" fmla="*/ 1511087 w 3718887"/>
              <a:gd name="connsiteY74" fmla="*/ 431515 h 6994525"/>
              <a:gd name="connsiteX75" fmla="*/ 1575440 w 3718887"/>
              <a:gd name="connsiteY75" fmla="*/ 366476 h 6994525"/>
              <a:gd name="connsiteX76" fmla="*/ 1640479 w 3718887"/>
              <a:gd name="connsiteY76" fmla="*/ 430828 h 6994525"/>
              <a:gd name="connsiteX77" fmla="*/ 1576126 w 3718887"/>
              <a:gd name="connsiteY77" fmla="*/ 495868 h 6994525"/>
              <a:gd name="connsiteX78" fmla="*/ 1114519 w 3718887"/>
              <a:gd name="connsiteY78" fmla="*/ 501027 h 6994525"/>
              <a:gd name="connsiteX79" fmla="*/ 1039185 w 3718887"/>
              <a:gd name="connsiteY79" fmla="*/ 425700 h 6994525"/>
              <a:gd name="connsiteX80" fmla="*/ 1113889 w 3718887"/>
              <a:gd name="connsiteY80" fmla="*/ 350997 h 6994525"/>
              <a:gd name="connsiteX81" fmla="*/ 1189217 w 3718887"/>
              <a:gd name="connsiteY81" fmla="*/ 425700 h 6994525"/>
              <a:gd name="connsiteX82" fmla="*/ 1114519 w 3718887"/>
              <a:gd name="connsiteY82" fmla="*/ 501027 h 6994525"/>
              <a:gd name="connsiteX83" fmla="*/ 2020504 w 3718887"/>
              <a:gd name="connsiteY83" fmla="*/ 516458 h 6994525"/>
              <a:gd name="connsiteX84" fmla="*/ 1955039 w 3718887"/>
              <a:gd name="connsiteY84" fmla="*/ 452578 h 6994525"/>
              <a:gd name="connsiteX85" fmla="*/ 2018919 w 3718887"/>
              <a:gd name="connsiteY85" fmla="*/ 387114 h 6994525"/>
              <a:gd name="connsiteX86" fmla="*/ 2084383 w 3718887"/>
              <a:gd name="connsiteY86" fmla="*/ 450978 h 6994525"/>
              <a:gd name="connsiteX87" fmla="*/ 2020504 w 3718887"/>
              <a:gd name="connsiteY87" fmla="*/ 516458 h 6994525"/>
              <a:gd name="connsiteX88" fmla="*/ 632723 w 3718887"/>
              <a:gd name="connsiteY88" fmla="*/ 529961 h 6994525"/>
              <a:gd name="connsiteX89" fmla="*/ 546096 w 3718887"/>
              <a:gd name="connsiteY89" fmla="*/ 443963 h 6994525"/>
              <a:gd name="connsiteX90" fmla="*/ 632093 w 3718887"/>
              <a:gd name="connsiteY90" fmla="*/ 357337 h 6994525"/>
              <a:gd name="connsiteX91" fmla="*/ 718720 w 3718887"/>
              <a:gd name="connsiteY91" fmla="*/ 443334 h 6994525"/>
              <a:gd name="connsiteX92" fmla="*/ 632723 w 3718887"/>
              <a:gd name="connsiteY92" fmla="*/ 529961 h 6994525"/>
              <a:gd name="connsiteX93" fmla="*/ 2449263 w 3718887"/>
              <a:gd name="connsiteY93" fmla="*/ 548993 h 6994525"/>
              <a:gd name="connsiteX94" fmla="*/ 2384567 w 3718887"/>
              <a:gd name="connsiteY94" fmla="*/ 486891 h 6994525"/>
              <a:gd name="connsiteX95" fmla="*/ 2449263 w 3718887"/>
              <a:gd name="connsiteY95" fmla="*/ 419601 h 6994525"/>
              <a:gd name="connsiteX96" fmla="*/ 2513959 w 3718887"/>
              <a:gd name="connsiteY96" fmla="*/ 484297 h 6994525"/>
              <a:gd name="connsiteX97" fmla="*/ 2449263 w 3718887"/>
              <a:gd name="connsiteY97" fmla="*/ 548993 h 6994525"/>
              <a:gd name="connsiteX98" fmla="*/ 2866138 w 3718887"/>
              <a:gd name="connsiteY98" fmla="*/ 589931 h 6994525"/>
              <a:gd name="connsiteX99" fmla="*/ 2801406 w 3718887"/>
              <a:gd name="connsiteY99" fmla="*/ 525199 h 6994525"/>
              <a:gd name="connsiteX100" fmla="*/ 2866138 w 3718887"/>
              <a:gd name="connsiteY100" fmla="*/ 460468 h 6994525"/>
              <a:gd name="connsiteX101" fmla="*/ 2930869 w 3718887"/>
              <a:gd name="connsiteY101" fmla="*/ 525199 h 6994525"/>
              <a:gd name="connsiteX102" fmla="*/ 2866138 w 3718887"/>
              <a:gd name="connsiteY102" fmla="*/ 589931 h 6994525"/>
              <a:gd name="connsiteX103" fmla="*/ 127263 w 3718887"/>
              <a:gd name="connsiteY103" fmla="*/ 594462 h 6994525"/>
              <a:gd name="connsiteX104" fmla="*/ 24311 w 3718887"/>
              <a:gd name="connsiteY104" fmla="*/ 492139 h 6994525"/>
              <a:gd name="connsiteX105" fmla="*/ 126633 w 3718887"/>
              <a:gd name="connsiteY105" fmla="*/ 389188 h 6994525"/>
              <a:gd name="connsiteX106" fmla="*/ 229585 w 3718887"/>
              <a:gd name="connsiteY106" fmla="*/ 491510 h 6994525"/>
              <a:gd name="connsiteX107" fmla="*/ 127263 w 3718887"/>
              <a:gd name="connsiteY107" fmla="*/ 594462 h 6994525"/>
              <a:gd name="connsiteX108" fmla="*/ 1320149 w 3718887"/>
              <a:gd name="connsiteY108" fmla="*/ 708802 h 6994525"/>
              <a:gd name="connsiteX109" fmla="*/ 1244815 w 3718887"/>
              <a:gd name="connsiteY109" fmla="*/ 634103 h 6994525"/>
              <a:gd name="connsiteX110" fmla="*/ 1319519 w 3718887"/>
              <a:gd name="connsiteY110" fmla="*/ 558770 h 6994525"/>
              <a:gd name="connsiteX111" fmla="*/ 1394847 w 3718887"/>
              <a:gd name="connsiteY111" fmla="*/ 633474 h 6994525"/>
              <a:gd name="connsiteX112" fmla="*/ 1320149 w 3718887"/>
              <a:gd name="connsiteY112" fmla="*/ 708802 h 6994525"/>
              <a:gd name="connsiteX113" fmla="*/ 1764849 w 3718887"/>
              <a:gd name="connsiteY113" fmla="*/ 718484 h 6994525"/>
              <a:gd name="connsiteX114" fmla="*/ 1700159 w 3718887"/>
              <a:gd name="connsiteY114" fmla="*/ 653791 h 6994525"/>
              <a:gd name="connsiteX115" fmla="*/ 1764849 w 3718887"/>
              <a:gd name="connsiteY115" fmla="*/ 589092 h 6994525"/>
              <a:gd name="connsiteX116" fmla="*/ 1829546 w 3718887"/>
              <a:gd name="connsiteY116" fmla="*/ 653791 h 6994525"/>
              <a:gd name="connsiteX117" fmla="*/ 1764849 w 3718887"/>
              <a:gd name="connsiteY117" fmla="*/ 718484 h 6994525"/>
              <a:gd name="connsiteX118" fmla="*/ 856415 w 3718887"/>
              <a:gd name="connsiteY118" fmla="*/ 736355 h 6994525"/>
              <a:gd name="connsiteX119" fmla="*/ 750953 w 3718887"/>
              <a:gd name="connsiteY119" fmla="*/ 631522 h 6994525"/>
              <a:gd name="connsiteX120" fmla="*/ 855785 w 3718887"/>
              <a:gd name="connsiteY120" fmla="*/ 526061 h 6994525"/>
              <a:gd name="connsiteX121" fmla="*/ 961247 w 3718887"/>
              <a:gd name="connsiteY121" fmla="*/ 630893 h 6994525"/>
              <a:gd name="connsiteX122" fmla="*/ 856415 w 3718887"/>
              <a:gd name="connsiteY122" fmla="*/ 736355 h 6994525"/>
              <a:gd name="connsiteX123" fmla="*/ 2193747 w 3718887"/>
              <a:gd name="connsiteY123" fmla="*/ 751188 h 6994525"/>
              <a:gd name="connsiteX124" fmla="*/ 2129041 w 3718887"/>
              <a:gd name="connsiteY124" fmla="*/ 686484 h 6994525"/>
              <a:gd name="connsiteX125" fmla="*/ 2193747 w 3718887"/>
              <a:gd name="connsiteY125" fmla="*/ 621788 h 6994525"/>
              <a:gd name="connsiteX126" fmla="*/ 2258444 w 3718887"/>
              <a:gd name="connsiteY126" fmla="*/ 686484 h 6994525"/>
              <a:gd name="connsiteX127" fmla="*/ 2193747 w 3718887"/>
              <a:gd name="connsiteY127" fmla="*/ 751188 h 6994525"/>
              <a:gd name="connsiteX128" fmla="*/ 370307 w 3718887"/>
              <a:gd name="connsiteY128" fmla="*/ 767504 h 6994525"/>
              <a:gd name="connsiteX129" fmla="*/ 256062 w 3718887"/>
              <a:gd name="connsiteY129" fmla="*/ 653882 h 6994525"/>
              <a:gd name="connsiteX130" fmla="*/ 369684 w 3718887"/>
              <a:gd name="connsiteY130" fmla="*/ 539637 h 6994525"/>
              <a:gd name="connsiteX131" fmla="*/ 483929 w 3718887"/>
              <a:gd name="connsiteY131" fmla="*/ 653259 h 6994525"/>
              <a:gd name="connsiteX132" fmla="*/ 370307 w 3718887"/>
              <a:gd name="connsiteY132" fmla="*/ 767504 h 6994525"/>
              <a:gd name="connsiteX133" fmla="*/ 2610398 w 3718887"/>
              <a:gd name="connsiteY133" fmla="*/ 794227 h 6994525"/>
              <a:gd name="connsiteX134" fmla="*/ 2544378 w 3718887"/>
              <a:gd name="connsiteY134" fmla="*/ 728208 h 6994525"/>
              <a:gd name="connsiteX135" fmla="*/ 2607750 w 3718887"/>
              <a:gd name="connsiteY135" fmla="*/ 662189 h 6994525"/>
              <a:gd name="connsiteX136" fmla="*/ 2673770 w 3718887"/>
              <a:gd name="connsiteY136" fmla="*/ 728208 h 6994525"/>
              <a:gd name="connsiteX137" fmla="*/ 2610398 w 3718887"/>
              <a:gd name="connsiteY137" fmla="*/ 794227 h 6994525"/>
              <a:gd name="connsiteX138" fmla="*/ 3013689 w 3718887"/>
              <a:gd name="connsiteY138" fmla="*/ 842020 h 6994525"/>
              <a:gd name="connsiteX139" fmla="*/ 2948957 w 3718887"/>
              <a:gd name="connsiteY139" fmla="*/ 777288 h 6994525"/>
              <a:gd name="connsiteX140" fmla="*/ 3013689 w 3718887"/>
              <a:gd name="connsiteY140" fmla="*/ 712557 h 6994525"/>
              <a:gd name="connsiteX141" fmla="*/ 3078420 w 3718887"/>
              <a:gd name="connsiteY141" fmla="*/ 777288 h 6994525"/>
              <a:gd name="connsiteX142" fmla="*/ 3013689 w 3718887"/>
              <a:gd name="connsiteY142" fmla="*/ 842020 h 6994525"/>
              <a:gd name="connsiteX143" fmla="*/ 1064190 w 3718887"/>
              <a:gd name="connsiteY143" fmla="*/ 928366 h 6994525"/>
              <a:gd name="connsiteX144" fmla="*/ 971911 w 3718887"/>
              <a:gd name="connsiteY144" fmla="*/ 836716 h 6994525"/>
              <a:gd name="connsiteX145" fmla="*/ 1063561 w 3718887"/>
              <a:gd name="connsiteY145" fmla="*/ 744438 h 6994525"/>
              <a:gd name="connsiteX146" fmla="*/ 1155839 w 3718887"/>
              <a:gd name="connsiteY146" fmla="*/ 836087 h 6994525"/>
              <a:gd name="connsiteX147" fmla="*/ 1064190 w 3718887"/>
              <a:gd name="connsiteY147" fmla="*/ 928366 h 6994525"/>
              <a:gd name="connsiteX148" fmla="*/ 1509952 w 3718887"/>
              <a:gd name="connsiteY148" fmla="*/ 930776 h 6994525"/>
              <a:gd name="connsiteX149" fmla="*/ 1433998 w 3718887"/>
              <a:gd name="connsiteY149" fmla="*/ 856080 h 6994525"/>
              <a:gd name="connsiteX150" fmla="*/ 1509323 w 3718887"/>
              <a:gd name="connsiteY150" fmla="*/ 780748 h 6994525"/>
              <a:gd name="connsiteX151" fmla="*/ 1584648 w 3718887"/>
              <a:gd name="connsiteY151" fmla="*/ 855450 h 6994525"/>
              <a:gd name="connsiteX152" fmla="*/ 1509952 w 3718887"/>
              <a:gd name="connsiteY152" fmla="*/ 930776 h 6994525"/>
              <a:gd name="connsiteX153" fmla="*/ 597871 w 3718887"/>
              <a:gd name="connsiteY153" fmla="*/ 950331 h 6994525"/>
              <a:gd name="connsiteX154" fmla="*/ 483626 w 3718887"/>
              <a:gd name="connsiteY154" fmla="*/ 836709 h 6994525"/>
              <a:gd name="connsiteX155" fmla="*/ 597248 w 3718887"/>
              <a:gd name="connsiteY155" fmla="*/ 722464 h 6994525"/>
              <a:gd name="connsiteX156" fmla="*/ 711493 w 3718887"/>
              <a:gd name="connsiteY156" fmla="*/ 836086 h 6994525"/>
              <a:gd name="connsiteX157" fmla="*/ 597871 w 3718887"/>
              <a:gd name="connsiteY157" fmla="*/ 950331 h 6994525"/>
              <a:gd name="connsiteX158" fmla="*/ 1937779 w 3718887"/>
              <a:gd name="connsiteY158" fmla="*/ 953370 h 6994525"/>
              <a:gd name="connsiteX159" fmla="*/ 1873083 w 3718887"/>
              <a:gd name="connsiteY159" fmla="*/ 888666 h 6994525"/>
              <a:gd name="connsiteX160" fmla="*/ 1937779 w 3718887"/>
              <a:gd name="connsiteY160" fmla="*/ 823970 h 6994525"/>
              <a:gd name="connsiteX161" fmla="*/ 2002475 w 3718887"/>
              <a:gd name="connsiteY161" fmla="*/ 888666 h 6994525"/>
              <a:gd name="connsiteX162" fmla="*/ 1937779 w 3718887"/>
              <a:gd name="connsiteY162" fmla="*/ 953370 h 6994525"/>
              <a:gd name="connsiteX163" fmla="*/ 107143 w 3718887"/>
              <a:gd name="connsiteY163" fmla="*/ 985963 h 6994525"/>
              <a:gd name="connsiteX164" fmla="*/ 21613 w 3718887"/>
              <a:gd name="connsiteY164" fmla="*/ 951202 h 6994525"/>
              <a:gd name="connsiteX165" fmla="*/ 0 w 3718887"/>
              <a:gd name="connsiteY165" fmla="*/ 919474 h 6994525"/>
              <a:gd name="connsiteX166" fmla="*/ 0 w 3718887"/>
              <a:gd name="connsiteY166" fmla="*/ 811706 h 6994525"/>
              <a:gd name="connsiteX167" fmla="*/ 20748 w 3718887"/>
              <a:gd name="connsiteY167" fmla="*/ 780538 h 6994525"/>
              <a:gd name="connsiteX168" fmla="*/ 105885 w 3718887"/>
              <a:gd name="connsiteY168" fmla="*/ 744914 h 6994525"/>
              <a:gd name="connsiteX169" fmla="*/ 227038 w 3718887"/>
              <a:gd name="connsiteY169" fmla="*/ 864809 h 6994525"/>
              <a:gd name="connsiteX170" fmla="*/ 107143 w 3718887"/>
              <a:gd name="connsiteY170" fmla="*/ 985963 h 6994525"/>
              <a:gd name="connsiteX171" fmla="*/ 2352242 w 3718887"/>
              <a:gd name="connsiteY171" fmla="*/ 996605 h 6994525"/>
              <a:gd name="connsiteX172" fmla="*/ 2287128 w 3718887"/>
              <a:gd name="connsiteY172" fmla="*/ 932319 h 6994525"/>
              <a:gd name="connsiteX173" fmla="*/ 2351414 w 3718887"/>
              <a:gd name="connsiteY173" fmla="*/ 867205 h 6994525"/>
              <a:gd name="connsiteX174" fmla="*/ 2416528 w 3718887"/>
              <a:gd name="connsiteY174" fmla="*/ 931491 h 6994525"/>
              <a:gd name="connsiteX175" fmla="*/ 2352242 w 3718887"/>
              <a:gd name="connsiteY175" fmla="*/ 996605 h 6994525"/>
              <a:gd name="connsiteX176" fmla="*/ 2755248 w 3718887"/>
              <a:gd name="connsiteY176" fmla="*/ 1046513 h 6994525"/>
              <a:gd name="connsiteX177" fmla="*/ 2689749 w 3718887"/>
              <a:gd name="connsiteY177" fmla="*/ 982601 h 6994525"/>
              <a:gd name="connsiteX178" fmla="*/ 2753663 w 3718887"/>
              <a:gd name="connsiteY178" fmla="*/ 917105 h 6994525"/>
              <a:gd name="connsiteX179" fmla="*/ 2819162 w 3718887"/>
              <a:gd name="connsiteY179" fmla="*/ 981016 h 6994525"/>
              <a:gd name="connsiteX180" fmla="*/ 2755248 w 3718887"/>
              <a:gd name="connsiteY180" fmla="*/ 1046513 h 6994525"/>
              <a:gd name="connsiteX181" fmla="*/ 3147209 w 3718887"/>
              <a:gd name="connsiteY181" fmla="*/ 1101770 h 6994525"/>
              <a:gd name="connsiteX182" fmla="*/ 3082509 w 3718887"/>
              <a:gd name="connsiteY182" fmla="*/ 1037074 h 6994525"/>
              <a:gd name="connsiteX183" fmla="*/ 3147209 w 3718887"/>
              <a:gd name="connsiteY183" fmla="*/ 972378 h 6994525"/>
              <a:gd name="connsiteX184" fmla="*/ 3211909 w 3718887"/>
              <a:gd name="connsiteY184" fmla="*/ 1037074 h 6994525"/>
              <a:gd name="connsiteX185" fmla="*/ 3147209 w 3718887"/>
              <a:gd name="connsiteY185" fmla="*/ 1101770 h 6994525"/>
              <a:gd name="connsiteX186" fmla="*/ 808229 w 3718887"/>
              <a:gd name="connsiteY186" fmla="*/ 1158601 h 6994525"/>
              <a:gd name="connsiteX187" fmla="*/ 688332 w 3718887"/>
              <a:gd name="connsiteY187" fmla="*/ 1039327 h 6994525"/>
              <a:gd name="connsiteX188" fmla="*/ 807606 w 3718887"/>
              <a:gd name="connsiteY188" fmla="*/ 919430 h 6994525"/>
              <a:gd name="connsiteX189" fmla="*/ 927503 w 3718887"/>
              <a:gd name="connsiteY189" fmla="*/ 1038698 h 6994525"/>
              <a:gd name="connsiteX190" fmla="*/ 808229 w 3718887"/>
              <a:gd name="connsiteY190" fmla="*/ 1158601 h 6994525"/>
              <a:gd name="connsiteX191" fmla="*/ 1254758 w 3718887"/>
              <a:gd name="connsiteY191" fmla="*/ 1162662 h 6994525"/>
              <a:gd name="connsiteX192" fmla="*/ 1149296 w 3718887"/>
              <a:gd name="connsiteY192" fmla="*/ 1057829 h 6994525"/>
              <a:gd name="connsiteX193" fmla="*/ 1254129 w 3718887"/>
              <a:gd name="connsiteY193" fmla="*/ 952368 h 6994525"/>
              <a:gd name="connsiteX194" fmla="*/ 1359590 w 3718887"/>
              <a:gd name="connsiteY194" fmla="*/ 1057200 h 6994525"/>
              <a:gd name="connsiteX195" fmla="*/ 1254758 w 3718887"/>
              <a:gd name="connsiteY195" fmla="*/ 1162662 h 6994525"/>
              <a:gd name="connsiteX196" fmla="*/ 1682350 w 3718887"/>
              <a:gd name="connsiteY196" fmla="*/ 1166189 h 6994525"/>
              <a:gd name="connsiteX197" fmla="*/ 1607025 w 3718887"/>
              <a:gd name="connsiteY197" fmla="*/ 1090864 h 6994525"/>
              <a:gd name="connsiteX198" fmla="*/ 1681727 w 3718887"/>
              <a:gd name="connsiteY198" fmla="*/ 1015533 h 6994525"/>
              <a:gd name="connsiteX199" fmla="*/ 1757053 w 3718887"/>
              <a:gd name="connsiteY199" fmla="*/ 1090235 h 6994525"/>
              <a:gd name="connsiteX200" fmla="*/ 1682350 w 3718887"/>
              <a:gd name="connsiteY200" fmla="*/ 1166189 h 6994525"/>
              <a:gd name="connsiteX201" fmla="*/ 338908 w 3718887"/>
              <a:gd name="connsiteY201" fmla="*/ 1168843 h 6994525"/>
              <a:gd name="connsiteX202" fmla="*/ 212732 w 3718887"/>
              <a:gd name="connsiteY202" fmla="*/ 1043289 h 6994525"/>
              <a:gd name="connsiteX203" fmla="*/ 337649 w 3718887"/>
              <a:gd name="connsiteY203" fmla="*/ 916489 h 6994525"/>
              <a:gd name="connsiteX204" fmla="*/ 464454 w 3718887"/>
              <a:gd name="connsiteY204" fmla="*/ 1042037 h 6994525"/>
              <a:gd name="connsiteX205" fmla="*/ 338908 w 3718887"/>
              <a:gd name="connsiteY205" fmla="*/ 1168843 h 6994525"/>
              <a:gd name="connsiteX206" fmla="*/ 2094906 w 3718887"/>
              <a:gd name="connsiteY206" fmla="*/ 1200074 h 6994525"/>
              <a:gd name="connsiteX207" fmla="*/ 2029884 w 3718887"/>
              <a:gd name="connsiteY207" fmla="*/ 1135698 h 6994525"/>
              <a:gd name="connsiteX208" fmla="*/ 2094261 w 3718887"/>
              <a:gd name="connsiteY208" fmla="*/ 1070676 h 6994525"/>
              <a:gd name="connsiteX209" fmla="*/ 2159282 w 3718887"/>
              <a:gd name="connsiteY209" fmla="*/ 1135052 h 6994525"/>
              <a:gd name="connsiteX210" fmla="*/ 2094906 w 3718887"/>
              <a:gd name="connsiteY210" fmla="*/ 1200074 h 6994525"/>
              <a:gd name="connsiteX211" fmla="*/ 2494634 w 3718887"/>
              <a:gd name="connsiteY211" fmla="*/ 1251698 h 6994525"/>
              <a:gd name="connsiteX212" fmla="*/ 2429520 w 3718887"/>
              <a:gd name="connsiteY212" fmla="*/ 1187412 h 6994525"/>
              <a:gd name="connsiteX213" fmla="*/ 2493806 w 3718887"/>
              <a:gd name="connsiteY213" fmla="*/ 1122298 h 6994525"/>
              <a:gd name="connsiteX214" fmla="*/ 2558920 w 3718887"/>
              <a:gd name="connsiteY214" fmla="*/ 1186584 h 6994525"/>
              <a:gd name="connsiteX215" fmla="*/ 2494634 w 3718887"/>
              <a:gd name="connsiteY215" fmla="*/ 1251698 h 6994525"/>
              <a:gd name="connsiteX216" fmla="*/ 2884179 w 3718887"/>
              <a:gd name="connsiteY216" fmla="*/ 1308282 h 6994525"/>
              <a:gd name="connsiteX217" fmla="*/ 2819472 w 3718887"/>
              <a:gd name="connsiteY217" fmla="*/ 1243575 h 6994525"/>
              <a:gd name="connsiteX218" fmla="*/ 2884179 w 3718887"/>
              <a:gd name="connsiteY218" fmla="*/ 1178869 h 6994525"/>
              <a:gd name="connsiteX219" fmla="*/ 2948885 w 3718887"/>
              <a:gd name="connsiteY219" fmla="*/ 1243575 h 6994525"/>
              <a:gd name="connsiteX220" fmla="*/ 2884179 w 3718887"/>
              <a:gd name="connsiteY220" fmla="*/ 1308282 h 6994525"/>
              <a:gd name="connsiteX221" fmla="*/ 78656 w 3718887"/>
              <a:gd name="connsiteY221" fmla="*/ 1344897 h 6994525"/>
              <a:gd name="connsiteX222" fmla="*/ 11174 w 3718887"/>
              <a:gd name="connsiteY222" fmla="*/ 1317278 h 6994525"/>
              <a:gd name="connsiteX223" fmla="*/ 0 w 3718887"/>
              <a:gd name="connsiteY223" fmla="*/ 1300819 h 6994525"/>
              <a:gd name="connsiteX224" fmla="*/ 0 w 3718887"/>
              <a:gd name="connsiteY224" fmla="*/ 1198917 h 6994525"/>
              <a:gd name="connsiteX225" fmla="*/ 10859 w 3718887"/>
              <a:gd name="connsiteY225" fmla="*/ 1182633 h 6994525"/>
              <a:gd name="connsiteX226" fmla="*/ 78027 w 3718887"/>
              <a:gd name="connsiteY226" fmla="*/ 1154698 h 6994525"/>
              <a:gd name="connsiteX227" fmla="*/ 173438 w 3718887"/>
              <a:gd name="connsiteY227" fmla="*/ 1249486 h 6994525"/>
              <a:gd name="connsiteX228" fmla="*/ 78656 w 3718887"/>
              <a:gd name="connsiteY228" fmla="*/ 1344897 h 6994525"/>
              <a:gd name="connsiteX229" fmla="*/ 551846 w 3718887"/>
              <a:gd name="connsiteY229" fmla="*/ 1364048 h 6994525"/>
              <a:gd name="connsiteX230" fmla="*/ 430064 w 3718887"/>
              <a:gd name="connsiteY230" fmla="*/ 1242895 h 6994525"/>
              <a:gd name="connsiteX231" fmla="*/ 550587 w 3718887"/>
              <a:gd name="connsiteY231" fmla="*/ 1120490 h 6994525"/>
              <a:gd name="connsiteX232" fmla="*/ 672992 w 3718887"/>
              <a:gd name="connsiteY232" fmla="*/ 1241643 h 6994525"/>
              <a:gd name="connsiteX233" fmla="*/ 551846 w 3718887"/>
              <a:gd name="connsiteY233" fmla="*/ 1364048 h 6994525"/>
              <a:gd name="connsiteX234" fmla="*/ 3265345 w 3718887"/>
              <a:gd name="connsiteY234" fmla="*/ 1368986 h 6994525"/>
              <a:gd name="connsiteX235" fmla="*/ 3200613 w 3718887"/>
              <a:gd name="connsiteY235" fmla="*/ 1304254 h 6994525"/>
              <a:gd name="connsiteX236" fmla="*/ 3265345 w 3718887"/>
              <a:gd name="connsiteY236" fmla="*/ 1239523 h 6994525"/>
              <a:gd name="connsiteX237" fmla="*/ 3330076 w 3718887"/>
              <a:gd name="connsiteY237" fmla="*/ 1304254 h 6994525"/>
              <a:gd name="connsiteX238" fmla="*/ 3265345 w 3718887"/>
              <a:gd name="connsiteY238" fmla="*/ 1368986 h 6994525"/>
              <a:gd name="connsiteX239" fmla="*/ 999660 w 3718887"/>
              <a:gd name="connsiteY239" fmla="*/ 1381990 h 6994525"/>
              <a:gd name="connsiteX240" fmla="*/ 876623 w 3718887"/>
              <a:gd name="connsiteY240" fmla="*/ 1259579 h 6994525"/>
              <a:gd name="connsiteX241" fmla="*/ 999031 w 3718887"/>
              <a:gd name="connsiteY241" fmla="*/ 1136539 h 6994525"/>
              <a:gd name="connsiteX242" fmla="*/ 1122068 w 3718887"/>
              <a:gd name="connsiteY242" fmla="*/ 1258950 h 6994525"/>
              <a:gd name="connsiteX243" fmla="*/ 999660 w 3718887"/>
              <a:gd name="connsiteY243" fmla="*/ 1381990 h 6994525"/>
              <a:gd name="connsiteX244" fmla="*/ 1426398 w 3718887"/>
              <a:gd name="connsiteY244" fmla="*/ 1398827 h 6994525"/>
              <a:gd name="connsiteX245" fmla="*/ 1320936 w 3718887"/>
              <a:gd name="connsiteY245" fmla="*/ 1293994 h 6994525"/>
              <a:gd name="connsiteX246" fmla="*/ 1425769 w 3718887"/>
              <a:gd name="connsiteY246" fmla="*/ 1188533 h 6994525"/>
              <a:gd name="connsiteX247" fmla="*/ 1531230 w 3718887"/>
              <a:gd name="connsiteY247" fmla="*/ 1293365 h 6994525"/>
              <a:gd name="connsiteX248" fmla="*/ 1426398 w 3718887"/>
              <a:gd name="connsiteY248" fmla="*/ 1398827 h 6994525"/>
              <a:gd name="connsiteX249" fmla="*/ 1836790 w 3718887"/>
              <a:gd name="connsiteY249" fmla="*/ 1430815 h 6994525"/>
              <a:gd name="connsiteX250" fmla="*/ 1744511 w 3718887"/>
              <a:gd name="connsiteY250" fmla="*/ 1339165 h 6994525"/>
              <a:gd name="connsiteX251" fmla="*/ 1836161 w 3718887"/>
              <a:gd name="connsiteY251" fmla="*/ 1246887 h 6994525"/>
              <a:gd name="connsiteX252" fmla="*/ 1928439 w 3718887"/>
              <a:gd name="connsiteY252" fmla="*/ 1338536 h 6994525"/>
              <a:gd name="connsiteX253" fmla="*/ 1836790 w 3718887"/>
              <a:gd name="connsiteY253" fmla="*/ 1430815 h 6994525"/>
              <a:gd name="connsiteX254" fmla="*/ 2233842 w 3718887"/>
              <a:gd name="connsiteY254" fmla="*/ 1459666 h 6994525"/>
              <a:gd name="connsiteX255" fmla="*/ 2166047 w 3718887"/>
              <a:gd name="connsiteY255" fmla="*/ 1392500 h 6994525"/>
              <a:gd name="connsiteX256" fmla="*/ 2233212 w 3718887"/>
              <a:gd name="connsiteY256" fmla="*/ 1324706 h 6994525"/>
              <a:gd name="connsiteX257" fmla="*/ 2301013 w 3718887"/>
              <a:gd name="connsiteY257" fmla="*/ 1391871 h 6994525"/>
              <a:gd name="connsiteX258" fmla="*/ 2233842 w 3718887"/>
              <a:gd name="connsiteY258" fmla="*/ 1459666 h 6994525"/>
              <a:gd name="connsiteX259" fmla="*/ 2620735 w 3718887"/>
              <a:gd name="connsiteY259" fmla="*/ 1514947 h 6994525"/>
              <a:gd name="connsiteX260" fmla="*/ 2555580 w 3718887"/>
              <a:gd name="connsiteY260" fmla="*/ 1450734 h 6994525"/>
              <a:gd name="connsiteX261" fmla="*/ 2619788 w 3718887"/>
              <a:gd name="connsiteY261" fmla="*/ 1385573 h 6994525"/>
              <a:gd name="connsiteX262" fmla="*/ 2684934 w 3718887"/>
              <a:gd name="connsiteY262" fmla="*/ 1449787 h 6994525"/>
              <a:gd name="connsiteX263" fmla="*/ 2620735 w 3718887"/>
              <a:gd name="connsiteY263" fmla="*/ 1514947 h 6994525"/>
              <a:gd name="connsiteX264" fmla="*/ 295462 w 3718887"/>
              <a:gd name="connsiteY264" fmla="*/ 1567089 h 6994525"/>
              <a:gd name="connsiteX265" fmla="*/ 173681 w 3718887"/>
              <a:gd name="connsiteY265" fmla="*/ 1445936 h 6994525"/>
              <a:gd name="connsiteX266" fmla="*/ 294833 w 3718887"/>
              <a:gd name="connsiteY266" fmla="*/ 1323531 h 6994525"/>
              <a:gd name="connsiteX267" fmla="*/ 416607 w 3718887"/>
              <a:gd name="connsiteY267" fmla="*/ 1444684 h 6994525"/>
              <a:gd name="connsiteX268" fmla="*/ 295462 w 3718887"/>
              <a:gd name="connsiteY268" fmla="*/ 1567089 h 6994525"/>
              <a:gd name="connsiteX269" fmla="*/ 2997749 w 3718887"/>
              <a:gd name="connsiteY269" fmla="*/ 1577142 h 6994525"/>
              <a:gd name="connsiteX270" fmla="*/ 2933042 w 3718887"/>
              <a:gd name="connsiteY270" fmla="*/ 1512435 h 6994525"/>
              <a:gd name="connsiteX271" fmla="*/ 2997749 w 3718887"/>
              <a:gd name="connsiteY271" fmla="*/ 1447729 h 6994525"/>
              <a:gd name="connsiteX272" fmla="*/ 3062455 w 3718887"/>
              <a:gd name="connsiteY272" fmla="*/ 1512435 h 6994525"/>
              <a:gd name="connsiteX273" fmla="*/ 2997749 w 3718887"/>
              <a:gd name="connsiteY273" fmla="*/ 1577142 h 6994525"/>
              <a:gd name="connsiteX274" fmla="*/ 744666 w 3718887"/>
              <a:gd name="connsiteY274" fmla="*/ 1592229 h 6994525"/>
              <a:gd name="connsiteX275" fmla="*/ 613470 w 3718887"/>
              <a:gd name="connsiteY275" fmla="*/ 1462292 h 6994525"/>
              <a:gd name="connsiteX276" fmla="*/ 743407 w 3718887"/>
              <a:gd name="connsiteY276" fmla="*/ 1331096 h 6994525"/>
              <a:gd name="connsiteX277" fmla="*/ 874603 w 3718887"/>
              <a:gd name="connsiteY277" fmla="*/ 1461033 h 6994525"/>
              <a:gd name="connsiteX278" fmla="*/ 744666 w 3718887"/>
              <a:gd name="connsiteY278" fmla="*/ 1592229 h 6994525"/>
              <a:gd name="connsiteX279" fmla="*/ 1170441 w 3718887"/>
              <a:gd name="connsiteY279" fmla="*/ 1619012 h 6994525"/>
              <a:gd name="connsiteX280" fmla="*/ 1047404 w 3718887"/>
              <a:gd name="connsiteY280" fmla="*/ 1496601 h 6994525"/>
              <a:gd name="connsiteX281" fmla="*/ 1169812 w 3718887"/>
              <a:gd name="connsiteY281" fmla="*/ 1373561 h 6994525"/>
              <a:gd name="connsiteX282" fmla="*/ 1292849 w 3718887"/>
              <a:gd name="connsiteY282" fmla="*/ 1495972 h 6994525"/>
              <a:gd name="connsiteX283" fmla="*/ 1170441 w 3718887"/>
              <a:gd name="connsiteY283" fmla="*/ 1619012 h 6994525"/>
              <a:gd name="connsiteX284" fmla="*/ 3370208 w 3718887"/>
              <a:gd name="connsiteY284" fmla="*/ 1643930 h 6994525"/>
              <a:gd name="connsiteX285" fmla="*/ 3303638 w 3718887"/>
              <a:gd name="connsiteY285" fmla="*/ 1577399 h 6994525"/>
              <a:gd name="connsiteX286" fmla="*/ 3366501 w 3718887"/>
              <a:gd name="connsiteY286" fmla="*/ 1510831 h 6994525"/>
              <a:gd name="connsiteX287" fmla="*/ 3433071 w 3718887"/>
              <a:gd name="connsiteY287" fmla="*/ 1577399 h 6994525"/>
              <a:gd name="connsiteX288" fmla="*/ 3370208 w 3718887"/>
              <a:gd name="connsiteY288" fmla="*/ 1643930 h 6994525"/>
              <a:gd name="connsiteX289" fmla="*/ 1578253 w 3718887"/>
              <a:gd name="connsiteY289" fmla="*/ 1648332 h 6994525"/>
              <a:gd name="connsiteX290" fmla="*/ 1472791 w 3718887"/>
              <a:gd name="connsiteY290" fmla="*/ 1543499 h 6994525"/>
              <a:gd name="connsiteX291" fmla="*/ 1577623 w 3718887"/>
              <a:gd name="connsiteY291" fmla="*/ 1438038 h 6994525"/>
              <a:gd name="connsiteX292" fmla="*/ 1683085 w 3718887"/>
              <a:gd name="connsiteY292" fmla="*/ 1542870 h 6994525"/>
              <a:gd name="connsiteX293" fmla="*/ 1578253 w 3718887"/>
              <a:gd name="connsiteY293" fmla="*/ 1648332 h 6994525"/>
              <a:gd name="connsiteX294" fmla="*/ 1972296 w 3718887"/>
              <a:gd name="connsiteY294" fmla="*/ 1691662 h 6994525"/>
              <a:gd name="connsiteX295" fmla="*/ 1878134 w 3718887"/>
              <a:gd name="connsiteY295" fmla="*/ 1598131 h 6994525"/>
              <a:gd name="connsiteX296" fmla="*/ 1971666 w 3718887"/>
              <a:gd name="connsiteY296" fmla="*/ 1503972 h 6994525"/>
              <a:gd name="connsiteX297" fmla="*/ 2065828 w 3718887"/>
              <a:gd name="connsiteY297" fmla="*/ 1597502 h 6994525"/>
              <a:gd name="connsiteX298" fmla="*/ 1972296 w 3718887"/>
              <a:gd name="connsiteY298" fmla="*/ 1691662 h 6994525"/>
              <a:gd name="connsiteX299" fmla="*/ 38554 w 3718887"/>
              <a:gd name="connsiteY299" fmla="*/ 1713067 h 6994525"/>
              <a:gd name="connsiteX300" fmla="*/ 13558 w 3718887"/>
              <a:gd name="connsiteY300" fmla="*/ 1708024 h 6994525"/>
              <a:gd name="connsiteX301" fmla="*/ 0 w 3718887"/>
              <a:gd name="connsiteY301" fmla="*/ 1698937 h 6994525"/>
              <a:gd name="connsiteX302" fmla="*/ 0 w 3718887"/>
              <a:gd name="connsiteY302" fmla="*/ 1597187 h 6994525"/>
              <a:gd name="connsiteX303" fmla="*/ 13143 w 3718887"/>
              <a:gd name="connsiteY303" fmla="*/ 1588414 h 6994525"/>
              <a:gd name="connsiteX304" fmla="*/ 38554 w 3718887"/>
              <a:gd name="connsiteY304" fmla="*/ 1583682 h 6994525"/>
              <a:gd name="connsiteX305" fmla="*/ 103246 w 3718887"/>
              <a:gd name="connsiteY305" fmla="*/ 1648375 h 6994525"/>
              <a:gd name="connsiteX306" fmla="*/ 38554 w 3718887"/>
              <a:gd name="connsiteY306" fmla="*/ 1713067 h 6994525"/>
              <a:gd name="connsiteX307" fmla="*/ 2355155 w 3718887"/>
              <a:gd name="connsiteY307" fmla="*/ 1743920 h 6994525"/>
              <a:gd name="connsiteX308" fmla="*/ 2268528 w 3718887"/>
              <a:gd name="connsiteY308" fmla="*/ 1657922 h 6994525"/>
              <a:gd name="connsiteX309" fmla="*/ 2354525 w 3718887"/>
              <a:gd name="connsiteY309" fmla="*/ 1571296 h 6994525"/>
              <a:gd name="connsiteX310" fmla="*/ 2441152 w 3718887"/>
              <a:gd name="connsiteY310" fmla="*/ 1657293 h 6994525"/>
              <a:gd name="connsiteX311" fmla="*/ 2355155 w 3718887"/>
              <a:gd name="connsiteY311" fmla="*/ 1743920 h 6994525"/>
              <a:gd name="connsiteX312" fmla="*/ 489035 w 3718887"/>
              <a:gd name="connsiteY312" fmla="*/ 1761875 h 6994525"/>
              <a:gd name="connsiteX313" fmla="*/ 390484 w 3718887"/>
              <a:gd name="connsiteY313" fmla="*/ 1663952 h 6994525"/>
              <a:gd name="connsiteX314" fmla="*/ 488412 w 3718887"/>
              <a:gd name="connsiteY314" fmla="*/ 1565394 h 6994525"/>
              <a:gd name="connsiteX315" fmla="*/ 586963 w 3718887"/>
              <a:gd name="connsiteY315" fmla="*/ 1663323 h 6994525"/>
              <a:gd name="connsiteX316" fmla="*/ 489035 w 3718887"/>
              <a:gd name="connsiteY316" fmla="*/ 1761875 h 6994525"/>
              <a:gd name="connsiteX317" fmla="*/ 2728879 w 3718887"/>
              <a:gd name="connsiteY317" fmla="*/ 1786342 h 6994525"/>
              <a:gd name="connsiteX318" fmla="*/ 2663594 w 3718887"/>
              <a:gd name="connsiteY318" fmla="*/ 1721058 h 6994525"/>
              <a:gd name="connsiteX319" fmla="*/ 2728879 w 3718887"/>
              <a:gd name="connsiteY319" fmla="*/ 1655774 h 6994525"/>
              <a:gd name="connsiteX320" fmla="*/ 2794164 w 3718887"/>
              <a:gd name="connsiteY320" fmla="*/ 1721058 h 6994525"/>
              <a:gd name="connsiteX321" fmla="*/ 2728879 w 3718887"/>
              <a:gd name="connsiteY321" fmla="*/ 1786342 h 6994525"/>
              <a:gd name="connsiteX322" fmla="*/ 914154 w 3718887"/>
              <a:gd name="connsiteY322" fmla="*/ 1824465 h 6994525"/>
              <a:gd name="connsiteX323" fmla="*/ 788608 w 3718887"/>
              <a:gd name="connsiteY323" fmla="*/ 1700177 h 6994525"/>
              <a:gd name="connsiteX324" fmla="*/ 912901 w 3718887"/>
              <a:gd name="connsiteY324" fmla="*/ 1574632 h 6994525"/>
              <a:gd name="connsiteX325" fmla="*/ 1038447 w 3718887"/>
              <a:gd name="connsiteY325" fmla="*/ 1698919 h 6994525"/>
              <a:gd name="connsiteX326" fmla="*/ 914154 w 3718887"/>
              <a:gd name="connsiteY326" fmla="*/ 1824465 h 6994525"/>
              <a:gd name="connsiteX327" fmla="*/ 3095388 w 3718887"/>
              <a:gd name="connsiteY327" fmla="*/ 1852431 h 6994525"/>
              <a:gd name="connsiteX328" fmla="*/ 3030692 w 3718887"/>
              <a:gd name="connsiteY328" fmla="*/ 1787735 h 6994525"/>
              <a:gd name="connsiteX329" fmla="*/ 3095388 w 3718887"/>
              <a:gd name="connsiteY329" fmla="*/ 1723039 h 6994525"/>
              <a:gd name="connsiteX330" fmla="*/ 3160084 w 3718887"/>
              <a:gd name="connsiteY330" fmla="*/ 1787735 h 6994525"/>
              <a:gd name="connsiteX331" fmla="*/ 3095388 w 3718887"/>
              <a:gd name="connsiteY331" fmla="*/ 1852431 h 6994525"/>
              <a:gd name="connsiteX332" fmla="*/ 1318847 w 3718887"/>
              <a:gd name="connsiteY332" fmla="*/ 1869515 h 6994525"/>
              <a:gd name="connsiteX333" fmla="*/ 1197072 w 3718887"/>
              <a:gd name="connsiteY333" fmla="*/ 1748362 h 6994525"/>
              <a:gd name="connsiteX334" fmla="*/ 1317595 w 3718887"/>
              <a:gd name="connsiteY334" fmla="*/ 1625957 h 6994525"/>
              <a:gd name="connsiteX335" fmla="*/ 1440000 w 3718887"/>
              <a:gd name="connsiteY335" fmla="*/ 1747110 h 6994525"/>
              <a:gd name="connsiteX336" fmla="*/ 1318847 w 3718887"/>
              <a:gd name="connsiteY336" fmla="*/ 1869515 h 6994525"/>
              <a:gd name="connsiteX337" fmla="*/ 1709452 w 3718887"/>
              <a:gd name="connsiteY337" fmla="*/ 1910274 h 6994525"/>
              <a:gd name="connsiteX338" fmla="*/ 1602737 w 3718887"/>
              <a:gd name="connsiteY338" fmla="*/ 1804182 h 6994525"/>
              <a:gd name="connsiteX339" fmla="*/ 1708829 w 3718887"/>
              <a:gd name="connsiteY339" fmla="*/ 1697467 h 6994525"/>
              <a:gd name="connsiteX340" fmla="*/ 1815544 w 3718887"/>
              <a:gd name="connsiteY340" fmla="*/ 1803559 h 6994525"/>
              <a:gd name="connsiteX341" fmla="*/ 1709452 w 3718887"/>
              <a:gd name="connsiteY341" fmla="*/ 1910274 h 6994525"/>
              <a:gd name="connsiteX342" fmla="*/ 3455893 w 3718887"/>
              <a:gd name="connsiteY342" fmla="*/ 1920652 h 6994525"/>
              <a:gd name="connsiteX343" fmla="*/ 3389327 w 3718887"/>
              <a:gd name="connsiteY343" fmla="*/ 1854085 h 6994525"/>
              <a:gd name="connsiteX344" fmla="*/ 3455893 w 3718887"/>
              <a:gd name="connsiteY344" fmla="*/ 1791224 h 6994525"/>
              <a:gd name="connsiteX345" fmla="*/ 3522422 w 3718887"/>
              <a:gd name="connsiteY345" fmla="*/ 1854085 h 6994525"/>
              <a:gd name="connsiteX346" fmla="*/ 3455893 w 3718887"/>
              <a:gd name="connsiteY346" fmla="*/ 1920652 h 6994525"/>
              <a:gd name="connsiteX347" fmla="*/ 233853 w 3718887"/>
              <a:gd name="connsiteY347" fmla="*/ 1930447 h 6994525"/>
              <a:gd name="connsiteX348" fmla="*/ 169153 w 3718887"/>
              <a:gd name="connsiteY348" fmla="*/ 1865753 h 6994525"/>
              <a:gd name="connsiteX349" fmla="*/ 233853 w 3718887"/>
              <a:gd name="connsiteY349" fmla="*/ 1800316 h 6994525"/>
              <a:gd name="connsiteX350" fmla="*/ 298552 w 3718887"/>
              <a:gd name="connsiteY350" fmla="*/ 1865016 h 6994525"/>
              <a:gd name="connsiteX351" fmla="*/ 233853 w 3718887"/>
              <a:gd name="connsiteY351" fmla="*/ 1930447 h 6994525"/>
              <a:gd name="connsiteX352" fmla="*/ 2088014 w 3718887"/>
              <a:gd name="connsiteY352" fmla="*/ 1959666 h 6994525"/>
              <a:gd name="connsiteX353" fmla="*/ 1993852 w 3718887"/>
              <a:gd name="connsiteY353" fmla="*/ 1866130 h 6994525"/>
              <a:gd name="connsiteX354" fmla="*/ 2087384 w 3718887"/>
              <a:gd name="connsiteY354" fmla="*/ 1771972 h 6994525"/>
              <a:gd name="connsiteX355" fmla="*/ 2181546 w 3718887"/>
              <a:gd name="connsiteY355" fmla="*/ 1865501 h 6994525"/>
              <a:gd name="connsiteX356" fmla="*/ 2088014 w 3718887"/>
              <a:gd name="connsiteY356" fmla="*/ 1959666 h 6994525"/>
              <a:gd name="connsiteX357" fmla="*/ 657239 w 3718887"/>
              <a:gd name="connsiteY357" fmla="*/ 2010230 h 6994525"/>
              <a:gd name="connsiteX358" fmla="*/ 548639 w 3718887"/>
              <a:gd name="connsiteY358" fmla="*/ 1902259 h 6994525"/>
              <a:gd name="connsiteX359" fmla="*/ 656610 w 3718887"/>
              <a:gd name="connsiteY359" fmla="*/ 1793666 h 6994525"/>
              <a:gd name="connsiteX360" fmla="*/ 765203 w 3718887"/>
              <a:gd name="connsiteY360" fmla="*/ 1901636 h 6994525"/>
              <a:gd name="connsiteX361" fmla="*/ 657239 w 3718887"/>
              <a:gd name="connsiteY361" fmla="*/ 2010230 h 6994525"/>
              <a:gd name="connsiteX362" fmla="*/ 2457967 w 3718887"/>
              <a:gd name="connsiteY362" fmla="*/ 2028725 h 6994525"/>
              <a:gd name="connsiteX363" fmla="*/ 2360037 w 3718887"/>
              <a:gd name="connsiteY363" fmla="*/ 1932050 h 6994525"/>
              <a:gd name="connsiteX364" fmla="*/ 2457338 w 3718887"/>
              <a:gd name="connsiteY364" fmla="*/ 1834117 h 6994525"/>
              <a:gd name="connsiteX365" fmla="*/ 2555262 w 3718887"/>
              <a:gd name="connsiteY365" fmla="*/ 1930792 h 6994525"/>
              <a:gd name="connsiteX366" fmla="*/ 2457967 w 3718887"/>
              <a:gd name="connsiteY366" fmla="*/ 2028725 h 6994525"/>
              <a:gd name="connsiteX367" fmla="*/ 2820177 w 3718887"/>
              <a:gd name="connsiteY367" fmla="*/ 2081922 h 6994525"/>
              <a:gd name="connsiteX368" fmla="*/ 2736689 w 3718887"/>
              <a:gd name="connsiteY368" fmla="*/ 1999057 h 6994525"/>
              <a:gd name="connsiteX369" fmla="*/ 2819547 w 3718887"/>
              <a:gd name="connsiteY369" fmla="*/ 1915570 h 6994525"/>
              <a:gd name="connsiteX370" fmla="*/ 2903035 w 3718887"/>
              <a:gd name="connsiteY370" fmla="*/ 1998428 h 6994525"/>
              <a:gd name="connsiteX371" fmla="*/ 2820177 w 3718887"/>
              <a:gd name="connsiteY371" fmla="*/ 2081922 h 6994525"/>
              <a:gd name="connsiteX372" fmla="*/ 1059555 w 3718887"/>
              <a:gd name="connsiteY372" fmla="*/ 2087461 h 6994525"/>
              <a:gd name="connsiteX373" fmla="*/ 923965 w 3718887"/>
              <a:gd name="connsiteY373" fmla="*/ 1953123 h 6994525"/>
              <a:gd name="connsiteX374" fmla="*/ 1058297 w 3718887"/>
              <a:gd name="connsiteY374" fmla="*/ 1817533 h 6994525"/>
              <a:gd name="connsiteX375" fmla="*/ 1193893 w 3718887"/>
              <a:gd name="connsiteY375" fmla="*/ 1951865 h 6994525"/>
              <a:gd name="connsiteX376" fmla="*/ 1059555 w 3718887"/>
              <a:gd name="connsiteY376" fmla="*/ 2087461 h 6994525"/>
              <a:gd name="connsiteX377" fmla="*/ 0 w 3718887"/>
              <a:gd name="connsiteY377" fmla="*/ 2128682 h 6994525"/>
              <a:gd name="connsiteX378" fmla="*/ 0 w 3718887"/>
              <a:gd name="connsiteY378" fmla="*/ 2006448 h 6994525"/>
              <a:gd name="connsiteX379" fmla="*/ 3811 w 3718887"/>
              <a:gd name="connsiteY379" fmla="*/ 2007227 h 6994525"/>
              <a:gd name="connsiteX380" fmla="*/ 43459 w 3718887"/>
              <a:gd name="connsiteY380" fmla="*/ 2066803 h 6994525"/>
              <a:gd name="connsiteX381" fmla="*/ 3811 w 3718887"/>
              <a:gd name="connsiteY381" fmla="*/ 2127898 h 6994525"/>
              <a:gd name="connsiteX382" fmla="*/ 3176435 w 3718887"/>
              <a:gd name="connsiteY382" fmla="*/ 2133296 h 6994525"/>
              <a:gd name="connsiteX383" fmla="*/ 3111354 w 3718887"/>
              <a:gd name="connsiteY383" fmla="*/ 2068211 h 6994525"/>
              <a:gd name="connsiteX384" fmla="*/ 3175649 w 3718887"/>
              <a:gd name="connsiteY384" fmla="*/ 2003127 h 6994525"/>
              <a:gd name="connsiteX385" fmla="*/ 3240730 w 3718887"/>
              <a:gd name="connsiteY385" fmla="*/ 2068211 h 6994525"/>
              <a:gd name="connsiteX386" fmla="*/ 3176435 w 3718887"/>
              <a:gd name="connsiteY386" fmla="*/ 2133296 h 6994525"/>
              <a:gd name="connsiteX387" fmla="*/ 1444896 w 3718887"/>
              <a:gd name="connsiteY387" fmla="*/ 2143982 h 6994525"/>
              <a:gd name="connsiteX388" fmla="*/ 1311819 w 3718887"/>
              <a:gd name="connsiteY388" fmla="*/ 2011528 h 6994525"/>
              <a:gd name="connsiteX389" fmla="*/ 1444267 w 3718887"/>
              <a:gd name="connsiteY389" fmla="*/ 1878451 h 6994525"/>
              <a:gd name="connsiteX390" fmla="*/ 1577350 w 3718887"/>
              <a:gd name="connsiteY390" fmla="*/ 2010899 h 6994525"/>
              <a:gd name="connsiteX391" fmla="*/ 1444896 w 3718887"/>
              <a:gd name="connsiteY391" fmla="*/ 2143982 h 6994525"/>
              <a:gd name="connsiteX392" fmla="*/ 400419 w 3718887"/>
              <a:gd name="connsiteY392" fmla="*/ 2176057 h 6994525"/>
              <a:gd name="connsiteX393" fmla="*/ 329482 w 3718887"/>
              <a:gd name="connsiteY393" fmla="*/ 2105743 h 6994525"/>
              <a:gd name="connsiteX394" fmla="*/ 399796 w 3718887"/>
              <a:gd name="connsiteY394" fmla="*/ 2034807 h 6994525"/>
              <a:gd name="connsiteX395" fmla="*/ 470732 w 3718887"/>
              <a:gd name="connsiteY395" fmla="*/ 2105120 h 6994525"/>
              <a:gd name="connsiteX396" fmla="*/ 400419 w 3718887"/>
              <a:gd name="connsiteY396" fmla="*/ 2176057 h 6994525"/>
              <a:gd name="connsiteX397" fmla="*/ 1818721 w 3718887"/>
              <a:gd name="connsiteY397" fmla="*/ 2193212 h 6994525"/>
              <a:gd name="connsiteX398" fmla="*/ 1700077 w 3718887"/>
              <a:gd name="connsiteY398" fmla="*/ 2075197 h 6994525"/>
              <a:gd name="connsiteX399" fmla="*/ 1818091 w 3718887"/>
              <a:gd name="connsiteY399" fmla="*/ 1956554 h 6994525"/>
              <a:gd name="connsiteX400" fmla="*/ 1936735 w 3718887"/>
              <a:gd name="connsiteY400" fmla="*/ 2074568 h 6994525"/>
              <a:gd name="connsiteX401" fmla="*/ 1818721 w 3718887"/>
              <a:gd name="connsiteY401" fmla="*/ 2193212 h 6994525"/>
              <a:gd name="connsiteX402" fmla="*/ 3527730 w 3718887"/>
              <a:gd name="connsiteY402" fmla="*/ 2203544 h 6994525"/>
              <a:gd name="connsiteX403" fmla="*/ 3463022 w 3718887"/>
              <a:gd name="connsiteY403" fmla="*/ 2138863 h 6994525"/>
              <a:gd name="connsiteX404" fmla="*/ 3525236 w 3718887"/>
              <a:gd name="connsiteY404" fmla="*/ 2074157 h 6994525"/>
              <a:gd name="connsiteX405" fmla="*/ 3592414 w 3718887"/>
              <a:gd name="connsiteY405" fmla="*/ 2138863 h 6994525"/>
              <a:gd name="connsiteX406" fmla="*/ 3527730 w 3718887"/>
              <a:gd name="connsiteY406" fmla="*/ 2203544 h 6994525"/>
              <a:gd name="connsiteX407" fmla="*/ 2183507 w 3718887"/>
              <a:gd name="connsiteY407" fmla="*/ 2245449 h 6994525"/>
              <a:gd name="connsiteX408" fmla="*/ 2079306 w 3718887"/>
              <a:gd name="connsiteY408" fmla="*/ 2141871 h 6994525"/>
              <a:gd name="connsiteX409" fmla="*/ 2182884 w 3718887"/>
              <a:gd name="connsiteY409" fmla="*/ 2037670 h 6994525"/>
              <a:gd name="connsiteX410" fmla="*/ 2287085 w 3718887"/>
              <a:gd name="connsiteY410" fmla="*/ 2141242 h 6994525"/>
              <a:gd name="connsiteX411" fmla="*/ 2183507 w 3718887"/>
              <a:gd name="connsiteY411" fmla="*/ 2245449 h 6994525"/>
              <a:gd name="connsiteX412" fmla="*/ 797472 w 3718887"/>
              <a:gd name="connsiteY412" fmla="*/ 2266190 h 6994525"/>
              <a:gd name="connsiteX413" fmla="*/ 688879 w 3718887"/>
              <a:gd name="connsiteY413" fmla="*/ 2158219 h 6994525"/>
              <a:gd name="connsiteX414" fmla="*/ 796849 w 3718887"/>
              <a:gd name="connsiteY414" fmla="*/ 2049626 h 6994525"/>
              <a:gd name="connsiteX415" fmla="*/ 905443 w 3718887"/>
              <a:gd name="connsiteY415" fmla="*/ 2157596 h 6994525"/>
              <a:gd name="connsiteX416" fmla="*/ 797472 w 3718887"/>
              <a:gd name="connsiteY416" fmla="*/ 2266190 h 6994525"/>
              <a:gd name="connsiteX417" fmla="*/ 2541517 w 3718887"/>
              <a:gd name="connsiteY417" fmla="*/ 2307910 h 6994525"/>
              <a:gd name="connsiteX418" fmla="*/ 2443590 w 3718887"/>
              <a:gd name="connsiteY418" fmla="*/ 2210612 h 6994525"/>
              <a:gd name="connsiteX419" fmla="*/ 2540888 w 3718887"/>
              <a:gd name="connsiteY419" fmla="*/ 2113314 h 6994525"/>
              <a:gd name="connsiteX420" fmla="*/ 2638186 w 3718887"/>
              <a:gd name="connsiteY420" fmla="*/ 2209983 h 6994525"/>
              <a:gd name="connsiteX421" fmla="*/ 2541517 w 3718887"/>
              <a:gd name="connsiteY421" fmla="*/ 2307910 h 6994525"/>
              <a:gd name="connsiteX422" fmla="*/ 1178716 w 3718887"/>
              <a:gd name="connsiteY422" fmla="*/ 2345391 h 6994525"/>
              <a:gd name="connsiteX423" fmla="*/ 1051916 w 3718887"/>
              <a:gd name="connsiteY423" fmla="*/ 2219837 h 6994525"/>
              <a:gd name="connsiteX424" fmla="*/ 1178093 w 3718887"/>
              <a:gd name="connsiteY424" fmla="*/ 2093037 h 6994525"/>
              <a:gd name="connsiteX425" fmla="*/ 1304270 w 3718887"/>
              <a:gd name="connsiteY425" fmla="*/ 2218585 h 6994525"/>
              <a:gd name="connsiteX426" fmla="*/ 1178716 w 3718887"/>
              <a:gd name="connsiteY426" fmla="*/ 2345391 h 6994525"/>
              <a:gd name="connsiteX427" fmla="*/ 2892874 w 3718887"/>
              <a:gd name="connsiteY427" fmla="*/ 2351999 h 6994525"/>
              <a:gd name="connsiteX428" fmla="*/ 2821938 w 3718887"/>
              <a:gd name="connsiteY428" fmla="*/ 2281685 h 6994525"/>
              <a:gd name="connsiteX429" fmla="*/ 2892244 w 3718887"/>
              <a:gd name="connsiteY429" fmla="*/ 2210749 h 6994525"/>
              <a:gd name="connsiteX430" fmla="*/ 2963180 w 3718887"/>
              <a:gd name="connsiteY430" fmla="*/ 2281062 h 6994525"/>
              <a:gd name="connsiteX431" fmla="*/ 2892874 w 3718887"/>
              <a:gd name="connsiteY431" fmla="*/ 2351999 h 6994525"/>
              <a:gd name="connsiteX432" fmla="*/ 142242 w 3718887"/>
              <a:gd name="connsiteY432" fmla="*/ 2373807 h 6994525"/>
              <a:gd name="connsiteX433" fmla="*/ 77523 w 3718887"/>
              <a:gd name="connsiteY433" fmla="*/ 2309134 h 6994525"/>
              <a:gd name="connsiteX434" fmla="*/ 142242 w 3718887"/>
              <a:gd name="connsiteY434" fmla="*/ 2244415 h 6994525"/>
              <a:gd name="connsiteX435" fmla="*/ 206915 w 3718887"/>
              <a:gd name="connsiteY435" fmla="*/ 2309134 h 6994525"/>
              <a:gd name="connsiteX436" fmla="*/ 142242 w 3718887"/>
              <a:gd name="connsiteY436" fmla="*/ 2373807 h 6994525"/>
              <a:gd name="connsiteX437" fmla="*/ 3239341 w 3718887"/>
              <a:gd name="connsiteY437" fmla="*/ 2417946 h 6994525"/>
              <a:gd name="connsiteX438" fmla="*/ 3175444 w 3718887"/>
              <a:gd name="connsiteY438" fmla="*/ 2354046 h 6994525"/>
              <a:gd name="connsiteX439" fmla="*/ 3239341 w 3718887"/>
              <a:gd name="connsiteY439" fmla="*/ 2288544 h 6994525"/>
              <a:gd name="connsiteX440" fmla="*/ 3304856 w 3718887"/>
              <a:gd name="connsiteY440" fmla="*/ 2352444 h 6994525"/>
              <a:gd name="connsiteX441" fmla="*/ 3239341 w 3718887"/>
              <a:gd name="connsiteY441" fmla="*/ 2417946 h 6994525"/>
              <a:gd name="connsiteX442" fmla="*/ 1546948 w 3718887"/>
              <a:gd name="connsiteY442" fmla="*/ 2425634 h 6994525"/>
              <a:gd name="connsiteX443" fmla="*/ 1405710 w 3718887"/>
              <a:gd name="connsiteY443" fmla="*/ 2285648 h 6994525"/>
              <a:gd name="connsiteX444" fmla="*/ 1546319 w 3718887"/>
              <a:gd name="connsiteY444" fmla="*/ 2144410 h 6994525"/>
              <a:gd name="connsiteX445" fmla="*/ 1686928 w 3718887"/>
              <a:gd name="connsiteY445" fmla="*/ 2284396 h 6994525"/>
              <a:gd name="connsiteX446" fmla="*/ 1546948 w 3718887"/>
              <a:gd name="connsiteY446" fmla="*/ 2425634 h 6994525"/>
              <a:gd name="connsiteX447" fmla="*/ 534410 w 3718887"/>
              <a:gd name="connsiteY447" fmla="*/ 2430227 h 6994525"/>
              <a:gd name="connsiteX448" fmla="*/ 469201 w 3718887"/>
              <a:gd name="connsiteY448" fmla="*/ 2366070 h 6994525"/>
              <a:gd name="connsiteX449" fmla="*/ 533356 w 3718887"/>
              <a:gd name="connsiteY449" fmla="*/ 2299805 h 6994525"/>
              <a:gd name="connsiteX450" fmla="*/ 598576 w 3718887"/>
              <a:gd name="connsiteY450" fmla="*/ 2365016 h 6994525"/>
              <a:gd name="connsiteX451" fmla="*/ 534410 w 3718887"/>
              <a:gd name="connsiteY451" fmla="*/ 2430227 h 6994525"/>
              <a:gd name="connsiteX452" fmla="*/ 1905614 w 3718887"/>
              <a:gd name="connsiteY452" fmla="*/ 2467574 h 6994525"/>
              <a:gd name="connsiteX453" fmla="*/ 1791369 w 3718887"/>
              <a:gd name="connsiteY453" fmla="*/ 2353953 h 6994525"/>
              <a:gd name="connsiteX454" fmla="*/ 1904991 w 3718887"/>
              <a:gd name="connsiteY454" fmla="*/ 2239709 h 6994525"/>
              <a:gd name="connsiteX455" fmla="*/ 2019236 w 3718887"/>
              <a:gd name="connsiteY455" fmla="*/ 2353330 h 6994525"/>
              <a:gd name="connsiteX456" fmla="*/ 1905614 w 3718887"/>
              <a:gd name="connsiteY456" fmla="*/ 2467574 h 6994525"/>
              <a:gd name="connsiteX457" fmla="*/ 3584069 w 3718887"/>
              <a:gd name="connsiteY457" fmla="*/ 2490261 h 6994525"/>
              <a:gd name="connsiteX458" fmla="*/ 3516710 w 3718887"/>
              <a:gd name="connsiteY458" fmla="*/ 2422889 h 6994525"/>
              <a:gd name="connsiteX459" fmla="*/ 3584069 w 3718887"/>
              <a:gd name="connsiteY459" fmla="*/ 2361598 h 6994525"/>
              <a:gd name="connsiteX460" fmla="*/ 3651489 w 3718887"/>
              <a:gd name="connsiteY460" fmla="*/ 2422889 h 6994525"/>
              <a:gd name="connsiteX461" fmla="*/ 3584069 w 3718887"/>
              <a:gd name="connsiteY461" fmla="*/ 2490261 h 6994525"/>
              <a:gd name="connsiteX462" fmla="*/ 908031 w 3718887"/>
              <a:gd name="connsiteY462" fmla="*/ 2511858 h 6994525"/>
              <a:gd name="connsiteX463" fmla="*/ 823917 w 3718887"/>
              <a:gd name="connsiteY463" fmla="*/ 2428372 h 6994525"/>
              <a:gd name="connsiteX464" fmla="*/ 907402 w 3718887"/>
              <a:gd name="connsiteY464" fmla="*/ 2344258 h 6994525"/>
              <a:gd name="connsiteX465" fmla="*/ 991517 w 3718887"/>
              <a:gd name="connsiteY465" fmla="*/ 2427743 h 6994525"/>
              <a:gd name="connsiteX466" fmla="*/ 908031 w 3718887"/>
              <a:gd name="connsiteY466" fmla="*/ 2511858 h 6994525"/>
              <a:gd name="connsiteX467" fmla="*/ 2257925 w 3718887"/>
              <a:gd name="connsiteY467" fmla="*/ 2532041 h 6994525"/>
              <a:gd name="connsiteX468" fmla="*/ 2149332 w 3718887"/>
              <a:gd name="connsiteY468" fmla="*/ 2424070 h 6994525"/>
              <a:gd name="connsiteX469" fmla="*/ 2257303 w 3718887"/>
              <a:gd name="connsiteY469" fmla="*/ 2315477 h 6994525"/>
              <a:gd name="connsiteX470" fmla="*/ 2365896 w 3718887"/>
              <a:gd name="connsiteY470" fmla="*/ 2423447 h 6994525"/>
              <a:gd name="connsiteX471" fmla="*/ 2257925 w 3718887"/>
              <a:gd name="connsiteY471" fmla="*/ 2532041 h 6994525"/>
              <a:gd name="connsiteX472" fmla="*/ 2605089 w 3718887"/>
              <a:gd name="connsiteY472" fmla="*/ 2593836 h 6994525"/>
              <a:gd name="connsiteX473" fmla="*/ 2506532 w 3718887"/>
              <a:gd name="connsiteY473" fmla="*/ 2495907 h 6994525"/>
              <a:gd name="connsiteX474" fmla="*/ 2603831 w 3718887"/>
              <a:gd name="connsiteY474" fmla="*/ 2397355 h 6994525"/>
              <a:gd name="connsiteX475" fmla="*/ 2703011 w 3718887"/>
              <a:gd name="connsiteY475" fmla="*/ 2495284 h 6994525"/>
              <a:gd name="connsiteX476" fmla="*/ 2605089 w 3718887"/>
              <a:gd name="connsiteY476" fmla="*/ 2593836 h 6994525"/>
              <a:gd name="connsiteX477" fmla="*/ 1270771 w 3718887"/>
              <a:gd name="connsiteY477" fmla="*/ 2636852 h 6994525"/>
              <a:gd name="connsiteX478" fmla="*/ 1129533 w 3718887"/>
              <a:gd name="connsiteY478" fmla="*/ 2496866 h 6994525"/>
              <a:gd name="connsiteX479" fmla="*/ 1269513 w 3718887"/>
              <a:gd name="connsiteY479" fmla="*/ 2355628 h 6994525"/>
              <a:gd name="connsiteX480" fmla="*/ 1410751 w 3718887"/>
              <a:gd name="connsiteY480" fmla="*/ 2495614 h 6994525"/>
              <a:gd name="connsiteX481" fmla="*/ 1270771 w 3718887"/>
              <a:gd name="connsiteY481" fmla="*/ 2636852 h 6994525"/>
              <a:gd name="connsiteX482" fmla="*/ 277313 w 3718887"/>
              <a:gd name="connsiteY482" fmla="*/ 2646417 h 6994525"/>
              <a:gd name="connsiteX483" fmla="*/ 203348 w 3718887"/>
              <a:gd name="connsiteY483" fmla="*/ 2572380 h 6994525"/>
              <a:gd name="connsiteX484" fmla="*/ 277313 w 3718887"/>
              <a:gd name="connsiteY484" fmla="*/ 2498344 h 6994525"/>
              <a:gd name="connsiteX485" fmla="*/ 332740 w 3718887"/>
              <a:gd name="connsiteY485" fmla="*/ 2572380 h 6994525"/>
              <a:gd name="connsiteX486" fmla="*/ 277313 w 3718887"/>
              <a:gd name="connsiteY486" fmla="*/ 2646417 h 6994525"/>
              <a:gd name="connsiteX487" fmla="*/ 2947403 w 3718887"/>
              <a:gd name="connsiteY487" fmla="*/ 2651462 h 6994525"/>
              <a:gd name="connsiteX488" fmla="*/ 2864549 w 3718887"/>
              <a:gd name="connsiteY488" fmla="*/ 2568607 h 6994525"/>
              <a:gd name="connsiteX489" fmla="*/ 2946780 w 3718887"/>
              <a:gd name="connsiteY489" fmla="*/ 2485124 h 6994525"/>
              <a:gd name="connsiteX490" fmla="*/ 3030263 w 3718887"/>
              <a:gd name="connsiteY490" fmla="*/ 2567978 h 6994525"/>
              <a:gd name="connsiteX491" fmla="*/ 2947403 w 3718887"/>
              <a:gd name="connsiteY491" fmla="*/ 2651462 h 6994525"/>
              <a:gd name="connsiteX492" fmla="*/ 633913 w 3718887"/>
              <a:gd name="connsiteY492" fmla="*/ 2703910 h 6994525"/>
              <a:gd name="connsiteX493" fmla="*/ 568630 w 3718887"/>
              <a:gd name="connsiteY493" fmla="*/ 2638626 h 6994525"/>
              <a:gd name="connsiteX494" fmla="*/ 633913 w 3718887"/>
              <a:gd name="connsiteY494" fmla="*/ 2573342 h 6994525"/>
              <a:gd name="connsiteX495" fmla="*/ 699197 w 3718887"/>
              <a:gd name="connsiteY495" fmla="*/ 2638626 h 6994525"/>
              <a:gd name="connsiteX496" fmla="*/ 633913 w 3718887"/>
              <a:gd name="connsiteY496" fmla="*/ 2703910 h 6994525"/>
              <a:gd name="connsiteX497" fmla="*/ 3287637 w 3718887"/>
              <a:gd name="connsiteY497" fmla="*/ 2706134 h 6994525"/>
              <a:gd name="connsiteX498" fmla="*/ 3222340 w 3718887"/>
              <a:gd name="connsiteY498" fmla="*/ 2642027 h 6994525"/>
              <a:gd name="connsiteX499" fmla="*/ 3286447 w 3718887"/>
              <a:gd name="connsiteY499" fmla="*/ 2576730 h 6994525"/>
              <a:gd name="connsiteX500" fmla="*/ 3351744 w 3718887"/>
              <a:gd name="connsiteY500" fmla="*/ 2640837 h 6994525"/>
              <a:gd name="connsiteX501" fmla="*/ 3287637 w 3718887"/>
              <a:gd name="connsiteY501" fmla="*/ 2706134 h 6994525"/>
              <a:gd name="connsiteX502" fmla="*/ 1623513 w 3718887"/>
              <a:gd name="connsiteY502" fmla="*/ 2706144 h 6994525"/>
              <a:gd name="connsiteX503" fmla="*/ 1483529 w 3718887"/>
              <a:gd name="connsiteY503" fmla="*/ 2567419 h 6994525"/>
              <a:gd name="connsiteX504" fmla="*/ 1622260 w 3718887"/>
              <a:gd name="connsiteY504" fmla="*/ 2427431 h 6994525"/>
              <a:gd name="connsiteX505" fmla="*/ 1762244 w 3718887"/>
              <a:gd name="connsiteY505" fmla="*/ 2566161 h 6994525"/>
              <a:gd name="connsiteX506" fmla="*/ 1623513 w 3718887"/>
              <a:gd name="connsiteY506" fmla="*/ 2706144 h 6994525"/>
              <a:gd name="connsiteX507" fmla="*/ 1969815 w 3718887"/>
              <a:gd name="connsiteY507" fmla="*/ 2759158 h 6994525"/>
              <a:gd name="connsiteX508" fmla="*/ 1848663 w 3718887"/>
              <a:gd name="connsiteY508" fmla="*/ 2639263 h 6994525"/>
              <a:gd name="connsiteX509" fmla="*/ 1968557 w 3718887"/>
              <a:gd name="connsiteY509" fmla="*/ 2518109 h 6994525"/>
              <a:gd name="connsiteX510" fmla="*/ 2089709 w 3718887"/>
              <a:gd name="connsiteY510" fmla="*/ 2638004 h 6994525"/>
              <a:gd name="connsiteX511" fmla="*/ 1969815 w 3718887"/>
              <a:gd name="connsiteY511" fmla="*/ 2759158 h 6994525"/>
              <a:gd name="connsiteX512" fmla="*/ 3623650 w 3718887"/>
              <a:gd name="connsiteY512" fmla="*/ 2779468 h 6994525"/>
              <a:gd name="connsiteX513" fmla="*/ 3558954 w 3718887"/>
              <a:gd name="connsiteY513" fmla="*/ 2714772 h 6994525"/>
              <a:gd name="connsiteX514" fmla="*/ 3623650 w 3718887"/>
              <a:gd name="connsiteY514" fmla="*/ 2650076 h 6994525"/>
              <a:gd name="connsiteX515" fmla="*/ 3688346 w 3718887"/>
              <a:gd name="connsiteY515" fmla="*/ 2714772 h 6994525"/>
              <a:gd name="connsiteX516" fmla="*/ 3623650 w 3718887"/>
              <a:gd name="connsiteY516" fmla="*/ 2779468 h 6994525"/>
              <a:gd name="connsiteX517" fmla="*/ 2311272 w 3718887"/>
              <a:gd name="connsiteY517" fmla="*/ 2825045 h 6994525"/>
              <a:gd name="connsiteX518" fmla="*/ 2197027 w 3718887"/>
              <a:gd name="connsiteY518" fmla="*/ 2711423 h 6994525"/>
              <a:gd name="connsiteX519" fmla="*/ 2310649 w 3718887"/>
              <a:gd name="connsiteY519" fmla="*/ 2597178 h 6994525"/>
              <a:gd name="connsiteX520" fmla="*/ 2424894 w 3718887"/>
              <a:gd name="connsiteY520" fmla="*/ 2710800 h 6994525"/>
              <a:gd name="connsiteX521" fmla="*/ 2311272 w 3718887"/>
              <a:gd name="connsiteY521" fmla="*/ 2825045 h 6994525"/>
              <a:gd name="connsiteX522" fmla="*/ 988573 w 3718887"/>
              <a:gd name="connsiteY522" fmla="*/ 2825307 h 6994525"/>
              <a:gd name="connsiteX523" fmla="*/ 871818 w 3718887"/>
              <a:gd name="connsiteY523" fmla="*/ 2709804 h 6994525"/>
              <a:gd name="connsiteX524" fmla="*/ 987321 w 3718887"/>
              <a:gd name="connsiteY524" fmla="*/ 2593049 h 6994525"/>
              <a:gd name="connsiteX525" fmla="*/ 1104076 w 3718887"/>
              <a:gd name="connsiteY525" fmla="*/ 2708552 h 6994525"/>
              <a:gd name="connsiteX526" fmla="*/ 988573 w 3718887"/>
              <a:gd name="connsiteY526" fmla="*/ 2825307 h 6994525"/>
              <a:gd name="connsiteX527" fmla="*/ 0 w 3718887"/>
              <a:gd name="connsiteY527" fmla="*/ 2845772 h 6994525"/>
              <a:gd name="connsiteX528" fmla="*/ 0 w 3718887"/>
              <a:gd name="connsiteY528" fmla="*/ 2721356 h 6994525"/>
              <a:gd name="connsiteX529" fmla="*/ 23444 w 3718887"/>
              <a:gd name="connsiteY529" fmla="*/ 2717609 h 6994525"/>
              <a:gd name="connsiteX530" fmla="*/ 68498 w 3718887"/>
              <a:gd name="connsiteY530" fmla="*/ 2775179 h 6994525"/>
              <a:gd name="connsiteX531" fmla="*/ 23444 w 3718887"/>
              <a:gd name="connsiteY531" fmla="*/ 2840306 h 6994525"/>
              <a:gd name="connsiteX532" fmla="*/ 2649495 w 3718887"/>
              <a:gd name="connsiteY532" fmla="*/ 2891271 h 6994525"/>
              <a:gd name="connsiteX533" fmla="*/ 2541526 w 3718887"/>
              <a:gd name="connsiteY533" fmla="*/ 2784557 h 6994525"/>
              <a:gd name="connsiteX534" fmla="*/ 2648237 w 3718887"/>
              <a:gd name="connsiteY534" fmla="*/ 2677214 h 6994525"/>
              <a:gd name="connsiteX535" fmla="*/ 2756206 w 3718887"/>
              <a:gd name="connsiteY535" fmla="*/ 2783928 h 6994525"/>
              <a:gd name="connsiteX536" fmla="*/ 2649495 w 3718887"/>
              <a:gd name="connsiteY536" fmla="*/ 2891271 h 6994525"/>
              <a:gd name="connsiteX537" fmla="*/ 352573 w 3718887"/>
              <a:gd name="connsiteY537" fmla="*/ 2917466 h 6994525"/>
              <a:gd name="connsiteX538" fmla="*/ 287875 w 3718887"/>
              <a:gd name="connsiteY538" fmla="*/ 2852775 h 6994525"/>
              <a:gd name="connsiteX539" fmla="*/ 350608 w 3718887"/>
              <a:gd name="connsiteY539" fmla="*/ 2786120 h 6994525"/>
              <a:gd name="connsiteX540" fmla="*/ 417271 w 3718887"/>
              <a:gd name="connsiteY540" fmla="*/ 2850810 h 6994525"/>
              <a:gd name="connsiteX541" fmla="*/ 352573 w 3718887"/>
              <a:gd name="connsiteY541" fmla="*/ 2917466 h 6994525"/>
              <a:gd name="connsiteX542" fmla="*/ 1334437 w 3718887"/>
              <a:gd name="connsiteY542" fmla="*/ 2924768 h 6994525"/>
              <a:gd name="connsiteX543" fmla="*/ 1190063 w 3718887"/>
              <a:gd name="connsiteY543" fmla="*/ 2781647 h 6994525"/>
              <a:gd name="connsiteX544" fmla="*/ 1333184 w 3718887"/>
              <a:gd name="connsiteY544" fmla="*/ 2637267 h 6994525"/>
              <a:gd name="connsiteX545" fmla="*/ 1477564 w 3718887"/>
              <a:gd name="connsiteY545" fmla="*/ 2780389 h 6994525"/>
              <a:gd name="connsiteX546" fmla="*/ 1334437 w 3718887"/>
              <a:gd name="connsiteY546" fmla="*/ 2924768 h 6994525"/>
              <a:gd name="connsiteX547" fmla="*/ 2983970 w 3718887"/>
              <a:gd name="connsiteY547" fmla="*/ 2941403 h 6994525"/>
              <a:gd name="connsiteX548" fmla="*/ 2901116 w 3718887"/>
              <a:gd name="connsiteY548" fmla="*/ 2858549 h 6994525"/>
              <a:gd name="connsiteX549" fmla="*/ 2983347 w 3718887"/>
              <a:gd name="connsiteY549" fmla="*/ 2775065 h 6994525"/>
              <a:gd name="connsiteX550" fmla="*/ 3066830 w 3718887"/>
              <a:gd name="connsiteY550" fmla="*/ 2857920 h 6994525"/>
              <a:gd name="connsiteX551" fmla="*/ 2983970 w 3718887"/>
              <a:gd name="connsiteY551" fmla="*/ 2941403 h 6994525"/>
              <a:gd name="connsiteX552" fmla="*/ 697583 w 3718887"/>
              <a:gd name="connsiteY552" fmla="*/ 2988118 h 6994525"/>
              <a:gd name="connsiteX553" fmla="*/ 632883 w 3718887"/>
              <a:gd name="connsiteY553" fmla="*/ 2923425 h 6994525"/>
              <a:gd name="connsiteX554" fmla="*/ 697583 w 3718887"/>
              <a:gd name="connsiteY554" fmla="*/ 2858723 h 6994525"/>
              <a:gd name="connsiteX555" fmla="*/ 762275 w 3718887"/>
              <a:gd name="connsiteY555" fmla="*/ 2923425 h 6994525"/>
              <a:gd name="connsiteX556" fmla="*/ 697583 w 3718887"/>
              <a:gd name="connsiteY556" fmla="*/ 2988118 h 6994525"/>
              <a:gd name="connsiteX557" fmla="*/ 1674708 w 3718887"/>
              <a:gd name="connsiteY557" fmla="*/ 2993502 h 6994525"/>
              <a:gd name="connsiteX558" fmla="*/ 1534724 w 3718887"/>
              <a:gd name="connsiteY558" fmla="*/ 2854771 h 6994525"/>
              <a:gd name="connsiteX559" fmla="*/ 1673455 w 3718887"/>
              <a:gd name="connsiteY559" fmla="*/ 2714787 h 6994525"/>
              <a:gd name="connsiteX560" fmla="*/ 1813439 w 3718887"/>
              <a:gd name="connsiteY560" fmla="*/ 2853519 h 6994525"/>
              <a:gd name="connsiteX561" fmla="*/ 1674708 w 3718887"/>
              <a:gd name="connsiteY561" fmla="*/ 2993502 h 6994525"/>
              <a:gd name="connsiteX562" fmla="*/ 3316804 w 3718887"/>
              <a:gd name="connsiteY562" fmla="*/ 2997210 h 6994525"/>
              <a:gd name="connsiteX563" fmla="*/ 3251597 w 3718887"/>
              <a:gd name="connsiteY563" fmla="*/ 2932006 h 6994525"/>
              <a:gd name="connsiteX564" fmla="*/ 3315750 w 3718887"/>
              <a:gd name="connsiteY564" fmla="*/ 2866801 h 6994525"/>
              <a:gd name="connsiteX565" fmla="*/ 3380958 w 3718887"/>
              <a:gd name="connsiteY565" fmla="*/ 2932006 h 6994525"/>
              <a:gd name="connsiteX566" fmla="*/ 3316804 w 3718887"/>
              <a:gd name="connsiteY566" fmla="*/ 2997210 h 6994525"/>
              <a:gd name="connsiteX567" fmla="*/ 2010151 w 3718887"/>
              <a:gd name="connsiteY567" fmla="*/ 3054611 h 6994525"/>
              <a:gd name="connsiteX568" fmla="*/ 1882722 w 3718887"/>
              <a:gd name="connsiteY568" fmla="*/ 2927806 h 6994525"/>
              <a:gd name="connsiteX569" fmla="*/ 2009528 w 3718887"/>
              <a:gd name="connsiteY569" fmla="*/ 2800377 h 6994525"/>
              <a:gd name="connsiteX570" fmla="*/ 2136956 w 3718887"/>
              <a:gd name="connsiteY570" fmla="*/ 2927183 h 6994525"/>
              <a:gd name="connsiteX571" fmla="*/ 2010151 w 3718887"/>
              <a:gd name="connsiteY571" fmla="*/ 3054611 h 6994525"/>
              <a:gd name="connsiteX572" fmla="*/ 3646879 w 3718887"/>
              <a:gd name="connsiteY572" fmla="*/ 3070693 h 6994525"/>
              <a:gd name="connsiteX573" fmla="*/ 3582183 w 3718887"/>
              <a:gd name="connsiteY573" fmla="*/ 3005997 h 6994525"/>
              <a:gd name="connsiteX574" fmla="*/ 3646879 w 3718887"/>
              <a:gd name="connsiteY574" fmla="*/ 2941301 h 6994525"/>
              <a:gd name="connsiteX575" fmla="*/ 3711575 w 3718887"/>
              <a:gd name="connsiteY575" fmla="*/ 3005997 h 6994525"/>
              <a:gd name="connsiteX576" fmla="*/ 3646879 w 3718887"/>
              <a:gd name="connsiteY576" fmla="*/ 3070693 h 6994525"/>
              <a:gd name="connsiteX577" fmla="*/ 1035794 w 3718887"/>
              <a:gd name="connsiteY577" fmla="*/ 3104210 h 6994525"/>
              <a:gd name="connsiteX578" fmla="*/ 928452 w 3718887"/>
              <a:gd name="connsiteY578" fmla="*/ 2997494 h 6994525"/>
              <a:gd name="connsiteX579" fmla="*/ 1034542 w 3718887"/>
              <a:gd name="connsiteY579" fmla="*/ 2890149 h 6994525"/>
              <a:gd name="connsiteX580" fmla="*/ 1142507 w 3718887"/>
              <a:gd name="connsiteY580" fmla="*/ 2996865 h 6994525"/>
              <a:gd name="connsiteX581" fmla="*/ 1035794 w 3718887"/>
              <a:gd name="connsiteY581" fmla="*/ 3104210 h 6994525"/>
              <a:gd name="connsiteX582" fmla="*/ 2343103 w 3718887"/>
              <a:gd name="connsiteY582" fmla="*/ 3121058 h 6994525"/>
              <a:gd name="connsiteX583" fmla="*/ 2223206 w 3718887"/>
              <a:gd name="connsiteY583" fmla="*/ 3001798 h 6994525"/>
              <a:gd name="connsiteX584" fmla="*/ 2342474 w 3718887"/>
              <a:gd name="connsiteY584" fmla="*/ 2881901 h 6994525"/>
              <a:gd name="connsiteX585" fmla="*/ 2462377 w 3718887"/>
              <a:gd name="connsiteY585" fmla="*/ 3001175 h 6994525"/>
              <a:gd name="connsiteX586" fmla="*/ 2343103 w 3718887"/>
              <a:gd name="connsiteY586" fmla="*/ 3121058 h 6994525"/>
              <a:gd name="connsiteX587" fmla="*/ 72292 w 3718887"/>
              <a:gd name="connsiteY587" fmla="*/ 3142886 h 6994525"/>
              <a:gd name="connsiteX588" fmla="*/ 2637 w 3718887"/>
              <a:gd name="connsiteY588" fmla="*/ 3094653 h 6994525"/>
              <a:gd name="connsiteX589" fmla="*/ 0 w 3718887"/>
              <a:gd name="connsiteY589" fmla="*/ 3083381 h 6994525"/>
              <a:gd name="connsiteX590" fmla="*/ 0 w 3718887"/>
              <a:gd name="connsiteY590" fmla="*/ 3048404 h 6994525"/>
              <a:gd name="connsiteX591" fmla="*/ 2041 w 3718887"/>
              <a:gd name="connsiteY591" fmla="*/ 3038877 h 6994525"/>
              <a:gd name="connsiteX592" fmla="*/ 34190 w 3718887"/>
              <a:gd name="connsiteY592" fmla="*/ 2990783 h 6994525"/>
              <a:gd name="connsiteX593" fmla="*/ 110017 w 3718887"/>
              <a:gd name="connsiteY593" fmla="*/ 3066658 h 6994525"/>
              <a:gd name="connsiteX594" fmla="*/ 72292 w 3718887"/>
              <a:gd name="connsiteY594" fmla="*/ 3142886 h 6994525"/>
              <a:gd name="connsiteX595" fmla="*/ 2673484 w 3718887"/>
              <a:gd name="connsiteY595" fmla="*/ 3189399 h 6994525"/>
              <a:gd name="connsiteX596" fmla="*/ 2559239 w 3718887"/>
              <a:gd name="connsiteY596" fmla="*/ 3075791 h 6994525"/>
              <a:gd name="connsiteX597" fmla="*/ 2672861 w 3718887"/>
              <a:gd name="connsiteY597" fmla="*/ 2961547 h 6994525"/>
              <a:gd name="connsiteX598" fmla="*/ 2787106 w 3718887"/>
              <a:gd name="connsiteY598" fmla="*/ 3075168 h 6994525"/>
              <a:gd name="connsiteX599" fmla="*/ 2673484 w 3718887"/>
              <a:gd name="connsiteY599" fmla="*/ 3189399 h 6994525"/>
              <a:gd name="connsiteX600" fmla="*/ 395180 w 3718887"/>
              <a:gd name="connsiteY600" fmla="*/ 3204915 h 6994525"/>
              <a:gd name="connsiteX601" fmla="*/ 330469 w 3718887"/>
              <a:gd name="connsiteY601" fmla="*/ 3140213 h 6994525"/>
              <a:gd name="connsiteX602" fmla="*/ 395180 w 3718887"/>
              <a:gd name="connsiteY602" fmla="*/ 3075519 h 6994525"/>
              <a:gd name="connsiteX603" fmla="*/ 459892 w 3718887"/>
              <a:gd name="connsiteY603" fmla="*/ 3140213 h 6994525"/>
              <a:gd name="connsiteX604" fmla="*/ 395180 w 3718887"/>
              <a:gd name="connsiteY604" fmla="*/ 3204915 h 6994525"/>
              <a:gd name="connsiteX605" fmla="*/ 1369184 w 3718887"/>
              <a:gd name="connsiteY605" fmla="*/ 3216661 h 6994525"/>
              <a:gd name="connsiteX606" fmla="*/ 1222928 w 3718887"/>
              <a:gd name="connsiteY606" fmla="*/ 3071054 h 6994525"/>
              <a:gd name="connsiteX607" fmla="*/ 1368555 w 3718887"/>
              <a:gd name="connsiteY607" fmla="*/ 2924797 h 6994525"/>
              <a:gd name="connsiteX608" fmla="*/ 1514811 w 3718887"/>
              <a:gd name="connsiteY608" fmla="*/ 3070425 h 6994525"/>
              <a:gd name="connsiteX609" fmla="*/ 1369184 w 3718887"/>
              <a:gd name="connsiteY609" fmla="*/ 3216661 h 6994525"/>
              <a:gd name="connsiteX610" fmla="*/ 3001708 w 3718887"/>
              <a:gd name="connsiteY610" fmla="*/ 3240171 h 6994525"/>
              <a:gd name="connsiteX611" fmla="*/ 2910689 w 3718887"/>
              <a:gd name="connsiteY611" fmla="*/ 3149775 h 6994525"/>
              <a:gd name="connsiteX612" fmla="*/ 3001079 w 3718887"/>
              <a:gd name="connsiteY612" fmla="*/ 3058763 h 6994525"/>
              <a:gd name="connsiteX613" fmla="*/ 3092104 w 3718887"/>
              <a:gd name="connsiteY613" fmla="*/ 3149152 h 6994525"/>
              <a:gd name="connsiteX614" fmla="*/ 3001708 w 3718887"/>
              <a:gd name="connsiteY614" fmla="*/ 3240171 h 6994525"/>
              <a:gd name="connsiteX615" fmla="*/ 725348 w 3718887"/>
              <a:gd name="connsiteY615" fmla="*/ 3278863 h 6994525"/>
              <a:gd name="connsiteX616" fmla="*/ 659746 w 3718887"/>
              <a:gd name="connsiteY616" fmla="*/ 3214185 h 6994525"/>
              <a:gd name="connsiteX617" fmla="*/ 724447 w 3718887"/>
              <a:gd name="connsiteY617" fmla="*/ 3149489 h 6994525"/>
              <a:gd name="connsiteX618" fmla="*/ 790040 w 3718887"/>
              <a:gd name="connsiteY618" fmla="*/ 3214185 h 6994525"/>
              <a:gd name="connsiteX619" fmla="*/ 725348 w 3718887"/>
              <a:gd name="connsiteY619" fmla="*/ 3278863 h 6994525"/>
              <a:gd name="connsiteX620" fmla="*/ 3328550 w 3718887"/>
              <a:gd name="connsiteY620" fmla="*/ 3288358 h 6994525"/>
              <a:gd name="connsiteX621" fmla="*/ 3263849 w 3718887"/>
              <a:gd name="connsiteY621" fmla="*/ 3223676 h 6994525"/>
              <a:gd name="connsiteX622" fmla="*/ 3328550 w 3718887"/>
              <a:gd name="connsiteY622" fmla="*/ 3158975 h 6994525"/>
              <a:gd name="connsiteX623" fmla="*/ 3393241 w 3718887"/>
              <a:gd name="connsiteY623" fmla="*/ 3223676 h 6994525"/>
              <a:gd name="connsiteX624" fmla="*/ 3328550 w 3718887"/>
              <a:gd name="connsiteY624" fmla="*/ 3288358 h 6994525"/>
              <a:gd name="connsiteX625" fmla="*/ 2026923 w 3718887"/>
              <a:gd name="connsiteY625" fmla="*/ 3351864 h 6994525"/>
              <a:gd name="connsiteX626" fmla="*/ 1893846 w 3718887"/>
              <a:gd name="connsiteY626" fmla="*/ 3219449 h 6994525"/>
              <a:gd name="connsiteX627" fmla="*/ 2026294 w 3718887"/>
              <a:gd name="connsiteY627" fmla="*/ 3086394 h 6994525"/>
              <a:gd name="connsiteX628" fmla="*/ 2159377 w 3718887"/>
              <a:gd name="connsiteY628" fmla="*/ 3218819 h 6994525"/>
              <a:gd name="connsiteX629" fmla="*/ 2026923 w 3718887"/>
              <a:gd name="connsiteY629" fmla="*/ 3351864 h 6994525"/>
              <a:gd name="connsiteX630" fmla="*/ 3654191 w 3718887"/>
              <a:gd name="connsiteY630" fmla="*/ 3362788 h 6994525"/>
              <a:gd name="connsiteX631" fmla="*/ 3589495 w 3718887"/>
              <a:gd name="connsiteY631" fmla="*/ 3298092 h 6994525"/>
              <a:gd name="connsiteX632" fmla="*/ 3654191 w 3718887"/>
              <a:gd name="connsiteY632" fmla="*/ 3233396 h 6994525"/>
              <a:gd name="connsiteX633" fmla="*/ 3718887 w 3718887"/>
              <a:gd name="connsiteY633" fmla="*/ 3298092 h 6994525"/>
              <a:gd name="connsiteX634" fmla="*/ 3654191 w 3718887"/>
              <a:gd name="connsiteY634" fmla="*/ 3362788 h 6994525"/>
              <a:gd name="connsiteX635" fmla="*/ 1051281 w 3718887"/>
              <a:gd name="connsiteY635" fmla="*/ 3392217 h 6994525"/>
              <a:gd name="connsiteX636" fmla="*/ 947080 w 3718887"/>
              <a:gd name="connsiteY636" fmla="*/ 3288654 h 6994525"/>
              <a:gd name="connsiteX637" fmla="*/ 1050652 w 3718887"/>
              <a:gd name="connsiteY637" fmla="*/ 3184495 h 6994525"/>
              <a:gd name="connsiteX638" fmla="*/ 1154859 w 3718887"/>
              <a:gd name="connsiteY638" fmla="*/ 3288026 h 6994525"/>
              <a:gd name="connsiteX639" fmla="*/ 1051281 w 3718887"/>
              <a:gd name="connsiteY639" fmla="*/ 3392217 h 6994525"/>
              <a:gd name="connsiteX640" fmla="*/ 2353099 w 3718887"/>
              <a:gd name="connsiteY640" fmla="*/ 3417066 h 6994525"/>
              <a:gd name="connsiteX641" fmla="*/ 2228804 w 3718887"/>
              <a:gd name="connsiteY641" fmla="*/ 3293408 h 6994525"/>
              <a:gd name="connsiteX642" fmla="*/ 2351841 w 3718887"/>
              <a:gd name="connsiteY642" fmla="*/ 3169149 h 6994525"/>
              <a:gd name="connsiteX643" fmla="*/ 2476130 w 3718887"/>
              <a:gd name="connsiteY643" fmla="*/ 3292781 h 6994525"/>
              <a:gd name="connsiteX644" fmla="*/ 2353099 w 3718887"/>
              <a:gd name="connsiteY644" fmla="*/ 3417066 h 6994525"/>
              <a:gd name="connsiteX645" fmla="*/ 2677885 w 3718887"/>
              <a:gd name="connsiteY645" fmla="*/ 3484158 h 6994525"/>
              <a:gd name="connsiteX646" fmla="*/ 2559868 w 3718887"/>
              <a:gd name="connsiteY646" fmla="*/ 3367413 h 6994525"/>
              <a:gd name="connsiteX647" fmla="*/ 2677255 w 3718887"/>
              <a:gd name="connsiteY647" fmla="*/ 3250056 h 6994525"/>
              <a:gd name="connsiteX648" fmla="*/ 2794643 w 3718887"/>
              <a:gd name="connsiteY648" fmla="*/ 3366783 h 6994525"/>
              <a:gd name="connsiteX649" fmla="*/ 2677885 w 3718887"/>
              <a:gd name="connsiteY649" fmla="*/ 3484158 h 6994525"/>
              <a:gd name="connsiteX650" fmla="*/ 394316 w 3718887"/>
              <a:gd name="connsiteY650" fmla="*/ 3496489 h 6994525"/>
              <a:gd name="connsiteX651" fmla="*/ 329602 w 3718887"/>
              <a:gd name="connsiteY651" fmla="*/ 3431820 h 6994525"/>
              <a:gd name="connsiteX652" fmla="*/ 394316 w 3718887"/>
              <a:gd name="connsiteY652" fmla="*/ 3367113 h 6994525"/>
              <a:gd name="connsiteX653" fmla="*/ 458994 w 3718887"/>
              <a:gd name="connsiteY653" fmla="*/ 3431820 h 6994525"/>
              <a:gd name="connsiteX654" fmla="*/ 394316 w 3718887"/>
              <a:gd name="connsiteY654" fmla="*/ 3496489 h 6994525"/>
              <a:gd name="connsiteX655" fmla="*/ 1375639 w 3718887"/>
              <a:gd name="connsiteY655" fmla="*/ 3508269 h 6994525"/>
              <a:gd name="connsiteX656" fmla="*/ 1229376 w 3718887"/>
              <a:gd name="connsiteY656" fmla="*/ 3362645 h 6994525"/>
              <a:gd name="connsiteX657" fmla="*/ 1374380 w 3718887"/>
              <a:gd name="connsiteY657" fmla="*/ 3216432 h 6994525"/>
              <a:gd name="connsiteX658" fmla="*/ 1521272 w 3718887"/>
              <a:gd name="connsiteY658" fmla="*/ 3362017 h 6994525"/>
              <a:gd name="connsiteX659" fmla="*/ 1375639 w 3718887"/>
              <a:gd name="connsiteY659" fmla="*/ 3508269 h 6994525"/>
              <a:gd name="connsiteX660" fmla="*/ 3000847 w 3718887"/>
              <a:gd name="connsiteY660" fmla="*/ 3532223 h 6994525"/>
              <a:gd name="connsiteX661" fmla="*/ 2909828 w 3718887"/>
              <a:gd name="connsiteY661" fmla="*/ 3441837 h 6994525"/>
              <a:gd name="connsiteX662" fmla="*/ 3000224 w 3718887"/>
              <a:gd name="connsiteY662" fmla="*/ 3350824 h 6994525"/>
              <a:gd name="connsiteX663" fmla="*/ 3091243 w 3718887"/>
              <a:gd name="connsiteY663" fmla="*/ 3441215 h 6994525"/>
              <a:gd name="connsiteX664" fmla="*/ 3000847 w 3718887"/>
              <a:gd name="connsiteY664" fmla="*/ 3532223 h 6994525"/>
              <a:gd name="connsiteX665" fmla="*/ 714591 w 3718887"/>
              <a:gd name="connsiteY665" fmla="*/ 3570467 h 6994525"/>
              <a:gd name="connsiteX666" fmla="*/ 648989 w 3718887"/>
              <a:gd name="connsiteY666" fmla="*/ 3505777 h 6994525"/>
              <a:gd name="connsiteX667" fmla="*/ 714591 w 3718887"/>
              <a:gd name="connsiteY667" fmla="*/ 3441087 h 6994525"/>
              <a:gd name="connsiteX668" fmla="*/ 779283 w 3718887"/>
              <a:gd name="connsiteY668" fmla="*/ 3505777 h 6994525"/>
              <a:gd name="connsiteX669" fmla="*/ 714591 w 3718887"/>
              <a:gd name="connsiteY669" fmla="*/ 3570467 h 6994525"/>
              <a:gd name="connsiteX670" fmla="*/ 3322958 w 3718887"/>
              <a:gd name="connsiteY670" fmla="*/ 3580434 h 6994525"/>
              <a:gd name="connsiteX671" fmla="*/ 3258257 w 3718887"/>
              <a:gd name="connsiteY671" fmla="*/ 3515742 h 6994525"/>
              <a:gd name="connsiteX672" fmla="*/ 3322958 w 3718887"/>
              <a:gd name="connsiteY672" fmla="*/ 3451046 h 6994525"/>
              <a:gd name="connsiteX673" fmla="*/ 3387649 w 3718887"/>
              <a:gd name="connsiteY673" fmla="*/ 3515742 h 6994525"/>
              <a:gd name="connsiteX674" fmla="*/ 3322958 w 3718887"/>
              <a:gd name="connsiteY674" fmla="*/ 3580434 h 6994525"/>
              <a:gd name="connsiteX675" fmla="*/ 2020040 w 3718887"/>
              <a:gd name="connsiteY675" fmla="*/ 3643497 h 6994525"/>
              <a:gd name="connsiteX676" fmla="*/ 1886963 w 3718887"/>
              <a:gd name="connsiteY676" fmla="*/ 3511048 h 6994525"/>
              <a:gd name="connsiteX677" fmla="*/ 2019411 w 3718887"/>
              <a:gd name="connsiteY677" fmla="*/ 3377990 h 6994525"/>
              <a:gd name="connsiteX678" fmla="*/ 2152488 w 3718887"/>
              <a:gd name="connsiteY678" fmla="*/ 3510419 h 6994525"/>
              <a:gd name="connsiteX679" fmla="*/ 2020040 w 3718887"/>
              <a:gd name="connsiteY679" fmla="*/ 3643497 h 6994525"/>
              <a:gd name="connsiteX680" fmla="*/ 3644749 w 3718887"/>
              <a:gd name="connsiteY680" fmla="*/ 3654438 h 6994525"/>
              <a:gd name="connsiteX681" fmla="*/ 3580030 w 3718887"/>
              <a:gd name="connsiteY681" fmla="*/ 3589766 h 6994525"/>
              <a:gd name="connsiteX682" fmla="*/ 3644749 w 3718887"/>
              <a:gd name="connsiteY682" fmla="*/ 3525047 h 6994525"/>
              <a:gd name="connsiteX683" fmla="*/ 3709422 w 3718887"/>
              <a:gd name="connsiteY683" fmla="*/ 3589766 h 6994525"/>
              <a:gd name="connsiteX684" fmla="*/ 3644749 w 3718887"/>
              <a:gd name="connsiteY684" fmla="*/ 3654438 h 6994525"/>
              <a:gd name="connsiteX685" fmla="*/ 1034172 w 3718887"/>
              <a:gd name="connsiteY685" fmla="*/ 3687006 h 6994525"/>
              <a:gd name="connsiteX686" fmla="*/ 926203 w 3718887"/>
              <a:gd name="connsiteY686" fmla="*/ 3580296 h 6994525"/>
              <a:gd name="connsiteX687" fmla="*/ 1033543 w 3718887"/>
              <a:gd name="connsiteY687" fmla="*/ 3472953 h 6994525"/>
              <a:gd name="connsiteX688" fmla="*/ 1140883 w 3718887"/>
              <a:gd name="connsiteY688" fmla="*/ 3579662 h 6994525"/>
              <a:gd name="connsiteX689" fmla="*/ 1034172 w 3718887"/>
              <a:gd name="connsiteY689" fmla="*/ 3687006 h 6994525"/>
              <a:gd name="connsiteX690" fmla="*/ 32953 w 3718887"/>
              <a:gd name="connsiteY690" fmla="*/ 3711701 h 6994525"/>
              <a:gd name="connsiteX691" fmla="*/ 9265 w 3718887"/>
              <a:gd name="connsiteY691" fmla="*/ 3706116 h 6994525"/>
              <a:gd name="connsiteX692" fmla="*/ 0 w 3718887"/>
              <a:gd name="connsiteY692" fmla="*/ 3699536 h 6994525"/>
              <a:gd name="connsiteX693" fmla="*/ 0 w 3718887"/>
              <a:gd name="connsiteY693" fmla="*/ 3607217 h 6994525"/>
              <a:gd name="connsiteX694" fmla="*/ 9265 w 3718887"/>
              <a:gd name="connsiteY694" fmla="*/ 3601332 h 6994525"/>
              <a:gd name="connsiteX695" fmla="*/ 32953 w 3718887"/>
              <a:gd name="connsiteY695" fmla="*/ 3582043 h 6994525"/>
              <a:gd name="connsiteX696" fmla="*/ 97971 w 3718887"/>
              <a:gd name="connsiteY696" fmla="*/ 3646713 h 6994525"/>
              <a:gd name="connsiteX697" fmla="*/ 32953 w 3718887"/>
              <a:gd name="connsiteY697" fmla="*/ 3711701 h 6994525"/>
              <a:gd name="connsiteX698" fmla="*/ 2341049 w 3718887"/>
              <a:gd name="connsiteY698" fmla="*/ 3714268 h 6994525"/>
              <a:gd name="connsiteX699" fmla="*/ 2211111 w 3718887"/>
              <a:gd name="connsiteY699" fmla="*/ 3585578 h 6994525"/>
              <a:gd name="connsiteX700" fmla="*/ 2339797 w 3718887"/>
              <a:gd name="connsiteY700" fmla="*/ 3455647 h 6994525"/>
              <a:gd name="connsiteX701" fmla="*/ 2469735 w 3718887"/>
              <a:gd name="connsiteY701" fmla="*/ 3584331 h 6994525"/>
              <a:gd name="connsiteX702" fmla="*/ 2341049 w 3718887"/>
              <a:gd name="connsiteY702" fmla="*/ 3714268 h 6994525"/>
              <a:gd name="connsiteX703" fmla="*/ 2661441 w 3718887"/>
              <a:gd name="connsiteY703" fmla="*/ 3778326 h 6994525"/>
              <a:gd name="connsiteX704" fmla="*/ 2541544 w 3718887"/>
              <a:gd name="connsiteY704" fmla="*/ 3659051 h 6994525"/>
              <a:gd name="connsiteX705" fmla="*/ 2660812 w 3718887"/>
              <a:gd name="connsiteY705" fmla="*/ 3539155 h 6994525"/>
              <a:gd name="connsiteX706" fmla="*/ 2780715 w 3718887"/>
              <a:gd name="connsiteY706" fmla="*/ 3658422 h 6994525"/>
              <a:gd name="connsiteX707" fmla="*/ 2661441 w 3718887"/>
              <a:gd name="connsiteY707" fmla="*/ 3778326 h 6994525"/>
              <a:gd name="connsiteX708" fmla="*/ 351445 w 3718887"/>
              <a:gd name="connsiteY708" fmla="*/ 3785371 h 6994525"/>
              <a:gd name="connsiteX709" fmla="*/ 285086 w 3718887"/>
              <a:gd name="connsiteY709" fmla="*/ 3722311 h 6994525"/>
              <a:gd name="connsiteX710" fmla="*/ 348119 w 3718887"/>
              <a:gd name="connsiteY710" fmla="*/ 3655949 h 6994525"/>
              <a:gd name="connsiteX711" fmla="*/ 414511 w 3718887"/>
              <a:gd name="connsiteY711" fmla="*/ 3718986 h 6994525"/>
              <a:gd name="connsiteX712" fmla="*/ 351445 w 3718887"/>
              <a:gd name="connsiteY712" fmla="*/ 3785371 h 6994525"/>
              <a:gd name="connsiteX713" fmla="*/ 2981063 w 3718887"/>
              <a:gd name="connsiteY713" fmla="*/ 3821052 h 6994525"/>
              <a:gd name="connsiteX714" fmla="*/ 2891927 w 3718887"/>
              <a:gd name="connsiteY714" fmla="*/ 3732534 h 6994525"/>
              <a:gd name="connsiteX715" fmla="*/ 2980433 w 3718887"/>
              <a:gd name="connsiteY715" fmla="*/ 3644024 h 6994525"/>
              <a:gd name="connsiteX716" fmla="*/ 3069569 w 3718887"/>
              <a:gd name="connsiteY716" fmla="*/ 3731912 h 6994525"/>
              <a:gd name="connsiteX717" fmla="*/ 2981063 w 3718887"/>
              <a:gd name="connsiteY717" fmla="*/ 3821052 h 6994525"/>
              <a:gd name="connsiteX718" fmla="*/ 667240 w 3718887"/>
              <a:gd name="connsiteY718" fmla="*/ 3858914 h 6994525"/>
              <a:gd name="connsiteX719" fmla="*/ 602125 w 3718887"/>
              <a:gd name="connsiteY719" fmla="*/ 3794628 h 6994525"/>
              <a:gd name="connsiteX720" fmla="*/ 666412 w 3718887"/>
              <a:gd name="connsiteY720" fmla="*/ 3729515 h 6994525"/>
              <a:gd name="connsiteX721" fmla="*/ 731527 w 3718887"/>
              <a:gd name="connsiteY721" fmla="*/ 3793801 h 6994525"/>
              <a:gd name="connsiteX722" fmla="*/ 667240 w 3718887"/>
              <a:gd name="connsiteY722" fmla="*/ 3858914 h 6994525"/>
              <a:gd name="connsiteX723" fmla="*/ 3300526 w 3718887"/>
              <a:gd name="connsiteY723" fmla="*/ 3871463 h 6994525"/>
              <a:gd name="connsiteX724" fmla="*/ 3235226 w 3718887"/>
              <a:gd name="connsiteY724" fmla="*/ 3807355 h 6994525"/>
              <a:gd name="connsiteX725" fmla="*/ 3299336 w 3718887"/>
              <a:gd name="connsiteY725" fmla="*/ 3742059 h 6994525"/>
              <a:gd name="connsiteX726" fmla="*/ 3364635 w 3718887"/>
              <a:gd name="connsiteY726" fmla="*/ 3806165 h 6994525"/>
              <a:gd name="connsiteX727" fmla="*/ 3300526 w 3718887"/>
              <a:gd name="connsiteY727" fmla="*/ 3871463 h 6994525"/>
              <a:gd name="connsiteX728" fmla="*/ 1989072 w 3718887"/>
              <a:gd name="connsiteY728" fmla="*/ 3937534 h 6994525"/>
              <a:gd name="connsiteX729" fmla="*/ 1852852 w 3718887"/>
              <a:gd name="connsiteY729" fmla="*/ 3801945 h 6994525"/>
              <a:gd name="connsiteX730" fmla="*/ 1987820 w 3718887"/>
              <a:gd name="connsiteY730" fmla="*/ 3665102 h 6994525"/>
              <a:gd name="connsiteX731" fmla="*/ 2124663 w 3718887"/>
              <a:gd name="connsiteY731" fmla="*/ 3800690 h 6994525"/>
              <a:gd name="connsiteX732" fmla="*/ 1989072 w 3718887"/>
              <a:gd name="connsiteY732" fmla="*/ 3937534 h 6994525"/>
              <a:gd name="connsiteX733" fmla="*/ 3619348 w 3718887"/>
              <a:gd name="connsiteY733" fmla="*/ 3945237 h 6994525"/>
              <a:gd name="connsiteX734" fmla="*/ 3554652 w 3718887"/>
              <a:gd name="connsiteY734" fmla="*/ 3880541 h 6994525"/>
              <a:gd name="connsiteX735" fmla="*/ 3619348 w 3718887"/>
              <a:gd name="connsiteY735" fmla="*/ 3815845 h 6994525"/>
              <a:gd name="connsiteX736" fmla="*/ 3684044 w 3718887"/>
              <a:gd name="connsiteY736" fmla="*/ 3880541 h 6994525"/>
              <a:gd name="connsiteX737" fmla="*/ 3619348 w 3718887"/>
              <a:gd name="connsiteY737" fmla="*/ 3945237 h 6994525"/>
              <a:gd name="connsiteX738" fmla="*/ 983648 w 3718887"/>
              <a:gd name="connsiteY738" fmla="*/ 3983681 h 6994525"/>
              <a:gd name="connsiteX739" fmla="*/ 867515 w 3718887"/>
              <a:gd name="connsiteY739" fmla="*/ 3868184 h 6994525"/>
              <a:gd name="connsiteX740" fmla="*/ 983019 w 3718887"/>
              <a:gd name="connsiteY740" fmla="*/ 3751429 h 6994525"/>
              <a:gd name="connsiteX741" fmla="*/ 1099775 w 3718887"/>
              <a:gd name="connsiteY741" fmla="*/ 3866931 h 6994525"/>
              <a:gd name="connsiteX742" fmla="*/ 983648 w 3718887"/>
              <a:gd name="connsiteY742" fmla="*/ 3983681 h 6994525"/>
              <a:gd name="connsiteX743" fmla="*/ 2307502 w 3718887"/>
              <a:gd name="connsiteY743" fmla="*/ 4008599 h 6994525"/>
              <a:gd name="connsiteX744" fmla="*/ 2173171 w 3718887"/>
              <a:gd name="connsiteY744" fmla="*/ 3875517 h 6994525"/>
              <a:gd name="connsiteX745" fmla="*/ 2306249 w 3718887"/>
              <a:gd name="connsiteY745" fmla="*/ 3741186 h 6994525"/>
              <a:gd name="connsiteX746" fmla="*/ 2440586 w 3718887"/>
              <a:gd name="connsiteY746" fmla="*/ 3874266 h 6994525"/>
              <a:gd name="connsiteX747" fmla="*/ 2307502 w 3718887"/>
              <a:gd name="connsiteY747" fmla="*/ 4008599 h 6994525"/>
              <a:gd name="connsiteX748" fmla="*/ 269481 w 3718887"/>
              <a:gd name="connsiteY748" fmla="*/ 4070013 h 6994525"/>
              <a:gd name="connsiteX749" fmla="*/ 198245 w 3718887"/>
              <a:gd name="connsiteY749" fmla="*/ 3998760 h 6994525"/>
              <a:gd name="connsiteX750" fmla="*/ 269481 w 3718887"/>
              <a:gd name="connsiteY750" fmla="*/ 3927506 h 6994525"/>
              <a:gd name="connsiteX751" fmla="*/ 322864 w 3718887"/>
              <a:gd name="connsiteY751" fmla="*/ 3998760 h 6994525"/>
              <a:gd name="connsiteX752" fmla="*/ 269481 w 3718887"/>
              <a:gd name="connsiteY752" fmla="*/ 4070013 h 6994525"/>
              <a:gd name="connsiteX753" fmla="*/ 2624870 w 3718887"/>
              <a:gd name="connsiteY753" fmla="*/ 4071398 h 6994525"/>
              <a:gd name="connsiteX754" fmla="*/ 2501830 w 3718887"/>
              <a:gd name="connsiteY754" fmla="*/ 3948989 h 6994525"/>
              <a:gd name="connsiteX755" fmla="*/ 2624241 w 3718887"/>
              <a:gd name="connsiteY755" fmla="*/ 3825947 h 6994525"/>
              <a:gd name="connsiteX756" fmla="*/ 2747281 w 3718887"/>
              <a:gd name="connsiteY756" fmla="*/ 3948360 h 6994525"/>
              <a:gd name="connsiteX757" fmla="*/ 2624870 w 3718887"/>
              <a:gd name="connsiteY757" fmla="*/ 4071398 h 6994525"/>
              <a:gd name="connsiteX758" fmla="*/ 1301316 w 3718887"/>
              <a:gd name="connsiteY758" fmla="*/ 4091771 h 6994525"/>
              <a:gd name="connsiteX759" fmla="*/ 1150034 w 3718887"/>
              <a:gd name="connsiteY759" fmla="*/ 3941739 h 6994525"/>
              <a:gd name="connsiteX760" fmla="*/ 1241926 w 3718887"/>
              <a:gd name="connsiteY760" fmla="*/ 3802712 h 6994525"/>
              <a:gd name="connsiteX761" fmla="*/ 1297741 w 3718887"/>
              <a:gd name="connsiteY761" fmla="*/ 3791076 h 6994525"/>
              <a:gd name="connsiteX762" fmla="*/ 1295263 w 3718887"/>
              <a:gd name="connsiteY762" fmla="*/ 3790590 h 6994525"/>
              <a:gd name="connsiteX763" fmla="*/ 1204167 w 3718887"/>
              <a:gd name="connsiteY763" fmla="*/ 3654382 h 6994525"/>
              <a:gd name="connsiteX764" fmla="*/ 1351683 w 3718887"/>
              <a:gd name="connsiteY764" fmla="*/ 3505615 h 6994525"/>
              <a:gd name="connsiteX765" fmla="*/ 1500451 w 3718887"/>
              <a:gd name="connsiteY765" fmla="*/ 3653123 h 6994525"/>
              <a:gd name="connsiteX766" fmla="*/ 1410499 w 3718887"/>
              <a:gd name="connsiteY766" fmla="*/ 3790219 h 6994525"/>
              <a:gd name="connsiteX767" fmla="*/ 1355143 w 3718887"/>
              <a:gd name="connsiteY767" fmla="*/ 3801455 h 6994525"/>
              <a:gd name="connsiteX768" fmla="*/ 1359098 w 3718887"/>
              <a:gd name="connsiteY768" fmla="*/ 3802252 h 6994525"/>
              <a:gd name="connsiteX769" fmla="*/ 1451346 w 3718887"/>
              <a:gd name="connsiteY769" fmla="*/ 3940489 h 6994525"/>
              <a:gd name="connsiteX770" fmla="*/ 1301316 w 3718887"/>
              <a:gd name="connsiteY770" fmla="*/ 4091771 h 6994525"/>
              <a:gd name="connsiteX771" fmla="*/ 2942346 w 3718887"/>
              <a:gd name="connsiteY771" fmla="*/ 4111701 h 6994525"/>
              <a:gd name="connsiteX772" fmla="*/ 2852574 w 3718887"/>
              <a:gd name="connsiteY772" fmla="*/ 4022561 h 6994525"/>
              <a:gd name="connsiteX773" fmla="*/ 2941716 w 3718887"/>
              <a:gd name="connsiteY773" fmla="*/ 3932792 h 6994525"/>
              <a:gd name="connsiteX774" fmla="*/ 3031488 w 3718887"/>
              <a:gd name="connsiteY774" fmla="*/ 4021932 h 6994525"/>
              <a:gd name="connsiteX775" fmla="*/ 2942346 w 3718887"/>
              <a:gd name="connsiteY775" fmla="*/ 4111701 h 6994525"/>
              <a:gd name="connsiteX776" fmla="*/ 582729 w 3718887"/>
              <a:gd name="connsiteY776" fmla="*/ 4137895 h 6994525"/>
              <a:gd name="connsiteX777" fmla="*/ 518022 w 3718887"/>
              <a:gd name="connsiteY777" fmla="*/ 4073191 h 6994525"/>
              <a:gd name="connsiteX778" fmla="*/ 582729 w 3718887"/>
              <a:gd name="connsiteY778" fmla="*/ 4008481 h 6994525"/>
              <a:gd name="connsiteX779" fmla="*/ 647435 w 3718887"/>
              <a:gd name="connsiteY779" fmla="*/ 4073191 h 6994525"/>
              <a:gd name="connsiteX780" fmla="*/ 582729 w 3718887"/>
              <a:gd name="connsiteY780" fmla="*/ 4137895 h 6994525"/>
              <a:gd name="connsiteX781" fmla="*/ 3259720 w 3718887"/>
              <a:gd name="connsiteY781" fmla="*/ 4160741 h 6994525"/>
              <a:gd name="connsiteX782" fmla="*/ 3195024 w 3718887"/>
              <a:gd name="connsiteY782" fmla="*/ 4096046 h 6994525"/>
              <a:gd name="connsiteX783" fmla="*/ 3259720 w 3718887"/>
              <a:gd name="connsiteY783" fmla="*/ 4031350 h 6994525"/>
              <a:gd name="connsiteX784" fmla="*/ 3324416 w 3718887"/>
              <a:gd name="connsiteY784" fmla="*/ 4096046 h 6994525"/>
              <a:gd name="connsiteX785" fmla="*/ 3259720 w 3718887"/>
              <a:gd name="connsiteY785" fmla="*/ 4160741 h 6994525"/>
              <a:gd name="connsiteX786" fmla="*/ 901912 w 3718887"/>
              <a:gd name="connsiteY786" fmla="*/ 4212852 h 6994525"/>
              <a:gd name="connsiteX787" fmla="*/ 837216 w 3718887"/>
              <a:gd name="connsiteY787" fmla="*/ 4148152 h 6994525"/>
              <a:gd name="connsiteX788" fmla="*/ 901229 w 3718887"/>
              <a:gd name="connsiteY788" fmla="*/ 4082776 h 6994525"/>
              <a:gd name="connsiteX789" fmla="*/ 966615 w 3718887"/>
              <a:gd name="connsiteY789" fmla="*/ 4147473 h 6994525"/>
              <a:gd name="connsiteX790" fmla="*/ 901912 w 3718887"/>
              <a:gd name="connsiteY790" fmla="*/ 4212852 h 6994525"/>
              <a:gd name="connsiteX791" fmla="*/ 1934868 w 3718887"/>
              <a:gd name="connsiteY791" fmla="*/ 4226874 h 6994525"/>
              <a:gd name="connsiteX792" fmla="*/ 1796139 w 3718887"/>
              <a:gd name="connsiteY792" fmla="*/ 4089399 h 6994525"/>
              <a:gd name="connsiteX793" fmla="*/ 1934239 w 3718887"/>
              <a:gd name="connsiteY793" fmla="*/ 3950039 h 6994525"/>
              <a:gd name="connsiteX794" fmla="*/ 2072968 w 3718887"/>
              <a:gd name="connsiteY794" fmla="*/ 4088141 h 6994525"/>
              <a:gd name="connsiteX795" fmla="*/ 1934868 w 3718887"/>
              <a:gd name="connsiteY795" fmla="*/ 4226874 h 6994525"/>
              <a:gd name="connsiteX796" fmla="*/ 3577620 w 3718887"/>
              <a:gd name="connsiteY796" fmla="*/ 4234315 h 6994525"/>
              <a:gd name="connsiteX797" fmla="*/ 3512924 w 3718887"/>
              <a:gd name="connsiteY797" fmla="*/ 4169618 h 6994525"/>
              <a:gd name="connsiteX798" fmla="*/ 3577620 w 3718887"/>
              <a:gd name="connsiteY798" fmla="*/ 4104922 h 6994525"/>
              <a:gd name="connsiteX799" fmla="*/ 3642316 w 3718887"/>
              <a:gd name="connsiteY799" fmla="*/ 4169618 h 6994525"/>
              <a:gd name="connsiteX800" fmla="*/ 3577620 w 3718887"/>
              <a:gd name="connsiteY800" fmla="*/ 4234315 h 6994525"/>
              <a:gd name="connsiteX801" fmla="*/ 2252011 w 3718887"/>
              <a:gd name="connsiteY801" fmla="*/ 4295104 h 6994525"/>
              <a:gd name="connsiteX802" fmla="*/ 2117672 w 3718887"/>
              <a:gd name="connsiteY802" fmla="*/ 4161391 h 6994525"/>
              <a:gd name="connsiteX803" fmla="*/ 2250752 w 3718887"/>
              <a:gd name="connsiteY803" fmla="*/ 4027679 h 6994525"/>
              <a:gd name="connsiteX804" fmla="*/ 2385091 w 3718887"/>
              <a:gd name="connsiteY804" fmla="*/ 4160762 h 6994525"/>
              <a:gd name="connsiteX805" fmla="*/ 2252011 w 3718887"/>
              <a:gd name="connsiteY805" fmla="*/ 4295104 h 6994525"/>
              <a:gd name="connsiteX806" fmla="*/ 134905 w 3718887"/>
              <a:gd name="connsiteY806" fmla="*/ 4326202 h 6994525"/>
              <a:gd name="connsiteX807" fmla="*/ 70209 w 3718887"/>
              <a:gd name="connsiteY807" fmla="*/ 4261484 h 6994525"/>
              <a:gd name="connsiteX808" fmla="*/ 134905 w 3718887"/>
              <a:gd name="connsiteY808" fmla="*/ 4196772 h 6994525"/>
              <a:gd name="connsiteX809" fmla="*/ 199601 w 3718887"/>
              <a:gd name="connsiteY809" fmla="*/ 4261484 h 6994525"/>
              <a:gd name="connsiteX810" fmla="*/ 134905 w 3718887"/>
              <a:gd name="connsiteY810" fmla="*/ 4326202 h 6994525"/>
              <a:gd name="connsiteX811" fmla="*/ 2569045 w 3718887"/>
              <a:gd name="connsiteY811" fmla="*/ 4351519 h 6994525"/>
              <a:gd name="connsiteX812" fmla="*/ 2452290 w 3718887"/>
              <a:gd name="connsiteY812" fmla="*/ 4236016 h 6994525"/>
              <a:gd name="connsiteX813" fmla="*/ 2567793 w 3718887"/>
              <a:gd name="connsiteY813" fmla="*/ 4119263 h 6994525"/>
              <a:gd name="connsiteX814" fmla="*/ 2684548 w 3718887"/>
              <a:gd name="connsiteY814" fmla="*/ 4234767 h 6994525"/>
              <a:gd name="connsiteX815" fmla="*/ 2569045 w 3718887"/>
              <a:gd name="connsiteY815" fmla="*/ 4351519 h 6994525"/>
              <a:gd name="connsiteX816" fmla="*/ 1221305 w 3718887"/>
              <a:gd name="connsiteY816" fmla="*/ 4352597 h 6994525"/>
              <a:gd name="connsiteX817" fmla="*/ 1090109 w 3718887"/>
              <a:gd name="connsiteY817" fmla="*/ 4222657 h 6994525"/>
              <a:gd name="connsiteX818" fmla="*/ 1220046 w 3718887"/>
              <a:gd name="connsiteY818" fmla="*/ 4091461 h 6994525"/>
              <a:gd name="connsiteX819" fmla="*/ 1351242 w 3718887"/>
              <a:gd name="connsiteY819" fmla="*/ 4221400 h 6994525"/>
              <a:gd name="connsiteX820" fmla="*/ 1221305 w 3718887"/>
              <a:gd name="connsiteY820" fmla="*/ 4352597 h 6994525"/>
              <a:gd name="connsiteX821" fmla="*/ 2885557 w 3718887"/>
              <a:gd name="connsiteY821" fmla="*/ 4393807 h 6994525"/>
              <a:gd name="connsiteX822" fmla="*/ 2800184 w 3718887"/>
              <a:gd name="connsiteY822" fmla="*/ 4309057 h 6994525"/>
              <a:gd name="connsiteX823" fmla="*/ 2884934 w 3718887"/>
              <a:gd name="connsiteY823" fmla="*/ 4223683 h 6994525"/>
              <a:gd name="connsiteX824" fmla="*/ 2970307 w 3718887"/>
              <a:gd name="connsiteY824" fmla="*/ 4308432 h 6994525"/>
              <a:gd name="connsiteX825" fmla="*/ 2885557 w 3718887"/>
              <a:gd name="connsiteY825" fmla="*/ 4393807 h 6994525"/>
              <a:gd name="connsiteX826" fmla="*/ 463566 w 3718887"/>
              <a:gd name="connsiteY826" fmla="*/ 4404587 h 6994525"/>
              <a:gd name="connsiteX827" fmla="*/ 398865 w 3718887"/>
              <a:gd name="connsiteY827" fmla="*/ 4339897 h 6994525"/>
              <a:gd name="connsiteX828" fmla="*/ 463566 w 3718887"/>
              <a:gd name="connsiteY828" fmla="*/ 4275194 h 6994525"/>
              <a:gd name="connsiteX829" fmla="*/ 528257 w 3718887"/>
              <a:gd name="connsiteY829" fmla="*/ 4339897 h 6994525"/>
              <a:gd name="connsiteX830" fmla="*/ 463566 w 3718887"/>
              <a:gd name="connsiteY830" fmla="*/ 4404587 h 6994525"/>
              <a:gd name="connsiteX831" fmla="*/ 3202505 w 3718887"/>
              <a:gd name="connsiteY831" fmla="*/ 4447238 h 6994525"/>
              <a:gd name="connsiteX832" fmla="*/ 3137809 w 3718887"/>
              <a:gd name="connsiteY832" fmla="*/ 4382541 h 6994525"/>
              <a:gd name="connsiteX833" fmla="*/ 3201387 w 3718887"/>
              <a:gd name="connsiteY833" fmla="*/ 4317845 h 6994525"/>
              <a:gd name="connsiteX834" fmla="*/ 3267201 w 3718887"/>
              <a:gd name="connsiteY834" fmla="*/ 4382541 h 6994525"/>
              <a:gd name="connsiteX835" fmla="*/ 3202505 w 3718887"/>
              <a:gd name="connsiteY835" fmla="*/ 4447238 h 6994525"/>
              <a:gd name="connsiteX836" fmla="*/ 789734 w 3718887"/>
              <a:gd name="connsiteY836" fmla="*/ 4500275 h 6994525"/>
              <a:gd name="connsiteX837" fmla="*/ 706249 w 3718887"/>
              <a:gd name="connsiteY837" fmla="*/ 4417418 h 6994525"/>
              <a:gd name="connsiteX838" fmla="*/ 789111 w 3718887"/>
              <a:gd name="connsiteY838" fmla="*/ 4333937 h 6994525"/>
              <a:gd name="connsiteX839" fmla="*/ 872595 w 3718887"/>
              <a:gd name="connsiteY839" fmla="*/ 4416792 h 6994525"/>
              <a:gd name="connsiteX840" fmla="*/ 789734 w 3718887"/>
              <a:gd name="connsiteY840" fmla="*/ 4500275 h 6994525"/>
              <a:gd name="connsiteX841" fmla="*/ 3519114 w 3718887"/>
              <a:gd name="connsiteY841" fmla="*/ 4520419 h 6994525"/>
              <a:gd name="connsiteX842" fmla="*/ 3454418 w 3718887"/>
              <a:gd name="connsiteY842" fmla="*/ 4455718 h 6994525"/>
              <a:gd name="connsiteX843" fmla="*/ 3519114 w 3718887"/>
              <a:gd name="connsiteY843" fmla="*/ 4391018 h 6994525"/>
              <a:gd name="connsiteX844" fmla="*/ 3583810 w 3718887"/>
              <a:gd name="connsiteY844" fmla="*/ 4455718 h 6994525"/>
              <a:gd name="connsiteX845" fmla="*/ 3519114 w 3718887"/>
              <a:gd name="connsiteY845" fmla="*/ 4520419 h 6994525"/>
              <a:gd name="connsiteX846" fmla="*/ 0 w 3718887"/>
              <a:gd name="connsiteY846" fmla="*/ 4559202 h 6994525"/>
              <a:gd name="connsiteX847" fmla="*/ 0 w 3718887"/>
              <a:gd name="connsiteY847" fmla="*/ 4444276 h 6994525"/>
              <a:gd name="connsiteX848" fmla="*/ 16192 w 3718887"/>
              <a:gd name="connsiteY848" fmla="*/ 4454676 h 6994525"/>
              <a:gd name="connsiteX849" fmla="*/ 35547 w 3718887"/>
              <a:gd name="connsiteY849" fmla="*/ 4501705 h 6994525"/>
              <a:gd name="connsiteX850" fmla="*/ 17910 w 3718887"/>
              <a:gd name="connsiteY850" fmla="*/ 4547264 h 6994525"/>
              <a:gd name="connsiteX851" fmla="*/ 2175337 w 3718887"/>
              <a:gd name="connsiteY851" fmla="*/ 4584925 h 6994525"/>
              <a:gd name="connsiteX852" fmla="*/ 2033469 w 3718887"/>
              <a:gd name="connsiteY852" fmla="*/ 4443687 h 6994525"/>
              <a:gd name="connsiteX853" fmla="*/ 2174708 w 3718887"/>
              <a:gd name="connsiteY853" fmla="*/ 4301820 h 6994525"/>
              <a:gd name="connsiteX854" fmla="*/ 2316576 w 3718887"/>
              <a:gd name="connsiteY854" fmla="*/ 4443056 h 6994525"/>
              <a:gd name="connsiteX855" fmla="*/ 2175337 w 3718887"/>
              <a:gd name="connsiteY855" fmla="*/ 4584925 h 6994525"/>
              <a:gd name="connsiteX856" fmla="*/ 1113226 w 3718887"/>
              <a:gd name="connsiteY856" fmla="*/ 4638768 h 6994525"/>
              <a:gd name="connsiteX857" fmla="*/ 966970 w 3718887"/>
              <a:gd name="connsiteY857" fmla="*/ 4493127 h 6994525"/>
              <a:gd name="connsiteX858" fmla="*/ 1112597 w 3718887"/>
              <a:gd name="connsiteY858" fmla="*/ 4346877 h 6994525"/>
              <a:gd name="connsiteX859" fmla="*/ 1258859 w 3718887"/>
              <a:gd name="connsiteY859" fmla="*/ 4492502 h 6994525"/>
              <a:gd name="connsiteX860" fmla="*/ 1113226 w 3718887"/>
              <a:gd name="connsiteY860" fmla="*/ 4638768 h 6994525"/>
              <a:gd name="connsiteX861" fmla="*/ 2493340 w 3718887"/>
              <a:gd name="connsiteY861" fmla="*/ 4642500 h 6994525"/>
              <a:gd name="connsiteX862" fmla="*/ 2367794 w 3718887"/>
              <a:gd name="connsiteY862" fmla="*/ 4518213 h 6994525"/>
              <a:gd name="connsiteX863" fmla="*/ 2492087 w 3718887"/>
              <a:gd name="connsiteY863" fmla="*/ 4392669 h 6994525"/>
              <a:gd name="connsiteX864" fmla="*/ 2617633 w 3718887"/>
              <a:gd name="connsiteY864" fmla="*/ 4516956 h 6994525"/>
              <a:gd name="connsiteX865" fmla="*/ 2493340 w 3718887"/>
              <a:gd name="connsiteY865" fmla="*/ 4642500 h 6994525"/>
              <a:gd name="connsiteX866" fmla="*/ 311808 w 3718887"/>
              <a:gd name="connsiteY866" fmla="*/ 4653247 h 6994525"/>
              <a:gd name="connsiteX867" fmla="*/ 246482 w 3718887"/>
              <a:gd name="connsiteY867" fmla="*/ 4588549 h 6994525"/>
              <a:gd name="connsiteX868" fmla="*/ 311808 w 3718887"/>
              <a:gd name="connsiteY868" fmla="*/ 4523857 h 6994525"/>
              <a:gd name="connsiteX869" fmla="*/ 376504 w 3718887"/>
              <a:gd name="connsiteY869" fmla="*/ 4588549 h 6994525"/>
              <a:gd name="connsiteX870" fmla="*/ 311808 w 3718887"/>
              <a:gd name="connsiteY870" fmla="*/ 4653247 h 6994525"/>
              <a:gd name="connsiteX871" fmla="*/ 2810807 w 3718887"/>
              <a:gd name="connsiteY871" fmla="*/ 4688467 h 6994525"/>
              <a:gd name="connsiteX872" fmla="*/ 2712880 w 3718887"/>
              <a:gd name="connsiteY872" fmla="*/ 4591796 h 6994525"/>
              <a:gd name="connsiteX873" fmla="*/ 2809549 w 3718887"/>
              <a:gd name="connsiteY873" fmla="*/ 4493865 h 6994525"/>
              <a:gd name="connsiteX874" fmla="*/ 2907476 w 3718887"/>
              <a:gd name="connsiteY874" fmla="*/ 4590537 h 6994525"/>
              <a:gd name="connsiteX875" fmla="*/ 2810807 w 3718887"/>
              <a:gd name="connsiteY875" fmla="*/ 4688467 h 6994525"/>
              <a:gd name="connsiteX876" fmla="*/ 3128182 w 3718887"/>
              <a:gd name="connsiteY876" fmla="*/ 4731178 h 6994525"/>
              <a:gd name="connsiteX877" fmla="*/ 3061639 w 3718887"/>
              <a:gd name="connsiteY877" fmla="*/ 4665269 h 6994525"/>
              <a:gd name="connsiteX878" fmla="*/ 3127553 w 3718887"/>
              <a:gd name="connsiteY878" fmla="*/ 4598723 h 6994525"/>
              <a:gd name="connsiteX879" fmla="*/ 3194090 w 3718887"/>
              <a:gd name="connsiteY879" fmla="*/ 4664640 h 6994525"/>
              <a:gd name="connsiteX880" fmla="*/ 3128182 w 3718887"/>
              <a:gd name="connsiteY880" fmla="*/ 4731178 h 6994525"/>
              <a:gd name="connsiteX881" fmla="*/ 647351 w 3718887"/>
              <a:gd name="connsiteY881" fmla="*/ 4776926 h 6994525"/>
              <a:gd name="connsiteX882" fmla="*/ 541889 w 3718887"/>
              <a:gd name="connsiteY882" fmla="*/ 4672094 h 6994525"/>
              <a:gd name="connsiteX883" fmla="*/ 646721 w 3718887"/>
              <a:gd name="connsiteY883" fmla="*/ 4566636 h 6994525"/>
              <a:gd name="connsiteX884" fmla="*/ 752183 w 3718887"/>
              <a:gd name="connsiteY884" fmla="*/ 4671464 h 6994525"/>
              <a:gd name="connsiteX885" fmla="*/ 647351 w 3718887"/>
              <a:gd name="connsiteY885" fmla="*/ 4776926 h 6994525"/>
              <a:gd name="connsiteX886" fmla="*/ 3445555 w 3718887"/>
              <a:gd name="connsiteY886" fmla="*/ 4803030 h 6994525"/>
              <a:gd name="connsiteX887" fmla="*/ 3380859 w 3718887"/>
              <a:gd name="connsiteY887" fmla="*/ 4738319 h 6994525"/>
              <a:gd name="connsiteX888" fmla="*/ 3445555 w 3718887"/>
              <a:gd name="connsiteY888" fmla="*/ 4673622 h 6994525"/>
              <a:gd name="connsiteX889" fmla="*/ 3510266 w 3718887"/>
              <a:gd name="connsiteY889" fmla="*/ 4738319 h 6994525"/>
              <a:gd name="connsiteX890" fmla="*/ 3445555 w 3718887"/>
              <a:gd name="connsiteY890" fmla="*/ 4803030 h 6994525"/>
              <a:gd name="connsiteX891" fmla="*/ 2078214 w 3718887"/>
              <a:gd name="connsiteY891" fmla="*/ 4859519 h 6994525"/>
              <a:gd name="connsiteX892" fmla="*/ 1936974 w 3718887"/>
              <a:gd name="connsiteY892" fmla="*/ 4719531 h 6994525"/>
              <a:gd name="connsiteX893" fmla="*/ 2076962 w 3718887"/>
              <a:gd name="connsiteY893" fmla="*/ 4578292 h 6994525"/>
              <a:gd name="connsiteX894" fmla="*/ 2218202 w 3718887"/>
              <a:gd name="connsiteY894" fmla="*/ 4718279 h 6994525"/>
              <a:gd name="connsiteX895" fmla="*/ 2078214 w 3718887"/>
              <a:gd name="connsiteY895" fmla="*/ 4859519 h 6994525"/>
              <a:gd name="connsiteX896" fmla="*/ 129027 w 3718887"/>
              <a:gd name="connsiteY896" fmla="*/ 4881022 h 6994525"/>
              <a:gd name="connsiteX897" fmla="*/ 63980 w 3718887"/>
              <a:gd name="connsiteY897" fmla="*/ 4816687 h 6994525"/>
              <a:gd name="connsiteX898" fmla="*/ 128318 w 3718887"/>
              <a:gd name="connsiteY898" fmla="*/ 4751635 h 6994525"/>
              <a:gd name="connsiteX899" fmla="*/ 193365 w 3718887"/>
              <a:gd name="connsiteY899" fmla="*/ 4815977 h 6994525"/>
              <a:gd name="connsiteX900" fmla="*/ 129027 w 3718887"/>
              <a:gd name="connsiteY900" fmla="*/ 4881022 h 6994525"/>
              <a:gd name="connsiteX901" fmla="*/ 979540 w 3718887"/>
              <a:gd name="connsiteY901" fmla="*/ 4898167 h 6994525"/>
              <a:gd name="connsiteX902" fmla="*/ 832652 w 3718887"/>
              <a:gd name="connsiteY902" fmla="*/ 4752532 h 6994525"/>
              <a:gd name="connsiteX903" fmla="*/ 978911 w 3718887"/>
              <a:gd name="connsiteY903" fmla="*/ 4606278 h 6994525"/>
              <a:gd name="connsiteX904" fmla="*/ 1125169 w 3718887"/>
              <a:gd name="connsiteY904" fmla="*/ 4751905 h 6994525"/>
              <a:gd name="connsiteX905" fmla="*/ 979540 w 3718887"/>
              <a:gd name="connsiteY905" fmla="*/ 4898167 h 6994525"/>
              <a:gd name="connsiteX906" fmla="*/ 2398269 w 3718887"/>
              <a:gd name="connsiteY906" fmla="*/ 4917831 h 6994525"/>
              <a:gd name="connsiteX907" fmla="*/ 2272721 w 3718887"/>
              <a:gd name="connsiteY907" fmla="*/ 4792906 h 6994525"/>
              <a:gd name="connsiteX908" fmla="*/ 2397016 w 3718887"/>
              <a:gd name="connsiteY908" fmla="*/ 4667987 h 6994525"/>
              <a:gd name="connsiteX909" fmla="*/ 2522564 w 3718887"/>
              <a:gd name="connsiteY909" fmla="*/ 4792277 h 6994525"/>
              <a:gd name="connsiteX910" fmla="*/ 2398269 w 3718887"/>
              <a:gd name="connsiteY910" fmla="*/ 4917831 h 6994525"/>
              <a:gd name="connsiteX911" fmla="*/ 2717263 w 3718887"/>
              <a:gd name="connsiteY911" fmla="*/ 4933051 h 6994525"/>
              <a:gd name="connsiteX912" fmla="*/ 2651979 w 3718887"/>
              <a:gd name="connsiteY912" fmla="*/ 4867765 h 6994525"/>
              <a:gd name="connsiteX913" fmla="*/ 2717263 w 3718887"/>
              <a:gd name="connsiteY913" fmla="*/ 4802481 h 6994525"/>
              <a:gd name="connsiteX914" fmla="*/ 2782546 w 3718887"/>
              <a:gd name="connsiteY914" fmla="*/ 4867765 h 6994525"/>
              <a:gd name="connsiteX915" fmla="*/ 2717263 w 3718887"/>
              <a:gd name="connsiteY915" fmla="*/ 4933051 h 6994525"/>
              <a:gd name="connsiteX916" fmla="*/ 3036454 w 3718887"/>
              <a:gd name="connsiteY916" fmla="*/ 5006903 h 6994525"/>
              <a:gd name="connsiteX917" fmla="*/ 2971758 w 3718887"/>
              <a:gd name="connsiteY917" fmla="*/ 4942206 h 6994525"/>
              <a:gd name="connsiteX918" fmla="*/ 3036454 w 3718887"/>
              <a:gd name="connsiteY918" fmla="*/ 4877509 h 6994525"/>
              <a:gd name="connsiteX919" fmla="*/ 3101150 w 3718887"/>
              <a:gd name="connsiteY919" fmla="*/ 4942206 h 6994525"/>
              <a:gd name="connsiteX920" fmla="*/ 3036454 w 3718887"/>
              <a:gd name="connsiteY920" fmla="*/ 5006903 h 6994525"/>
              <a:gd name="connsiteX921" fmla="*/ 477852 w 3718887"/>
              <a:gd name="connsiteY921" fmla="*/ 5009977 h 6994525"/>
              <a:gd name="connsiteX922" fmla="*/ 376790 w 3718887"/>
              <a:gd name="connsiteY922" fmla="*/ 4909537 h 6994525"/>
              <a:gd name="connsiteX923" fmla="*/ 477229 w 3718887"/>
              <a:gd name="connsiteY923" fmla="*/ 4808481 h 6994525"/>
              <a:gd name="connsiteX924" fmla="*/ 578291 w 3718887"/>
              <a:gd name="connsiteY924" fmla="*/ 4908915 h 6994525"/>
              <a:gd name="connsiteX925" fmla="*/ 477852 w 3718887"/>
              <a:gd name="connsiteY925" fmla="*/ 5009977 h 6994525"/>
              <a:gd name="connsiteX926" fmla="*/ 3355644 w 3718887"/>
              <a:gd name="connsiteY926" fmla="*/ 5080943 h 6994525"/>
              <a:gd name="connsiteX927" fmla="*/ 3290948 w 3718887"/>
              <a:gd name="connsiteY927" fmla="*/ 5016218 h 6994525"/>
              <a:gd name="connsiteX928" fmla="*/ 3355644 w 3718887"/>
              <a:gd name="connsiteY928" fmla="*/ 4951522 h 6994525"/>
              <a:gd name="connsiteX929" fmla="*/ 3420368 w 3718887"/>
              <a:gd name="connsiteY929" fmla="*/ 5016218 h 6994525"/>
              <a:gd name="connsiteX930" fmla="*/ 3355644 w 3718887"/>
              <a:gd name="connsiteY930" fmla="*/ 5080943 h 6994525"/>
              <a:gd name="connsiteX931" fmla="*/ 1960248 w 3718887"/>
              <a:gd name="connsiteY931" fmla="*/ 5110963 h 6994525"/>
              <a:gd name="connsiteX932" fmla="*/ 1834703 w 3718887"/>
              <a:gd name="connsiteY932" fmla="*/ 4986675 h 6994525"/>
              <a:gd name="connsiteX933" fmla="*/ 1959619 w 3718887"/>
              <a:gd name="connsiteY933" fmla="*/ 4861124 h 6994525"/>
              <a:gd name="connsiteX934" fmla="*/ 2085164 w 3718887"/>
              <a:gd name="connsiteY934" fmla="*/ 4985415 h 6994525"/>
              <a:gd name="connsiteX935" fmla="*/ 1960248 w 3718887"/>
              <a:gd name="connsiteY935" fmla="*/ 5110963 h 6994525"/>
              <a:gd name="connsiteX936" fmla="*/ 819946 w 3718887"/>
              <a:gd name="connsiteY936" fmla="*/ 5130916 h 6994525"/>
              <a:gd name="connsiteX937" fmla="*/ 685609 w 3718887"/>
              <a:gd name="connsiteY937" fmla="*/ 4997831 h 6994525"/>
              <a:gd name="connsiteX938" fmla="*/ 818687 w 3718887"/>
              <a:gd name="connsiteY938" fmla="*/ 4863499 h 6994525"/>
              <a:gd name="connsiteX939" fmla="*/ 953024 w 3718887"/>
              <a:gd name="connsiteY939" fmla="*/ 4996578 h 6994525"/>
              <a:gd name="connsiteX940" fmla="*/ 819946 w 3718887"/>
              <a:gd name="connsiteY940" fmla="*/ 5130916 h 6994525"/>
              <a:gd name="connsiteX941" fmla="*/ 2284172 w 3718887"/>
              <a:gd name="connsiteY941" fmla="*/ 5161907 h 6994525"/>
              <a:gd name="connsiteX942" fmla="*/ 2184363 w 3718887"/>
              <a:gd name="connsiteY942" fmla="*/ 5062725 h 6994525"/>
              <a:gd name="connsiteX943" fmla="*/ 2283543 w 3718887"/>
              <a:gd name="connsiteY943" fmla="*/ 4962916 h 6994525"/>
              <a:gd name="connsiteX944" fmla="*/ 2383351 w 3718887"/>
              <a:gd name="connsiteY944" fmla="*/ 5062097 h 6994525"/>
              <a:gd name="connsiteX945" fmla="*/ 2284172 w 3718887"/>
              <a:gd name="connsiteY945" fmla="*/ 5161907 h 6994525"/>
              <a:gd name="connsiteX946" fmla="*/ 2606705 w 3718887"/>
              <a:gd name="connsiteY946" fmla="*/ 5203204 h 6994525"/>
              <a:gd name="connsiteX947" fmla="*/ 2541422 w 3718887"/>
              <a:gd name="connsiteY947" fmla="*/ 5137920 h 6994525"/>
              <a:gd name="connsiteX948" fmla="*/ 2606705 w 3718887"/>
              <a:gd name="connsiteY948" fmla="*/ 5072634 h 6994525"/>
              <a:gd name="connsiteX949" fmla="*/ 2671989 w 3718887"/>
              <a:gd name="connsiteY949" fmla="*/ 5137920 h 6994525"/>
              <a:gd name="connsiteX950" fmla="*/ 2606705 w 3718887"/>
              <a:gd name="connsiteY950" fmla="*/ 5203204 h 6994525"/>
              <a:gd name="connsiteX951" fmla="*/ 282554 w 3718887"/>
              <a:gd name="connsiteY951" fmla="*/ 5227222 h 6994525"/>
              <a:gd name="connsiteX952" fmla="*/ 181492 w 3718887"/>
              <a:gd name="connsiteY952" fmla="*/ 5126781 h 6994525"/>
              <a:gd name="connsiteX953" fmla="*/ 281931 w 3718887"/>
              <a:gd name="connsiteY953" fmla="*/ 5025719 h 6994525"/>
              <a:gd name="connsiteX954" fmla="*/ 382993 w 3718887"/>
              <a:gd name="connsiteY954" fmla="*/ 5126157 h 6994525"/>
              <a:gd name="connsiteX955" fmla="*/ 282554 w 3718887"/>
              <a:gd name="connsiteY955" fmla="*/ 5227222 h 6994525"/>
              <a:gd name="connsiteX956" fmla="*/ 2928920 w 3718887"/>
              <a:gd name="connsiteY956" fmla="*/ 5278373 h 6994525"/>
              <a:gd name="connsiteX957" fmla="*/ 2864213 w 3718887"/>
              <a:gd name="connsiteY957" fmla="*/ 5213666 h 6994525"/>
              <a:gd name="connsiteX958" fmla="*/ 2928920 w 3718887"/>
              <a:gd name="connsiteY958" fmla="*/ 5148959 h 6994525"/>
              <a:gd name="connsiteX959" fmla="*/ 2993626 w 3718887"/>
              <a:gd name="connsiteY959" fmla="*/ 5213666 h 6994525"/>
              <a:gd name="connsiteX960" fmla="*/ 2928920 w 3718887"/>
              <a:gd name="connsiteY960" fmla="*/ 5278373 h 6994525"/>
              <a:gd name="connsiteX961" fmla="*/ 3250679 w 3718887"/>
              <a:gd name="connsiteY961" fmla="*/ 5353672 h 6994525"/>
              <a:gd name="connsiteX962" fmla="*/ 3179998 w 3718887"/>
              <a:gd name="connsiteY962" fmla="*/ 5289358 h 6994525"/>
              <a:gd name="connsiteX963" fmla="*/ 3250679 w 3718887"/>
              <a:gd name="connsiteY963" fmla="*/ 5225110 h 6994525"/>
              <a:gd name="connsiteX964" fmla="*/ 3321424 w 3718887"/>
              <a:gd name="connsiteY964" fmla="*/ 5289358 h 6994525"/>
              <a:gd name="connsiteX965" fmla="*/ 3250679 w 3718887"/>
              <a:gd name="connsiteY965" fmla="*/ 5353672 h 6994525"/>
              <a:gd name="connsiteX966" fmla="*/ 637118 w 3718887"/>
              <a:gd name="connsiteY966" fmla="*/ 5377314 h 6994525"/>
              <a:gd name="connsiteX967" fmla="*/ 483949 w 3718887"/>
              <a:gd name="connsiteY967" fmla="*/ 5225403 h 6994525"/>
              <a:gd name="connsiteX968" fmla="*/ 635859 w 3718887"/>
              <a:gd name="connsiteY968" fmla="*/ 5072239 h 6994525"/>
              <a:gd name="connsiteX969" fmla="*/ 789028 w 3718887"/>
              <a:gd name="connsiteY969" fmla="*/ 5224152 h 6994525"/>
              <a:gd name="connsiteX970" fmla="*/ 637118 w 3718887"/>
              <a:gd name="connsiteY970" fmla="*/ 5377314 h 6994525"/>
              <a:gd name="connsiteX971" fmla="*/ 1822594 w 3718887"/>
              <a:gd name="connsiteY971" fmla="*/ 5385068 h 6994525"/>
              <a:gd name="connsiteX972" fmla="*/ 1680726 w 3718887"/>
              <a:gd name="connsiteY972" fmla="*/ 5243827 h 6994525"/>
              <a:gd name="connsiteX973" fmla="*/ 1821965 w 3718887"/>
              <a:gd name="connsiteY973" fmla="*/ 5101958 h 6994525"/>
              <a:gd name="connsiteX974" fmla="*/ 1963833 w 3718887"/>
              <a:gd name="connsiteY974" fmla="*/ 5243198 h 6994525"/>
              <a:gd name="connsiteX975" fmla="*/ 1822594 w 3718887"/>
              <a:gd name="connsiteY975" fmla="*/ 5385068 h 6994525"/>
              <a:gd name="connsiteX976" fmla="*/ 64027 w 3718887"/>
              <a:gd name="connsiteY976" fmla="*/ 5415148 h 6994525"/>
              <a:gd name="connsiteX977" fmla="*/ 27135 w 3718887"/>
              <a:gd name="connsiteY977" fmla="*/ 5407753 h 6994525"/>
              <a:gd name="connsiteX978" fmla="*/ 0 w 3718887"/>
              <a:gd name="connsiteY978" fmla="*/ 5389675 h 6994525"/>
              <a:gd name="connsiteX979" fmla="*/ 0 w 3718887"/>
              <a:gd name="connsiteY979" fmla="*/ 5250177 h 6994525"/>
              <a:gd name="connsiteX980" fmla="*/ 26253 w 3718887"/>
              <a:gd name="connsiteY980" fmla="*/ 5232443 h 6994525"/>
              <a:gd name="connsiteX981" fmla="*/ 63398 w 3718887"/>
              <a:gd name="connsiteY981" fmla="*/ 5224949 h 6994525"/>
              <a:gd name="connsiteX982" fmla="*/ 158810 w 3718887"/>
              <a:gd name="connsiteY982" fmla="*/ 5319739 h 6994525"/>
              <a:gd name="connsiteX983" fmla="*/ 64027 w 3718887"/>
              <a:gd name="connsiteY983" fmla="*/ 5415148 h 6994525"/>
              <a:gd name="connsiteX984" fmla="*/ 2151676 w 3718887"/>
              <a:gd name="connsiteY984" fmla="*/ 5430955 h 6994525"/>
              <a:gd name="connsiteX985" fmla="*/ 2043083 w 3718887"/>
              <a:gd name="connsiteY985" fmla="*/ 5322992 h 6994525"/>
              <a:gd name="connsiteX986" fmla="*/ 2151054 w 3718887"/>
              <a:gd name="connsiteY986" fmla="*/ 5214390 h 6994525"/>
              <a:gd name="connsiteX987" fmla="*/ 2259647 w 3718887"/>
              <a:gd name="connsiteY987" fmla="*/ 5322361 h 6994525"/>
              <a:gd name="connsiteX988" fmla="*/ 2151676 w 3718887"/>
              <a:gd name="connsiteY988" fmla="*/ 5430955 h 6994525"/>
              <a:gd name="connsiteX989" fmla="*/ 2479474 w 3718887"/>
              <a:gd name="connsiteY989" fmla="*/ 5482904 h 6994525"/>
              <a:gd name="connsiteX990" fmla="*/ 2397238 w 3718887"/>
              <a:gd name="connsiteY990" fmla="*/ 5401304 h 6994525"/>
              <a:gd name="connsiteX991" fmla="*/ 2478845 w 3718887"/>
              <a:gd name="connsiteY991" fmla="*/ 5319068 h 6994525"/>
              <a:gd name="connsiteX992" fmla="*/ 2561075 w 3718887"/>
              <a:gd name="connsiteY992" fmla="*/ 5400674 h 6994525"/>
              <a:gd name="connsiteX993" fmla="*/ 2479474 w 3718887"/>
              <a:gd name="connsiteY993" fmla="*/ 5482904 h 6994525"/>
              <a:gd name="connsiteX994" fmla="*/ 2805452 w 3718887"/>
              <a:gd name="connsiteY994" fmla="*/ 5542928 h 6994525"/>
              <a:gd name="connsiteX995" fmla="*/ 2740750 w 3718887"/>
              <a:gd name="connsiteY995" fmla="*/ 5478225 h 6994525"/>
              <a:gd name="connsiteX996" fmla="*/ 2805452 w 3718887"/>
              <a:gd name="connsiteY996" fmla="*/ 5413523 h 6994525"/>
              <a:gd name="connsiteX997" fmla="*/ 2870155 w 3718887"/>
              <a:gd name="connsiteY997" fmla="*/ 5478225 h 6994525"/>
              <a:gd name="connsiteX998" fmla="*/ 2805452 w 3718887"/>
              <a:gd name="connsiteY998" fmla="*/ 5542928 h 6994525"/>
              <a:gd name="connsiteX999" fmla="*/ 432254 w 3718887"/>
              <a:gd name="connsiteY999" fmla="*/ 5561139 h 6994525"/>
              <a:gd name="connsiteX1000" fmla="*/ 303568 w 3718887"/>
              <a:gd name="connsiteY1000" fmla="*/ 5433082 h 6994525"/>
              <a:gd name="connsiteX1001" fmla="*/ 431625 w 3718887"/>
              <a:gd name="connsiteY1001" fmla="*/ 5304397 h 6994525"/>
              <a:gd name="connsiteX1002" fmla="*/ 560311 w 3718887"/>
              <a:gd name="connsiteY1002" fmla="*/ 5432453 h 6994525"/>
              <a:gd name="connsiteX1003" fmla="*/ 432254 w 3718887"/>
              <a:gd name="connsiteY1003" fmla="*/ 5561139 h 6994525"/>
              <a:gd name="connsiteX1004" fmla="*/ 1666966 w 3718887"/>
              <a:gd name="connsiteY1004" fmla="*/ 5607507 h 6994525"/>
              <a:gd name="connsiteX1005" fmla="*/ 1548950 w 3718887"/>
              <a:gd name="connsiteY1005" fmla="*/ 5490746 h 6994525"/>
              <a:gd name="connsiteX1006" fmla="*/ 1666337 w 3718887"/>
              <a:gd name="connsiteY1006" fmla="*/ 5373364 h 6994525"/>
              <a:gd name="connsiteX1007" fmla="*/ 1783723 w 3718887"/>
              <a:gd name="connsiteY1007" fmla="*/ 5490116 h 6994525"/>
              <a:gd name="connsiteX1008" fmla="*/ 1666966 w 3718887"/>
              <a:gd name="connsiteY1008" fmla="*/ 5607507 h 6994525"/>
              <a:gd name="connsiteX1009" fmla="*/ 3130114 w 3718887"/>
              <a:gd name="connsiteY1009" fmla="*/ 5619540 h 6994525"/>
              <a:gd name="connsiteX1010" fmla="*/ 3065553 w 3718887"/>
              <a:gd name="connsiteY1010" fmla="*/ 5554945 h 6994525"/>
              <a:gd name="connsiteX1011" fmla="*/ 3126741 w 3718887"/>
              <a:gd name="connsiteY1011" fmla="*/ 5490385 h 6994525"/>
              <a:gd name="connsiteX1012" fmla="*/ 3194709 w 3718887"/>
              <a:gd name="connsiteY1012" fmla="*/ 5554945 h 6994525"/>
              <a:gd name="connsiteX1013" fmla="*/ 3130114 w 3718887"/>
              <a:gd name="connsiteY1013" fmla="*/ 5619540 h 6994525"/>
              <a:gd name="connsiteX1014" fmla="*/ 2001975 w 3718887"/>
              <a:gd name="connsiteY1014" fmla="*/ 5659784 h 6994525"/>
              <a:gd name="connsiteX1015" fmla="*/ 1915348 w 3718887"/>
              <a:gd name="connsiteY1015" fmla="*/ 5573786 h 6994525"/>
              <a:gd name="connsiteX1016" fmla="*/ 2001345 w 3718887"/>
              <a:gd name="connsiteY1016" fmla="*/ 5487159 h 6994525"/>
              <a:gd name="connsiteX1017" fmla="*/ 2087972 w 3718887"/>
              <a:gd name="connsiteY1017" fmla="*/ 5573156 h 6994525"/>
              <a:gd name="connsiteX1018" fmla="*/ 2001975 w 3718887"/>
              <a:gd name="connsiteY1018" fmla="*/ 5659784 h 6994525"/>
              <a:gd name="connsiteX1019" fmla="*/ 2335375 w 3718887"/>
              <a:gd name="connsiteY1019" fmla="*/ 5719486 h 6994525"/>
              <a:gd name="connsiteX1020" fmla="*/ 2270353 w 3718887"/>
              <a:gd name="connsiteY1020" fmla="*/ 5655108 h 6994525"/>
              <a:gd name="connsiteX1021" fmla="*/ 2334730 w 3718887"/>
              <a:gd name="connsiteY1021" fmla="*/ 5590086 h 6994525"/>
              <a:gd name="connsiteX1022" fmla="*/ 2399751 w 3718887"/>
              <a:gd name="connsiteY1022" fmla="*/ 5654463 h 6994525"/>
              <a:gd name="connsiteX1023" fmla="*/ 2335375 w 3718887"/>
              <a:gd name="connsiteY1023" fmla="*/ 5719486 h 6994525"/>
              <a:gd name="connsiteX1024" fmla="*/ 208233 w 3718887"/>
              <a:gd name="connsiteY1024" fmla="*/ 5751408 h 6994525"/>
              <a:gd name="connsiteX1025" fmla="*/ 75786 w 3718887"/>
              <a:gd name="connsiteY1025" fmla="*/ 5620212 h 6994525"/>
              <a:gd name="connsiteX1026" fmla="*/ 207610 w 3718887"/>
              <a:gd name="connsiteY1026" fmla="*/ 5488386 h 6994525"/>
              <a:gd name="connsiteX1027" fmla="*/ 339428 w 3718887"/>
              <a:gd name="connsiteY1027" fmla="*/ 5619583 h 6994525"/>
              <a:gd name="connsiteX1028" fmla="*/ 208233 w 3718887"/>
              <a:gd name="connsiteY1028" fmla="*/ 5751408 h 6994525"/>
              <a:gd name="connsiteX1029" fmla="*/ 2666078 w 3718887"/>
              <a:gd name="connsiteY1029" fmla="*/ 5799312 h 6994525"/>
              <a:gd name="connsiteX1030" fmla="*/ 2601376 w 3718887"/>
              <a:gd name="connsiteY1030" fmla="*/ 5734609 h 6994525"/>
              <a:gd name="connsiteX1031" fmla="*/ 2666078 w 3718887"/>
              <a:gd name="connsiteY1031" fmla="*/ 5669907 h 6994525"/>
              <a:gd name="connsiteX1032" fmla="*/ 2730768 w 3718887"/>
              <a:gd name="connsiteY1032" fmla="*/ 5734609 h 6994525"/>
              <a:gd name="connsiteX1033" fmla="*/ 2666078 w 3718887"/>
              <a:gd name="connsiteY1033" fmla="*/ 5799312 h 6994525"/>
              <a:gd name="connsiteX1034" fmla="*/ 1492315 w 3718887"/>
              <a:gd name="connsiteY1034" fmla="*/ 5868417 h 6994525"/>
              <a:gd name="connsiteX1035" fmla="*/ 1347936 w 3718887"/>
              <a:gd name="connsiteY1035" fmla="*/ 5725296 h 6994525"/>
              <a:gd name="connsiteX1036" fmla="*/ 1491056 w 3718887"/>
              <a:gd name="connsiteY1036" fmla="*/ 5580914 h 6994525"/>
              <a:gd name="connsiteX1037" fmla="*/ 1635435 w 3718887"/>
              <a:gd name="connsiteY1037" fmla="*/ 5724037 h 6994525"/>
              <a:gd name="connsiteX1038" fmla="*/ 1492315 w 3718887"/>
              <a:gd name="connsiteY1038" fmla="*/ 5868417 h 6994525"/>
              <a:gd name="connsiteX1039" fmla="*/ 2995160 w 3718887"/>
              <a:gd name="connsiteY1039" fmla="*/ 5878794 h 6994525"/>
              <a:gd name="connsiteX1040" fmla="*/ 2930464 w 3718887"/>
              <a:gd name="connsiteY1040" fmla="*/ 5814081 h 6994525"/>
              <a:gd name="connsiteX1041" fmla="*/ 2995160 w 3718887"/>
              <a:gd name="connsiteY1041" fmla="*/ 5749367 h 6994525"/>
              <a:gd name="connsiteX1042" fmla="*/ 3059856 w 3718887"/>
              <a:gd name="connsiteY1042" fmla="*/ 5814081 h 6994525"/>
              <a:gd name="connsiteX1043" fmla="*/ 2995160 w 3718887"/>
              <a:gd name="connsiteY1043" fmla="*/ 5878794 h 6994525"/>
              <a:gd name="connsiteX1044" fmla="*/ 580240 w 3718887"/>
              <a:gd name="connsiteY1044" fmla="*/ 5882856 h 6994525"/>
              <a:gd name="connsiteX1045" fmla="*/ 433977 w 3718887"/>
              <a:gd name="connsiteY1045" fmla="*/ 5737224 h 6994525"/>
              <a:gd name="connsiteX1046" fmla="*/ 579611 w 3718887"/>
              <a:gd name="connsiteY1046" fmla="*/ 5590961 h 6994525"/>
              <a:gd name="connsiteX1047" fmla="*/ 636364 w 3718887"/>
              <a:gd name="connsiteY1047" fmla="*/ 5602418 h 6994525"/>
              <a:gd name="connsiteX1048" fmla="*/ 669550 w 3718887"/>
              <a:gd name="connsiteY1048" fmla="*/ 5624700 h 6994525"/>
              <a:gd name="connsiteX1049" fmla="*/ 650469 w 3718887"/>
              <a:gd name="connsiteY1049" fmla="*/ 5596632 h 6994525"/>
              <a:gd name="connsiteX1050" fmla="*/ 637993 w 3718887"/>
              <a:gd name="connsiteY1050" fmla="*/ 5536861 h 6994525"/>
              <a:gd name="connsiteX1051" fmla="*/ 791157 w 3718887"/>
              <a:gd name="connsiteY1051" fmla="*/ 5382443 h 6994525"/>
              <a:gd name="connsiteX1052" fmla="*/ 829413 w 3718887"/>
              <a:gd name="connsiteY1052" fmla="*/ 5389916 h 6994525"/>
              <a:gd name="connsiteX1053" fmla="*/ 825795 w 3718887"/>
              <a:gd name="connsiteY1053" fmla="*/ 5384597 h 6994525"/>
              <a:gd name="connsiteX1054" fmla="*/ 811877 w 3718887"/>
              <a:gd name="connsiteY1054" fmla="*/ 5317465 h 6994525"/>
              <a:gd name="connsiteX1055" fmla="*/ 983876 w 3718887"/>
              <a:gd name="connsiteY1055" fmla="*/ 5144212 h 6994525"/>
              <a:gd name="connsiteX1056" fmla="*/ 1003968 w 3718887"/>
              <a:gd name="connsiteY1056" fmla="*/ 5148148 h 6994525"/>
              <a:gd name="connsiteX1057" fmla="*/ 1003242 w 3718887"/>
              <a:gd name="connsiteY1057" fmla="*/ 5147081 h 6994525"/>
              <a:gd name="connsiteX1058" fmla="*/ 990030 w 3718887"/>
              <a:gd name="connsiteY1058" fmla="*/ 5082165 h 6994525"/>
              <a:gd name="connsiteX1059" fmla="*/ 1156377 w 3718887"/>
              <a:gd name="connsiteY1059" fmla="*/ 4914558 h 6994525"/>
              <a:gd name="connsiteX1060" fmla="*/ 1157320 w 3718887"/>
              <a:gd name="connsiteY1060" fmla="*/ 4914741 h 6994525"/>
              <a:gd name="connsiteX1061" fmla="*/ 1147184 w 3718887"/>
              <a:gd name="connsiteY1061" fmla="*/ 4899835 h 6994525"/>
              <a:gd name="connsiteX1062" fmla="*/ 1133063 w 3718887"/>
              <a:gd name="connsiteY1062" fmla="*/ 4831793 h 6994525"/>
              <a:gd name="connsiteX1063" fmla="*/ 1238901 w 3718887"/>
              <a:gd name="connsiteY1063" fmla="*/ 4670426 h 6994525"/>
              <a:gd name="connsiteX1064" fmla="*/ 1302861 w 3718887"/>
              <a:gd name="connsiteY1064" fmla="*/ 4657482 h 6994525"/>
              <a:gd name="connsiteX1065" fmla="*/ 1285895 w 3718887"/>
              <a:gd name="connsiteY1065" fmla="*/ 4632557 h 6994525"/>
              <a:gd name="connsiteX1066" fmla="*/ 1272751 w 3718887"/>
              <a:gd name="connsiteY1066" fmla="*/ 4569384 h 6994525"/>
              <a:gd name="connsiteX1067" fmla="*/ 1371528 w 3718887"/>
              <a:gd name="connsiteY1067" fmla="*/ 4419318 h 6994525"/>
              <a:gd name="connsiteX1068" fmla="*/ 1433163 w 3718887"/>
              <a:gd name="connsiteY1068" fmla="*/ 4406496 h 6994525"/>
              <a:gd name="connsiteX1069" fmla="*/ 1430650 w 3718887"/>
              <a:gd name="connsiteY1069" fmla="*/ 4404815 h 6994525"/>
              <a:gd name="connsiteX1070" fmla="*/ 1385219 w 3718887"/>
              <a:gd name="connsiteY1070" fmla="*/ 4296224 h 6994525"/>
              <a:gd name="connsiteX1071" fmla="*/ 1538381 w 3718887"/>
              <a:gd name="connsiteY1071" fmla="*/ 4141802 h 6994525"/>
              <a:gd name="connsiteX1072" fmla="*/ 1544525 w 3718887"/>
              <a:gd name="connsiteY1072" fmla="*/ 4143007 h 6994525"/>
              <a:gd name="connsiteX1073" fmla="*/ 1511406 w 3718887"/>
              <a:gd name="connsiteY1073" fmla="*/ 4120864 h 6994525"/>
              <a:gd name="connsiteX1074" fmla="*/ 1467073 w 3718887"/>
              <a:gd name="connsiteY1074" fmla="*/ 4014775 h 6994525"/>
              <a:gd name="connsiteX1075" fmla="*/ 1558705 w 3718887"/>
              <a:gd name="connsiteY1075" fmla="*/ 3876012 h 6994525"/>
              <a:gd name="connsiteX1076" fmla="*/ 1607131 w 3718887"/>
              <a:gd name="connsiteY1076" fmla="*/ 3866259 h 6994525"/>
              <a:gd name="connsiteX1077" fmla="*/ 1562279 w 3718887"/>
              <a:gd name="connsiteY1077" fmla="*/ 3836312 h 6994525"/>
              <a:gd name="connsiteX1078" fmla="*/ 1516849 w 3718887"/>
              <a:gd name="connsiteY1078" fmla="*/ 3727962 h 6994525"/>
              <a:gd name="connsiteX1079" fmla="*/ 1610332 w 3718887"/>
              <a:gd name="connsiteY1079" fmla="*/ 3585656 h 6994525"/>
              <a:gd name="connsiteX1080" fmla="*/ 1647563 w 3718887"/>
              <a:gd name="connsiteY1080" fmla="*/ 3578094 h 6994525"/>
              <a:gd name="connsiteX1081" fmla="*/ 1639313 w 3718887"/>
              <a:gd name="connsiteY1081" fmla="*/ 3576431 h 6994525"/>
              <a:gd name="connsiteX1082" fmla="*/ 1546361 w 3718887"/>
              <a:gd name="connsiteY1082" fmla="*/ 3437058 h 6994525"/>
              <a:gd name="connsiteX1083" fmla="*/ 1638517 w 3718887"/>
              <a:gd name="connsiteY1083" fmla="*/ 3297425 h 6994525"/>
              <a:gd name="connsiteX1084" fmla="*/ 1680874 w 3718887"/>
              <a:gd name="connsiteY1084" fmla="*/ 3288643 h 6994525"/>
              <a:gd name="connsiteX1085" fmla="*/ 1642437 w 3718887"/>
              <a:gd name="connsiteY1085" fmla="*/ 3281111 h 6994525"/>
              <a:gd name="connsiteX1086" fmla="*/ 1552046 w 3718887"/>
              <a:gd name="connsiteY1086" fmla="*/ 3146080 h 6994525"/>
              <a:gd name="connsiteX1087" fmla="*/ 1698937 w 3718887"/>
              <a:gd name="connsiteY1087" fmla="*/ 2997956 h 6994525"/>
              <a:gd name="connsiteX1088" fmla="*/ 1846451 w 3718887"/>
              <a:gd name="connsiteY1088" fmla="*/ 3144829 h 6994525"/>
              <a:gd name="connsiteX1089" fmla="*/ 1756674 w 3718887"/>
              <a:gd name="connsiteY1089" fmla="*/ 3280650 h 6994525"/>
              <a:gd name="connsiteX1090" fmla="*/ 1716184 w 3718887"/>
              <a:gd name="connsiteY1090" fmla="*/ 3288913 h 6994525"/>
              <a:gd name="connsiteX1091" fmla="*/ 1756509 w 3718887"/>
              <a:gd name="connsiteY1091" fmla="*/ 3297061 h 6994525"/>
              <a:gd name="connsiteX1092" fmla="*/ 1849550 w 3718887"/>
              <a:gd name="connsiteY1092" fmla="*/ 3436433 h 6994525"/>
              <a:gd name="connsiteX1093" fmla="*/ 1757129 w 3718887"/>
              <a:gd name="connsiteY1093" fmla="*/ 3576332 h 6994525"/>
              <a:gd name="connsiteX1094" fmla="*/ 1721353 w 3718887"/>
              <a:gd name="connsiteY1094" fmla="*/ 3583624 h 6994525"/>
              <a:gd name="connsiteX1095" fmla="*/ 1729804 w 3718887"/>
              <a:gd name="connsiteY1095" fmla="*/ 3585283 h 6994525"/>
              <a:gd name="connsiteX1096" fmla="*/ 1824435 w 3718887"/>
              <a:gd name="connsiteY1096" fmla="*/ 3726698 h 6994525"/>
              <a:gd name="connsiteX1097" fmla="*/ 1730952 w 3718887"/>
              <a:gd name="connsiteY1097" fmla="*/ 3868639 h 6994525"/>
              <a:gd name="connsiteX1098" fmla="*/ 1680961 w 3718887"/>
              <a:gd name="connsiteY1098" fmla="*/ 3879090 h 6994525"/>
              <a:gd name="connsiteX1099" fmla="*/ 1724131 w 3718887"/>
              <a:gd name="connsiteY1099" fmla="*/ 3908063 h 6994525"/>
              <a:gd name="connsiteX1100" fmla="*/ 1768385 w 3718887"/>
              <a:gd name="connsiteY1100" fmla="*/ 4014150 h 6994525"/>
              <a:gd name="connsiteX1101" fmla="*/ 1618355 w 3718887"/>
              <a:gd name="connsiteY1101" fmla="*/ 4164807 h 6994525"/>
              <a:gd name="connsiteX1102" fmla="*/ 1613709 w 3718887"/>
              <a:gd name="connsiteY1102" fmla="*/ 4163874 h 6994525"/>
              <a:gd name="connsiteX1103" fmla="*/ 1647370 w 3718887"/>
              <a:gd name="connsiteY1103" fmla="*/ 4186372 h 6994525"/>
              <a:gd name="connsiteX1104" fmla="*/ 1692801 w 3718887"/>
              <a:gd name="connsiteY1104" fmla="*/ 4294968 h 6994525"/>
              <a:gd name="connsiteX1105" fmla="*/ 1599408 w 3718887"/>
              <a:gd name="connsiteY1105" fmla="*/ 4436910 h 6994525"/>
              <a:gd name="connsiteX1106" fmla="*/ 1543097 w 3718887"/>
              <a:gd name="connsiteY1106" fmla="*/ 4448660 h 6994525"/>
              <a:gd name="connsiteX1107" fmla="*/ 1549971 w 3718887"/>
              <a:gd name="connsiteY1107" fmla="*/ 4453252 h 6994525"/>
              <a:gd name="connsiteX1108" fmla="*/ 1597914 w 3718887"/>
              <a:gd name="connsiteY1108" fmla="*/ 4568131 h 6994525"/>
              <a:gd name="connsiteX1109" fmla="*/ 1499223 w 3718887"/>
              <a:gd name="connsiteY1109" fmla="*/ 4718461 h 6994525"/>
              <a:gd name="connsiteX1110" fmla="*/ 1445826 w 3718887"/>
              <a:gd name="connsiteY1110" fmla="*/ 4729330 h 6994525"/>
              <a:gd name="connsiteX1111" fmla="*/ 1468306 w 3718887"/>
              <a:gd name="connsiteY1111" fmla="*/ 4762495 h 6994525"/>
              <a:gd name="connsiteX1112" fmla="*/ 1482077 w 3718887"/>
              <a:gd name="connsiteY1112" fmla="*/ 4830536 h 6994525"/>
              <a:gd name="connsiteX1113" fmla="*/ 1308199 w 3718887"/>
              <a:gd name="connsiteY1113" fmla="*/ 5005674 h 6994525"/>
              <a:gd name="connsiteX1114" fmla="*/ 1302861 w 3718887"/>
              <a:gd name="connsiteY1114" fmla="*/ 5004626 h 6994525"/>
              <a:gd name="connsiteX1115" fmla="*/ 1310505 w 3718887"/>
              <a:gd name="connsiteY1115" fmla="*/ 5015893 h 6994525"/>
              <a:gd name="connsiteX1116" fmla="*/ 1323982 w 3718887"/>
              <a:gd name="connsiteY1116" fmla="*/ 5080903 h 6994525"/>
              <a:gd name="connsiteX1117" fmla="*/ 1157635 w 3718887"/>
              <a:gd name="connsiteY1117" fmla="*/ 5248512 h 6994525"/>
              <a:gd name="connsiteX1118" fmla="*/ 1140879 w 3718887"/>
              <a:gd name="connsiteY1118" fmla="*/ 5245163 h 6994525"/>
              <a:gd name="connsiteX1119" fmla="*/ 1143480 w 3718887"/>
              <a:gd name="connsiteY1119" fmla="*/ 5248995 h 6994525"/>
              <a:gd name="connsiteX1120" fmla="*/ 1157133 w 3718887"/>
              <a:gd name="connsiteY1120" fmla="*/ 5316214 h 6994525"/>
              <a:gd name="connsiteX1121" fmla="*/ 985134 w 3718887"/>
              <a:gd name="connsiteY1121" fmla="*/ 5489471 h 6994525"/>
              <a:gd name="connsiteX1122" fmla="*/ 934152 w 3718887"/>
              <a:gd name="connsiteY1122" fmla="*/ 5479265 h 6994525"/>
              <a:gd name="connsiteX1123" fmla="*/ 945579 w 3718887"/>
              <a:gd name="connsiteY1123" fmla="*/ 5535604 h 6994525"/>
              <a:gd name="connsiteX1124" fmla="*/ 792415 w 3718887"/>
              <a:gd name="connsiteY1124" fmla="*/ 5690026 h 6994525"/>
              <a:gd name="connsiteX1125" fmla="*/ 732623 w 3718887"/>
              <a:gd name="connsiteY1125" fmla="*/ 5678276 h 6994525"/>
              <a:gd name="connsiteX1126" fmla="*/ 696944 w 3718887"/>
              <a:gd name="connsiteY1126" fmla="*/ 5654361 h 6994525"/>
              <a:gd name="connsiteX1127" fmla="*/ 714319 w 3718887"/>
              <a:gd name="connsiteY1127" fmla="*/ 5679942 h 6994525"/>
              <a:gd name="connsiteX1128" fmla="*/ 725873 w 3718887"/>
              <a:gd name="connsiteY1128" fmla="*/ 5736595 h 6994525"/>
              <a:gd name="connsiteX1129" fmla="*/ 580240 w 3718887"/>
              <a:gd name="connsiteY1129" fmla="*/ 5882856 h 6994525"/>
              <a:gd name="connsiteX1130" fmla="*/ 1835066 w 3718887"/>
              <a:gd name="connsiteY1130" fmla="*/ 5906921 h 6994525"/>
              <a:gd name="connsiteX1131" fmla="*/ 1740904 w 3718887"/>
              <a:gd name="connsiteY1131" fmla="*/ 5813388 h 6994525"/>
              <a:gd name="connsiteX1132" fmla="*/ 1834436 w 3718887"/>
              <a:gd name="connsiteY1132" fmla="*/ 5719226 h 6994525"/>
              <a:gd name="connsiteX1133" fmla="*/ 1928598 w 3718887"/>
              <a:gd name="connsiteY1133" fmla="*/ 5812758 h 6994525"/>
              <a:gd name="connsiteX1134" fmla="*/ 1835066 w 3718887"/>
              <a:gd name="connsiteY1134" fmla="*/ 5906921 h 6994525"/>
              <a:gd name="connsiteX1135" fmla="*/ 0 w 3718887"/>
              <a:gd name="connsiteY1135" fmla="*/ 5908550 h 6994525"/>
              <a:gd name="connsiteX1136" fmla="*/ 0 w 3718887"/>
              <a:gd name="connsiteY1136" fmla="*/ 5658693 h 6994525"/>
              <a:gd name="connsiteX1137" fmla="*/ 16628 w 3718887"/>
              <a:gd name="connsiteY1137" fmla="*/ 5662012 h 6994525"/>
              <a:gd name="connsiteX1138" fmla="*/ 97661 w 3718887"/>
              <a:gd name="connsiteY1138" fmla="*/ 5782949 h 6994525"/>
              <a:gd name="connsiteX1139" fmla="*/ 17686 w 3718887"/>
              <a:gd name="connsiteY1139" fmla="*/ 5904940 h 6994525"/>
              <a:gd name="connsiteX1140" fmla="*/ 2174916 w 3718887"/>
              <a:gd name="connsiteY1140" fmla="*/ 5963402 h 6994525"/>
              <a:gd name="connsiteX1141" fmla="*/ 2109894 w 3718887"/>
              <a:gd name="connsiteY1141" fmla="*/ 5899023 h 6994525"/>
              <a:gd name="connsiteX1142" fmla="*/ 2174271 w 3718887"/>
              <a:gd name="connsiteY1142" fmla="*/ 5834002 h 6994525"/>
              <a:gd name="connsiteX1143" fmla="*/ 2239292 w 3718887"/>
              <a:gd name="connsiteY1143" fmla="*/ 5898379 h 6994525"/>
              <a:gd name="connsiteX1144" fmla="*/ 2174916 w 3718887"/>
              <a:gd name="connsiteY1144" fmla="*/ 5963402 h 6994525"/>
              <a:gd name="connsiteX1145" fmla="*/ 944170 w 3718887"/>
              <a:gd name="connsiteY1145" fmla="*/ 5981628 h 6994525"/>
              <a:gd name="connsiteX1146" fmla="*/ 806700 w 3718887"/>
              <a:gd name="connsiteY1146" fmla="*/ 5844773 h 6994525"/>
              <a:gd name="connsiteX1147" fmla="*/ 943541 w 3718887"/>
              <a:gd name="connsiteY1147" fmla="*/ 5707303 h 6994525"/>
              <a:gd name="connsiteX1148" fmla="*/ 996802 w 3718887"/>
              <a:gd name="connsiteY1148" fmla="*/ 5718003 h 6994525"/>
              <a:gd name="connsiteX1149" fmla="*/ 1032709 w 3718887"/>
              <a:gd name="connsiteY1149" fmla="*/ 5742017 h 6994525"/>
              <a:gd name="connsiteX1150" fmla="*/ 1000297 w 3718887"/>
              <a:gd name="connsiteY1150" fmla="*/ 5694280 h 6994525"/>
              <a:gd name="connsiteX1151" fmla="*/ 987598 w 3718887"/>
              <a:gd name="connsiteY1151" fmla="*/ 5633221 h 6994525"/>
              <a:gd name="connsiteX1152" fmla="*/ 1143900 w 3718887"/>
              <a:gd name="connsiteY1152" fmla="*/ 5475666 h 6994525"/>
              <a:gd name="connsiteX1153" fmla="*/ 1182349 w 3718887"/>
              <a:gd name="connsiteY1153" fmla="*/ 5483194 h 6994525"/>
              <a:gd name="connsiteX1154" fmla="*/ 1173854 w 3718887"/>
              <a:gd name="connsiteY1154" fmla="*/ 5470670 h 6994525"/>
              <a:gd name="connsiteX1155" fmla="*/ 1160380 w 3718887"/>
              <a:gd name="connsiteY1155" fmla="*/ 5405666 h 6994525"/>
              <a:gd name="connsiteX1156" fmla="*/ 1326727 w 3718887"/>
              <a:gd name="connsiteY1156" fmla="*/ 5238060 h 6994525"/>
              <a:gd name="connsiteX1157" fmla="*/ 1346608 w 3718887"/>
              <a:gd name="connsiteY1157" fmla="*/ 5241952 h 6994525"/>
              <a:gd name="connsiteX1158" fmla="*/ 1337756 w 3718887"/>
              <a:gd name="connsiteY1158" fmla="*/ 5228905 h 6994525"/>
              <a:gd name="connsiteX1159" fmla="*/ 1324282 w 3718887"/>
              <a:gd name="connsiteY1159" fmla="*/ 5163893 h 6994525"/>
              <a:gd name="connsiteX1160" fmla="*/ 1490629 w 3718887"/>
              <a:gd name="connsiteY1160" fmla="*/ 4996287 h 6994525"/>
              <a:gd name="connsiteX1161" fmla="*/ 1513231 w 3718887"/>
              <a:gd name="connsiteY1161" fmla="*/ 5000811 h 6994525"/>
              <a:gd name="connsiteX1162" fmla="*/ 1492209 w 3718887"/>
              <a:gd name="connsiteY1162" fmla="*/ 4969814 h 6994525"/>
              <a:gd name="connsiteX1163" fmla="*/ 1479988 w 3718887"/>
              <a:gd name="connsiteY1163" fmla="*/ 4909668 h 6994525"/>
              <a:gd name="connsiteX1164" fmla="*/ 1633780 w 3718887"/>
              <a:gd name="connsiteY1164" fmla="*/ 4753981 h 6994525"/>
              <a:gd name="connsiteX1165" fmla="*/ 1653737 w 3718887"/>
              <a:gd name="connsiteY1165" fmla="*/ 4757973 h 6994525"/>
              <a:gd name="connsiteX1166" fmla="*/ 1647662 w 3718887"/>
              <a:gd name="connsiteY1166" fmla="*/ 4753897 h 6994525"/>
              <a:gd name="connsiteX1167" fmla="*/ 1602153 w 3718887"/>
              <a:gd name="connsiteY1167" fmla="*/ 4644671 h 6994525"/>
              <a:gd name="connsiteX1168" fmla="*/ 1756574 w 3718887"/>
              <a:gd name="connsiteY1168" fmla="*/ 4488988 h 6994525"/>
              <a:gd name="connsiteX1169" fmla="*/ 1778451 w 3718887"/>
              <a:gd name="connsiteY1169" fmla="*/ 4493388 h 6994525"/>
              <a:gd name="connsiteX1170" fmla="*/ 1751682 w 3718887"/>
              <a:gd name="connsiteY1170" fmla="*/ 4475444 h 6994525"/>
              <a:gd name="connsiteX1171" fmla="*/ 1707505 w 3718887"/>
              <a:gd name="connsiteY1171" fmla="*/ 4370218 h 6994525"/>
              <a:gd name="connsiteX1172" fmla="*/ 1856277 w 3718887"/>
              <a:gd name="connsiteY1172" fmla="*/ 4220194 h 6994525"/>
              <a:gd name="connsiteX1173" fmla="*/ 2006308 w 3718887"/>
              <a:gd name="connsiteY1173" fmla="*/ 4368965 h 6994525"/>
              <a:gd name="connsiteX1174" fmla="*/ 1857536 w 3718887"/>
              <a:gd name="connsiteY1174" fmla="*/ 4518996 h 6994525"/>
              <a:gd name="connsiteX1175" fmla="*/ 1837487 w 3718887"/>
              <a:gd name="connsiteY1175" fmla="*/ 4514981 h 6994525"/>
              <a:gd name="connsiteX1176" fmla="*/ 1866112 w 3718887"/>
              <a:gd name="connsiteY1176" fmla="*/ 4534185 h 6994525"/>
              <a:gd name="connsiteX1177" fmla="*/ 1911624 w 3718887"/>
              <a:gd name="connsiteY1177" fmla="*/ 4643414 h 6994525"/>
              <a:gd name="connsiteX1178" fmla="*/ 1757197 w 3718887"/>
              <a:gd name="connsiteY1178" fmla="*/ 4799095 h 6994525"/>
              <a:gd name="connsiteX1179" fmla="*/ 1737947 w 3718887"/>
              <a:gd name="connsiteY1179" fmla="*/ 4795224 h 6994525"/>
              <a:gd name="connsiteX1180" fmla="*/ 1743869 w 3718887"/>
              <a:gd name="connsiteY1180" fmla="*/ 4799182 h 6994525"/>
              <a:gd name="connsiteX1181" fmla="*/ 1789459 w 3718887"/>
              <a:gd name="connsiteY1181" fmla="*/ 4908411 h 6994525"/>
              <a:gd name="connsiteX1182" fmla="*/ 1635032 w 3718887"/>
              <a:gd name="connsiteY1182" fmla="*/ 5064095 h 6994525"/>
              <a:gd name="connsiteX1183" fmla="*/ 1619800 w 3718887"/>
              <a:gd name="connsiteY1183" fmla="*/ 5061030 h 6994525"/>
              <a:gd name="connsiteX1184" fmla="*/ 1644757 w 3718887"/>
              <a:gd name="connsiteY1184" fmla="*/ 5097714 h 6994525"/>
              <a:gd name="connsiteX1185" fmla="*/ 1658234 w 3718887"/>
              <a:gd name="connsiteY1185" fmla="*/ 5162634 h 6994525"/>
              <a:gd name="connsiteX1186" fmla="*/ 1491887 w 3718887"/>
              <a:gd name="connsiteY1186" fmla="*/ 5330242 h 6994525"/>
              <a:gd name="connsiteX1187" fmla="*/ 1472297 w 3718887"/>
              <a:gd name="connsiteY1187" fmla="*/ 5326403 h 6994525"/>
              <a:gd name="connsiteX1188" fmla="*/ 1481120 w 3718887"/>
              <a:gd name="connsiteY1188" fmla="*/ 5339398 h 6994525"/>
              <a:gd name="connsiteX1189" fmla="*/ 1494332 w 3718887"/>
              <a:gd name="connsiteY1189" fmla="*/ 5404407 h 6994525"/>
              <a:gd name="connsiteX1190" fmla="*/ 1327985 w 3718887"/>
              <a:gd name="connsiteY1190" fmla="*/ 5572010 h 6994525"/>
              <a:gd name="connsiteX1191" fmla="*/ 1283896 w 3718887"/>
              <a:gd name="connsiteY1191" fmla="*/ 5563367 h 6994525"/>
              <a:gd name="connsiteX1192" fmla="*/ 1289024 w 3718887"/>
              <a:gd name="connsiteY1192" fmla="*/ 5570914 h 6994525"/>
              <a:gd name="connsiteX1193" fmla="*/ 1301461 w 3718887"/>
              <a:gd name="connsiteY1193" fmla="*/ 5631968 h 6994525"/>
              <a:gd name="connsiteX1194" fmla="*/ 1145153 w 3718887"/>
              <a:gd name="connsiteY1194" fmla="*/ 5789530 h 6994525"/>
              <a:gd name="connsiteX1195" fmla="*/ 1084077 w 3718887"/>
              <a:gd name="connsiteY1195" fmla="*/ 5777556 h 6994525"/>
              <a:gd name="connsiteX1196" fmla="*/ 1041960 w 3718887"/>
              <a:gd name="connsiteY1196" fmla="*/ 5749347 h 6994525"/>
              <a:gd name="connsiteX1197" fmla="*/ 1070129 w 3718887"/>
              <a:gd name="connsiteY1197" fmla="*/ 5790723 h 6994525"/>
              <a:gd name="connsiteX1198" fmla="*/ 1081016 w 3718887"/>
              <a:gd name="connsiteY1198" fmla="*/ 5844149 h 6994525"/>
              <a:gd name="connsiteX1199" fmla="*/ 944170 w 3718887"/>
              <a:gd name="connsiteY1199" fmla="*/ 5981628 h 6994525"/>
              <a:gd name="connsiteX1200" fmla="*/ 2511644 w 3718887"/>
              <a:gd name="connsiteY1200" fmla="*/ 6047089 h 6994525"/>
              <a:gd name="connsiteX1201" fmla="*/ 2446943 w 3718887"/>
              <a:gd name="connsiteY1201" fmla="*/ 5982389 h 6994525"/>
              <a:gd name="connsiteX1202" fmla="*/ 2511644 w 3718887"/>
              <a:gd name="connsiteY1202" fmla="*/ 5917688 h 6994525"/>
              <a:gd name="connsiteX1203" fmla="*/ 2576345 w 3718887"/>
              <a:gd name="connsiteY1203" fmla="*/ 5982389 h 6994525"/>
              <a:gd name="connsiteX1204" fmla="*/ 2511644 w 3718887"/>
              <a:gd name="connsiteY1204" fmla="*/ 6047089 h 6994525"/>
              <a:gd name="connsiteX1205" fmla="*/ 351481 w 3718887"/>
              <a:gd name="connsiteY1205" fmla="*/ 6062421 h 6994525"/>
              <a:gd name="connsiteX1206" fmla="*/ 207102 w 3718887"/>
              <a:gd name="connsiteY1206" fmla="*/ 5919290 h 6994525"/>
              <a:gd name="connsiteX1207" fmla="*/ 350222 w 3718887"/>
              <a:gd name="connsiteY1207" fmla="*/ 5774911 h 6994525"/>
              <a:gd name="connsiteX1208" fmla="*/ 494601 w 3718887"/>
              <a:gd name="connsiteY1208" fmla="*/ 5918032 h 6994525"/>
              <a:gd name="connsiteX1209" fmla="*/ 351481 w 3718887"/>
              <a:gd name="connsiteY1209" fmla="*/ 6062421 h 6994525"/>
              <a:gd name="connsiteX1210" fmla="*/ 1301312 w 3718887"/>
              <a:gd name="connsiteY1210" fmla="*/ 6067134 h 6994525"/>
              <a:gd name="connsiteX1211" fmla="*/ 1178907 w 3718887"/>
              <a:gd name="connsiteY1211" fmla="*/ 5945983 h 6994525"/>
              <a:gd name="connsiteX1212" fmla="*/ 1300689 w 3718887"/>
              <a:gd name="connsiteY1212" fmla="*/ 5823570 h 6994525"/>
              <a:gd name="connsiteX1213" fmla="*/ 1422465 w 3718887"/>
              <a:gd name="connsiteY1213" fmla="*/ 5944724 h 6994525"/>
              <a:gd name="connsiteX1214" fmla="*/ 1301312 w 3718887"/>
              <a:gd name="connsiteY1214" fmla="*/ 6067134 h 6994525"/>
              <a:gd name="connsiteX1215" fmla="*/ 2846317 w 3718887"/>
              <a:gd name="connsiteY1215" fmla="*/ 6129704 h 6994525"/>
              <a:gd name="connsiteX1216" fmla="*/ 2781621 w 3718887"/>
              <a:gd name="connsiteY1216" fmla="*/ 6064988 h 6994525"/>
              <a:gd name="connsiteX1217" fmla="*/ 2846317 w 3718887"/>
              <a:gd name="connsiteY1217" fmla="*/ 6000292 h 6994525"/>
              <a:gd name="connsiteX1218" fmla="*/ 2911033 w 3718887"/>
              <a:gd name="connsiteY1218" fmla="*/ 6064988 h 6994525"/>
              <a:gd name="connsiteX1219" fmla="*/ 2846317 w 3718887"/>
              <a:gd name="connsiteY1219" fmla="*/ 6129704 h 6994525"/>
              <a:gd name="connsiteX1220" fmla="*/ 1652239 w 3718887"/>
              <a:gd name="connsiteY1220" fmla="*/ 6134497 h 6994525"/>
              <a:gd name="connsiteX1221" fmla="*/ 1558079 w 3718887"/>
              <a:gd name="connsiteY1221" fmla="*/ 6040967 h 6994525"/>
              <a:gd name="connsiteX1222" fmla="*/ 1651609 w 3718887"/>
              <a:gd name="connsiteY1222" fmla="*/ 5946808 h 6994525"/>
              <a:gd name="connsiteX1223" fmla="*/ 1745769 w 3718887"/>
              <a:gd name="connsiteY1223" fmla="*/ 6040337 h 6994525"/>
              <a:gd name="connsiteX1224" fmla="*/ 1652239 w 3718887"/>
              <a:gd name="connsiteY1224" fmla="*/ 6134497 h 6994525"/>
              <a:gd name="connsiteX1225" fmla="*/ 727026 w 3718887"/>
              <a:gd name="connsiteY1225" fmla="*/ 6180171 h 6994525"/>
              <a:gd name="connsiteX1226" fmla="*/ 585788 w 3718887"/>
              <a:gd name="connsiteY1226" fmla="*/ 6040185 h 6994525"/>
              <a:gd name="connsiteX1227" fmla="*/ 726397 w 3718887"/>
              <a:gd name="connsiteY1227" fmla="*/ 5898939 h 6994525"/>
              <a:gd name="connsiteX1228" fmla="*/ 867006 w 3718887"/>
              <a:gd name="connsiteY1228" fmla="*/ 6038933 h 6994525"/>
              <a:gd name="connsiteX1229" fmla="*/ 727026 w 3718887"/>
              <a:gd name="connsiteY1229" fmla="*/ 6180171 h 6994525"/>
              <a:gd name="connsiteX1230" fmla="*/ 1999598 w 3718887"/>
              <a:gd name="connsiteY1230" fmla="*/ 6197703 h 6994525"/>
              <a:gd name="connsiteX1231" fmla="*/ 1934391 w 3718887"/>
              <a:gd name="connsiteY1231" fmla="*/ 6133553 h 6994525"/>
              <a:gd name="connsiteX1232" fmla="*/ 1998544 w 3718887"/>
              <a:gd name="connsiteY1232" fmla="*/ 6067295 h 6994525"/>
              <a:gd name="connsiteX1233" fmla="*/ 2063752 w 3718887"/>
              <a:gd name="connsiteY1233" fmla="*/ 6132499 h 6994525"/>
              <a:gd name="connsiteX1234" fmla="*/ 1999598 w 3718887"/>
              <a:gd name="connsiteY1234" fmla="*/ 6197703 h 6994525"/>
              <a:gd name="connsiteX1235" fmla="*/ 3178847 w 3718887"/>
              <a:gd name="connsiteY1235" fmla="*/ 6210654 h 6994525"/>
              <a:gd name="connsiteX1236" fmla="*/ 3114151 w 3718887"/>
              <a:gd name="connsiteY1236" fmla="*/ 6145866 h 6994525"/>
              <a:gd name="connsiteX1237" fmla="*/ 3178847 w 3718887"/>
              <a:gd name="connsiteY1237" fmla="*/ 6081170 h 6994525"/>
              <a:gd name="connsiteX1238" fmla="*/ 3243635 w 3718887"/>
              <a:gd name="connsiteY1238" fmla="*/ 6145866 h 6994525"/>
              <a:gd name="connsiteX1239" fmla="*/ 3178847 w 3718887"/>
              <a:gd name="connsiteY1239" fmla="*/ 6210654 h 6994525"/>
              <a:gd name="connsiteX1240" fmla="*/ 107572 w 3718887"/>
              <a:gd name="connsiteY1240" fmla="*/ 6223995 h 6994525"/>
              <a:gd name="connsiteX1241" fmla="*/ 3998 w 3718887"/>
              <a:gd name="connsiteY1241" fmla="*/ 6181309 h 6994525"/>
              <a:gd name="connsiteX1242" fmla="*/ 0 w 3718887"/>
              <a:gd name="connsiteY1242" fmla="*/ 6175430 h 6994525"/>
              <a:gd name="connsiteX1243" fmla="*/ 0 w 3718887"/>
              <a:gd name="connsiteY1243" fmla="*/ 5979658 h 6994525"/>
              <a:gd name="connsiteX1244" fmla="*/ 3211 w 3718887"/>
              <a:gd name="connsiteY1244" fmla="*/ 5974866 h 6994525"/>
              <a:gd name="connsiteX1245" fmla="*/ 106943 w 3718887"/>
              <a:gd name="connsiteY1245" fmla="*/ 5932099 h 6994525"/>
              <a:gd name="connsiteX1246" fmla="*/ 253201 w 3718887"/>
              <a:gd name="connsiteY1246" fmla="*/ 6077734 h 6994525"/>
              <a:gd name="connsiteX1247" fmla="*/ 107572 w 3718887"/>
              <a:gd name="connsiteY1247" fmla="*/ 6223995 h 6994525"/>
              <a:gd name="connsiteX1248" fmla="*/ 1093967 w 3718887"/>
              <a:gd name="connsiteY1248" fmla="*/ 6270351 h 6994525"/>
              <a:gd name="connsiteX1249" fmla="*/ 974073 w 3718887"/>
              <a:gd name="connsiteY1249" fmla="*/ 6151078 h 6994525"/>
              <a:gd name="connsiteX1250" fmla="*/ 1092714 w 3718887"/>
              <a:gd name="connsiteY1250" fmla="*/ 6031181 h 6994525"/>
              <a:gd name="connsiteX1251" fmla="*/ 1212608 w 3718887"/>
              <a:gd name="connsiteY1251" fmla="*/ 6150448 h 6994525"/>
              <a:gd name="connsiteX1252" fmla="*/ 1093967 w 3718887"/>
              <a:gd name="connsiteY1252" fmla="*/ 6270351 h 6994525"/>
              <a:gd name="connsiteX1253" fmla="*/ 2342587 w 3718887"/>
              <a:gd name="connsiteY1253" fmla="*/ 6285418 h 6994525"/>
              <a:gd name="connsiteX1254" fmla="*/ 2277880 w 3718887"/>
              <a:gd name="connsiteY1254" fmla="*/ 6220712 h 6994525"/>
              <a:gd name="connsiteX1255" fmla="*/ 2342587 w 3718887"/>
              <a:gd name="connsiteY1255" fmla="*/ 6156005 h 6994525"/>
              <a:gd name="connsiteX1256" fmla="*/ 2407293 w 3718887"/>
              <a:gd name="connsiteY1256" fmla="*/ 6220712 h 6994525"/>
              <a:gd name="connsiteX1257" fmla="*/ 2342587 w 3718887"/>
              <a:gd name="connsiteY1257" fmla="*/ 6285418 h 6994525"/>
              <a:gd name="connsiteX1258" fmla="*/ 493774 w 3718887"/>
              <a:gd name="connsiteY1258" fmla="*/ 6344519 h 6994525"/>
              <a:gd name="connsiteX1259" fmla="*/ 365088 w 3718887"/>
              <a:gd name="connsiteY1259" fmla="*/ 6216463 h 6994525"/>
              <a:gd name="connsiteX1260" fmla="*/ 493145 w 3718887"/>
              <a:gd name="connsiteY1260" fmla="*/ 6087778 h 6994525"/>
              <a:gd name="connsiteX1261" fmla="*/ 621831 w 3718887"/>
              <a:gd name="connsiteY1261" fmla="*/ 6215834 h 6994525"/>
              <a:gd name="connsiteX1262" fmla="*/ 493774 w 3718887"/>
              <a:gd name="connsiteY1262" fmla="*/ 6344519 h 6994525"/>
              <a:gd name="connsiteX1263" fmla="*/ 1454361 w 3718887"/>
              <a:gd name="connsiteY1263" fmla="*/ 6357516 h 6994525"/>
              <a:gd name="connsiteX1264" fmla="*/ 1351410 w 3718887"/>
              <a:gd name="connsiteY1264" fmla="*/ 6255196 h 6994525"/>
              <a:gd name="connsiteX1265" fmla="*/ 1453731 w 3718887"/>
              <a:gd name="connsiteY1265" fmla="*/ 6152247 h 6994525"/>
              <a:gd name="connsiteX1266" fmla="*/ 1556682 w 3718887"/>
              <a:gd name="connsiteY1266" fmla="*/ 6254566 h 6994525"/>
              <a:gd name="connsiteX1267" fmla="*/ 1454361 w 3718887"/>
              <a:gd name="connsiteY1267" fmla="*/ 6357516 h 6994525"/>
              <a:gd name="connsiteX1268" fmla="*/ 2682869 w 3718887"/>
              <a:gd name="connsiteY1268" fmla="*/ 6371877 h 6994525"/>
              <a:gd name="connsiteX1269" fmla="*/ 2618150 w 3718887"/>
              <a:gd name="connsiteY1269" fmla="*/ 6307204 h 6994525"/>
              <a:gd name="connsiteX1270" fmla="*/ 2682869 w 3718887"/>
              <a:gd name="connsiteY1270" fmla="*/ 6242485 h 6994525"/>
              <a:gd name="connsiteX1271" fmla="*/ 2747542 w 3718887"/>
              <a:gd name="connsiteY1271" fmla="*/ 6307204 h 6994525"/>
              <a:gd name="connsiteX1272" fmla="*/ 2682869 w 3718887"/>
              <a:gd name="connsiteY1272" fmla="*/ 6371877 h 6994525"/>
              <a:gd name="connsiteX1273" fmla="*/ 1809156 w 3718887"/>
              <a:gd name="connsiteY1273" fmla="*/ 6428951 h 6994525"/>
              <a:gd name="connsiteX1274" fmla="*/ 1733831 w 3718887"/>
              <a:gd name="connsiteY1274" fmla="*/ 6353626 h 6994525"/>
              <a:gd name="connsiteX1275" fmla="*/ 1809156 w 3718887"/>
              <a:gd name="connsiteY1275" fmla="*/ 6278296 h 6994525"/>
              <a:gd name="connsiteX1276" fmla="*/ 1884481 w 3718887"/>
              <a:gd name="connsiteY1276" fmla="*/ 6352998 h 6994525"/>
              <a:gd name="connsiteX1277" fmla="*/ 1809156 w 3718887"/>
              <a:gd name="connsiteY1277" fmla="*/ 6428951 h 6994525"/>
              <a:gd name="connsiteX1278" fmla="*/ 871999 w 3718887"/>
              <a:gd name="connsiteY1278" fmla="*/ 6465599 h 6994525"/>
              <a:gd name="connsiteX1279" fmla="*/ 746453 w 3718887"/>
              <a:gd name="connsiteY1279" fmla="*/ 6341313 h 6994525"/>
              <a:gd name="connsiteX1280" fmla="*/ 870746 w 3718887"/>
              <a:gd name="connsiteY1280" fmla="*/ 6215769 h 6994525"/>
              <a:gd name="connsiteX1281" fmla="*/ 996292 w 3718887"/>
              <a:gd name="connsiteY1281" fmla="*/ 6340055 h 6994525"/>
              <a:gd name="connsiteX1282" fmla="*/ 871999 w 3718887"/>
              <a:gd name="connsiteY1282" fmla="*/ 6465599 h 6994525"/>
              <a:gd name="connsiteX1283" fmla="*/ 247710 w 3718887"/>
              <a:gd name="connsiteY1283" fmla="*/ 6508631 h 6994525"/>
              <a:gd name="connsiteX1284" fmla="*/ 111492 w 3718887"/>
              <a:gd name="connsiteY1284" fmla="*/ 6373043 h 6994525"/>
              <a:gd name="connsiteX1285" fmla="*/ 247081 w 3718887"/>
              <a:gd name="connsiteY1285" fmla="*/ 6236826 h 6994525"/>
              <a:gd name="connsiteX1286" fmla="*/ 383299 w 3718887"/>
              <a:gd name="connsiteY1286" fmla="*/ 6372414 h 6994525"/>
              <a:gd name="connsiteX1287" fmla="*/ 247710 w 3718887"/>
              <a:gd name="connsiteY1287" fmla="*/ 6508631 h 6994525"/>
              <a:gd name="connsiteX1288" fmla="*/ 2160210 w 3718887"/>
              <a:gd name="connsiteY1288" fmla="*/ 6513179 h 6994525"/>
              <a:gd name="connsiteX1289" fmla="*/ 2094838 w 3718887"/>
              <a:gd name="connsiteY1289" fmla="*/ 6449159 h 6994525"/>
              <a:gd name="connsiteX1290" fmla="*/ 2158858 w 3718887"/>
              <a:gd name="connsiteY1290" fmla="*/ 6383788 h 6994525"/>
              <a:gd name="connsiteX1291" fmla="*/ 2224230 w 3718887"/>
              <a:gd name="connsiteY1291" fmla="*/ 6447807 h 6994525"/>
              <a:gd name="connsiteX1292" fmla="*/ 2160210 w 3718887"/>
              <a:gd name="connsiteY1292" fmla="*/ 6513179 h 6994525"/>
              <a:gd name="connsiteX1293" fmla="*/ 1241852 w 3718887"/>
              <a:gd name="connsiteY1293" fmla="*/ 6541647 h 6994525"/>
              <a:gd name="connsiteX1294" fmla="*/ 1155225 w 3718887"/>
              <a:gd name="connsiteY1294" fmla="*/ 6455651 h 6994525"/>
              <a:gd name="connsiteX1295" fmla="*/ 1241222 w 3718887"/>
              <a:gd name="connsiteY1295" fmla="*/ 6369024 h 6994525"/>
              <a:gd name="connsiteX1296" fmla="*/ 1327849 w 3718887"/>
              <a:gd name="connsiteY1296" fmla="*/ 6455022 h 6994525"/>
              <a:gd name="connsiteX1297" fmla="*/ 1241852 w 3718887"/>
              <a:gd name="connsiteY1297" fmla="*/ 6541647 h 6994525"/>
              <a:gd name="connsiteX1298" fmla="*/ 2506494 w 3718887"/>
              <a:gd name="connsiteY1298" fmla="*/ 6604865 h 6994525"/>
              <a:gd name="connsiteX1299" fmla="*/ 2441780 w 3718887"/>
              <a:gd name="connsiteY1299" fmla="*/ 6543763 h 6994525"/>
              <a:gd name="connsiteX1300" fmla="*/ 2506494 w 3718887"/>
              <a:gd name="connsiteY1300" fmla="*/ 6475490 h 6994525"/>
              <a:gd name="connsiteX1301" fmla="*/ 2571172 w 3718887"/>
              <a:gd name="connsiteY1301" fmla="*/ 6540196 h 6994525"/>
              <a:gd name="connsiteX1302" fmla="*/ 2506494 w 3718887"/>
              <a:gd name="connsiteY1302" fmla="*/ 6604865 h 6994525"/>
              <a:gd name="connsiteX1303" fmla="*/ 636161 w 3718887"/>
              <a:gd name="connsiteY1303" fmla="*/ 6620104 h 6994525"/>
              <a:gd name="connsiteX1304" fmla="*/ 528818 w 3718887"/>
              <a:gd name="connsiteY1304" fmla="*/ 6512764 h 6994525"/>
              <a:gd name="connsiteX1305" fmla="*/ 635532 w 3718887"/>
              <a:gd name="connsiteY1305" fmla="*/ 6405425 h 6994525"/>
              <a:gd name="connsiteX1306" fmla="*/ 742875 w 3718887"/>
              <a:gd name="connsiteY1306" fmla="*/ 6512135 h 6994525"/>
              <a:gd name="connsiteX1307" fmla="*/ 636161 w 3718887"/>
              <a:gd name="connsiteY1307" fmla="*/ 6620104 h 6994525"/>
              <a:gd name="connsiteX1308" fmla="*/ 0 w 3718887"/>
              <a:gd name="connsiteY1308" fmla="*/ 6625003 h 6994525"/>
              <a:gd name="connsiteX1309" fmla="*/ 0 w 3718887"/>
              <a:gd name="connsiteY1309" fmla="*/ 6394664 h 6994525"/>
              <a:gd name="connsiteX1310" fmla="*/ 34326 w 3718887"/>
              <a:gd name="connsiteY1310" fmla="*/ 6401495 h 6994525"/>
              <a:gd name="connsiteX1311" fmla="*/ 106355 w 3718887"/>
              <a:gd name="connsiteY1311" fmla="*/ 6509100 h 6994525"/>
              <a:gd name="connsiteX1312" fmla="*/ 35208 w 3718887"/>
              <a:gd name="connsiteY1312" fmla="*/ 6617856 h 6994525"/>
              <a:gd name="connsiteX1313" fmla="*/ 1605782 w 3718887"/>
              <a:gd name="connsiteY1313" fmla="*/ 6627599 h 6994525"/>
              <a:gd name="connsiteX1314" fmla="*/ 1540767 w 3718887"/>
              <a:gd name="connsiteY1314" fmla="*/ 6563214 h 6994525"/>
              <a:gd name="connsiteX1315" fmla="*/ 1605149 w 3718887"/>
              <a:gd name="connsiteY1315" fmla="*/ 6498202 h 6994525"/>
              <a:gd name="connsiteX1316" fmla="*/ 1670171 w 3718887"/>
              <a:gd name="connsiteY1316" fmla="*/ 6562587 h 6994525"/>
              <a:gd name="connsiteX1317" fmla="*/ 1605782 w 3718887"/>
              <a:gd name="connsiteY1317" fmla="*/ 6627599 h 6994525"/>
              <a:gd name="connsiteX1318" fmla="*/ 1964034 w 3718887"/>
              <a:gd name="connsiteY1318" fmla="*/ 6729553 h 6994525"/>
              <a:gd name="connsiteX1319" fmla="*/ 1898683 w 3718887"/>
              <a:gd name="connsiteY1319" fmla="*/ 6665550 h 6994525"/>
              <a:gd name="connsiteX1320" fmla="*/ 1962683 w 3718887"/>
              <a:gd name="connsiteY1320" fmla="*/ 6600183 h 6994525"/>
              <a:gd name="connsiteX1321" fmla="*/ 2028034 w 3718887"/>
              <a:gd name="connsiteY1321" fmla="*/ 6664185 h 6994525"/>
              <a:gd name="connsiteX1322" fmla="*/ 1964034 w 3718887"/>
              <a:gd name="connsiteY1322" fmla="*/ 6729553 h 6994525"/>
              <a:gd name="connsiteX1323" fmla="*/ 1016008 w 3718887"/>
              <a:gd name="connsiteY1323" fmla="*/ 6740237 h 6994525"/>
              <a:gd name="connsiteX1324" fmla="*/ 916199 w 3718887"/>
              <a:gd name="connsiteY1324" fmla="*/ 6641058 h 6994525"/>
              <a:gd name="connsiteX1325" fmla="*/ 1015378 w 3718887"/>
              <a:gd name="connsiteY1325" fmla="*/ 6541249 h 6994525"/>
              <a:gd name="connsiteX1326" fmla="*/ 1115187 w 3718887"/>
              <a:gd name="connsiteY1326" fmla="*/ 6640428 h 6994525"/>
              <a:gd name="connsiteX1327" fmla="*/ 1016008 w 3718887"/>
              <a:gd name="connsiteY1327" fmla="*/ 6740237 h 6994525"/>
              <a:gd name="connsiteX1328" fmla="*/ 388474 w 3718887"/>
              <a:gd name="connsiteY1328" fmla="*/ 6779360 h 6994525"/>
              <a:gd name="connsiteX1329" fmla="*/ 276110 w 3718887"/>
              <a:gd name="connsiteY1329" fmla="*/ 6668248 h 6994525"/>
              <a:gd name="connsiteX1330" fmla="*/ 387221 w 3718887"/>
              <a:gd name="connsiteY1330" fmla="*/ 6555884 h 6994525"/>
              <a:gd name="connsiteX1331" fmla="*/ 499585 w 3718887"/>
              <a:gd name="connsiteY1331" fmla="*/ 6666996 h 6994525"/>
              <a:gd name="connsiteX1332" fmla="*/ 388474 w 3718887"/>
              <a:gd name="connsiteY1332" fmla="*/ 6779360 h 6994525"/>
              <a:gd name="connsiteX1333" fmla="*/ 2317645 w 3718887"/>
              <a:gd name="connsiteY1333" fmla="*/ 6827001 h 6994525"/>
              <a:gd name="connsiteX1334" fmla="*/ 2252931 w 3718887"/>
              <a:gd name="connsiteY1334" fmla="*/ 6762323 h 6994525"/>
              <a:gd name="connsiteX1335" fmla="*/ 2317645 w 3718887"/>
              <a:gd name="connsiteY1335" fmla="*/ 6697609 h 6994525"/>
              <a:gd name="connsiteX1336" fmla="*/ 2382323 w 3718887"/>
              <a:gd name="connsiteY1336" fmla="*/ 6762323 h 6994525"/>
              <a:gd name="connsiteX1337" fmla="*/ 2317645 w 3718887"/>
              <a:gd name="connsiteY1337" fmla="*/ 6827001 h 6994525"/>
              <a:gd name="connsiteX1338" fmla="*/ 1388540 w 3718887"/>
              <a:gd name="connsiteY1338" fmla="*/ 6844934 h 6994525"/>
              <a:gd name="connsiteX1339" fmla="*/ 1301913 w 3718887"/>
              <a:gd name="connsiteY1339" fmla="*/ 6758937 h 6994525"/>
              <a:gd name="connsiteX1340" fmla="*/ 1387910 w 3718887"/>
              <a:gd name="connsiteY1340" fmla="*/ 6672311 h 6994525"/>
              <a:gd name="connsiteX1341" fmla="*/ 1474537 w 3718887"/>
              <a:gd name="connsiteY1341" fmla="*/ 6758308 h 6994525"/>
              <a:gd name="connsiteX1342" fmla="*/ 1388540 w 3718887"/>
              <a:gd name="connsiteY1342" fmla="*/ 6844934 h 6994525"/>
              <a:gd name="connsiteX1343" fmla="*/ 778121 w 3718887"/>
              <a:gd name="connsiteY1343" fmla="*/ 6891725 h 6994525"/>
              <a:gd name="connsiteX1344" fmla="*/ 695885 w 3718887"/>
              <a:gd name="connsiteY1344" fmla="*/ 6810125 h 6994525"/>
              <a:gd name="connsiteX1345" fmla="*/ 777492 w 3718887"/>
              <a:gd name="connsiteY1345" fmla="*/ 6727888 h 6994525"/>
              <a:gd name="connsiteX1346" fmla="*/ 859722 w 3718887"/>
              <a:gd name="connsiteY1346" fmla="*/ 6809495 h 6994525"/>
              <a:gd name="connsiteX1347" fmla="*/ 778121 w 3718887"/>
              <a:gd name="connsiteY1347" fmla="*/ 6891725 h 6994525"/>
              <a:gd name="connsiteX1348" fmla="*/ 129309 w 3718887"/>
              <a:gd name="connsiteY1348" fmla="*/ 6896031 h 6994525"/>
              <a:gd name="connsiteX1349" fmla="*/ 36408 w 3718887"/>
              <a:gd name="connsiteY1349" fmla="*/ 6803129 h 6994525"/>
              <a:gd name="connsiteX1350" fmla="*/ 128686 w 3718887"/>
              <a:gd name="connsiteY1350" fmla="*/ 6710220 h 6994525"/>
              <a:gd name="connsiteX1351" fmla="*/ 222215 w 3718887"/>
              <a:gd name="connsiteY1351" fmla="*/ 6802500 h 6994525"/>
              <a:gd name="connsiteX1352" fmla="*/ 129309 w 3718887"/>
              <a:gd name="connsiteY1352" fmla="*/ 6896031 h 6994525"/>
              <a:gd name="connsiteX1353" fmla="*/ 1754959 w 3718887"/>
              <a:gd name="connsiteY1353" fmla="*/ 6933471 h 6994525"/>
              <a:gd name="connsiteX1354" fmla="*/ 1689840 w 3718887"/>
              <a:gd name="connsiteY1354" fmla="*/ 6868349 h 6994525"/>
              <a:gd name="connsiteX1355" fmla="*/ 1754959 w 3718887"/>
              <a:gd name="connsiteY1355" fmla="*/ 6804087 h 6994525"/>
              <a:gd name="connsiteX1356" fmla="*/ 1820077 w 3718887"/>
              <a:gd name="connsiteY1356" fmla="*/ 6868349 h 6994525"/>
              <a:gd name="connsiteX1357" fmla="*/ 1754959 w 3718887"/>
              <a:gd name="connsiteY1357" fmla="*/ 6933471 h 6994525"/>
              <a:gd name="connsiteX1358" fmla="*/ 608501 w 3718887"/>
              <a:gd name="connsiteY1358" fmla="*/ 6994525 h 6994525"/>
              <a:gd name="connsiteX1359" fmla="*/ 448954 w 3718887"/>
              <a:gd name="connsiteY1359" fmla="*/ 6994525 h 6994525"/>
              <a:gd name="connsiteX1360" fmla="*/ 442420 w 3718887"/>
              <a:gd name="connsiteY1360" fmla="*/ 6962396 h 6994525"/>
              <a:gd name="connsiteX1361" fmla="*/ 528419 w 3718887"/>
              <a:gd name="connsiteY1361" fmla="*/ 6875770 h 6994525"/>
              <a:gd name="connsiteX1362" fmla="*/ 615048 w 3718887"/>
              <a:gd name="connsiteY1362" fmla="*/ 6961768 h 6994525"/>
              <a:gd name="connsiteX1363" fmla="*/ 1208063 w 3718887"/>
              <a:gd name="connsiteY1363" fmla="*/ 6994525 h 6994525"/>
              <a:gd name="connsiteX1364" fmla="*/ 1110791 w 3718887"/>
              <a:gd name="connsiteY1364" fmla="*/ 6994525 h 6994525"/>
              <a:gd name="connsiteX1365" fmla="*/ 1106799 w 3718887"/>
              <a:gd name="connsiteY1365" fmla="*/ 6991851 h 6994525"/>
              <a:gd name="connsiteX1366" fmla="*/ 1084986 w 3718887"/>
              <a:gd name="connsiteY1366" fmla="*/ 6939515 h 6994525"/>
              <a:gd name="connsiteX1367" fmla="*/ 1159689 w 3718887"/>
              <a:gd name="connsiteY1367" fmla="*/ 6865439 h 6994525"/>
              <a:gd name="connsiteX1368" fmla="*/ 1233757 w 3718887"/>
              <a:gd name="connsiteY1368" fmla="*/ 6939515 h 6994525"/>
              <a:gd name="connsiteX1369" fmla="*/ 1212023 w 3718887"/>
              <a:gd name="connsiteY1369" fmla="*/ 6991851 h 6994525"/>
              <a:gd name="connsiteX1370" fmla="*/ 2176182 w 3718887"/>
              <a:gd name="connsiteY1370" fmla="*/ 6994525 h 6994525"/>
              <a:gd name="connsiteX1371" fmla="*/ 2055562 w 3718887"/>
              <a:gd name="connsiteY1371" fmla="*/ 6994525 h 6994525"/>
              <a:gd name="connsiteX1372" fmla="*/ 2051176 w 3718887"/>
              <a:gd name="connsiteY1372" fmla="*/ 6973520 h 6994525"/>
              <a:gd name="connsiteX1373" fmla="*/ 2115872 w 3718887"/>
              <a:gd name="connsiteY1373" fmla="*/ 6908824 h 6994525"/>
              <a:gd name="connsiteX1374" fmla="*/ 2180568 w 3718887"/>
              <a:gd name="connsiteY1374" fmla="*/ 6973520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3718887" h="6994525">
                <a:moveTo>
                  <a:pt x="1629926" y="82914"/>
                </a:moveTo>
                <a:cubicBezTo>
                  <a:pt x="1593190" y="82914"/>
                  <a:pt x="1564429" y="54153"/>
                  <a:pt x="1564429" y="19002"/>
                </a:cubicBezTo>
                <a:lnTo>
                  <a:pt x="1567987" y="0"/>
                </a:lnTo>
                <a:lnTo>
                  <a:pt x="1690282" y="0"/>
                </a:lnTo>
                <a:lnTo>
                  <a:pt x="1693837" y="17401"/>
                </a:lnTo>
                <a:cubicBezTo>
                  <a:pt x="1693837" y="54153"/>
                  <a:pt x="1665076" y="82914"/>
                  <a:pt x="1629926" y="82914"/>
                </a:cubicBezTo>
                <a:close/>
                <a:moveTo>
                  <a:pt x="2087064" y="91005"/>
                </a:moveTo>
                <a:cubicBezTo>
                  <a:pt x="2050090" y="91005"/>
                  <a:pt x="2022351" y="63269"/>
                  <a:pt x="2022351" y="26297"/>
                </a:cubicBezTo>
                <a:cubicBezTo>
                  <a:pt x="2022351" y="17054"/>
                  <a:pt x="2024084" y="8195"/>
                  <a:pt x="2027263" y="155"/>
                </a:cubicBezTo>
                <a:lnTo>
                  <a:pt x="2027362" y="0"/>
                </a:lnTo>
                <a:lnTo>
                  <a:pt x="2146021" y="0"/>
                </a:lnTo>
                <a:lnTo>
                  <a:pt x="2146432" y="589"/>
                </a:lnTo>
                <a:cubicBezTo>
                  <a:pt x="2149851" y="8388"/>
                  <a:pt x="2151778" y="17054"/>
                  <a:pt x="2151778" y="26297"/>
                </a:cubicBezTo>
                <a:cubicBezTo>
                  <a:pt x="2151778" y="60180"/>
                  <a:pt x="2124039" y="91005"/>
                  <a:pt x="2087064" y="91005"/>
                </a:cubicBezTo>
                <a:close/>
                <a:moveTo>
                  <a:pt x="1154122" y="92359"/>
                </a:moveTo>
                <a:cubicBezTo>
                  <a:pt x="1118145" y="92359"/>
                  <a:pt x="1089083" y="63990"/>
                  <a:pt x="1089083" y="28006"/>
                </a:cubicBezTo>
                <a:cubicBezTo>
                  <a:pt x="1089083" y="19012"/>
                  <a:pt x="1090899" y="10450"/>
                  <a:pt x="1094175" y="2666"/>
                </a:cubicBezTo>
                <a:lnTo>
                  <a:pt x="1095961" y="0"/>
                </a:lnTo>
                <a:lnTo>
                  <a:pt x="1211952" y="0"/>
                </a:lnTo>
                <a:lnTo>
                  <a:pt x="1213372" y="2084"/>
                </a:lnTo>
                <a:cubicBezTo>
                  <a:pt x="1216658" y="9803"/>
                  <a:pt x="1218475" y="18323"/>
                  <a:pt x="1218475" y="27319"/>
                </a:cubicBezTo>
                <a:cubicBezTo>
                  <a:pt x="1218475" y="63297"/>
                  <a:pt x="1190107" y="92359"/>
                  <a:pt x="1154122" y="92359"/>
                </a:cubicBezTo>
                <a:close/>
                <a:moveTo>
                  <a:pt x="2530133" y="112239"/>
                </a:moveTo>
                <a:cubicBezTo>
                  <a:pt x="2493414" y="112239"/>
                  <a:pt x="2462774" y="81593"/>
                  <a:pt x="2462774" y="44867"/>
                </a:cubicBezTo>
                <a:cubicBezTo>
                  <a:pt x="2462774" y="35670"/>
                  <a:pt x="2464689" y="26858"/>
                  <a:pt x="2468135" y="18907"/>
                </a:cubicBezTo>
                <a:lnTo>
                  <a:pt x="2481370" y="0"/>
                </a:lnTo>
                <a:lnTo>
                  <a:pt x="2578949" y="0"/>
                </a:lnTo>
                <a:lnTo>
                  <a:pt x="2592191" y="18907"/>
                </a:lnTo>
                <a:cubicBezTo>
                  <a:pt x="2595638" y="26858"/>
                  <a:pt x="2597553" y="35670"/>
                  <a:pt x="2597553" y="44867"/>
                </a:cubicBezTo>
                <a:cubicBezTo>
                  <a:pt x="2597553" y="81593"/>
                  <a:pt x="2566913" y="112239"/>
                  <a:pt x="2530133" y="112239"/>
                </a:cubicBezTo>
                <a:close/>
                <a:moveTo>
                  <a:pt x="659393" y="131409"/>
                </a:moveTo>
                <a:cubicBezTo>
                  <a:pt x="620473" y="131409"/>
                  <a:pt x="588456" y="100022"/>
                  <a:pt x="588456" y="61102"/>
                </a:cubicBezTo>
                <a:cubicBezTo>
                  <a:pt x="588456" y="41328"/>
                  <a:pt x="596303" y="23595"/>
                  <a:pt x="609015" y="10804"/>
                </a:cubicBezTo>
                <a:lnTo>
                  <a:pt x="624986" y="0"/>
                </a:lnTo>
                <a:lnTo>
                  <a:pt x="692744" y="0"/>
                </a:lnTo>
                <a:lnTo>
                  <a:pt x="708826" y="10726"/>
                </a:lnTo>
                <a:cubicBezTo>
                  <a:pt x="721696" y="23437"/>
                  <a:pt x="729700" y="41014"/>
                  <a:pt x="729700" y="60473"/>
                </a:cubicBezTo>
                <a:cubicBezTo>
                  <a:pt x="730329" y="99392"/>
                  <a:pt x="698312" y="131409"/>
                  <a:pt x="659393" y="131409"/>
                </a:cubicBezTo>
                <a:close/>
                <a:moveTo>
                  <a:pt x="142646" y="210413"/>
                </a:moveTo>
                <a:cubicBezTo>
                  <a:pt x="96817" y="211042"/>
                  <a:pt x="58527" y="173375"/>
                  <a:pt x="58527" y="126923"/>
                </a:cubicBezTo>
                <a:cubicBezTo>
                  <a:pt x="58527" y="80472"/>
                  <a:pt x="96194" y="42805"/>
                  <a:pt x="142646" y="42805"/>
                </a:cubicBezTo>
                <a:cubicBezTo>
                  <a:pt x="189097" y="42176"/>
                  <a:pt x="226764" y="79843"/>
                  <a:pt x="226764" y="126294"/>
                </a:cubicBezTo>
                <a:cubicBezTo>
                  <a:pt x="226764" y="172752"/>
                  <a:pt x="189097" y="210413"/>
                  <a:pt x="142646" y="210413"/>
                </a:cubicBezTo>
                <a:close/>
                <a:moveTo>
                  <a:pt x="1371671" y="287327"/>
                </a:moveTo>
                <a:cubicBezTo>
                  <a:pt x="1335722" y="287327"/>
                  <a:pt x="1306968" y="258563"/>
                  <a:pt x="1306968" y="222624"/>
                </a:cubicBezTo>
                <a:cubicBezTo>
                  <a:pt x="1306968" y="186675"/>
                  <a:pt x="1335722" y="156892"/>
                  <a:pt x="1370642" y="156892"/>
                </a:cubicBezTo>
                <a:cubicBezTo>
                  <a:pt x="1406591" y="156892"/>
                  <a:pt x="1436374" y="185645"/>
                  <a:pt x="1436374" y="221595"/>
                </a:cubicBezTo>
                <a:cubicBezTo>
                  <a:pt x="1436374" y="257534"/>
                  <a:pt x="1407610" y="287327"/>
                  <a:pt x="1371671" y="287327"/>
                </a:cubicBezTo>
                <a:close/>
                <a:moveTo>
                  <a:pt x="1832087" y="293701"/>
                </a:moveTo>
                <a:cubicBezTo>
                  <a:pt x="1796936" y="293701"/>
                  <a:pt x="1766588" y="264940"/>
                  <a:pt x="1766588" y="229789"/>
                </a:cubicBezTo>
                <a:cubicBezTo>
                  <a:pt x="1766588" y="194639"/>
                  <a:pt x="1795350" y="165894"/>
                  <a:pt x="1830486" y="164293"/>
                </a:cubicBezTo>
                <a:cubicBezTo>
                  <a:pt x="1867239" y="164293"/>
                  <a:pt x="1896001" y="193054"/>
                  <a:pt x="1896001" y="228204"/>
                </a:cubicBezTo>
                <a:cubicBezTo>
                  <a:pt x="1897587" y="264940"/>
                  <a:pt x="1868841" y="293701"/>
                  <a:pt x="1832087" y="293701"/>
                </a:cubicBezTo>
                <a:close/>
                <a:moveTo>
                  <a:pt x="893839" y="305629"/>
                </a:moveTo>
                <a:cubicBezTo>
                  <a:pt x="854919" y="305629"/>
                  <a:pt x="822903" y="274242"/>
                  <a:pt x="822903" y="235322"/>
                </a:cubicBezTo>
                <a:cubicBezTo>
                  <a:pt x="822280" y="195774"/>
                  <a:pt x="854290" y="164387"/>
                  <a:pt x="893216" y="164387"/>
                </a:cubicBezTo>
                <a:cubicBezTo>
                  <a:pt x="932135" y="164387"/>
                  <a:pt x="964151" y="195774"/>
                  <a:pt x="964151" y="234693"/>
                </a:cubicBezTo>
                <a:cubicBezTo>
                  <a:pt x="964774" y="273612"/>
                  <a:pt x="932764" y="305629"/>
                  <a:pt x="893839" y="305629"/>
                </a:cubicBezTo>
                <a:close/>
                <a:moveTo>
                  <a:pt x="2277527" y="317275"/>
                </a:moveTo>
                <a:cubicBezTo>
                  <a:pt x="2240800" y="317275"/>
                  <a:pt x="2210154" y="286634"/>
                  <a:pt x="2210154" y="249853"/>
                </a:cubicBezTo>
                <a:cubicBezTo>
                  <a:pt x="2210154" y="213132"/>
                  <a:pt x="2240800" y="188632"/>
                  <a:pt x="2277527" y="182492"/>
                </a:cubicBezTo>
                <a:cubicBezTo>
                  <a:pt x="2314315" y="182492"/>
                  <a:pt x="2338820" y="213132"/>
                  <a:pt x="2338820" y="249853"/>
                </a:cubicBezTo>
                <a:cubicBezTo>
                  <a:pt x="2344962" y="286634"/>
                  <a:pt x="2314315" y="317275"/>
                  <a:pt x="2277527" y="317275"/>
                </a:cubicBezTo>
                <a:close/>
                <a:moveTo>
                  <a:pt x="2704822" y="346452"/>
                </a:moveTo>
                <a:cubicBezTo>
                  <a:pt x="2668852" y="346452"/>
                  <a:pt x="2640090" y="317690"/>
                  <a:pt x="2640090" y="281720"/>
                </a:cubicBezTo>
                <a:cubicBezTo>
                  <a:pt x="2640090" y="245750"/>
                  <a:pt x="2668852" y="216989"/>
                  <a:pt x="2704822" y="216989"/>
                </a:cubicBezTo>
                <a:cubicBezTo>
                  <a:pt x="2740792" y="216989"/>
                  <a:pt x="2769553" y="245750"/>
                  <a:pt x="2769553" y="281720"/>
                </a:cubicBezTo>
                <a:cubicBezTo>
                  <a:pt x="2769553" y="317690"/>
                  <a:pt x="2740792" y="346452"/>
                  <a:pt x="2704822" y="346452"/>
                </a:cubicBezTo>
                <a:close/>
                <a:moveTo>
                  <a:pt x="393966" y="370114"/>
                </a:moveTo>
                <a:cubicBezTo>
                  <a:pt x="341242" y="370114"/>
                  <a:pt x="298555" y="328056"/>
                  <a:pt x="298555" y="275332"/>
                </a:cubicBezTo>
                <a:cubicBezTo>
                  <a:pt x="298555" y="222602"/>
                  <a:pt x="341242" y="179915"/>
                  <a:pt x="393343" y="179915"/>
                </a:cubicBezTo>
                <a:cubicBezTo>
                  <a:pt x="446073" y="179915"/>
                  <a:pt x="488754" y="221973"/>
                  <a:pt x="488754" y="274703"/>
                </a:cubicBezTo>
                <a:cubicBezTo>
                  <a:pt x="488754" y="327433"/>
                  <a:pt x="446696" y="370114"/>
                  <a:pt x="393966" y="370114"/>
                </a:cubicBezTo>
                <a:close/>
                <a:moveTo>
                  <a:pt x="1576126" y="495868"/>
                </a:moveTo>
                <a:cubicBezTo>
                  <a:pt x="1540149" y="495868"/>
                  <a:pt x="1511087" y="467499"/>
                  <a:pt x="1511087" y="431515"/>
                </a:cubicBezTo>
                <a:cubicBezTo>
                  <a:pt x="1511087" y="395538"/>
                  <a:pt x="1539455" y="366476"/>
                  <a:pt x="1575440" y="366476"/>
                </a:cubicBezTo>
                <a:cubicBezTo>
                  <a:pt x="1611417" y="366476"/>
                  <a:pt x="1640479" y="395538"/>
                  <a:pt x="1640479" y="430828"/>
                </a:cubicBezTo>
                <a:cubicBezTo>
                  <a:pt x="1640479" y="466806"/>
                  <a:pt x="1612111" y="495868"/>
                  <a:pt x="1576126" y="495868"/>
                </a:cubicBezTo>
                <a:close/>
                <a:moveTo>
                  <a:pt x="1114519" y="501027"/>
                </a:moveTo>
                <a:cubicBezTo>
                  <a:pt x="1073089" y="501027"/>
                  <a:pt x="1039185" y="467130"/>
                  <a:pt x="1039185" y="425700"/>
                </a:cubicBezTo>
                <a:cubicBezTo>
                  <a:pt x="1038562" y="384271"/>
                  <a:pt x="1072460" y="350374"/>
                  <a:pt x="1113889" y="350997"/>
                </a:cubicBezTo>
                <a:cubicBezTo>
                  <a:pt x="1155319" y="350374"/>
                  <a:pt x="1189217" y="384271"/>
                  <a:pt x="1189217" y="425700"/>
                </a:cubicBezTo>
                <a:cubicBezTo>
                  <a:pt x="1189846" y="467130"/>
                  <a:pt x="1155948" y="501027"/>
                  <a:pt x="1114519" y="501027"/>
                </a:cubicBezTo>
                <a:close/>
                <a:moveTo>
                  <a:pt x="2020504" y="516458"/>
                </a:moveTo>
                <a:cubicBezTo>
                  <a:pt x="1983786" y="518043"/>
                  <a:pt x="1955039" y="487711"/>
                  <a:pt x="1955039" y="452578"/>
                </a:cubicBezTo>
                <a:cubicBezTo>
                  <a:pt x="1955039" y="415860"/>
                  <a:pt x="1983786" y="387114"/>
                  <a:pt x="2018919" y="387114"/>
                </a:cubicBezTo>
                <a:cubicBezTo>
                  <a:pt x="2055637" y="387114"/>
                  <a:pt x="2084383" y="415860"/>
                  <a:pt x="2084383" y="450978"/>
                </a:cubicBezTo>
                <a:cubicBezTo>
                  <a:pt x="2085968" y="487711"/>
                  <a:pt x="2055637" y="516458"/>
                  <a:pt x="2020504" y="516458"/>
                </a:cubicBezTo>
                <a:close/>
                <a:moveTo>
                  <a:pt x="632723" y="529961"/>
                </a:moveTo>
                <a:cubicBezTo>
                  <a:pt x="585014" y="529961"/>
                  <a:pt x="546096" y="491672"/>
                  <a:pt x="546096" y="443963"/>
                </a:cubicBezTo>
                <a:cubicBezTo>
                  <a:pt x="546096" y="396255"/>
                  <a:pt x="584385" y="357337"/>
                  <a:pt x="632093" y="357337"/>
                </a:cubicBezTo>
                <a:cubicBezTo>
                  <a:pt x="679802" y="357337"/>
                  <a:pt x="718720" y="395626"/>
                  <a:pt x="718720" y="443334"/>
                </a:cubicBezTo>
                <a:cubicBezTo>
                  <a:pt x="718720" y="491043"/>
                  <a:pt x="680431" y="529961"/>
                  <a:pt x="632723" y="529961"/>
                </a:cubicBezTo>
                <a:close/>
                <a:moveTo>
                  <a:pt x="2449263" y="548993"/>
                </a:moveTo>
                <a:cubicBezTo>
                  <a:pt x="2413024" y="548993"/>
                  <a:pt x="2384567" y="520536"/>
                  <a:pt x="2384567" y="486891"/>
                </a:cubicBezTo>
                <a:cubicBezTo>
                  <a:pt x="2384567" y="450652"/>
                  <a:pt x="2413024" y="422195"/>
                  <a:pt x="2449263" y="419601"/>
                </a:cubicBezTo>
                <a:cubicBezTo>
                  <a:pt x="2485502" y="419601"/>
                  <a:pt x="2513959" y="448058"/>
                  <a:pt x="2513959" y="484297"/>
                </a:cubicBezTo>
                <a:cubicBezTo>
                  <a:pt x="2513959" y="520536"/>
                  <a:pt x="2485502" y="548993"/>
                  <a:pt x="2449263" y="548993"/>
                </a:cubicBezTo>
                <a:close/>
                <a:moveTo>
                  <a:pt x="2866138" y="589931"/>
                </a:moveTo>
                <a:cubicBezTo>
                  <a:pt x="2830168" y="589931"/>
                  <a:pt x="2801406" y="561169"/>
                  <a:pt x="2801406" y="525199"/>
                </a:cubicBezTo>
                <a:cubicBezTo>
                  <a:pt x="2801406" y="489229"/>
                  <a:pt x="2830168" y="460468"/>
                  <a:pt x="2866138" y="460468"/>
                </a:cubicBezTo>
                <a:cubicBezTo>
                  <a:pt x="2902108" y="460468"/>
                  <a:pt x="2930869" y="489229"/>
                  <a:pt x="2930869" y="525199"/>
                </a:cubicBezTo>
                <a:cubicBezTo>
                  <a:pt x="2930869" y="561169"/>
                  <a:pt x="2902108" y="589931"/>
                  <a:pt x="2866138" y="589931"/>
                </a:cubicBezTo>
                <a:close/>
                <a:moveTo>
                  <a:pt x="127263" y="594462"/>
                </a:moveTo>
                <a:cubicBezTo>
                  <a:pt x="70762" y="595085"/>
                  <a:pt x="24311" y="549263"/>
                  <a:pt x="24311" y="492139"/>
                </a:cubicBezTo>
                <a:cubicBezTo>
                  <a:pt x="23682" y="435010"/>
                  <a:pt x="69510" y="389188"/>
                  <a:pt x="126633" y="389188"/>
                </a:cubicBezTo>
                <a:cubicBezTo>
                  <a:pt x="183128" y="389188"/>
                  <a:pt x="229585" y="435010"/>
                  <a:pt x="229585" y="491510"/>
                </a:cubicBezTo>
                <a:cubicBezTo>
                  <a:pt x="230208" y="548004"/>
                  <a:pt x="184386" y="594462"/>
                  <a:pt x="127263" y="594462"/>
                </a:cubicBezTo>
                <a:close/>
                <a:moveTo>
                  <a:pt x="1320149" y="708802"/>
                </a:moveTo>
                <a:cubicBezTo>
                  <a:pt x="1278719" y="709431"/>
                  <a:pt x="1244815" y="675533"/>
                  <a:pt x="1244815" y="634103"/>
                </a:cubicBezTo>
                <a:cubicBezTo>
                  <a:pt x="1244192" y="592674"/>
                  <a:pt x="1278090" y="558770"/>
                  <a:pt x="1319519" y="558770"/>
                </a:cubicBezTo>
                <a:cubicBezTo>
                  <a:pt x="1360949" y="558147"/>
                  <a:pt x="1394847" y="592045"/>
                  <a:pt x="1394847" y="633474"/>
                </a:cubicBezTo>
                <a:cubicBezTo>
                  <a:pt x="1395476" y="674904"/>
                  <a:pt x="1361578" y="708802"/>
                  <a:pt x="1320149" y="708802"/>
                </a:cubicBezTo>
                <a:close/>
                <a:moveTo>
                  <a:pt x="1764849" y="718484"/>
                </a:moveTo>
                <a:cubicBezTo>
                  <a:pt x="1729502" y="718484"/>
                  <a:pt x="1700159" y="689808"/>
                  <a:pt x="1700159" y="653791"/>
                </a:cubicBezTo>
                <a:cubicBezTo>
                  <a:pt x="1699491" y="618436"/>
                  <a:pt x="1728834" y="589092"/>
                  <a:pt x="1764849" y="589092"/>
                </a:cubicBezTo>
                <a:cubicBezTo>
                  <a:pt x="1800203" y="589092"/>
                  <a:pt x="1829546" y="617774"/>
                  <a:pt x="1829546" y="653791"/>
                </a:cubicBezTo>
                <a:cubicBezTo>
                  <a:pt x="1829546" y="689139"/>
                  <a:pt x="1800865" y="718484"/>
                  <a:pt x="1764849" y="718484"/>
                </a:cubicBezTo>
                <a:close/>
                <a:moveTo>
                  <a:pt x="856415" y="736355"/>
                </a:moveTo>
                <a:cubicBezTo>
                  <a:pt x="798033" y="736355"/>
                  <a:pt x="750953" y="689275"/>
                  <a:pt x="750953" y="631522"/>
                </a:cubicBezTo>
                <a:cubicBezTo>
                  <a:pt x="750953" y="573770"/>
                  <a:pt x="798033" y="526690"/>
                  <a:pt x="855785" y="526061"/>
                </a:cubicBezTo>
                <a:cubicBezTo>
                  <a:pt x="913538" y="526061"/>
                  <a:pt x="961247" y="573141"/>
                  <a:pt x="961247" y="630893"/>
                </a:cubicBezTo>
                <a:cubicBezTo>
                  <a:pt x="961247" y="688646"/>
                  <a:pt x="914790" y="736355"/>
                  <a:pt x="856415" y="736355"/>
                </a:cubicBezTo>
                <a:close/>
                <a:moveTo>
                  <a:pt x="2193747" y="751188"/>
                </a:moveTo>
                <a:cubicBezTo>
                  <a:pt x="2157893" y="751188"/>
                  <a:pt x="2129041" y="722337"/>
                  <a:pt x="2129041" y="686484"/>
                </a:cubicBezTo>
                <a:cubicBezTo>
                  <a:pt x="2128174" y="650639"/>
                  <a:pt x="2157025" y="621788"/>
                  <a:pt x="2193747" y="621788"/>
                </a:cubicBezTo>
                <a:cubicBezTo>
                  <a:pt x="2228716" y="621788"/>
                  <a:pt x="2258444" y="650639"/>
                  <a:pt x="2258444" y="686484"/>
                </a:cubicBezTo>
                <a:cubicBezTo>
                  <a:pt x="2258444" y="722337"/>
                  <a:pt x="2229592" y="751188"/>
                  <a:pt x="2193747" y="751188"/>
                </a:cubicBezTo>
                <a:close/>
                <a:moveTo>
                  <a:pt x="370307" y="767504"/>
                </a:moveTo>
                <a:cubicBezTo>
                  <a:pt x="307534" y="767504"/>
                  <a:pt x="256062" y="716655"/>
                  <a:pt x="256062" y="653882"/>
                </a:cubicBezTo>
                <a:cubicBezTo>
                  <a:pt x="256062" y="591109"/>
                  <a:pt x="306911" y="539637"/>
                  <a:pt x="369684" y="539637"/>
                </a:cubicBezTo>
                <a:cubicBezTo>
                  <a:pt x="432457" y="539637"/>
                  <a:pt x="483929" y="590486"/>
                  <a:pt x="483929" y="653259"/>
                </a:cubicBezTo>
                <a:cubicBezTo>
                  <a:pt x="483929" y="716032"/>
                  <a:pt x="433080" y="767504"/>
                  <a:pt x="370307" y="767504"/>
                </a:cubicBezTo>
                <a:close/>
                <a:moveTo>
                  <a:pt x="2610398" y="794227"/>
                </a:moveTo>
                <a:cubicBezTo>
                  <a:pt x="2573417" y="794227"/>
                  <a:pt x="2544378" y="765188"/>
                  <a:pt x="2544378" y="728208"/>
                </a:cubicBezTo>
                <a:cubicBezTo>
                  <a:pt x="2544378" y="691228"/>
                  <a:pt x="2573417" y="662189"/>
                  <a:pt x="2607750" y="662189"/>
                </a:cubicBezTo>
                <a:cubicBezTo>
                  <a:pt x="2644731" y="664836"/>
                  <a:pt x="2673770" y="693875"/>
                  <a:pt x="2673770" y="728208"/>
                </a:cubicBezTo>
                <a:cubicBezTo>
                  <a:pt x="2673770" y="765188"/>
                  <a:pt x="2647378" y="794227"/>
                  <a:pt x="2610398" y="794227"/>
                </a:cubicBezTo>
                <a:close/>
                <a:moveTo>
                  <a:pt x="3013689" y="842020"/>
                </a:moveTo>
                <a:cubicBezTo>
                  <a:pt x="2977719" y="842020"/>
                  <a:pt x="2948957" y="813258"/>
                  <a:pt x="2948957" y="777288"/>
                </a:cubicBezTo>
                <a:cubicBezTo>
                  <a:pt x="2948957" y="741318"/>
                  <a:pt x="2977719" y="712557"/>
                  <a:pt x="3013689" y="712557"/>
                </a:cubicBezTo>
                <a:cubicBezTo>
                  <a:pt x="3049659" y="712557"/>
                  <a:pt x="3078420" y="741318"/>
                  <a:pt x="3078420" y="777288"/>
                </a:cubicBezTo>
                <a:cubicBezTo>
                  <a:pt x="3078420" y="813258"/>
                  <a:pt x="3049659" y="842020"/>
                  <a:pt x="3013689" y="842020"/>
                </a:cubicBezTo>
                <a:close/>
                <a:moveTo>
                  <a:pt x="1064190" y="928366"/>
                </a:moveTo>
                <a:cubicBezTo>
                  <a:pt x="1013340" y="928366"/>
                  <a:pt x="971911" y="887560"/>
                  <a:pt x="971911" y="836716"/>
                </a:cubicBezTo>
                <a:cubicBezTo>
                  <a:pt x="971911" y="785867"/>
                  <a:pt x="1012717" y="745067"/>
                  <a:pt x="1063561" y="744438"/>
                </a:cubicBezTo>
                <a:cubicBezTo>
                  <a:pt x="1114410" y="744438"/>
                  <a:pt x="1155839" y="785238"/>
                  <a:pt x="1155839" y="836087"/>
                </a:cubicBezTo>
                <a:cubicBezTo>
                  <a:pt x="1155839" y="886937"/>
                  <a:pt x="1115033" y="928366"/>
                  <a:pt x="1064190" y="928366"/>
                </a:cubicBezTo>
                <a:close/>
                <a:moveTo>
                  <a:pt x="1509952" y="930776"/>
                </a:moveTo>
                <a:cubicBezTo>
                  <a:pt x="1467895" y="930776"/>
                  <a:pt x="1434627" y="897508"/>
                  <a:pt x="1433998" y="856080"/>
                </a:cubicBezTo>
                <a:cubicBezTo>
                  <a:pt x="1433998" y="814651"/>
                  <a:pt x="1467895" y="780748"/>
                  <a:pt x="1509323" y="780748"/>
                </a:cubicBezTo>
                <a:cubicBezTo>
                  <a:pt x="1550751" y="780125"/>
                  <a:pt x="1584648" y="814022"/>
                  <a:pt x="1584648" y="855450"/>
                </a:cubicBezTo>
                <a:cubicBezTo>
                  <a:pt x="1584648" y="896879"/>
                  <a:pt x="1551381" y="930776"/>
                  <a:pt x="1509952" y="930776"/>
                </a:cubicBezTo>
                <a:close/>
                <a:moveTo>
                  <a:pt x="597871" y="950331"/>
                </a:moveTo>
                <a:cubicBezTo>
                  <a:pt x="535098" y="950331"/>
                  <a:pt x="483626" y="899482"/>
                  <a:pt x="483626" y="836709"/>
                </a:cubicBezTo>
                <a:cubicBezTo>
                  <a:pt x="483626" y="773936"/>
                  <a:pt x="534475" y="722464"/>
                  <a:pt x="597248" y="722464"/>
                </a:cubicBezTo>
                <a:cubicBezTo>
                  <a:pt x="660021" y="722464"/>
                  <a:pt x="711493" y="773313"/>
                  <a:pt x="711493" y="836086"/>
                </a:cubicBezTo>
                <a:cubicBezTo>
                  <a:pt x="711493" y="898859"/>
                  <a:pt x="660644" y="950331"/>
                  <a:pt x="597871" y="950331"/>
                </a:cubicBezTo>
                <a:close/>
                <a:moveTo>
                  <a:pt x="1937779" y="953370"/>
                </a:moveTo>
                <a:cubicBezTo>
                  <a:pt x="1901934" y="953370"/>
                  <a:pt x="1873083" y="924519"/>
                  <a:pt x="1873083" y="888666"/>
                </a:cubicBezTo>
                <a:cubicBezTo>
                  <a:pt x="1873083" y="852821"/>
                  <a:pt x="1901934" y="823970"/>
                  <a:pt x="1937779" y="823970"/>
                </a:cubicBezTo>
                <a:cubicBezTo>
                  <a:pt x="1973624" y="823970"/>
                  <a:pt x="2002475" y="852821"/>
                  <a:pt x="2002475" y="888666"/>
                </a:cubicBezTo>
                <a:cubicBezTo>
                  <a:pt x="2002475" y="924519"/>
                  <a:pt x="1973624" y="953370"/>
                  <a:pt x="1937779" y="953370"/>
                </a:cubicBezTo>
                <a:close/>
                <a:moveTo>
                  <a:pt x="107143" y="985963"/>
                </a:moveTo>
                <a:cubicBezTo>
                  <a:pt x="73872" y="986278"/>
                  <a:pt x="43584" y="972938"/>
                  <a:pt x="21613" y="951202"/>
                </a:cubicBezTo>
                <a:lnTo>
                  <a:pt x="0" y="919474"/>
                </a:lnTo>
                <a:lnTo>
                  <a:pt x="0" y="811706"/>
                </a:lnTo>
                <a:lnTo>
                  <a:pt x="20748" y="780538"/>
                </a:lnTo>
                <a:cubicBezTo>
                  <a:pt x="42483" y="758567"/>
                  <a:pt x="72614" y="744914"/>
                  <a:pt x="105885" y="744914"/>
                </a:cubicBezTo>
                <a:cubicBezTo>
                  <a:pt x="172427" y="744285"/>
                  <a:pt x="227038" y="798273"/>
                  <a:pt x="227038" y="864809"/>
                </a:cubicBezTo>
                <a:cubicBezTo>
                  <a:pt x="227667" y="931351"/>
                  <a:pt x="173679" y="985963"/>
                  <a:pt x="107143" y="985963"/>
                </a:cubicBezTo>
                <a:close/>
                <a:moveTo>
                  <a:pt x="2352242" y="996605"/>
                </a:moveTo>
                <a:cubicBezTo>
                  <a:pt x="2316350" y="996605"/>
                  <a:pt x="2287128" y="968219"/>
                  <a:pt x="2287128" y="932319"/>
                </a:cubicBezTo>
                <a:cubicBezTo>
                  <a:pt x="2287128" y="896427"/>
                  <a:pt x="2316350" y="868042"/>
                  <a:pt x="2351414" y="867205"/>
                </a:cubicBezTo>
                <a:cubicBezTo>
                  <a:pt x="2387306" y="867205"/>
                  <a:pt x="2416528" y="895590"/>
                  <a:pt x="2416528" y="931491"/>
                </a:cubicBezTo>
                <a:cubicBezTo>
                  <a:pt x="2416528" y="967383"/>
                  <a:pt x="2388143" y="996605"/>
                  <a:pt x="2352242" y="996605"/>
                </a:cubicBezTo>
                <a:close/>
                <a:moveTo>
                  <a:pt x="2755248" y="1046513"/>
                </a:moveTo>
                <a:cubicBezTo>
                  <a:pt x="2720097" y="1046513"/>
                  <a:pt x="2689749" y="1017752"/>
                  <a:pt x="2689749" y="982601"/>
                </a:cubicBezTo>
                <a:cubicBezTo>
                  <a:pt x="2689749" y="945866"/>
                  <a:pt x="2718511" y="917105"/>
                  <a:pt x="2753663" y="917105"/>
                </a:cubicBezTo>
                <a:cubicBezTo>
                  <a:pt x="2790400" y="917105"/>
                  <a:pt x="2819162" y="945866"/>
                  <a:pt x="2819162" y="981016"/>
                </a:cubicBezTo>
                <a:cubicBezTo>
                  <a:pt x="2820748" y="1017752"/>
                  <a:pt x="2792002" y="1046513"/>
                  <a:pt x="2755248" y="1046513"/>
                </a:cubicBezTo>
                <a:close/>
                <a:moveTo>
                  <a:pt x="3147209" y="1101770"/>
                </a:moveTo>
                <a:cubicBezTo>
                  <a:pt x="3110806" y="1101770"/>
                  <a:pt x="3082509" y="1073475"/>
                  <a:pt x="3082509" y="1037074"/>
                </a:cubicBezTo>
                <a:cubicBezTo>
                  <a:pt x="3078456" y="1000672"/>
                  <a:pt x="3106752" y="972378"/>
                  <a:pt x="3147209" y="972378"/>
                </a:cubicBezTo>
                <a:cubicBezTo>
                  <a:pt x="3183613" y="972378"/>
                  <a:pt x="3211909" y="1000672"/>
                  <a:pt x="3211909" y="1037074"/>
                </a:cubicBezTo>
                <a:cubicBezTo>
                  <a:pt x="3211909" y="1073475"/>
                  <a:pt x="3183613" y="1101770"/>
                  <a:pt x="3147209" y="1101770"/>
                </a:cubicBezTo>
                <a:close/>
                <a:moveTo>
                  <a:pt x="808229" y="1158601"/>
                </a:moveTo>
                <a:cubicBezTo>
                  <a:pt x="742315" y="1158601"/>
                  <a:pt x="688332" y="1105241"/>
                  <a:pt x="688332" y="1039327"/>
                </a:cubicBezTo>
                <a:cubicBezTo>
                  <a:pt x="688332" y="973413"/>
                  <a:pt x="741692" y="920059"/>
                  <a:pt x="807606" y="919430"/>
                </a:cubicBezTo>
                <a:cubicBezTo>
                  <a:pt x="873514" y="919430"/>
                  <a:pt x="926874" y="972790"/>
                  <a:pt x="927503" y="1038698"/>
                </a:cubicBezTo>
                <a:cubicBezTo>
                  <a:pt x="927503" y="1104611"/>
                  <a:pt x="874143" y="1158601"/>
                  <a:pt x="808229" y="1158601"/>
                </a:cubicBezTo>
                <a:close/>
                <a:moveTo>
                  <a:pt x="1254758" y="1162662"/>
                </a:moveTo>
                <a:cubicBezTo>
                  <a:pt x="1197005" y="1162662"/>
                  <a:pt x="1149296" y="1115582"/>
                  <a:pt x="1149296" y="1057829"/>
                </a:cubicBezTo>
                <a:cubicBezTo>
                  <a:pt x="1149296" y="999448"/>
                  <a:pt x="1195747" y="952368"/>
                  <a:pt x="1254129" y="952368"/>
                </a:cubicBezTo>
                <a:cubicBezTo>
                  <a:pt x="1312510" y="952368"/>
                  <a:pt x="1359590" y="999448"/>
                  <a:pt x="1359590" y="1057200"/>
                </a:cubicBezTo>
                <a:cubicBezTo>
                  <a:pt x="1359590" y="1114953"/>
                  <a:pt x="1312510" y="1162033"/>
                  <a:pt x="1254758" y="1162662"/>
                </a:cubicBezTo>
                <a:close/>
                <a:moveTo>
                  <a:pt x="1682350" y="1166189"/>
                </a:moveTo>
                <a:cubicBezTo>
                  <a:pt x="1640922" y="1166189"/>
                  <a:pt x="1607025" y="1132292"/>
                  <a:pt x="1607025" y="1090864"/>
                </a:cubicBezTo>
                <a:cubicBezTo>
                  <a:pt x="1607025" y="1048807"/>
                  <a:pt x="1640293" y="1015533"/>
                  <a:pt x="1681727" y="1015533"/>
                </a:cubicBezTo>
                <a:cubicBezTo>
                  <a:pt x="1723156" y="1014910"/>
                  <a:pt x="1757053" y="1048807"/>
                  <a:pt x="1757053" y="1090235"/>
                </a:cubicBezTo>
                <a:cubicBezTo>
                  <a:pt x="1757682" y="1132292"/>
                  <a:pt x="1723779" y="1166189"/>
                  <a:pt x="1682350" y="1166189"/>
                </a:cubicBezTo>
                <a:close/>
                <a:moveTo>
                  <a:pt x="338908" y="1168843"/>
                </a:moveTo>
                <a:cubicBezTo>
                  <a:pt x="269226" y="1169466"/>
                  <a:pt x="212732" y="1112972"/>
                  <a:pt x="212732" y="1043289"/>
                </a:cubicBezTo>
                <a:cubicBezTo>
                  <a:pt x="212103" y="973612"/>
                  <a:pt x="268596" y="917118"/>
                  <a:pt x="337649" y="916489"/>
                </a:cubicBezTo>
                <a:cubicBezTo>
                  <a:pt x="407332" y="916489"/>
                  <a:pt x="464454" y="972360"/>
                  <a:pt x="464454" y="1042037"/>
                </a:cubicBezTo>
                <a:cubicBezTo>
                  <a:pt x="464454" y="1111713"/>
                  <a:pt x="408584" y="1168214"/>
                  <a:pt x="338908" y="1168843"/>
                </a:cubicBezTo>
                <a:close/>
                <a:moveTo>
                  <a:pt x="2094906" y="1200074"/>
                </a:moveTo>
                <a:cubicBezTo>
                  <a:pt x="2058852" y="1200074"/>
                  <a:pt x="2029884" y="1171106"/>
                  <a:pt x="2029884" y="1135698"/>
                </a:cubicBezTo>
                <a:cubicBezTo>
                  <a:pt x="2029884" y="1100289"/>
                  <a:pt x="2058207" y="1071321"/>
                  <a:pt x="2094261" y="1070676"/>
                </a:cubicBezTo>
                <a:cubicBezTo>
                  <a:pt x="2129669" y="1070676"/>
                  <a:pt x="2159282" y="1099644"/>
                  <a:pt x="2159282" y="1135052"/>
                </a:cubicBezTo>
                <a:cubicBezTo>
                  <a:pt x="2159282" y="1171106"/>
                  <a:pt x="2130314" y="1200074"/>
                  <a:pt x="2094906" y="1200074"/>
                </a:cubicBezTo>
                <a:close/>
                <a:moveTo>
                  <a:pt x="2494634" y="1251698"/>
                </a:moveTo>
                <a:cubicBezTo>
                  <a:pt x="2458742" y="1251698"/>
                  <a:pt x="2429520" y="1223312"/>
                  <a:pt x="2429520" y="1187412"/>
                </a:cubicBezTo>
                <a:cubicBezTo>
                  <a:pt x="2429520" y="1152349"/>
                  <a:pt x="2458742" y="1123135"/>
                  <a:pt x="2493806" y="1122298"/>
                </a:cubicBezTo>
                <a:cubicBezTo>
                  <a:pt x="2529698" y="1122298"/>
                  <a:pt x="2558920" y="1150683"/>
                  <a:pt x="2558920" y="1186584"/>
                </a:cubicBezTo>
                <a:cubicBezTo>
                  <a:pt x="2558920" y="1222476"/>
                  <a:pt x="2530535" y="1251698"/>
                  <a:pt x="2494634" y="1251698"/>
                </a:cubicBezTo>
                <a:close/>
                <a:moveTo>
                  <a:pt x="2884179" y="1308282"/>
                </a:moveTo>
                <a:cubicBezTo>
                  <a:pt x="2849674" y="1308282"/>
                  <a:pt x="2819472" y="1280242"/>
                  <a:pt x="2819472" y="1243575"/>
                </a:cubicBezTo>
                <a:cubicBezTo>
                  <a:pt x="2819472" y="1209071"/>
                  <a:pt x="2847512" y="1178869"/>
                  <a:pt x="2884179" y="1178869"/>
                </a:cubicBezTo>
                <a:cubicBezTo>
                  <a:pt x="2918683" y="1178869"/>
                  <a:pt x="2948885" y="1206909"/>
                  <a:pt x="2948885" y="1243575"/>
                </a:cubicBezTo>
                <a:cubicBezTo>
                  <a:pt x="2948885" y="1280242"/>
                  <a:pt x="2920845" y="1308282"/>
                  <a:pt x="2884179" y="1308282"/>
                </a:cubicBezTo>
                <a:close/>
                <a:moveTo>
                  <a:pt x="78656" y="1344897"/>
                </a:moveTo>
                <a:cubicBezTo>
                  <a:pt x="52291" y="1344897"/>
                  <a:pt x="28437" y="1334383"/>
                  <a:pt x="11174" y="1317278"/>
                </a:cubicBezTo>
                <a:lnTo>
                  <a:pt x="0" y="1300819"/>
                </a:lnTo>
                <a:lnTo>
                  <a:pt x="0" y="1198917"/>
                </a:lnTo>
                <a:lnTo>
                  <a:pt x="10859" y="1182633"/>
                </a:lnTo>
                <a:cubicBezTo>
                  <a:pt x="27965" y="1165370"/>
                  <a:pt x="51662" y="1154698"/>
                  <a:pt x="78027" y="1154698"/>
                </a:cubicBezTo>
                <a:cubicBezTo>
                  <a:pt x="130757" y="1154698"/>
                  <a:pt x="173438" y="1196756"/>
                  <a:pt x="173438" y="1249486"/>
                </a:cubicBezTo>
                <a:cubicBezTo>
                  <a:pt x="173438" y="1302216"/>
                  <a:pt x="130757" y="1344897"/>
                  <a:pt x="78656" y="1344897"/>
                </a:cubicBezTo>
                <a:close/>
                <a:moveTo>
                  <a:pt x="551846" y="1364048"/>
                </a:moveTo>
                <a:cubicBezTo>
                  <a:pt x="485304" y="1364048"/>
                  <a:pt x="430064" y="1310066"/>
                  <a:pt x="430064" y="1242895"/>
                </a:cubicBezTo>
                <a:cubicBezTo>
                  <a:pt x="430064" y="1175730"/>
                  <a:pt x="484046" y="1121119"/>
                  <a:pt x="550587" y="1120490"/>
                </a:cubicBezTo>
                <a:cubicBezTo>
                  <a:pt x="617751" y="1120490"/>
                  <a:pt x="672992" y="1174472"/>
                  <a:pt x="672992" y="1241643"/>
                </a:cubicBezTo>
                <a:cubicBezTo>
                  <a:pt x="673621" y="1308807"/>
                  <a:pt x="619010" y="1364048"/>
                  <a:pt x="551846" y="1364048"/>
                </a:cubicBezTo>
                <a:close/>
                <a:moveTo>
                  <a:pt x="3265345" y="1368986"/>
                </a:moveTo>
                <a:cubicBezTo>
                  <a:pt x="3229375" y="1368986"/>
                  <a:pt x="3200613" y="1340224"/>
                  <a:pt x="3200613" y="1304254"/>
                </a:cubicBezTo>
                <a:cubicBezTo>
                  <a:pt x="3200613" y="1268284"/>
                  <a:pt x="3222166" y="1239523"/>
                  <a:pt x="3265345" y="1239523"/>
                </a:cubicBezTo>
                <a:cubicBezTo>
                  <a:pt x="3301315" y="1239523"/>
                  <a:pt x="3330076" y="1268284"/>
                  <a:pt x="3330076" y="1304254"/>
                </a:cubicBezTo>
                <a:cubicBezTo>
                  <a:pt x="3330076" y="1340224"/>
                  <a:pt x="3301315" y="1368986"/>
                  <a:pt x="3265345" y="1368986"/>
                </a:cubicBezTo>
                <a:close/>
                <a:moveTo>
                  <a:pt x="999660" y="1381990"/>
                </a:moveTo>
                <a:cubicBezTo>
                  <a:pt x="931865" y="1381990"/>
                  <a:pt x="876623" y="1327376"/>
                  <a:pt x="876623" y="1259579"/>
                </a:cubicBezTo>
                <a:cubicBezTo>
                  <a:pt x="875994" y="1191153"/>
                  <a:pt x="930607" y="1136539"/>
                  <a:pt x="999031" y="1136539"/>
                </a:cubicBezTo>
                <a:cubicBezTo>
                  <a:pt x="1066826" y="1136539"/>
                  <a:pt x="1122068" y="1191153"/>
                  <a:pt x="1122068" y="1258950"/>
                </a:cubicBezTo>
                <a:cubicBezTo>
                  <a:pt x="1122068" y="1326747"/>
                  <a:pt x="1067455" y="1381990"/>
                  <a:pt x="999660" y="1381990"/>
                </a:cubicBezTo>
                <a:close/>
                <a:moveTo>
                  <a:pt x="1426398" y="1398827"/>
                </a:moveTo>
                <a:cubicBezTo>
                  <a:pt x="1368016" y="1398827"/>
                  <a:pt x="1320936" y="1351747"/>
                  <a:pt x="1320936" y="1293994"/>
                </a:cubicBezTo>
                <a:cubicBezTo>
                  <a:pt x="1320936" y="1235613"/>
                  <a:pt x="1368016" y="1188533"/>
                  <a:pt x="1425769" y="1188533"/>
                </a:cubicBezTo>
                <a:cubicBezTo>
                  <a:pt x="1484150" y="1188533"/>
                  <a:pt x="1531230" y="1235613"/>
                  <a:pt x="1531230" y="1293365"/>
                </a:cubicBezTo>
                <a:cubicBezTo>
                  <a:pt x="1531230" y="1351747"/>
                  <a:pt x="1484773" y="1398827"/>
                  <a:pt x="1426398" y="1398827"/>
                </a:cubicBezTo>
                <a:close/>
                <a:moveTo>
                  <a:pt x="1836790" y="1430815"/>
                </a:moveTo>
                <a:cubicBezTo>
                  <a:pt x="1785940" y="1430815"/>
                  <a:pt x="1744511" y="1390009"/>
                  <a:pt x="1744511" y="1339165"/>
                </a:cubicBezTo>
                <a:cubicBezTo>
                  <a:pt x="1744511" y="1288316"/>
                  <a:pt x="1785311" y="1246887"/>
                  <a:pt x="1836161" y="1246887"/>
                </a:cubicBezTo>
                <a:cubicBezTo>
                  <a:pt x="1887010" y="1246887"/>
                  <a:pt x="1928439" y="1287693"/>
                  <a:pt x="1928439" y="1338536"/>
                </a:cubicBezTo>
                <a:cubicBezTo>
                  <a:pt x="1928439" y="1389386"/>
                  <a:pt x="1887633" y="1430815"/>
                  <a:pt x="1836790" y="1430815"/>
                </a:cubicBezTo>
                <a:close/>
                <a:moveTo>
                  <a:pt x="2233842" y="1459666"/>
                </a:moveTo>
                <a:cubicBezTo>
                  <a:pt x="2196804" y="1459666"/>
                  <a:pt x="2166047" y="1429538"/>
                  <a:pt x="2166047" y="1392500"/>
                </a:cubicBezTo>
                <a:cubicBezTo>
                  <a:pt x="2166047" y="1355463"/>
                  <a:pt x="2196181" y="1325335"/>
                  <a:pt x="2233212" y="1324706"/>
                </a:cubicBezTo>
                <a:cubicBezTo>
                  <a:pt x="2270879" y="1324706"/>
                  <a:pt x="2301013" y="1354834"/>
                  <a:pt x="2301013" y="1391871"/>
                </a:cubicBezTo>
                <a:cubicBezTo>
                  <a:pt x="2301013" y="1428908"/>
                  <a:pt x="2270879" y="1459666"/>
                  <a:pt x="2233842" y="1459666"/>
                </a:cubicBezTo>
                <a:close/>
                <a:moveTo>
                  <a:pt x="2620735" y="1514947"/>
                </a:moveTo>
                <a:cubicBezTo>
                  <a:pt x="2584854" y="1515884"/>
                  <a:pt x="2555580" y="1486617"/>
                  <a:pt x="2555580" y="1450734"/>
                </a:cubicBezTo>
                <a:cubicBezTo>
                  <a:pt x="2554643" y="1414850"/>
                  <a:pt x="2583908" y="1385573"/>
                  <a:pt x="2619788" y="1385573"/>
                </a:cubicBezTo>
                <a:cubicBezTo>
                  <a:pt x="2655669" y="1384636"/>
                  <a:pt x="2684934" y="1413904"/>
                  <a:pt x="2684934" y="1449787"/>
                </a:cubicBezTo>
                <a:cubicBezTo>
                  <a:pt x="2685881" y="1485670"/>
                  <a:pt x="2656616" y="1514947"/>
                  <a:pt x="2620735" y="1514947"/>
                </a:cubicBezTo>
                <a:close/>
                <a:moveTo>
                  <a:pt x="295462" y="1567089"/>
                </a:moveTo>
                <a:cubicBezTo>
                  <a:pt x="228292" y="1567718"/>
                  <a:pt x="173681" y="1513107"/>
                  <a:pt x="173681" y="1445936"/>
                </a:cubicBezTo>
                <a:cubicBezTo>
                  <a:pt x="173681" y="1378771"/>
                  <a:pt x="227662" y="1324160"/>
                  <a:pt x="294833" y="1323531"/>
                </a:cubicBezTo>
                <a:cubicBezTo>
                  <a:pt x="361996" y="1323531"/>
                  <a:pt x="416607" y="1377513"/>
                  <a:pt x="416607" y="1444684"/>
                </a:cubicBezTo>
                <a:cubicBezTo>
                  <a:pt x="416607" y="1512477"/>
                  <a:pt x="362626" y="1567089"/>
                  <a:pt x="295462" y="1567089"/>
                </a:cubicBezTo>
                <a:close/>
                <a:moveTo>
                  <a:pt x="2997749" y="1577142"/>
                </a:moveTo>
                <a:cubicBezTo>
                  <a:pt x="2961082" y="1577142"/>
                  <a:pt x="2933042" y="1546940"/>
                  <a:pt x="2933042" y="1512435"/>
                </a:cubicBezTo>
                <a:cubicBezTo>
                  <a:pt x="2933042" y="1477931"/>
                  <a:pt x="2963244" y="1447729"/>
                  <a:pt x="2997749" y="1447729"/>
                </a:cubicBezTo>
                <a:cubicBezTo>
                  <a:pt x="3032253" y="1447729"/>
                  <a:pt x="3062455" y="1475769"/>
                  <a:pt x="3062455" y="1512435"/>
                </a:cubicBezTo>
                <a:cubicBezTo>
                  <a:pt x="3062455" y="1549102"/>
                  <a:pt x="3034415" y="1577142"/>
                  <a:pt x="2997749" y="1577142"/>
                </a:cubicBezTo>
                <a:close/>
                <a:moveTo>
                  <a:pt x="744666" y="1592229"/>
                </a:moveTo>
                <a:cubicBezTo>
                  <a:pt x="672473" y="1592858"/>
                  <a:pt x="613470" y="1534478"/>
                  <a:pt x="613470" y="1462292"/>
                </a:cubicBezTo>
                <a:cubicBezTo>
                  <a:pt x="613470" y="1390099"/>
                  <a:pt x="671851" y="1331725"/>
                  <a:pt x="743407" y="1331096"/>
                </a:cubicBezTo>
                <a:cubicBezTo>
                  <a:pt x="815599" y="1330467"/>
                  <a:pt x="873974" y="1388847"/>
                  <a:pt x="874603" y="1461033"/>
                </a:cubicBezTo>
                <a:cubicBezTo>
                  <a:pt x="874603" y="1533219"/>
                  <a:pt x="816852" y="1591600"/>
                  <a:pt x="744666" y="1592229"/>
                </a:cubicBezTo>
                <a:close/>
                <a:moveTo>
                  <a:pt x="1170441" y="1619012"/>
                </a:moveTo>
                <a:cubicBezTo>
                  <a:pt x="1102646" y="1619012"/>
                  <a:pt x="1047404" y="1564398"/>
                  <a:pt x="1047404" y="1496601"/>
                </a:cubicBezTo>
                <a:cubicBezTo>
                  <a:pt x="1046775" y="1428804"/>
                  <a:pt x="1102017" y="1373561"/>
                  <a:pt x="1169812" y="1373561"/>
                </a:cubicBezTo>
                <a:cubicBezTo>
                  <a:pt x="1237607" y="1373561"/>
                  <a:pt x="1292849" y="1428175"/>
                  <a:pt x="1292849" y="1495972"/>
                </a:cubicBezTo>
                <a:cubicBezTo>
                  <a:pt x="1292849" y="1563769"/>
                  <a:pt x="1238237" y="1619012"/>
                  <a:pt x="1170441" y="1619012"/>
                </a:cubicBezTo>
                <a:close/>
                <a:moveTo>
                  <a:pt x="3370208" y="1643930"/>
                </a:moveTo>
                <a:cubicBezTo>
                  <a:pt x="3333216" y="1643930"/>
                  <a:pt x="3303638" y="1614352"/>
                  <a:pt x="3303638" y="1577399"/>
                </a:cubicBezTo>
                <a:cubicBezTo>
                  <a:pt x="3303638" y="1540408"/>
                  <a:pt x="3329510" y="1510831"/>
                  <a:pt x="3366501" y="1510831"/>
                </a:cubicBezTo>
                <a:cubicBezTo>
                  <a:pt x="3403492" y="1510831"/>
                  <a:pt x="3433071" y="1540408"/>
                  <a:pt x="3433071" y="1577399"/>
                </a:cubicBezTo>
                <a:cubicBezTo>
                  <a:pt x="3433071" y="1614352"/>
                  <a:pt x="3407162" y="1643930"/>
                  <a:pt x="3370208" y="1643930"/>
                </a:cubicBezTo>
                <a:close/>
                <a:moveTo>
                  <a:pt x="1578253" y="1648332"/>
                </a:moveTo>
                <a:cubicBezTo>
                  <a:pt x="1520500" y="1648332"/>
                  <a:pt x="1472791" y="1601252"/>
                  <a:pt x="1472791" y="1543499"/>
                </a:cubicBezTo>
                <a:cubicBezTo>
                  <a:pt x="1472791" y="1485747"/>
                  <a:pt x="1519871" y="1438667"/>
                  <a:pt x="1577623" y="1438038"/>
                </a:cubicBezTo>
                <a:cubicBezTo>
                  <a:pt x="1636005" y="1438038"/>
                  <a:pt x="1683085" y="1485118"/>
                  <a:pt x="1683085" y="1542870"/>
                </a:cubicBezTo>
                <a:cubicBezTo>
                  <a:pt x="1683085" y="1600623"/>
                  <a:pt x="1636005" y="1648332"/>
                  <a:pt x="1578253" y="1648332"/>
                </a:cubicBezTo>
                <a:close/>
                <a:moveTo>
                  <a:pt x="1972296" y="1691662"/>
                </a:moveTo>
                <a:cubicBezTo>
                  <a:pt x="1920193" y="1691662"/>
                  <a:pt x="1878134" y="1650233"/>
                  <a:pt x="1878134" y="1598131"/>
                </a:cubicBezTo>
                <a:cubicBezTo>
                  <a:pt x="1878134" y="1546659"/>
                  <a:pt x="1920193" y="1503972"/>
                  <a:pt x="1971666" y="1503972"/>
                </a:cubicBezTo>
                <a:cubicBezTo>
                  <a:pt x="2023145" y="1503972"/>
                  <a:pt x="2065828" y="1545401"/>
                  <a:pt x="2065828" y="1597502"/>
                </a:cubicBezTo>
                <a:cubicBezTo>
                  <a:pt x="2066457" y="1649603"/>
                  <a:pt x="2024398" y="1691662"/>
                  <a:pt x="1972296" y="1691662"/>
                </a:cubicBezTo>
                <a:close/>
                <a:moveTo>
                  <a:pt x="38554" y="1713067"/>
                </a:moveTo>
                <a:cubicBezTo>
                  <a:pt x="29731" y="1713067"/>
                  <a:pt x="21277" y="1711275"/>
                  <a:pt x="13558" y="1708024"/>
                </a:cubicBezTo>
                <a:lnTo>
                  <a:pt x="0" y="1698937"/>
                </a:lnTo>
                <a:lnTo>
                  <a:pt x="0" y="1597187"/>
                </a:lnTo>
                <a:lnTo>
                  <a:pt x="13143" y="1588414"/>
                </a:lnTo>
                <a:cubicBezTo>
                  <a:pt x="20954" y="1585198"/>
                  <a:pt x="29547" y="1583498"/>
                  <a:pt x="38554" y="1583682"/>
                </a:cubicBezTo>
                <a:cubicBezTo>
                  <a:pt x="73837" y="1583682"/>
                  <a:pt x="103246" y="1613085"/>
                  <a:pt x="103246" y="1648375"/>
                </a:cubicBezTo>
                <a:cubicBezTo>
                  <a:pt x="103246" y="1683657"/>
                  <a:pt x="74574" y="1713067"/>
                  <a:pt x="38554" y="1713067"/>
                </a:cubicBezTo>
                <a:close/>
                <a:moveTo>
                  <a:pt x="2355155" y="1743920"/>
                </a:moveTo>
                <a:cubicBezTo>
                  <a:pt x="2307446" y="1743920"/>
                  <a:pt x="2268528" y="1705631"/>
                  <a:pt x="2268528" y="1657922"/>
                </a:cubicBezTo>
                <a:cubicBezTo>
                  <a:pt x="2268528" y="1610214"/>
                  <a:pt x="2306817" y="1571296"/>
                  <a:pt x="2354525" y="1571296"/>
                </a:cubicBezTo>
                <a:cubicBezTo>
                  <a:pt x="2402234" y="1571296"/>
                  <a:pt x="2441152" y="1609585"/>
                  <a:pt x="2441152" y="1657293"/>
                </a:cubicBezTo>
                <a:cubicBezTo>
                  <a:pt x="2441152" y="1705002"/>
                  <a:pt x="2402863" y="1743920"/>
                  <a:pt x="2355155" y="1743920"/>
                </a:cubicBezTo>
                <a:close/>
                <a:moveTo>
                  <a:pt x="489035" y="1761875"/>
                </a:moveTo>
                <a:cubicBezTo>
                  <a:pt x="435053" y="1762504"/>
                  <a:pt x="390484" y="1718564"/>
                  <a:pt x="390484" y="1663952"/>
                </a:cubicBezTo>
                <a:cubicBezTo>
                  <a:pt x="390484" y="1609963"/>
                  <a:pt x="434424" y="1565394"/>
                  <a:pt x="488412" y="1565394"/>
                </a:cubicBezTo>
                <a:cubicBezTo>
                  <a:pt x="542394" y="1564765"/>
                  <a:pt x="586963" y="1608711"/>
                  <a:pt x="586963" y="1663323"/>
                </a:cubicBezTo>
                <a:cubicBezTo>
                  <a:pt x="587592" y="1717305"/>
                  <a:pt x="543652" y="1761875"/>
                  <a:pt x="489035" y="1761875"/>
                </a:cubicBezTo>
                <a:close/>
                <a:moveTo>
                  <a:pt x="2728879" y="1786342"/>
                </a:moveTo>
                <a:cubicBezTo>
                  <a:pt x="2693094" y="1786342"/>
                  <a:pt x="2663594" y="1756837"/>
                  <a:pt x="2663594" y="1721058"/>
                </a:cubicBezTo>
                <a:cubicBezTo>
                  <a:pt x="2662965" y="1684650"/>
                  <a:pt x="2692471" y="1655774"/>
                  <a:pt x="2728879" y="1655774"/>
                </a:cubicBezTo>
                <a:cubicBezTo>
                  <a:pt x="2764659" y="1655774"/>
                  <a:pt x="2794164" y="1685279"/>
                  <a:pt x="2794164" y="1721058"/>
                </a:cubicBezTo>
                <a:cubicBezTo>
                  <a:pt x="2794164" y="1756837"/>
                  <a:pt x="2764659" y="1786342"/>
                  <a:pt x="2728879" y="1786342"/>
                </a:cubicBezTo>
                <a:close/>
                <a:moveTo>
                  <a:pt x="914154" y="1824465"/>
                </a:moveTo>
                <a:cubicBezTo>
                  <a:pt x="845101" y="1825094"/>
                  <a:pt x="788608" y="1769224"/>
                  <a:pt x="788608" y="1700177"/>
                </a:cubicBezTo>
                <a:cubicBezTo>
                  <a:pt x="788608" y="1631754"/>
                  <a:pt x="844478" y="1575261"/>
                  <a:pt x="912901" y="1574632"/>
                </a:cubicBezTo>
                <a:cubicBezTo>
                  <a:pt x="981948" y="1574003"/>
                  <a:pt x="1038447" y="1629873"/>
                  <a:pt x="1038447" y="1698919"/>
                </a:cubicBezTo>
                <a:cubicBezTo>
                  <a:pt x="1039070" y="1767972"/>
                  <a:pt x="983206" y="1824465"/>
                  <a:pt x="914154" y="1824465"/>
                </a:cubicBezTo>
                <a:close/>
                <a:moveTo>
                  <a:pt x="3095388" y="1852431"/>
                </a:moveTo>
                <a:cubicBezTo>
                  <a:pt x="3059697" y="1852431"/>
                  <a:pt x="3030692" y="1823426"/>
                  <a:pt x="3030692" y="1787735"/>
                </a:cubicBezTo>
                <a:cubicBezTo>
                  <a:pt x="3030692" y="1752043"/>
                  <a:pt x="3059697" y="1723039"/>
                  <a:pt x="3095388" y="1723039"/>
                </a:cubicBezTo>
                <a:cubicBezTo>
                  <a:pt x="3131090" y="1723039"/>
                  <a:pt x="3160084" y="1752043"/>
                  <a:pt x="3160084" y="1787735"/>
                </a:cubicBezTo>
                <a:cubicBezTo>
                  <a:pt x="3160084" y="1823426"/>
                  <a:pt x="3131090" y="1852431"/>
                  <a:pt x="3095388" y="1852431"/>
                </a:cubicBezTo>
                <a:close/>
                <a:moveTo>
                  <a:pt x="1318847" y="1869515"/>
                </a:moveTo>
                <a:cubicBezTo>
                  <a:pt x="1251683" y="1870144"/>
                  <a:pt x="1197072" y="1815533"/>
                  <a:pt x="1197072" y="1748362"/>
                </a:cubicBezTo>
                <a:cubicBezTo>
                  <a:pt x="1197072" y="1681197"/>
                  <a:pt x="1251683" y="1626586"/>
                  <a:pt x="1317595" y="1625957"/>
                </a:cubicBezTo>
                <a:cubicBezTo>
                  <a:pt x="1384759" y="1625328"/>
                  <a:pt x="1440000" y="1679939"/>
                  <a:pt x="1440000" y="1747110"/>
                </a:cubicBezTo>
                <a:cubicBezTo>
                  <a:pt x="1440629" y="1814903"/>
                  <a:pt x="1386018" y="1869515"/>
                  <a:pt x="1318847" y="1869515"/>
                </a:cubicBezTo>
                <a:close/>
                <a:moveTo>
                  <a:pt x="1709452" y="1910274"/>
                </a:moveTo>
                <a:cubicBezTo>
                  <a:pt x="1650447" y="1910274"/>
                  <a:pt x="1602737" y="1862564"/>
                  <a:pt x="1602737" y="1804182"/>
                </a:cubicBezTo>
                <a:cubicBezTo>
                  <a:pt x="1602737" y="1745177"/>
                  <a:pt x="1650447" y="1697467"/>
                  <a:pt x="1708829" y="1697467"/>
                </a:cubicBezTo>
                <a:cubicBezTo>
                  <a:pt x="1767834" y="1697467"/>
                  <a:pt x="1815544" y="1745177"/>
                  <a:pt x="1815544" y="1803559"/>
                </a:cubicBezTo>
                <a:cubicBezTo>
                  <a:pt x="1815544" y="1862564"/>
                  <a:pt x="1767834" y="1910274"/>
                  <a:pt x="1709452" y="1910274"/>
                </a:cubicBezTo>
                <a:close/>
                <a:moveTo>
                  <a:pt x="3455893" y="1920652"/>
                </a:moveTo>
                <a:cubicBezTo>
                  <a:pt x="3418904" y="1920652"/>
                  <a:pt x="3389327" y="1891075"/>
                  <a:pt x="3389327" y="1854085"/>
                </a:cubicBezTo>
                <a:cubicBezTo>
                  <a:pt x="3389327" y="1820801"/>
                  <a:pt x="3418904" y="1791224"/>
                  <a:pt x="3455893" y="1791224"/>
                </a:cubicBezTo>
                <a:cubicBezTo>
                  <a:pt x="3492845" y="1791224"/>
                  <a:pt x="3522422" y="1817095"/>
                  <a:pt x="3522422" y="1854085"/>
                </a:cubicBezTo>
                <a:cubicBezTo>
                  <a:pt x="3522422" y="1891075"/>
                  <a:pt x="3492845" y="1920652"/>
                  <a:pt x="3455893" y="1920652"/>
                </a:cubicBezTo>
                <a:close/>
                <a:moveTo>
                  <a:pt x="233853" y="1930447"/>
                </a:moveTo>
                <a:cubicBezTo>
                  <a:pt x="198559" y="1930447"/>
                  <a:pt x="169153" y="1901778"/>
                  <a:pt x="169153" y="1865753"/>
                </a:cubicBezTo>
                <a:cubicBezTo>
                  <a:pt x="169153" y="1829722"/>
                  <a:pt x="197829" y="1800316"/>
                  <a:pt x="233853" y="1800316"/>
                </a:cubicBezTo>
                <a:cubicBezTo>
                  <a:pt x="269139" y="1800316"/>
                  <a:pt x="298552" y="1828992"/>
                  <a:pt x="298552" y="1865016"/>
                </a:cubicBezTo>
                <a:cubicBezTo>
                  <a:pt x="298552" y="1901041"/>
                  <a:pt x="269876" y="1930447"/>
                  <a:pt x="233853" y="1930447"/>
                </a:cubicBezTo>
                <a:close/>
                <a:moveTo>
                  <a:pt x="2088014" y="1959666"/>
                </a:moveTo>
                <a:cubicBezTo>
                  <a:pt x="2036541" y="1960289"/>
                  <a:pt x="1993852" y="1918231"/>
                  <a:pt x="1993852" y="1866130"/>
                </a:cubicBezTo>
                <a:cubicBezTo>
                  <a:pt x="1993852" y="1814030"/>
                  <a:pt x="2035282" y="1771972"/>
                  <a:pt x="2087384" y="1771972"/>
                </a:cubicBezTo>
                <a:cubicBezTo>
                  <a:pt x="2138863" y="1771343"/>
                  <a:pt x="2181546" y="1813401"/>
                  <a:pt x="2181546" y="1865501"/>
                </a:cubicBezTo>
                <a:cubicBezTo>
                  <a:pt x="2182175" y="1916979"/>
                  <a:pt x="2140116" y="1959666"/>
                  <a:pt x="2088014" y="1959666"/>
                </a:cubicBezTo>
                <a:close/>
                <a:moveTo>
                  <a:pt x="657239" y="2010230"/>
                </a:moveTo>
                <a:cubicBezTo>
                  <a:pt x="597600" y="2010230"/>
                  <a:pt x="548639" y="1961898"/>
                  <a:pt x="548639" y="1902259"/>
                </a:cubicBezTo>
                <a:cubicBezTo>
                  <a:pt x="548639" y="1842004"/>
                  <a:pt x="596977" y="1793666"/>
                  <a:pt x="656610" y="1793666"/>
                </a:cubicBezTo>
                <a:cubicBezTo>
                  <a:pt x="716242" y="1793666"/>
                  <a:pt x="765203" y="1842004"/>
                  <a:pt x="765203" y="1901636"/>
                </a:cubicBezTo>
                <a:cubicBezTo>
                  <a:pt x="765203" y="1961269"/>
                  <a:pt x="716871" y="2010230"/>
                  <a:pt x="657239" y="2010230"/>
                </a:cubicBezTo>
                <a:close/>
                <a:moveTo>
                  <a:pt x="2457967" y="2028725"/>
                </a:moveTo>
                <a:cubicBezTo>
                  <a:pt x="2403978" y="2029354"/>
                  <a:pt x="2360037" y="1986035"/>
                  <a:pt x="2360037" y="1932050"/>
                </a:cubicBezTo>
                <a:cubicBezTo>
                  <a:pt x="2360037" y="1878688"/>
                  <a:pt x="2403348" y="1834746"/>
                  <a:pt x="2457338" y="1834117"/>
                </a:cubicBezTo>
                <a:cubicBezTo>
                  <a:pt x="2511321" y="1833488"/>
                  <a:pt x="2555262" y="1876807"/>
                  <a:pt x="2555262" y="1930792"/>
                </a:cubicBezTo>
                <a:cubicBezTo>
                  <a:pt x="2555262" y="1984783"/>
                  <a:pt x="2511951" y="2028725"/>
                  <a:pt x="2457967" y="2028725"/>
                </a:cubicBezTo>
                <a:close/>
                <a:moveTo>
                  <a:pt x="2820177" y="2081922"/>
                </a:moveTo>
                <a:cubicBezTo>
                  <a:pt x="2774355" y="2081922"/>
                  <a:pt x="2736689" y="2044885"/>
                  <a:pt x="2736689" y="1999057"/>
                </a:cubicBezTo>
                <a:cubicBezTo>
                  <a:pt x="2736689" y="1953236"/>
                  <a:pt x="2773726" y="1915570"/>
                  <a:pt x="2819547" y="1915570"/>
                </a:cubicBezTo>
                <a:cubicBezTo>
                  <a:pt x="2865375" y="1915570"/>
                  <a:pt x="2903035" y="1952607"/>
                  <a:pt x="2903035" y="1998428"/>
                </a:cubicBezTo>
                <a:cubicBezTo>
                  <a:pt x="2903035" y="2044256"/>
                  <a:pt x="2866004" y="2081922"/>
                  <a:pt x="2820177" y="2081922"/>
                </a:cubicBezTo>
                <a:close/>
                <a:moveTo>
                  <a:pt x="1059555" y="2087461"/>
                </a:moveTo>
                <a:cubicBezTo>
                  <a:pt x="984851" y="2088084"/>
                  <a:pt x="923965" y="2027827"/>
                  <a:pt x="923965" y="1953123"/>
                </a:cubicBezTo>
                <a:cubicBezTo>
                  <a:pt x="923336" y="1878425"/>
                  <a:pt x="983599" y="1817533"/>
                  <a:pt x="1058297" y="1817533"/>
                </a:cubicBezTo>
                <a:cubicBezTo>
                  <a:pt x="1133001" y="1816904"/>
                  <a:pt x="1193893" y="1877167"/>
                  <a:pt x="1193893" y="1951865"/>
                </a:cubicBezTo>
                <a:cubicBezTo>
                  <a:pt x="1194516" y="2026569"/>
                  <a:pt x="1134253" y="2087461"/>
                  <a:pt x="1059555" y="2087461"/>
                </a:cubicBezTo>
                <a:close/>
                <a:moveTo>
                  <a:pt x="0" y="2128682"/>
                </a:moveTo>
                <a:lnTo>
                  <a:pt x="0" y="2006448"/>
                </a:lnTo>
                <a:lnTo>
                  <a:pt x="3811" y="2007227"/>
                </a:lnTo>
                <a:cubicBezTo>
                  <a:pt x="26990" y="2017119"/>
                  <a:pt x="43459" y="2040224"/>
                  <a:pt x="43459" y="2066803"/>
                </a:cubicBezTo>
                <a:cubicBezTo>
                  <a:pt x="43459" y="2094530"/>
                  <a:pt x="26990" y="2117931"/>
                  <a:pt x="3811" y="2127898"/>
                </a:cubicBezTo>
                <a:close/>
                <a:moveTo>
                  <a:pt x="3176435" y="2133296"/>
                </a:moveTo>
                <a:cubicBezTo>
                  <a:pt x="3141151" y="2133296"/>
                  <a:pt x="3111354" y="2104283"/>
                  <a:pt x="3111354" y="2068211"/>
                </a:cubicBezTo>
                <a:cubicBezTo>
                  <a:pt x="3111354" y="2032140"/>
                  <a:pt x="3140365" y="2003127"/>
                  <a:pt x="3175649" y="2003127"/>
                </a:cubicBezTo>
                <a:cubicBezTo>
                  <a:pt x="3211719" y="2003127"/>
                  <a:pt x="3240730" y="2032140"/>
                  <a:pt x="3240730" y="2068211"/>
                </a:cubicBezTo>
                <a:cubicBezTo>
                  <a:pt x="3241516" y="2103497"/>
                  <a:pt x="3212505" y="2133296"/>
                  <a:pt x="3176435" y="2133296"/>
                </a:cubicBezTo>
                <a:close/>
                <a:moveTo>
                  <a:pt x="1444896" y="2143982"/>
                </a:moveTo>
                <a:cubicBezTo>
                  <a:pt x="1372081" y="2143982"/>
                  <a:pt x="1311819" y="2084972"/>
                  <a:pt x="1311819" y="2011528"/>
                </a:cubicBezTo>
                <a:cubicBezTo>
                  <a:pt x="1311819" y="1938713"/>
                  <a:pt x="1370822" y="1879080"/>
                  <a:pt x="1444267" y="1878451"/>
                </a:cubicBezTo>
                <a:cubicBezTo>
                  <a:pt x="1517711" y="1878451"/>
                  <a:pt x="1577350" y="1937454"/>
                  <a:pt x="1577350" y="2010899"/>
                </a:cubicBezTo>
                <a:cubicBezTo>
                  <a:pt x="1577350" y="2084343"/>
                  <a:pt x="1518341" y="2143982"/>
                  <a:pt x="1444896" y="2143982"/>
                </a:cubicBezTo>
                <a:close/>
                <a:moveTo>
                  <a:pt x="400419" y="2176057"/>
                </a:moveTo>
                <a:cubicBezTo>
                  <a:pt x="361499" y="2176057"/>
                  <a:pt x="329482" y="2144669"/>
                  <a:pt x="329482" y="2105743"/>
                </a:cubicBezTo>
                <a:cubicBezTo>
                  <a:pt x="328859" y="2066824"/>
                  <a:pt x="360870" y="2034807"/>
                  <a:pt x="399796" y="2034807"/>
                </a:cubicBezTo>
                <a:cubicBezTo>
                  <a:pt x="438715" y="2034184"/>
                  <a:pt x="470732" y="2066194"/>
                  <a:pt x="470732" y="2105120"/>
                </a:cubicBezTo>
                <a:cubicBezTo>
                  <a:pt x="471355" y="2144040"/>
                  <a:pt x="439345" y="2176057"/>
                  <a:pt x="400419" y="2176057"/>
                </a:cubicBezTo>
                <a:close/>
                <a:moveTo>
                  <a:pt x="1818721" y="2193212"/>
                </a:moveTo>
                <a:cubicBezTo>
                  <a:pt x="1753437" y="2193212"/>
                  <a:pt x="1700077" y="2140481"/>
                  <a:pt x="1700077" y="2075197"/>
                </a:cubicBezTo>
                <a:cubicBezTo>
                  <a:pt x="1700077" y="2009914"/>
                  <a:pt x="1752808" y="1957183"/>
                  <a:pt x="1818091" y="1956554"/>
                </a:cubicBezTo>
                <a:cubicBezTo>
                  <a:pt x="1883375" y="1956554"/>
                  <a:pt x="1936106" y="2009284"/>
                  <a:pt x="1936735" y="2074568"/>
                </a:cubicBezTo>
                <a:cubicBezTo>
                  <a:pt x="1936735" y="2139852"/>
                  <a:pt x="1884005" y="2193212"/>
                  <a:pt x="1818721" y="2193212"/>
                </a:cubicBezTo>
                <a:close/>
                <a:moveTo>
                  <a:pt x="3527730" y="2203544"/>
                </a:moveTo>
                <a:cubicBezTo>
                  <a:pt x="3492882" y="2203544"/>
                  <a:pt x="3463022" y="2173685"/>
                  <a:pt x="3463022" y="2138863"/>
                </a:cubicBezTo>
                <a:cubicBezTo>
                  <a:pt x="3463022" y="2101521"/>
                  <a:pt x="3492882" y="2071663"/>
                  <a:pt x="3525236" y="2074157"/>
                </a:cubicBezTo>
                <a:cubicBezTo>
                  <a:pt x="3562554" y="2074157"/>
                  <a:pt x="3592414" y="2101521"/>
                  <a:pt x="3592414" y="2138863"/>
                </a:cubicBezTo>
                <a:cubicBezTo>
                  <a:pt x="3592414" y="2173685"/>
                  <a:pt x="3565049" y="2203544"/>
                  <a:pt x="3527730" y="2203544"/>
                </a:cubicBezTo>
                <a:close/>
                <a:moveTo>
                  <a:pt x="2183507" y="2245449"/>
                </a:moveTo>
                <a:cubicBezTo>
                  <a:pt x="2126385" y="2245449"/>
                  <a:pt x="2079306" y="2198993"/>
                  <a:pt x="2079306" y="2141871"/>
                </a:cubicBezTo>
                <a:cubicBezTo>
                  <a:pt x="2079306" y="2084120"/>
                  <a:pt x="2125756" y="2037670"/>
                  <a:pt x="2182884" y="2037670"/>
                </a:cubicBezTo>
                <a:cubicBezTo>
                  <a:pt x="2240006" y="2037670"/>
                  <a:pt x="2287085" y="2083491"/>
                  <a:pt x="2287085" y="2141242"/>
                </a:cubicBezTo>
                <a:cubicBezTo>
                  <a:pt x="2287085" y="2198370"/>
                  <a:pt x="2240629" y="2245449"/>
                  <a:pt x="2183507" y="2245449"/>
                </a:cubicBezTo>
                <a:close/>
                <a:moveTo>
                  <a:pt x="797472" y="2266190"/>
                </a:moveTo>
                <a:cubicBezTo>
                  <a:pt x="737840" y="2266190"/>
                  <a:pt x="689508" y="2217858"/>
                  <a:pt x="688879" y="2158219"/>
                </a:cubicBezTo>
                <a:cubicBezTo>
                  <a:pt x="688879" y="2097958"/>
                  <a:pt x="737217" y="2048997"/>
                  <a:pt x="796849" y="2049626"/>
                </a:cubicBezTo>
                <a:cubicBezTo>
                  <a:pt x="856482" y="2049626"/>
                  <a:pt x="905443" y="2097335"/>
                  <a:pt x="905443" y="2157596"/>
                </a:cubicBezTo>
                <a:cubicBezTo>
                  <a:pt x="906072" y="2217229"/>
                  <a:pt x="857111" y="2266190"/>
                  <a:pt x="797472" y="2266190"/>
                </a:cubicBezTo>
                <a:close/>
                <a:moveTo>
                  <a:pt x="2541517" y="2307910"/>
                </a:moveTo>
                <a:cubicBezTo>
                  <a:pt x="2487529" y="2307910"/>
                  <a:pt x="2443590" y="2264594"/>
                  <a:pt x="2443590" y="2210612"/>
                </a:cubicBezTo>
                <a:cubicBezTo>
                  <a:pt x="2443590" y="2156630"/>
                  <a:pt x="2486900" y="2113314"/>
                  <a:pt x="2540888" y="2113314"/>
                </a:cubicBezTo>
                <a:cubicBezTo>
                  <a:pt x="2594247" y="2112685"/>
                  <a:pt x="2638186" y="2156001"/>
                  <a:pt x="2638186" y="2209983"/>
                </a:cubicBezTo>
                <a:cubicBezTo>
                  <a:pt x="2638809" y="2263971"/>
                  <a:pt x="2594870" y="2307910"/>
                  <a:pt x="2541517" y="2307910"/>
                </a:cubicBezTo>
                <a:close/>
                <a:moveTo>
                  <a:pt x="1178716" y="2345391"/>
                </a:moveTo>
                <a:cubicBezTo>
                  <a:pt x="1109039" y="2345391"/>
                  <a:pt x="1052545" y="2289520"/>
                  <a:pt x="1051916" y="2219837"/>
                </a:cubicBezTo>
                <a:cubicBezTo>
                  <a:pt x="1051287" y="2150160"/>
                  <a:pt x="1107781" y="2093666"/>
                  <a:pt x="1178093" y="2093037"/>
                </a:cubicBezTo>
                <a:cubicBezTo>
                  <a:pt x="1247141" y="2092408"/>
                  <a:pt x="1304270" y="2148902"/>
                  <a:pt x="1304270" y="2218585"/>
                </a:cubicBezTo>
                <a:cubicBezTo>
                  <a:pt x="1304270" y="2288262"/>
                  <a:pt x="1248399" y="2345391"/>
                  <a:pt x="1178716" y="2345391"/>
                </a:cubicBezTo>
                <a:close/>
                <a:moveTo>
                  <a:pt x="2892874" y="2351999"/>
                </a:moveTo>
                <a:cubicBezTo>
                  <a:pt x="2853954" y="2351999"/>
                  <a:pt x="2821938" y="2320611"/>
                  <a:pt x="2821938" y="2281685"/>
                </a:cubicBezTo>
                <a:cubicBezTo>
                  <a:pt x="2821938" y="2242136"/>
                  <a:pt x="2853325" y="2210126"/>
                  <a:pt x="2892244" y="2210749"/>
                </a:cubicBezTo>
                <a:cubicBezTo>
                  <a:pt x="2931164" y="2210749"/>
                  <a:pt x="2963180" y="2242136"/>
                  <a:pt x="2963180" y="2281062"/>
                </a:cubicBezTo>
                <a:cubicBezTo>
                  <a:pt x="2963180" y="2319982"/>
                  <a:pt x="2931793" y="2351999"/>
                  <a:pt x="2892874" y="2351999"/>
                </a:cubicBezTo>
                <a:close/>
                <a:moveTo>
                  <a:pt x="142242" y="2373807"/>
                </a:moveTo>
                <a:cubicBezTo>
                  <a:pt x="105273" y="2373807"/>
                  <a:pt x="77523" y="2346103"/>
                  <a:pt x="77523" y="2309134"/>
                </a:cubicBezTo>
                <a:cubicBezTo>
                  <a:pt x="77523" y="2272165"/>
                  <a:pt x="105273" y="2244415"/>
                  <a:pt x="142242" y="2244415"/>
                </a:cubicBezTo>
                <a:cubicBezTo>
                  <a:pt x="179211" y="2244415"/>
                  <a:pt x="206915" y="2272165"/>
                  <a:pt x="206915" y="2309134"/>
                </a:cubicBezTo>
                <a:cubicBezTo>
                  <a:pt x="206915" y="2346103"/>
                  <a:pt x="179211" y="2373807"/>
                  <a:pt x="142242" y="2373807"/>
                </a:cubicBezTo>
                <a:close/>
                <a:moveTo>
                  <a:pt x="3239341" y="2417946"/>
                </a:moveTo>
                <a:cubicBezTo>
                  <a:pt x="3204206" y="2417946"/>
                  <a:pt x="3175444" y="2389199"/>
                  <a:pt x="3175444" y="2354046"/>
                </a:cubicBezTo>
                <a:cubicBezTo>
                  <a:pt x="3175444" y="2317291"/>
                  <a:pt x="3204206" y="2288544"/>
                  <a:pt x="3239341" y="2288544"/>
                </a:cubicBezTo>
                <a:cubicBezTo>
                  <a:pt x="3276094" y="2286943"/>
                  <a:pt x="3304856" y="2317291"/>
                  <a:pt x="3304856" y="2352444"/>
                </a:cubicBezTo>
                <a:cubicBezTo>
                  <a:pt x="3304856" y="2389199"/>
                  <a:pt x="3276094" y="2417946"/>
                  <a:pt x="3239341" y="2417946"/>
                </a:cubicBezTo>
                <a:close/>
                <a:moveTo>
                  <a:pt x="1546948" y="2425634"/>
                </a:moveTo>
                <a:cubicBezTo>
                  <a:pt x="1469112" y="2425634"/>
                  <a:pt x="1405710" y="2363484"/>
                  <a:pt x="1405710" y="2285648"/>
                </a:cubicBezTo>
                <a:cubicBezTo>
                  <a:pt x="1405081" y="2208435"/>
                  <a:pt x="1467853" y="2145039"/>
                  <a:pt x="1546319" y="2144410"/>
                </a:cubicBezTo>
                <a:cubicBezTo>
                  <a:pt x="1623533" y="2144410"/>
                  <a:pt x="1686928" y="2207182"/>
                  <a:pt x="1686928" y="2284396"/>
                </a:cubicBezTo>
                <a:cubicBezTo>
                  <a:pt x="1686928" y="2362232"/>
                  <a:pt x="1624785" y="2425634"/>
                  <a:pt x="1546948" y="2425634"/>
                </a:cubicBezTo>
                <a:close/>
                <a:moveTo>
                  <a:pt x="534410" y="2430227"/>
                </a:moveTo>
                <a:cubicBezTo>
                  <a:pt x="498648" y="2431281"/>
                  <a:pt x="469201" y="2401833"/>
                  <a:pt x="469201" y="2366070"/>
                </a:cubicBezTo>
                <a:cubicBezTo>
                  <a:pt x="469201" y="2330307"/>
                  <a:pt x="498648" y="2300859"/>
                  <a:pt x="533356" y="2299805"/>
                </a:cubicBezTo>
                <a:cubicBezTo>
                  <a:pt x="569119" y="2299805"/>
                  <a:pt x="598576" y="2329253"/>
                  <a:pt x="598576" y="2365016"/>
                </a:cubicBezTo>
                <a:cubicBezTo>
                  <a:pt x="599620" y="2400779"/>
                  <a:pt x="570173" y="2430227"/>
                  <a:pt x="534410" y="2430227"/>
                </a:cubicBezTo>
                <a:close/>
                <a:moveTo>
                  <a:pt x="1905614" y="2467574"/>
                </a:moveTo>
                <a:cubicBezTo>
                  <a:pt x="1842841" y="2467574"/>
                  <a:pt x="1791369" y="2416725"/>
                  <a:pt x="1791369" y="2353953"/>
                </a:cubicBezTo>
                <a:cubicBezTo>
                  <a:pt x="1791369" y="2291180"/>
                  <a:pt x="1842218" y="2240338"/>
                  <a:pt x="1904991" y="2239709"/>
                </a:cubicBezTo>
                <a:cubicBezTo>
                  <a:pt x="1967764" y="2239709"/>
                  <a:pt x="2019236" y="2290557"/>
                  <a:pt x="2019236" y="2353330"/>
                </a:cubicBezTo>
                <a:cubicBezTo>
                  <a:pt x="2019236" y="2416102"/>
                  <a:pt x="1968387" y="2467574"/>
                  <a:pt x="1905614" y="2467574"/>
                </a:cubicBezTo>
                <a:close/>
                <a:moveTo>
                  <a:pt x="3584069" y="2490261"/>
                </a:moveTo>
                <a:cubicBezTo>
                  <a:pt x="3547350" y="2490261"/>
                  <a:pt x="3516710" y="2459615"/>
                  <a:pt x="3516710" y="2422889"/>
                </a:cubicBezTo>
                <a:cubicBezTo>
                  <a:pt x="3516710" y="2386102"/>
                  <a:pt x="3541210" y="2355457"/>
                  <a:pt x="3584069" y="2361598"/>
                </a:cubicBezTo>
                <a:cubicBezTo>
                  <a:pt x="3620849" y="2355457"/>
                  <a:pt x="3651489" y="2386102"/>
                  <a:pt x="3651489" y="2422889"/>
                </a:cubicBezTo>
                <a:cubicBezTo>
                  <a:pt x="3651489" y="2459615"/>
                  <a:pt x="3620849" y="2490261"/>
                  <a:pt x="3584069" y="2490261"/>
                </a:cubicBezTo>
                <a:close/>
                <a:moveTo>
                  <a:pt x="908031" y="2511858"/>
                </a:moveTo>
                <a:cubicBezTo>
                  <a:pt x="861582" y="2512487"/>
                  <a:pt x="823917" y="2474822"/>
                  <a:pt x="823917" y="2428372"/>
                </a:cubicBezTo>
                <a:cubicBezTo>
                  <a:pt x="823917" y="2381294"/>
                  <a:pt x="861582" y="2343629"/>
                  <a:pt x="907402" y="2344258"/>
                </a:cubicBezTo>
                <a:cubicBezTo>
                  <a:pt x="953852" y="2343629"/>
                  <a:pt x="991517" y="2381294"/>
                  <a:pt x="991517" y="2427743"/>
                </a:cubicBezTo>
                <a:cubicBezTo>
                  <a:pt x="992146" y="2473569"/>
                  <a:pt x="954481" y="2511858"/>
                  <a:pt x="908031" y="2511858"/>
                </a:cubicBezTo>
                <a:close/>
                <a:moveTo>
                  <a:pt x="2257925" y="2532041"/>
                </a:moveTo>
                <a:cubicBezTo>
                  <a:pt x="2198293" y="2532041"/>
                  <a:pt x="2149332" y="2483709"/>
                  <a:pt x="2149332" y="2424070"/>
                </a:cubicBezTo>
                <a:cubicBezTo>
                  <a:pt x="2149332" y="2363815"/>
                  <a:pt x="2197670" y="2314848"/>
                  <a:pt x="2257303" y="2315477"/>
                </a:cubicBezTo>
                <a:cubicBezTo>
                  <a:pt x="2316935" y="2315477"/>
                  <a:pt x="2365896" y="2363815"/>
                  <a:pt x="2365896" y="2423447"/>
                </a:cubicBezTo>
                <a:cubicBezTo>
                  <a:pt x="2365896" y="2483080"/>
                  <a:pt x="2317564" y="2532041"/>
                  <a:pt x="2257925" y="2532041"/>
                </a:cubicBezTo>
                <a:close/>
                <a:moveTo>
                  <a:pt x="2605089" y="2593836"/>
                </a:moveTo>
                <a:cubicBezTo>
                  <a:pt x="2551101" y="2594465"/>
                  <a:pt x="2506532" y="2550525"/>
                  <a:pt x="2506532" y="2495907"/>
                </a:cubicBezTo>
                <a:cubicBezTo>
                  <a:pt x="2505903" y="2441295"/>
                  <a:pt x="2549849" y="2396726"/>
                  <a:pt x="2603831" y="2397355"/>
                </a:cubicBezTo>
                <a:cubicBezTo>
                  <a:pt x="2658442" y="2396726"/>
                  <a:pt x="2702382" y="2440672"/>
                  <a:pt x="2703011" y="2495284"/>
                </a:cubicBezTo>
                <a:cubicBezTo>
                  <a:pt x="2703011" y="2549266"/>
                  <a:pt x="2659071" y="2593836"/>
                  <a:pt x="2605089" y="2593836"/>
                </a:cubicBezTo>
                <a:close/>
                <a:moveTo>
                  <a:pt x="1270771" y="2636852"/>
                </a:moveTo>
                <a:cubicBezTo>
                  <a:pt x="1192929" y="2636852"/>
                  <a:pt x="1130156" y="2574702"/>
                  <a:pt x="1129533" y="2496866"/>
                </a:cubicBezTo>
                <a:cubicBezTo>
                  <a:pt x="1128904" y="2419659"/>
                  <a:pt x="1191677" y="2356257"/>
                  <a:pt x="1269513" y="2355628"/>
                </a:cubicBezTo>
                <a:cubicBezTo>
                  <a:pt x="1347356" y="2355628"/>
                  <a:pt x="1410128" y="2417771"/>
                  <a:pt x="1410751" y="2495614"/>
                </a:cubicBezTo>
                <a:cubicBezTo>
                  <a:pt x="1410751" y="2573450"/>
                  <a:pt x="1348608" y="2636852"/>
                  <a:pt x="1270771" y="2636852"/>
                </a:cubicBezTo>
                <a:close/>
                <a:moveTo>
                  <a:pt x="277313" y="2646417"/>
                </a:moveTo>
                <a:cubicBezTo>
                  <a:pt x="221885" y="2646417"/>
                  <a:pt x="203348" y="2609490"/>
                  <a:pt x="203348" y="2572380"/>
                </a:cubicBezTo>
                <a:cubicBezTo>
                  <a:pt x="203348" y="2535454"/>
                  <a:pt x="221885" y="2498344"/>
                  <a:pt x="277313" y="2498344"/>
                </a:cubicBezTo>
                <a:cubicBezTo>
                  <a:pt x="295850" y="2498344"/>
                  <a:pt x="332740" y="2535454"/>
                  <a:pt x="332740" y="2572380"/>
                </a:cubicBezTo>
                <a:cubicBezTo>
                  <a:pt x="332740" y="2609490"/>
                  <a:pt x="314387" y="2646417"/>
                  <a:pt x="277313" y="2646417"/>
                </a:cubicBezTo>
                <a:close/>
                <a:moveTo>
                  <a:pt x="2947403" y="2651462"/>
                </a:moveTo>
                <a:cubicBezTo>
                  <a:pt x="2902213" y="2651462"/>
                  <a:pt x="2864549" y="2614433"/>
                  <a:pt x="2864549" y="2568607"/>
                </a:cubicBezTo>
                <a:cubicBezTo>
                  <a:pt x="2864549" y="2522788"/>
                  <a:pt x="2901584" y="2485124"/>
                  <a:pt x="2946780" y="2485124"/>
                </a:cubicBezTo>
                <a:cubicBezTo>
                  <a:pt x="2992599" y="2485124"/>
                  <a:pt x="3030263" y="2522159"/>
                  <a:pt x="3030263" y="2567978"/>
                </a:cubicBezTo>
                <a:cubicBezTo>
                  <a:pt x="3030263" y="2613803"/>
                  <a:pt x="2993228" y="2651462"/>
                  <a:pt x="2947403" y="2651462"/>
                </a:cubicBezTo>
                <a:close/>
                <a:moveTo>
                  <a:pt x="633913" y="2703910"/>
                </a:moveTo>
                <a:cubicBezTo>
                  <a:pt x="598135" y="2703910"/>
                  <a:pt x="568630" y="2674405"/>
                  <a:pt x="568630" y="2638626"/>
                </a:cubicBezTo>
                <a:cubicBezTo>
                  <a:pt x="568630" y="2602218"/>
                  <a:pt x="597506" y="2573342"/>
                  <a:pt x="633913" y="2573342"/>
                </a:cubicBezTo>
                <a:cubicBezTo>
                  <a:pt x="669692" y="2573342"/>
                  <a:pt x="699197" y="2602847"/>
                  <a:pt x="699197" y="2638626"/>
                </a:cubicBezTo>
                <a:cubicBezTo>
                  <a:pt x="699197" y="2674405"/>
                  <a:pt x="669692" y="2703910"/>
                  <a:pt x="633913" y="2703910"/>
                </a:cubicBezTo>
                <a:close/>
                <a:moveTo>
                  <a:pt x="3287637" y="2706134"/>
                </a:moveTo>
                <a:cubicBezTo>
                  <a:pt x="3252019" y="2706134"/>
                  <a:pt x="3222340" y="2677645"/>
                  <a:pt x="3222340" y="2642027"/>
                </a:cubicBezTo>
                <a:cubicBezTo>
                  <a:pt x="3222340" y="2605219"/>
                  <a:pt x="3250829" y="2576730"/>
                  <a:pt x="3286447" y="2576730"/>
                </a:cubicBezTo>
                <a:cubicBezTo>
                  <a:pt x="3322064" y="2576730"/>
                  <a:pt x="3351744" y="2605219"/>
                  <a:pt x="3351744" y="2640837"/>
                </a:cubicBezTo>
                <a:cubicBezTo>
                  <a:pt x="3351744" y="2676455"/>
                  <a:pt x="3323254" y="2706134"/>
                  <a:pt x="3287637" y="2706134"/>
                </a:cubicBezTo>
                <a:close/>
                <a:moveTo>
                  <a:pt x="1623513" y="2706144"/>
                </a:moveTo>
                <a:cubicBezTo>
                  <a:pt x="1546303" y="2706773"/>
                  <a:pt x="1483529" y="2644628"/>
                  <a:pt x="1483529" y="2567419"/>
                </a:cubicBezTo>
                <a:cubicBezTo>
                  <a:pt x="1482900" y="2490834"/>
                  <a:pt x="1545045" y="2428060"/>
                  <a:pt x="1622260" y="2427431"/>
                </a:cubicBezTo>
                <a:cubicBezTo>
                  <a:pt x="1699470" y="2427431"/>
                  <a:pt x="1762244" y="2488946"/>
                  <a:pt x="1762244" y="2566161"/>
                </a:cubicBezTo>
                <a:cubicBezTo>
                  <a:pt x="1762873" y="2643370"/>
                  <a:pt x="1700728" y="2706144"/>
                  <a:pt x="1623513" y="2706144"/>
                </a:cubicBezTo>
                <a:close/>
                <a:moveTo>
                  <a:pt x="1969815" y="2759158"/>
                </a:moveTo>
                <a:cubicBezTo>
                  <a:pt x="1903274" y="2759787"/>
                  <a:pt x="1848663" y="2705799"/>
                  <a:pt x="1848663" y="2639263"/>
                </a:cubicBezTo>
                <a:cubicBezTo>
                  <a:pt x="1848663" y="2572721"/>
                  <a:pt x="1902645" y="2518738"/>
                  <a:pt x="1968557" y="2518109"/>
                </a:cubicBezTo>
                <a:cubicBezTo>
                  <a:pt x="2035098" y="2517480"/>
                  <a:pt x="2089709" y="2571468"/>
                  <a:pt x="2089709" y="2638004"/>
                </a:cubicBezTo>
                <a:cubicBezTo>
                  <a:pt x="2090338" y="2704547"/>
                  <a:pt x="2036350" y="2759158"/>
                  <a:pt x="1969815" y="2759158"/>
                </a:cubicBezTo>
                <a:close/>
                <a:moveTo>
                  <a:pt x="3623650" y="2779468"/>
                </a:moveTo>
                <a:cubicBezTo>
                  <a:pt x="3587248" y="2779468"/>
                  <a:pt x="3558954" y="2751174"/>
                  <a:pt x="3558954" y="2714772"/>
                </a:cubicBezTo>
                <a:cubicBezTo>
                  <a:pt x="3558954" y="2678371"/>
                  <a:pt x="3587248" y="2650076"/>
                  <a:pt x="3623650" y="2650076"/>
                </a:cubicBezTo>
                <a:cubicBezTo>
                  <a:pt x="3660052" y="2650076"/>
                  <a:pt x="3688346" y="2678371"/>
                  <a:pt x="3688346" y="2714772"/>
                </a:cubicBezTo>
                <a:cubicBezTo>
                  <a:pt x="3688346" y="2751174"/>
                  <a:pt x="3660052" y="2779468"/>
                  <a:pt x="3623650" y="2779468"/>
                </a:cubicBezTo>
                <a:close/>
                <a:moveTo>
                  <a:pt x="2311272" y="2825045"/>
                </a:moveTo>
                <a:cubicBezTo>
                  <a:pt x="2248499" y="2825045"/>
                  <a:pt x="2197027" y="2774196"/>
                  <a:pt x="2197027" y="2711423"/>
                </a:cubicBezTo>
                <a:cubicBezTo>
                  <a:pt x="2197027" y="2648650"/>
                  <a:pt x="2247876" y="2597178"/>
                  <a:pt x="2310649" y="2597178"/>
                </a:cubicBezTo>
                <a:cubicBezTo>
                  <a:pt x="2373422" y="2597178"/>
                  <a:pt x="2424894" y="2648027"/>
                  <a:pt x="2424894" y="2710800"/>
                </a:cubicBezTo>
                <a:cubicBezTo>
                  <a:pt x="2424894" y="2773573"/>
                  <a:pt x="2374045" y="2825045"/>
                  <a:pt x="2311272" y="2825045"/>
                </a:cubicBezTo>
                <a:close/>
                <a:moveTo>
                  <a:pt x="988573" y="2825307"/>
                </a:moveTo>
                <a:cubicBezTo>
                  <a:pt x="923919" y="2825936"/>
                  <a:pt x="871818" y="2773835"/>
                  <a:pt x="871818" y="2709804"/>
                </a:cubicBezTo>
                <a:cubicBezTo>
                  <a:pt x="871189" y="2645779"/>
                  <a:pt x="923290" y="2593678"/>
                  <a:pt x="987321" y="2593049"/>
                </a:cubicBezTo>
                <a:cubicBezTo>
                  <a:pt x="1051975" y="2592420"/>
                  <a:pt x="1104076" y="2644521"/>
                  <a:pt x="1104076" y="2708552"/>
                </a:cubicBezTo>
                <a:cubicBezTo>
                  <a:pt x="1104705" y="2772577"/>
                  <a:pt x="1052604" y="2825307"/>
                  <a:pt x="988573" y="2825307"/>
                </a:cubicBezTo>
                <a:close/>
                <a:moveTo>
                  <a:pt x="0" y="2845772"/>
                </a:moveTo>
                <a:lnTo>
                  <a:pt x="0" y="2721356"/>
                </a:lnTo>
                <a:lnTo>
                  <a:pt x="23444" y="2717609"/>
                </a:lnTo>
                <a:cubicBezTo>
                  <a:pt x="48507" y="2721785"/>
                  <a:pt x="68498" y="2748532"/>
                  <a:pt x="68498" y="2775179"/>
                </a:cubicBezTo>
                <a:cubicBezTo>
                  <a:pt x="68498" y="2801959"/>
                  <a:pt x="48507" y="2828639"/>
                  <a:pt x="23444" y="2840306"/>
                </a:cubicBezTo>
                <a:close/>
                <a:moveTo>
                  <a:pt x="2649495" y="2891271"/>
                </a:moveTo>
                <a:cubicBezTo>
                  <a:pt x="2589863" y="2891900"/>
                  <a:pt x="2541526" y="2844191"/>
                  <a:pt x="2541526" y="2784557"/>
                </a:cubicBezTo>
                <a:cubicBezTo>
                  <a:pt x="2541526" y="2724924"/>
                  <a:pt x="2589234" y="2676585"/>
                  <a:pt x="2648237" y="2677214"/>
                </a:cubicBezTo>
                <a:cubicBezTo>
                  <a:pt x="2707869" y="2676585"/>
                  <a:pt x="2756206" y="2724924"/>
                  <a:pt x="2756206" y="2783928"/>
                </a:cubicBezTo>
                <a:cubicBezTo>
                  <a:pt x="2756206" y="2842939"/>
                  <a:pt x="2708498" y="2891271"/>
                  <a:pt x="2649495" y="2891271"/>
                </a:cubicBezTo>
                <a:close/>
                <a:moveTo>
                  <a:pt x="352573" y="2917466"/>
                </a:moveTo>
                <a:cubicBezTo>
                  <a:pt x="317276" y="2917466"/>
                  <a:pt x="287875" y="2890014"/>
                  <a:pt x="287875" y="2852775"/>
                </a:cubicBezTo>
                <a:cubicBezTo>
                  <a:pt x="287875" y="2817483"/>
                  <a:pt x="317276" y="2788085"/>
                  <a:pt x="350608" y="2786120"/>
                </a:cubicBezTo>
                <a:cubicBezTo>
                  <a:pt x="387870" y="2786120"/>
                  <a:pt x="417271" y="2815518"/>
                  <a:pt x="417271" y="2850810"/>
                </a:cubicBezTo>
                <a:cubicBezTo>
                  <a:pt x="417271" y="2888068"/>
                  <a:pt x="389835" y="2917466"/>
                  <a:pt x="352573" y="2917466"/>
                </a:cubicBezTo>
                <a:close/>
                <a:moveTo>
                  <a:pt x="1334437" y="2924768"/>
                </a:moveTo>
                <a:cubicBezTo>
                  <a:pt x="1254718" y="2925397"/>
                  <a:pt x="1190063" y="2861366"/>
                  <a:pt x="1190063" y="2781647"/>
                </a:cubicBezTo>
                <a:cubicBezTo>
                  <a:pt x="1189434" y="2701922"/>
                  <a:pt x="1254089" y="2637890"/>
                  <a:pt x="1333184" y="2637267"/>
                </a:cubicBezTo>
                <a:cubicBezTo>
                  <a:pt x="1412909" y="2636638"/>
                  <a:pt x="1477564" y="2700664"/>
                  <a:pt x="1477564" y="2780389"/>
                </a:cubicBezTo>
                <a:cubicBezTo>
                  <a:pt x="1478193" y="2860113"/>
                  <a:pt x="1414162" y="2924768"/>
                  <a:pt x="1334437" y="2924768"/>
                </a:cubicBezTo>
                <a:close/>
                <a:moveTo>
                  <a:pt x="2983970" y="2941403"/>
                </a:moveTo>
                <a:cubicBezTo>
                  <a:pt x="2938780" y="2941403"/>
                  <a:pt x="2901116" y="2904374"/>
                  <a:pt x="2901116" y="2858549"/>
                </a:cubicBezTo>
                <a:cubicBezTo>
                  <a:pt x="2901116" y="2812730"/>
                  <a:pt x="2937522" y="2775694"/>
                  <a:pt x="2983347" y="2775065"/>
                </a:cubicBezTo>
                <a:cubicBezTo>
                  <a:pt x="3029166" y="2775065"/>
                  <a:pt x="3066830" y="2812100"/>
                  <a:pt x="3066830" y="2857920"/>
                </a:cubicBezTo>
                <a:cubicBezTo>
                  <a:pt x="3066830" y="2903745"/>
                  <a:pt x="3029795" y="2941403"/>
                  <a:pt x="2983970" y="2941403"/>
                </a:cubicBezTo>
                <a:close/>
                <a:moveTo>
                  <a:pt x="697583" y="2988118"/>
                </a:moveTo>
                <a:cubicBezTo>
                  <a:pt x="662435" y="2988118"/>
                  <a:pt x="632883" y="2959366"/>
                  <a:pt x="632883" y="2923425"/>
                </a:cubicBezTo>
                <a:cubicBezTo>
                  <a:pt x="632883" y="2887475"/>
                  <a:pt x="661634" y="2857922"/>
                  <a:pt x="697583" y="2858723"/>
                </a:cubicBezTo>
                <a:cubicBezTo>
                  <a:pt x="733524" y="2858723"/>
                  <a:pt x="762275" y="2887475"/>
                  <a:pt x="762275" y="2923425"/>
                </a:cubicBezTo>
                <a:cubicBezTo>
                  <a:pt x="762275" y="2958566"/>
                  <a:pt x="733524" y="2988118"/>
                  <a:pt x="697583" y="2988118"/>
                </a:cubicBezTo>
                <a:close/>
                <a:moveTo>
                  <a:pt x="1674708" y="2993502"/>
                </a:moveTo>
                <a:cubicBezTo>
                  <a:pt x="1597498" y="2994131"/>
                  <a:pt x="1535347" y="2931986"/>
                  <a:pt x="1534724" y="2854771"/>
                </a:cubicBezTo>
                <a:cubicBezTo>
                  <a:pt x="1534095" y="2777562"/>
                  <a:pt x="1596240" y="2715417"/>
                  <a:pt x="1673455" y="2714787"/>
                </a:cubicBezTo>
                <a:cubicBezTo>
                  <a:pt x="1750665" y="2714158"/>
                  <a:pt x="1812816" y="2776303"/>
                  <a:pt x="1813439" y="2853519"/>
                </a:cubicBezTo>
                <a:cubicBezTo>
                  <a:pt x="1814068" y="2930728"/>
                  <a:pt x="1751923" y="2993502"/>
                  <a:pt x="1674708" y="2993502"/>
                </a:cubicBezTo>
                <a:close/>
                <a:moveTo>
                  <a:pt x="3316804" y="2997210"/>
                </a:moveTo>
                <a:cubicBezTo>
                  <a:pt x="3281043" y="2997210"/>
                  <a:pt x="3251597" y="2967765"/>
                  <a:pt x="3251597" y="2932006"/>
                </a:cubicBezTo>
                <a:cubicBezTo>
                  <a:pt x="3251597" y="2896246"/>
                  <a:pt x="3281043" y="2867855"/>
                  <a:pt x="3315750" y="2866801"/>
                </a:cubicBezTo>
                <a:cubicBezTo>
                  <a:pt x="3351512" y="2866801"/>
                  <a:pt x="3380958" y="2896246"/>
                  <a:pt x="3380958" y="2932006"/>
                </a:cubicBezTo>
                <a:cubicBezTo>
                  <a:pt x="3382012" y="2967765"/>
                  <a:pt x="3352566" y="2997210"/>
                  <a:pt x="3316804" y="2997210"/>
                </a:cubicBezTo>
                <a:close/>
                <a:moveTo>
                  <a:pt x="2010151" y="3054611"/>
                </a:moveTo>
                <a:cubicBezTo>
                  <a:pt x="1940474" y="3054611"/>
                  <a:pt x="1883351" y="2998111"/>
                  <a:pt x="1882722" y="2927806"/>
                </a:cubicBezTo>
                <a:cubicBezTo>
                  <a:pt x="1882722" y="2857500"/>
                  <a:pt x="1939216" y="2800377"/>
                  <a:pt x="2009528" y="2800377"/>
                </a:cubicBezTo>
                <a:cubicBezTo>
                  <a:pt x="2079833" y="2800377"/>
                  <a:pt x="2136956" y="2856871"/>
                  <a:pt x="2136956" y="2927183"/>
                </a:cubicBezTo>
                <a:cubicBezTo>
                  <a:pt x="2136956" y="2997488"/>
                  <a:pt x="2080456" y="3054611"/>
                  <a:pt x="2010151" y="3054611"/>
                </a:cubicBezTo>
                <a:close/>
                <a:moveTo>
                  <a:pt x="3646879" y="3070693"/>
                </a:moveTo>
                <a:cubicBezTo>
                  <a:pt x="3610477" y="3070693"/>
                  <a:pt x="3582183" y="3042399"/>
                  <a:pt x="3582183" y="3005997"/>
                </a:cubicBezTo>
                <a:cubicBezTo>
                  <a:pt x="3582183" y="2969596"/>
                  <a:pt x="3610477" y="2941301"/>
                  <a:pt x="3646879" y="2941301"/>
                </a:cubicBezTo>
                <a:cubicBezTo>
                  <a:pt x="3683281" y="2941301"/>
                  <a:pt x="3711575" y="2969596"/>
                  <a:pt x="3711575" y="3005997"/>
                </a:cubicBezTo>
                <a:cubicBezTo>
                  <a:pt x="3711575" y="3042399"/>
                  <a:pt x="3683281" y="3070693"/>
                  <a:pt x="3646879" y="3070693"/>
                </a:cubicBezTo>
                <a:close/>
                <a:moveTo>
                  <a:pt x="1035794" y="3104210"/>
                </a:moveTo>
                <a:cubicBezTo>
                  <a:pt x="976790" y="3104839"/>
                  <a:pt x="928452" y="3056500"/>
                  <a:pt x="928452" y="2997494"/>
                </a:cubicBezTo>
                <a:cubicBezTo>
                  <a:pt x="928452" y="2938489"/>
                  <a:pt x="976161" y="2890149"/>
                  <a:pt x="1034542" y="2890149"/>
                </a:cubicBezTo>
                <a:cubicBezTo>
                  <a:pt x="1094175" y="2889520"/>
                  <a:pt x="1142507" y="2937860"/>
                  <a:pt x="1142507" y="2996865"/>
                </a:cubicBezTo>
                <a:cubicBezTo>
                  <a:pt x="1143136" y="3055877"/>
                  <a:pt x="1094798" y="3104210"/>
                  <a:pt x="1035794" y="3104210"/>
                </a:cubicBezTo>
                <a:close/>
                <a:moveTo>
                  <a:pt x="2343103" y="3121058"/>
                </a:moveTo>
                <a:cubicBezTo>
                  <a:pt x="2277189" y="3121058"/>
                  <a:pt x="2223206" y="3067712"/>
                  <a:pt x="2223206" y="3001798"/>
                </a:cubicBezTo>
                <a:cubicBezTo>
                  <a:pt x="2223206" y="2935884"/>
                  <a:pt x="2276566" y="2882530"/>
                  <a:pt x="2342474" y="2881901"/>
                </a:cubicBezTo>
                <a:cubicBezTo>
                  <a:pt x="2408388" y="2881901"/>
                  <a:pt x="2462377" y="2935261"/>
                  <a:pt x="2462377" y="3001175"/>
                </a:cubicBezTo>
                <a:cubicBezTo>
                  <a:pt x="2462377" y="3067083"/>
                  <a:pt x="2409017" y="3121058"/>
                  <a:pt x="2343103" y="3121058"/>
                </a:cubicBezTo>
                <a:close/>
                <a:moveTo>
                  <a:pt x="72292" y="3142886"/>
                </a:moveTo>
                <a:cubicBezTo>
                  <a:pt x="43715" y="3142886"/>
                  <a:pt x="15139" y="3121454"/>
                  <a:pt x="2637" y="3094653"/>
                </a:cubicBezTo>
                <a:lnTo>
                  <a:pt x="0" y="3083381"/>
                </a:lnTo>
                <a:lnTo>
                  <a:pt x="0" y="3048404"/>
                </a:lnTo>
                <a:lnTo>
                  <a:pt x="2041" y="3038877"/>
                </a:lnTo>
                <a:cubicBezTo>
                  <a:pt x="12757" y="3012229"/>
                  <a:pt x="34190" y="2990783"/>
                  <a:pt x="34190" y="2990783"/>
                </a:cubicBezTo>
                <a:cubicBezTo>
                  <a:pt x="72292" y="2990783"/>
                  <a:pt x="110017" y="3028909"/>
                  <a:pt x="110017" y="3066658"/>
                </a:cubicBezTo>
                <a:cubicBezTo>
                  <a:pt x="148119" y="3104784"/>
                  <a:pt x="110017" y="3142886"/>
                  <a:pt x="72292" y="3142886"/>
                </a:cubicBezTo>
                <a:close/>
                <a:moveTo>
                  <a:pt x="2673484" y="3189399"/>
                </a:moveTo>
                <a:cubicBezTo>
                  <a:pt x="2610711" y="3189399"/>
                  <a:pt x="2559239" y="3138551"/>
                  <a:pt x="2559239" y="3075791"/>
                </a:cubicBezTo>
                <a:cubicBezTo>
                  <a:pt x="2558610" y="3013019"/>
                  <a:pt x="2610082" y="2961547"/>
                  <a:pt x="2672861" y="2961547"/>
                </a:cubicBezTo>
                <a:cubicBezTo>
                  <a:pt x="2735634" y="2961547"/>
                  <a:pt x="2786477" y="3012396"/>
                  <a:pt x="2787106" y="3075168"/>
                </a:cubicBezTo>
                <a:cubicBezTo>
                  <a:pt x="2787106" y="3137929"/>
                  <a:pt x="2736257" y="3189399"/>
                  <a:pt x="2673484" y="3189399"/>
                </a:cubicBezTo>
                <a:close/>
                <a:moveTo>
                  <a:pt x="395180" y="3204915"/>
                </a:moveTo>
                <a:cubicBezTo>
                  <a:pt x="361296" y="3204915"/>
                  <a:pt x="330469" y="3177181"/>
                  <a:pt x="330469" y="3140213"/>
                </a:cubicBezTo>
                <a:cubicBezTo>
                  <a:pt x="330469" y="3103257"/>
                  <a:pt x="361296" y="3075519"/>
                  <a:pt x="395180" y="3075519"/>
                </a:cubicBezTo>
                <a:cubicBezTo>
                  <a:pt x="432154" y="3075519"/>
                  <a:pt x="459892" y="3103257"/>
                  <a:pt x="459892" y="3140213"/>
                </a:cubicBezTo>
                <a:cubicBezTo>
                  <a:pt x="459892" y="3177181"/>
                  <a:pt x="432154" y="3204915"/>
                  <a:pt x="395180" y="3204915"/>
                </a:cubicBezTo>
                <a:close/>
                <a:moveTo>
                  <a:pt x="1369184" y="3216661"/>
                </a:moveTo>
                <a:cubicBezTo>
                  <a:pt x="1288839" y="3216661"/>
                  <a:pt x="1222928" y="3151377"/>
                  <a:pt x="1222928" y="3071054"/>
                </a:cubicBezTo>
                <a:cubicBezTo>
                  <a:pt x="1222928" y="2990708"/>
                  <a:pt x="1288210" y="2924797"/>
                  <a:pt x="1368555" y="2924797"/>
                </a:cubicBezTo>
                <a:cubicBezTo>
                  <a:pt x="1448906" y="2924797"/>
                  <a:pt x="1514811" y="2989450"/>
                  <a:pt x="1514811" y="3070425"/>
                </a:cubicBezTo>
                <a:cubicBezTo>
                  <a:pt x="1514811" y="3150753"/>
                  <a:pt x="1450159" y="3216661"/>
                  <a:pt x="1369184" y="3216661"/>
                </a:cubicBezTo>
                <a:close/>
                <a:moveTo>
                  <a:pt x="3001708" y="3240171"/>
                </a:moveTo>
                <a:cubicBezTo>
                  <a:pt x="2951489" y="3240171"/>
                  <a:pt x="2910689" y="3199994"/>
                  <a:pt x="2910689" y="3149775"/>
                </a:cubicBezTo>
                <a:cubicBezTo>
                  <a:pt x="2910689" y="3099563"/>
                  <a:pt x="2950866" y="3058763"/>
                  <a:pt x="3001079" y="3058763"/>
                </a:cubicBezTo>
                <a:cubicBezTo>
                  <a:pt x="3051298" y="3058763"/>
                  <a:pt x="3092104" y="3098940"/>
                  <a:pt x="3092104" y="3149152"/>
                </a:cubicBezTo>
                <a:cubicBezTo>
                  <a:pt x="3092104" y="3199365"/>
                  <a:pt x="3051927" y="3240171"/>
                  <a:pt x="3001708" y="3240171"/>
                </a:cubicBezTo>
                <a:close/>
                <a:moveTo>
                  <a:pt x="725348" y="3278863"/>
                </a:moveTo>
                <a:cubicBezTo>
                  <a:pt x="689399" y="3278863"/>
                  <a:pt x="659746" y="3250122"/>
                  <a:pt x="659746" y="3214185"/>
                </a:cubicBezTo>
                <a:cubicBezTo>
                  <a:pt x="659746" y="3178238"/>
                  <a:pt x="688498" y="3149489"/>
                  <a:pt x="724447" y="3149489"/>
                </a:cubicBezTo>
                <a:cubicBezTo>
                  <a:pt x="760387" y="3149489"/>
                  <a:pt x="790040" y="3178238"/>
                  <a:pt x="790040" y="3214185"/>
                </a:cubicBezTo>
                <a:cubicBezTo>
                  <a:pt x="790040" y="3249221"/>
                  <a:pt x="761288" y="3278863"/>
                  <a:pt x="725348" y="3278863"/>
                </a:cubicBezTo>
                <a:close/>
                <a:moveTo>
                  <a:pt x="3328550" y="3288358"/>
                </a:moveTo>
                <a:cubicBezTo>
                  <a:pt x="3292957" y="3288358"/>
                  <a:pt x="3263849" y="3259259"/>
                  <a:pt x="3263849" y="3223676"/>
                </a:cubicBezTo>
                <a:cubicBezTo>
                  <a:pt x="3263849" y="3188094"/>
                  <a:pt x="3292957" y="3158975"/>
                  <a:pt x="3328550" y="3158975"/>
                </a:cubicBezTo>
                <a:cubicBezTo>
                  <a:pt x="3364133" y="3158975"/>
                  <a:pt x="3393241" y="3188094"/>
                  <a:pt x="3393241" y="3223676"/>
                </a:cubicBezTo>
                <a:cubicBezTo>
                  <a:pt x="3393241" y="3259259"/>
                  <a:pt x="3364133" y="3288358"/>
                  <a:pt x="3328550" y="3288358"/>
                </a:cubicBezTo>
                <a:close/>
                <a:moveTo>
                  <a:pt x="2026923" y="3351864"/>
                </a:moveTo>
                <a:cubicBezTo>
                  <a:pt x="1954108" y="3351864"/>
                  <a:pt x="1894475" y="3292855"/>
                  <a:pt x="1893846" y="3219449"/>
                </a:cubicBezTo>
                <a:cubicBezTo>
                  <a:pt x="1893846" y="3146636"/>
                  <a:pt x="1952849" y="3087023"/>
                  <a:pt x="2026294" y="3086394"/>
                </a:cubicBezTo>
                <a:cubicBezTo>
                  <a:pt x="2099115" y="3086394"/>
                  <a:pt x="2159377" y="3145377"/>
                  <a:pt x="2159377" y="3218819"/>
                </a:cubicBezTo>
                <a:cubicBezTo>
                  <a:pt x="2159377" y="3292228"/>
                  <a:pt x="2100368" y="3351864"/>
                  <a:pt x="2026923" y="3351864"/>
                </a:cubicBezTo>
                <a:close/>
                <a:moveTo>
                  <a:pt x="3654191" y="3362788"/>
                </a:moveTo>
                <a:cubicBezTo>
                  <a:pt x="3617789" y="3362788"/>
                  <a:pt x="3589495" y="3334494"/>
                  <a:pt x="3589495" y="3298092"/>
                </a:cubicBezTo>
                <a:cubicBezTo>
                  <a:pt x="3589495" y="3265744"/>
                  <a:pt x="3617789" y="3233396"/>
                  <a:pt x="3654191" y="3233396"/>
                </a:cubicBezTo>
                <a:cubicBezTo>
                  <a:pt x="3690593" y="3233396"/>
                  <a:pt x="3718887" y="3261691"/>
                  <a:pt x="3718887" y="3298092"/>
                </a:cubicBezTo>
                <a:cubicBezTo>
                  <a:pt x="3718887" y="3334494"/>
                  <a:pt x="3690593" y="3362788"/>
                  <a:pt x="3654191" y="3362788"/>
                </a:cubicBezTo>
                <a:close/>
                <a:moveTo>
                  <a:pt x="1051281" y="3392217"/>
                </a:moveTo>
                <a:cubicBezTo>
                  <a:pt x="994159" y="3392843"/>
                  <a:pt x="947080" y="3346393"/>
                  <a:pt x="947080" y="3288654"/>
                </a:cubicBezTo>
                <a:cubicBezTo>
                  <a:pt x="947080" y="3230940"/>
                  <a:pt x="993530" y="3184495"/>
                  <a:pt x="1050652" y="3184495"/>
                </a:cubicBezTo>
                <a:cubicBezTo>
                  <a:pt x="1107780" y="3184495"/>
                  <a:pt x="1154859" y="3230318"/>
                  <a:pt x="1154859" y="3288026"/>
                </a:cubicBezTo>
                <a:cubicBezTo>
                  <a:pt x="1154859" y="3345148"/>
                  <a:pt x="1108403" y="3392217"/>
                  <a:pt x="1051281" y="3392217"/>
                </a:cubicBezTo>
                <a:close/>
                <a:moveTo>
                  <a:pt x="2353099" y="3417066"/>
                </a:moveTo>
                <a:cubicBezTo>
                  <a:pt x="2284675" y="3417066"/>
                  <a:pt x="2228804" y="3361827"/>
                  <a:pt x="2228804" y="3293408"/>
                </a:cubicBezTo>
                <a:cubicBezTo>
                  <a:pt x="2228804" y="3225018"/>
                  <a:pt x="2284046" y="3169149"/>
                  <a:pt x="2351841" y="3169149"/>
                </a:cubicBezTo>
                <a:cubicBezTo>
                  <a:pt x="2420265" y="3169149"/>
                  <a:pt x="2476130" y="3224388"/>
                  <a:pt x="2476130" y="3292781"/>
                </a:cubicBezTo>
                <a:cubicBezTo>
                  <a:pt x="2476759" y="3361204"/>
                  <a:pt x="2421517" y="3417066"/>
                  <a:pt x="2353099" y="3417066"/>
                </a:cubicBezTo>
                <a:close/>
                <a:moveTo>
                  <a:pt x="2677885" y="3484158"/>
                </a:moveTo>
                <a:cubicBezTo>
                  <a:pt x="2612600" y="3484158"/>
                  <a:pt x="2559868" y="3432063"/>
                  <a:pt x="2559868" y="3367413"/>
                </a:cubicBezTo>
                <a:cubicBezTo>
                  <a:pt x="2559239" y="3302131"/>
                  <a:pt x="2611970" y="3249427"/>
                  <a:pt x="2677255" y="3250056"/>
                </a:cubicBezTo>
                <a:cubicBezTo>
                  <a:pt x="2741911" y="3249427"/>
                  <a:pt x="2794643" y="3302131"/>
                  <a:pt x="2794643" y="3366783"/>
                </a:cubicBezTo>
                <a:cubicBezTo>
                  <a:pt x="2795272" y="3431439"/>
                  <a:pt x="2742541" y="3484158"/>
                  <a:pt x="2677885" y="3484158"/>
                </a:cubicBezTo>
                <a:close/>
                <a:moveTo>
                  <a:pt x="394316" y="3496489"/>
                </a:moveTo>
                <a:cubicBezTo>
                  <a:pt x="358356" y="3496489"/>
                  <a:pt x="329602" y="3467728"/>
                  <a:pt x="329602" y="3431820"/>
                </a:cubicBezTo>
                <a:cubicBezTo>
                  <a:pt x="329602" y="3395858"/>
                  <a:pt x="358356" y="3367113"/>
                  <a:pt x="394316" y="3367113"/>
                </a:cubicBezTo>
                <a:cubicBezTo>
                  <a:pt x="430240" y="3367113"/>
                  <a:pt x="458994" y="3395858"/>
                  <a:pt x="458994" y="3431820"/>
                </a:cubicBezTo>
                <a:cubicBezTo>
                  <a:pt x="458994" y="3467728"/>
                  <a:pt x="430240" y="3496489"/>
                  <a:pt x="394316" y="3496489"/>
                </a:cubicBezTo>
                <a:close/>
                <a:moveTo>
                  <a:pt x="1375639" y="3508269"/>
                </a:moveTo>
                <a:cubicBezTo>
                  <a:pt x="1295290" y="3508269"/>
                  <a:pt x="1229376" y="3442981"/>
                  <a:pt x="1229376" y="3362645"/>
                </a:cubicBezTo>
                <a:cubicBezTo>
                  <a:pt x="1228747" y="3281688"/>
                  <a:pt x="1294032" y="3216432"/>
                  <a:pt x="1374380" y="3216432"/>
                </a:cubicBezTo>
                <a:cubicBezTo>
                  <a:pt x="1455364" y="3216432"/>
                  <a:pt x="1520649" y="3281688"/>
                  <a:pt x="1521272" y="3362017"/>
                </a:cubicBezTo>
                <a:cubicBezTo>
                  <a:pt x="1521272" y="3442363"/>
                  <a:pt x="1455987" y="3507638"/>
                  <a:pt x="1375639" y="3508269"/>
                </a:cubicBezTo>
                <a:close/>
                <a:moveTo>
                  <a:pt x="3000847" y="3532223"/>
                </a:moveTo>
                <a:cubicBezTo>
                  <a:pt x="2950628" y="3532223"/>
                  <a:pt x="2909828" y="3492047"/>
                  <a:pt x="2909828" y="3441837"/>
                </a:cubicBezTo>
                <a:cubicBezTo>
                  <a:pt x="2909828" y="3391622"/>
                  <a:pt x="2950005" y="3350824"/>
                  <a:pt x="3000224" y="3350824"/>
                </a:cubicBezTo>
                <a:cubicBezTo>
                  <a:pt x="3050437" y="3350824"/>
                  <a:pt x="3091243" y="3390996"/>
                  <a:pt x="3091243" y="3441215"/>
                </a:cubicBezTo>
                <a:cubicBezTo>
                  <a:pt x="3091243" y="3491420"/>
                  <a:pt x="3051066" y="3532223"/>
                  <a:pt x="3000847" y="3532223"/>
                </a:cubicBezTo>
                <a:close/>
                <a:moveTo>
                  <a:pt x="714591" y="3570467"/>
                </a:moveTo>
                <a:cubicBezTo>
                  <a:pt x="678642" y="3570467"/>
                  <a:pt x="648989" y="3541716"/>
                  <a:pt x="648989" y="3505777"/>
                </a:cubicBezTo>
                <a:cubicBezTo>
                  <a:pt x="648989" y="3469831"/>
                  <a:pt x="678642" y="3441087"/>
                  <a:pt x="714591" y="3441087"/>
                </a:cubicBezTo>
                <a:cubicBezTo>
                  <a:pt x="749630" y="3441087"/>
                  <a:pt x="779283" y="3469831"/>
                  <a:pt x="779283" y="3505777"/>
                </a:cubicBezTo>
                <a:cubicBezTo>
                  <a:pt x="779283" y="3540817"/>
                  <a:pt x="750531" y="3570467"/>
                  <a:pt x="714591" y="3570467"/>
                </a:cubicBezTo>
                <a:close/>
                <a:moveTo>
                  <a:pt x="3322958" y="3580434"/>
                </a:moveTo>
                <a:cubicBezTo>
                  <a:pt x="3287376" y="3580434"/>
                  <a:pt x="3258257" y="3551325"/>
                  <a:pt x="3258257" y="3515742"/>
                </a:cubicBezTo>
                <a:cubicBezTo>
                  <a:pt x="3258257" y="3480151"/>
                  <a:pt x="3287376" y="3451046"/>
                  <a:pt x="3322958" y="3451046"/>
                </a:cubicBezTo>
                <a:cubicBezTo>
                  <a:pt x="3358541" y="3451046"/>
                  <a:pt x="3387649" y="3480151"/>
                  <a:pt x="3387649" y="3515742"/>
                </a:cubicBezTo>
                <a:cubicBezTo>
                  <a:pt x="3387649" y="3551325"/>
                  <a:pt x="3358541" y="3580434"/>
                  <a:pt x="3322958" y="3580434"/>
                </a:cubicBezTo>
                <a:close/>
                <a:moveTo>
                  <a:pt x="2020040" y="3643497"/>
                </a:moveTo>
                <a:cubicBezTo>
                  <a:pt x="1947225" y="3643497"/>
                  <a:pt x="1886963" y="3584489"/>
                  <a:pt x="1886963" y="3511048"/>
                </a:cubicBezTo>
                <a:cubicBezTo>
                  <a:pt x="1886334" y="3437616"/>
                  <a:pt x="1945967" y="3377990"/>
                  <a:pt x="2019411" y="3377990"/>
                </a:cubicBezTo>
                <a:cubicBezTo>
                  <a:pt x="2092226" y="3377990"/>
                  <a:pt x="2152488" y="3436988"/>
                  <a:pt x="2152488" y="3510419"/>
                </a:cubicBezTo>
                <a:cubicBezTo>
                  <a:pt x="2152488" y="3583859"/>
                  <a:pt x="2093485" y="3643497"/>
                  <a:pt x="2020040" y="3643497"/>
                </a:cubicBezTo>
                <a:close/>
                <a:moveTo>
                  <a:pt x="3644749" y="3654438"/>
                </a:moveTo>
                <a:cubicBezTo>
                  <a:pt x="3607780" y="3654438"/>
                  <a:pt x="3580030" y="3626735"/>
                  <a:pt x="3580030" y="3589766"/>
                </a:cubicBezTo>
                <a:cubicBezTo>
                  <a:pt x="3580030" y="3552796"/>
                  <a:pt x="3607780" y="3525047"/>
                  <a:pt x="3644749" y="3525047"/>
                </a:cubicBezTo>
                <a:cubicBezTo>
                  <a:pt x="3681718" y="3525047"/>
                  <a:pt x="3709422" y="3552796"/>
                  <a:pt x="3709422" y="3589766"/>
                </a:cubicBezTo>
                <a:cubicBezTo>
                  <a:pt x="3709422" y="3626735"/>
                  <a:pt x="3681718" y="3654438"/>
                  <a:pt x="3644749" y="3654438"/>
                </a:cubicBezTo>
                <a:close/>
                <a:moveTo>
                  <a:pt x="1034172" y="3687006"/>
                </a:moveTo>
                <a:cubicBezTo>
                  <a:pt x="974540" y="3687643"/>
                  <a:pt x="926203" y="3639302"/>
                  <a:pt x="926203" y="3580296"/>
                </a:cubicBezTo>
                <a:cubicBezTo>
                  <a:pt x="926203" y="3521294"/>
                  <a:pt x="973911" y="3472953"/>
                  <a:pt x="1033543" y="3472953"/>
                </a:cubicBezTo>
                <a:cubicBezTo>
                  <a:pt x="1092552" y="3472327"/>
                  <a:pt x="1140883" y="3520663"/>
                  <a:pt x="1140883" y="3579662"/>
                </a:cubicBezTo>
                <a:cubicBezTo>
                  <a:pt x="1141512" y="3638671"/>
                  <a:pt x="1093175" y="3687006"/>
                  <a:pt x="1034172" y="3687006"/>
                </a:cubicBezTo>
                <a:close/>
                <a:moveTo>
                  <a:pt x="32953" y="3711701"/>
                </a:moveTo>
                <a:cubicBezTo>
                  <a:pt x="24906" y="3711701"/>
                  <a:pt x="16839" y="3709670"/>
                  <a:pt x="9265" y="3706116"/>
                </a:cubicBezTo>
                <a:lnTo>
                  <a:pt x="0" y="3699536"/>
                </a:lnTo>
                <a:lnTo>
                  <a:pt x="0" y="3607217"/>
                </a:lnTo>
                <a:lnTo>
                  <a:pt x="9265" y="3601332"/>
                </a:lnTo>
                <a:cubicBezTo>
                  <a:pt x="16839" y="3596260"/>
                  <a:pt x="24906" y="3590167"/>
                  <a:pt x="32953" y="3582043"/>
                </a:cubicBezTo>
                <a:cubicBezTo>
                  <a:pt x="65462" y="3582043"/>
                  <a:pt x="97971" y="3614539"/>
                  <a:pt x="97971" y="3646713"/>
                </a:cubicBezTo>
                <a:cubicBezTo>
                  <a:pt x="97971" y="3679208"/>
                  <a:pt x="65462" y="3711701"/>
                  <a:pt x="32953" y="3711701"/>
                </a:cubicBezTo>
                <a:close/>
                <a:moveTo>
                  <a:pt x="2341049" y="3714268"/>
                </a:moveTo>
                <a:cubicBezTo>
                  <a:pt x="2269492" y="3714895"/>
                  <a:pt x="2211111" y="3657145"/>
                  <a:pt x="2211111" y="3585578"/>
                </a:cubicBezTo>
                <a:cubicBezTo>
                  <a:pt x="2211111" y="3514022"/>
                  <a:pt x="2268863" y="3455647"/>
                  <a:pt x="2339797" y="3455647"/>
                </a:cubicBezTo>
                <a:cubicBezTo>
                  <a:pt x="2411360" y="3455015"/>
                  <a:pt x="2469735" y="3512764"/>
                  <a:pt x="2469735" y="3584331"/>
                </a:cubicBezTo>
                <a:cubicBezTo>
                  <a:pt x="2470364" y="3655886"/>
                  <a:pt x="2412612" y="3714268"/>
                  <a:pt x="2341049" y="3714268"/>
                </a:cubicBezTo>
                <a:close/>
                <a:moveTo>
                  <a:pt x="2661441" y="3778326"/>
                </a:moveTo>
                <a:cubicBezTo>
                  <a:pt x="2595527" y="3778326"/>
                  <a:pt x="2541544" y="3724966"/>
                  <a:pt x="2541544" y="3659051"/>
                </a:cubicBezTo>
                <a:cubicBezTo>
                  <a:pt x="2540915" y="3593139"/>
                  <a:pt x="2594275" y="3539155"/>
                  <a:pt x="2660812" y="3539155"/>
                </a:cubicBezTo>
                <a:cubicBezTo>
                  <a:pt x="2726726" y="3539155"/>
                  <a:pt x="2780715" y="3592517"/>
                  <a:pt x="2780715" y="3658422"/>
                </a:cubicBezTo>
                <a:cubicBezTo>
                  <a:pt x="2780715" y="3724341"/>
                  <a:pt x="2727355" y="3778326"/>
                  <a:pt x="2661441" y="3778326"/>
                </a:cubicBezTo>
                <a:close/>
                <a:moveTo>
                  <a:pt x="351445" y="3785371"/>
                </a:moveTo>
                <a:cubicBezTo>
                  <a:pt x="314956" y="3785371"/>
                  <a:pt x="285086" y="3758828"/>
                  <a:pt x="285086" y="3722311"/>
                </a:cubicBezTo>
                <a:cubicBezTo>
                  <a:pt x="285086" y="3689147"/>
                  <a:pt x="314956" y="3659278"/>
                  <a:pt x="348119" y="3655949"/>
                </a:cubicBezTo>
                <a:cubicBezTo>
                  <a:pt x="384641" y="3655949"/>
                  <a:pt x="414511" y="3682495"/>
                  <a:pt x="414511" y="3718986"/>
                </a:cubicBezTo>
                <a:cubicBezTo>
                  <a:pt x="414511" y="3755505"/>
                  <a:pt x="387967" y="3785371"/>
                  <a:pt x="351445" y="3785371"/>
                </a:cubicBezTo>
                <a:close/>
                <a:moveTo>
                  <a:pt x="2981063" y="3821052"/>
                </a:moveTo>
                <a:cubicBezTo>
                  <a:pt x="2932103" y="3821052"/>
                  <a:pt x="2891927" y="3781502"/>
                  <a:pt x="2891927" y="3732534"/>
                </a:cubicBezTo>
                <a:cubicBezTo>
                  <a:pt x="2891927" y="3683572"/>
                  <a:pt x="2931474" y="3643394"/>
                  <a:pt x="2980433" y="3644024"/>
                </a:cubicBezTo>
                <a:cubicBezTo>
                  <a:pt x="3029399" y="3643394"/>
                  <a:pt x="3069569" y="3682943"/>
                  <a:pt x="3069569" y="3731912"/>
                </a:cubicBezTo>
                <a:cubicBezTo>
                  <a:pt x="3069569" y="3780871"/>
                  <a:pt x="3030022" y="3821052"/>
                  <a:pt x="2981063" y="3821052"/>
                </a:cubicBezTo>
                <a:close/>
                <a:moveTo>
                  <a:pt x="667240" y="3858914"/>
                </a:moveTo>
                <a:cubicBezTo>
                  <a:pt x="631347" y="3858914"/>
                  <a:pt x="602125" y="3830525"/>
                  <a:pt x="602125" y="3794628"/>
                </a:cubicBezTo>
                <a:cubicBezTo>
                  <a:pt x="601288" y="3759568"/>
                  <a:pt x="630511" y="3730356"/>
                  <a:pt x="666412" y="3729515"/>
                </a:cubicBezTo>
                <a:cubicBezTo>
                  <a:pt x="702304" y="3729515"/>
                  <a:pt x="731527" y="3757902"/>
                  <a:pt x="731527" y="3793801"/>
                </a:cubicBezTo>
                <a:cubicBezTo>
                  <a:pt x="731527" y="3829693"/>
                  <a:pt x="703141" y="3858914"/>
                  <a:pt x="667240" y="3858914"/>
                </a:cubicBezTo>
                <a:close/>
                <a:moveTo>
                  <a:pt x="3300526" y="3871463"/>
                </a:moveTo>
                <a:cubicBezTo>
                  <a:pt x="3264907" y="3871463"/>
                  <a:pt x="3235226" y="3842971"/>
                  <a:pt x="3235226" y="3807355"/>
                </a:cubicBezTo>
                <a:cubicBezTo>
                  <a:pt x="3235226" y="3770547"/>
                  <a:pt x="3264907" y="3742059"/>
                  <a:pt x="3299336" y="3742059"/>
                </a:cubicBezTo>
                <a:cubicBezTo>
                  <a:pt x="3334955" y="3742059"/>
                  <a:pt x="3364635" y="3770547"/>
                  <a:pt x="3364635" y="3806165"/>
                </a:cubicBezTo>
                <a:cubicBezTo>
                  <a:pt x="3365825" y="3841781"/>
                  <a:pt x="3336145" y="3871463"/>
                  <a:pt x="3300526" y="3871463"/>
                </a:cubicBezTo>
                <a:close/>
                <a:moveTo>
                  <a:pt x="1989072" y="3937534"/>
                </a:moveTo>
                <a:cubicBezTo>
                  <a:pt x="1914368" y="3937534"/>
                  <a:pt x="1852852" y="3877271"/>
                  <a:pt x="1852852" y="3801945"/>
                </a:cubicBezTo>
                <a:cubicBezTo>
                  <a:pt x="1852852" y="3726621"/>
                  <a:pt x="1913115" y="3665729"/>
                  <a:pt x="1987820" y="3665102"/>
                </a:cubicBezTo>
                <a:cubicBezTo>
                  <a:pt x="2063147" y="3665102"/>
                  <a:pt x="2124040" y="3725368"/>
                  <a:pt x="2124663" y="3800690"/>
                </a:cubicBezTo>
                <a:cubicBezTo>
                  <a:pt x="2124663" y="3876016"/>
                  <a:pt x="2064400" y="3937534"/>
                  <a:pt x="1989072" y="3937534"/>
                </a:cubicBezTo>
                <a:close/>
                <a:moveTo>
                  <a:pt x="3619348" y="3945237"/>
                </a:moveTo>
                <a:cubicBezTo>
                  <a:pt x="3582946" y="3945237"/>
                  <a:pt x="3554652" y="3916942"/>
                  <a:pt x="3554652" y="3880541"/>
                </a:cubicBezTo>
                <a:cubicBezTo>
                  <a:pt x="3554652" y="3844140"/>
                  <a:pt x="3582946" y="3815845"/>
                  <a:pt x="3619348" y="3815845"/>
                </a:cubicBezTo>
                <a:cubicBezTo>
                  <a:pt x="3655750" y="3815845"/>
                  <a:pt x="3684044" y="3844140"/>
                  <a:pt x="3684044" y="3880541"/>
                </a:cubicBezTo>
                <a:cubicBezTo>
                  <a:pt x="3684044" y="3916942"/>
                  <a:pt x="3655750" y="3945237"/>
                  <a:pt x="3619348" y="3945237"/>
                </a:cubicBezTo>
                <a:close/>
                <a:moveTo>
                  <a:pt x="983648" y="3983681"/>
                </a:moveTo>
                <a:cubicBezTo>
                  <a:pt x="919616" y="3984312"/>
                  <a:pt x="867515" y="3932212"/>
                  <a:pt x="867515" y="3868184"/>
                </a:cubicBezTo>
                <a:cubicBezTo>
                  <a:pt x="867515" y="3804156"/>
                  <a:pt x="918987" y="3752057"/>
                  <a:pt x="983019" y="3751429"/>
                </a:cubicBezTo>
                <a:cubicBezTo>
                  <a:pt x="1047044" y="3750801"/>
                  <a:pt x="1099775" y="3802900"/>
                  <a:pt x="1099775" y="3866931"/>
                </a:cubicBezTo>
                <a:cubicBezTo>
                  <a:pt x="1099775" y="3931582"/>
                  <a:pt x="1047674" y="3983681"/>
                  <a:pt x="983648" y="3983681"/>
                </a:cubicBezTo>
                <a:close/>
                <a:moveTo>
                  <a:pt x="2307502" y="4008599"/>
                </a:moveTo>
                <a:cubicBezTo>
                  <a:pt x="2233434" y="4009221"/>
                  <a:pt x="2173171" y="3949589"/>
                  <a:pt x="2173171" y="3875517"/>
                </a:cubicBezTo>
                <a:cubicBezTo>
                  <a:pt x="2172542" y="3801448"/>
                  <a:pt x="2232804" y="3741186"/>
                  <a:pt x="2306249" y="3741186"/>
                </a:cubicBezTo>
                <a:cubicBezTo>
                  <a:pt x="2380324" y="3740558"/>
                  <a:pt x="2440586" y="3800191"/>
                  <a:pt x="2440586" y="3874266"/>
                </a:cubicBezTo>
                <a:cubicBezTo>
                  <a:pt x="2441209" y="3948339"/>
                  <a:pt x="2381576" y="4008599"/>
                  <a:pt x="2307502" y="4008599"/>
                </a:cubicBezTo>
                <a:close/>
                <a:moveTo>
                  <a:pt x="269481" y="4070013"/>
                </a:moveTo>
                <a:cubicBezTo>
                  <a:pt x="216098" y="4070013"/>
                  <a:pt x="198245" y="4034475"/>
                  <a:pt x="198245" y="3998760"/>
                </a:cubicBezTo>
                <a:cubicBezTo>
                  <a:pt x="198245" y="3963220"/>
                  <a:pt x="216098" y="3927506"/>
                  <a:pt x="269481" y="3927506"/>
                </a:cubicBezTo>
                <a:cubicBezTo>
                  <a:pt x="305188" y="3927506"/>
                  <a:pt x="322864" y="3963220"/>
                  <a:pt x="322864" y="3998760"/>
                </a:cubicBezTo>
                <a:cubicBezTo>
                  <a:pt x="340718" y="4034475"/>
                  <a:pt x="305188" y="4070013"/>
                  <a:pt x="269481" y="4070013"/>
                </a:cubicBezTo>
                <a:close/>
                <a:moveTo>
                  <a:pt x="2624870" y="4071398"/>
                </a:moveTo>
                <a:cubicBezTo>
                  <a:pt x="2557073" y="4071398"/>
                  <a:pt x="2501830" y="4016783"/>
                  <a:pt x="2501830" y="3948989"/>
                </a:cubicBezTo>
                <a:cubicBezTo>
                  <a:pt x="2501830" y="3881191"/>
                  <a:pt x="2556444" y="3825947"/>
                  <a:pt x="2624241" y="3825947"/>
                </a:cubicBezTo>
                <a:cubicBezTo>
                  <a:pt x="2692038" y="3825947"/>
                  <a:pt x="2747281" y="3880564"/>
                  <a:pt x="2747281" y="3948360"/>
                </a:cubicBezTo>
                <a:cubicBezTo>
                  <a:pt x="2747281" y="4016153"/>
                  <a:pt x="2692667" y="4071398"/>
                  <a:pt x="2624870" y="4071398"/>
                </a:cubicBezTo>
                <a:close/>
                <a:moveTo>
                  <a:pt x="1301316" y="4091771"/>
                </a:moveTo>
                <a:cubicBezTo>
                  <a:pt x="1217828" y="4091771"/>
                  <a:pt x="1150034" y="4024607"/>
                  <a:pt x="1150034" y="3941739"/>
                </a:cubicBezTo>
                <a:cubicBezTo>
                  <a:pt x="1150034" y="3879600"/>
                  <a:pt x="1187814" y="3825927"/>
                  <a:pt x="1241926" y="3802712"/>
                </a:cubicBezTo>
                <a:lnTo>
                  <a:pt x="1297741" y="3791076"/>
                </a:lnTo>
                <a:lnTo>
                  <a:pt x="1295263" y="3790590"/>
                </a:lnTo>
                <a:cubicBezTo>
                  <a:pt x="1241947" y="3768316"/>
                  <a:pt x="1204167" y="3715588"/>
                  <a:pt x="1204167" y="3654382"/>
                </a:cubicBezTo>
                <a:cubicBezTo>
                  <a:pt x="1204167" y="3572777"/>
                  <a:pt x="1270078" y="3505615"/>
                  <a:pt x="1351683" y="3505615"/>
                </a:cubicBezTo>
                <a:cubicBezTo>
                  <a:pt x="1433281" y="3504984"/>
                  <a:pt x="1500451" y="3571519"/>
                  <a:pt x="1500451" y="3653123"/>
                </a:cubicBezTo>
                <a:cubicBezTo>
                  <a:pt x="1500923" y="3714802"/>
                  <a:pt x="1463611" y="3767652"/>
                  <a:pt x="1410499" y="3790219"/>
                </a:cubicBezTo>
                <a:lnTo>
                  <a:pt x="1355143" y="3801455"/>
                </a:lnTo>
                <a:lnTo>
                  <a:pt x="1359098" y="3802252"/>
                </a:lnTo>
                <a:cubicBezTo>
                  <a:pt x="1412976" y="3825023"/>
                  <a:pt x="1450874" y="3878345"/>
                  <a:pt x="1451346" y="3940489"/>
                </a:cubicBezTo>
                <a:cubicBezTo>
                  <a:pt x="1451346" y="4023975"/>
                  <a:pt x="1384181" y="4091771"/>
                  <a:pt x="1301316" y="4091771"/>
                </a:cubicBezTo>
                <a:close/>
                <a:moveTo>
                  <a:pt x="2942346" y="4111701"/>
                </a:moveTo>
                <a:cubicBezTo>
                  <a:pt x="2892753" y="4112332"/>
                  <a:pt x="2852574" y="4072153"/>
                  <a:pt x="2852574" y="4022561"/>
                </a:cubicBezTo>
                <a:cubicBezTo>
                  <a:pt x="2852574" y="3972969"/>
                  <a:pt x="2892753" y="3932792"/>
                  <a:pt x="2941716" y="3932792"/>
                </a:cubicBezTo>
                <a:cubicBezTo>
                  <a:pt x="2990680" y="3932161"/>
                  <a:pt x="3031488" y="3972340"/>
                  <a:pt x="3031488" y="4021932"/>
                </a:cubicBezTo>
                <a:cubicBezTo>
                  <a:pt x="3032111" y="4071524"/>
                  <a:pt x="2991938" y="4111701"/>
                  <a:pt x="2942346" y="4111701"/>
                </a:cubicBezTo>
                <a:close/>
                <a:moveTo>
                  <a:pt x="582729" y="4137895"/>
                </a:moveTo>
                <a:cubicBezTo>
                  <a:pt x="548224" y="4137895"/>
                  <a:pt x="518022" y="4109856"/>
                  <a:pt x="518022" y="4073191"/>
                </a:cubicBezTo>
                <a:cubicBezTo>
                  <a:pt x="518022" y="4036522"/>
                  <a:pt x="546062" y="4008481"/>
                  <a:pt x="582729" y="4008481"/>
                </a:cubicBezTo>
                <a:cubicBezTo>
                  <a:pt x="619395" y="4008481"/>
                  <a:pt x="647435" y="4038684"/>
                  <a:pt x="647435" y="4073191"/>
                </a:cubicBezTo>
                <a:cubicBezTo>
                  <a:pt x="647435" y="4109856"/>
                  <a:pt x="617233" y="4137895"/>
                  <a:pt x="582729" y="4137895"/>
                </a:cubicBezTo>
                <a:close/>
                <a:moveTo>
                  <a:pt x="3259720" y="4160741"/>
                </a:moveTo>
                <a:cubicBezTo>
                  <a:pt x="3224029" y="4160741"/>
                  <a:pt x="3195024" y="4131736"/>
                  <a:pt x="3195024" y="4096046"/>
                </a:cubicBezTo>
                <a:cubicBezTo>
                  <a:pt x="3195024" y="4060354"/>
                  <a:pt x="3224029" y="4031350"/>
                  <a:pt x="3259720" y="4031350"/>
                </a:cubicBezTo>
                <a:cubicBezTo>
                  <a:pt x="3295411" y="4031350"/>
                  <a:pt x="3324416" y="4060354"/>
                  <a:pt x="3324416" y="4096046"/>
                </a:cubicBezTo>
                <a:cubicBezTo>
                  <a:pt x="3324416" y="4131736"/>
                  <a:pt x="3295411" y="4160741"/>
                  <a:pt x="3259720" y="4160741"/>
                </a:cubicBezTo>
                <a:close/>
                <a:moveTo>
                  <a:pt x="901912" y="4212852"/>
                </a:moveTo>
                <a:cubicBezTo>
                  <a:pt x="866502" y="4212852"/>
                  <a:pt x="837216" y="4184247"/>
                  <a:pt x="837216" y="4148152"/>
                </a:cubicBezTo>
                <a:cubicBezTo>
                  <a:pt x="837216" y="4112738"/>
                  <a:pt x="865820" y="4083460"/>
                  <a:pt x="901229" y="4082776"/>
                </a:cubicBezTo>
                <a:cubicBezTo>
                  <a:pt x="937329" y="4082776"/>
                  <a:pt x="966615" y="4111381"/>
                  <a:pt x="966615" y="4147473"/>
                </a:cubicBezTo>
                <a:cubicBezTo>
                  <a:pt x="966615" y="4183571"/>
                  <a:pt x="938011" y="4212852"/>
                  <a:pt x="901912" y="4212852"/>
                </a:cubicBezTo>
                <a:close/>
                <a:moveTo>
                  <a:pt x="1934868" y="4226874"/>
                </a:moveTo>
                <a:cubicBezTo>
                  <a:pt x="1858283" y="4227503"/>
                  <a:pt x="1796139" y="4165985"/>
                  <a:pt x="1796139" y="4089399"/>
                </a:cubicBezTo>
                <a:cubicBezTo>
                  <a:pt x="1796139" y="4012812"/>
                  <a:pt x="1857660" y="3950666"/>
                  <a:pt x="1934239" y="3950039"/>
                </a:cubicBezTo>
                <a:cubicBezTo>
                  <a:pt x="2010824" y="3950039"/>
                  <a:pt x="2072345" y="4011560"/>
                  <a:pt x="2072968" y="4088141"/>
                </a:cubicBezTo>
                <a:cubicBezTo>
                  <a:pt x="2072968" y="4164728"/>
                  <a:pt x="2011453" y="4226874"/>
                  <a:pt x="1934868" y="4226874"/>
                </a:cubicBezTo>
                <a:close/>
                <a:moveTo>
                  <a:pt x="3577620" y="4234315"/>
                </a:moveTo>
                <a:cubicBezTo>
                  <a:pt x="3541218" y="4234315"/>
                  <a:pt x="3512924" y="4206020"/>
                  <a:pt x="3512924" y="4169618"/>
                </a:cubicBezTo>
                <a:cubicBezTo>
                  <a:pt x="3512924" y="4133217"/>
                  <a:pt x="3541218" y="4104922"/>
                  <a:pt x="3577620" y="4104922"/>
                </a:cubicBezTo>
                <a:cubicBezTo>
                  <a:pt x="3614022" y="4104922"/>
                  <a:pt x="3642316" y="4133217"/>
                  <a:pt x="3642316" y="4169618"/>
                </a:cubicBezTo>
                <a:cubicBezTo>
                  <a:pt x="3642316" y="4206020"/>
                  <a:pt x="3614022" y="4234315"/>
                  <a:pt x="3577620" y="4234315"/>
                </a:cubicBezTo>
                <a:close/>
                <a:moveTo>
                  <a:pt x="2252011" y="4295104"/>
                </a:moveTo>
                <a:cubicBezTo>
                  <a:pt x="2177935" y="4295104"/>
                  <a:pt x="2117672" y="4235461"/>
                  <a:pt x="2117672" y="4161391"/>
                </a:cubicBezTo>
                <a:cubicBezTo>
                  <a:pt x="2117672" y="4087315"/>
                  <a:pt x="2177306" y="4027679"/>
                  <a:pt x="2250752" y="4027679"/>
                </a:cubicBezTo>
                <a:cubicBezTo>
                  <a:pt x="2324828" y="4027054"/>
                  <a:pt x="2385091" y="4086687"/>
                  <a:pt x="2385091" y="4160762"/>
                </a:cubicBezTo>
                <a:cubicBezTo>
                  <a:pt x="2385720" y="4234840"/>
                  <a:pt x="2326086" y="4295104"/>
                  <a:pt x="2252011" y="4295104"/>
                </a:cubicBezTo>
                <a:close/>
                <a:moveTo>
                  <a:pt x="134905" y="4326202"/>
                </a:moveTo>
                <a:cubicBezTo>
                  <a:pt x="97179" y="4326202"/>
                  <a:pt x="70209" y="4299222"/>
                  <a:pt x="70209" y="4261484"/>
                </a:cubicBezTo>
                <a:cubicBezTo>
                  <a:pt x="70209" y="4223749"/>
                  <a:pt x="102584" y="4191367"/>
                  <a:pt x="134905" y="4196772"/>
                </a:cubicBezTo>
                <a:cubicBezTo>
                  <a:pt x="167280" y="4196772"/>
                  <a:pt x="199601" y="4223749"/>
                  <a:pt x="199601" y="4261484"/>
                </a:cubicBezTo>
                <a:cubicBezTo>
                  <a:pt x="199601" y="4299222"/>
                  <a:pt x="172631" y="4326202"/>
                  <a:pt x="134905" y="4326202"/>
                </a:cubicBezTo>
                <a:close/>
                <a:moveTo>
                  <a:pt x="2569045" y="4351519"/>
                </a:moveTo>
                <a:cubicBezTo>
                  <a:pt x="2504391" y="4352147"/>
                  <a:pt x="2452290" y="4300049"/>
                  <a:pt x="2452290" y="4236016"/>
                </a:cubicBezTo>
                <a:cubicBezTo>
                  <a:pt x="2452290" y="4171991"/>
                  <a:pt x="2503762" y="4119892"/>
                  <a:pt x="2567793" y="4119263"/>
                </a:cubicBezTo>
                <a:cubicBezTo>
                  <a:pt x="2632447" y="4118632"/>
                  <a:pt x="2684548" y="4170735"/>
                  <a:pt x="2684548" y="4234767"/>
                </a:cubicBezTo>
                <a:cubicBezTo>
                  <a:pt x="2685177" y="4299419"/>
                  <a:pt x="2633076" y="4351519"/>
                  <a:pt x="2569045" y="4351519"/>
                </a:cubicBezTo>
                <a:close/>
                <a:moveTo>
                  <a:pt x="1221305" y="4352597"/>
                </a:moveTo>
                <a:cubicBezTo>
                  <a:pt x="1149113" y="4353225"/>
                  <a:pt x="1090109" y="4294847"/>
                  <a:pt x="1090109" y="4222657"/>
                </a:cubicBezTo>
                <a:cubicBezTo>
                  <a:pt x="1089480" y="4151095"/>
                  <a:pt x="1147860" y="4092090"/>
                  <a:pt x="1220046" y="4091461"/>
                </a:cubicBezTo>
                <a:cubicBezTo>
                  <a:pt x="1292239" y="4090835"/>
                  <a:pt x="1351242" y="4149210"/>
                  <a:pt x="1351242" y="4221400"/>
                </a:cubicBezTo>
                <a:cubicBezTo>
                  <a:pt x="1351242" y="4293591"/>
                  <a:pt x="1293491" y="4352597"/>
                  <a:pt x="1221305" y="4352597"/>
                </a:cubicBezTo>
                <a:close/>
                <a:moveTo>
                  <a:pt x="2885557" y="4393807"/>
                </a:moveTo>
                <a:cubicBezTo>
                  <a:pt x="2838475" y="4393807"/>
                  <a:pt x="2800184" y="4356139"/>
                  <a:pt x="2800184" y="4309057"/>
                </a:cubicBezTo>
                <a:cubicBezTo>
                  <a:pt x="2800184" y="4261974"/>
                  <a:pt x="2838475" y="4223683"/>
                  <a:pt x="2884934" y="4223683"/>
                </a:cubicBezTo>
                <a:cubicBezTo>
                  <a:pt x="2932016" y="4223683"/>
                  <a:pt x="2970307" y="4261353"/>
                  <a:pt x="2970307" y="4308432"/>
                </a:cubicBezTo>
                <a:cubicBezTo>
                  <a:pt x="2970936" y="4355516"/>
                  <a:pt x="2932639" y="4393807"/>
                  <a:pt x="2885557" y="4393807"/>
                </a:cubicBezTo>
                <a:close/>
                <a:moveTo>
                  <a:pt x="463566" y="4404587"/>
                </a:moveTo>
                <a:cubicBezTo>
                  <a:pt x="427984" y="4404587"/>
                  <a:pt x="398865" y="4375482"/>
                  <a:pt x="398865" y="4339897"/>
                </a:cubicBezTo>
                <a:cubicBezTo>
                  <a:pt x="398865" y="4304316"/>
                  <a:pt x="427984" y="4275194"/>
                  <a:pt x="463566" y="4275194"/>
                </a:cubicBezTo>
                <a:cubicBezTo>
                  <a:pt x="499149" y="4275194"/>
                  <a:pt x="528257" y="4304316"/>
                  <a:pt x="528257" y="4339897"/>
                </a:cubicBezTo>
                <a:cubicBezTo>
                  <a:pt x="528257" y="4375482"/>
                  <a:pt x="499149" y="4404587"/>
                  <a:pt x="463566" y="4404587"/>
                </a:cubicBezTo>
                <a:close/>
                <a:moveTo>
                  <a:pt x="3202505" y="4447238"/>
                </a:moveTo>
                <a:cubicBezTo>
                  <a:pt x="3166814" y="4447238"/>
                  <a:pt x="3137809" y="4418233"/>
                  <a:pt x="3137809" y="4382541"/>
                </a:cubicBezTo>
                <a:cubicBezTo>
                  <a:pt x="3137809" y="4347966"/>
                  <a:pt x="3166814" y="4317845"/>
                  <a:pt x="3201387" y="4317845"/>
                </a:cubicBezTo>
                <a:cubicBezTo>
                  <a:pt x="3238196" y="4317845"/>
                  <a:pt x="3267201" y="4346850"/>
                  <a:pt x="3267201" y="4382541"/>
                </a:cubicBezTo>
                <a:cubicBezTo>
                  <a:pt x="3267201" y="4418233"/>
                  <a:pt x="3238196" y="4447238"/>
                  <a:pt x="3202505" y="4447238"/>
                </a:cubicBezTo>
                <a:close/>
                <a:moveTo>
                  <a:pt x="789734" y="4500275"/>
                </a:moveTo>
                <a:cubicBezTo>
                  <a:pt x="743914" y="4500275"/>
                  <a:pt x="706249" y="4463241"/>
                  <a:pt x="706249" y="4417418"/>
                </a:cubicBezTo>
                <a:cubicBezTo>
                  <a:pt x="705620" y="4371599"/>
                  <a:pt x="742656" y="4334565"/>
                  <a:pt x="789111" y="4333937"/>
                </a:cubicBezTo>
                <a:cubicBezTo>
                  <a:pt x="834930" y="4333937"/>
                  <a:pt x="872595" y="4370973"/>
                  <a:pt x="872595" y="4416792"/>
                </a:cubicBezTo>
                <a:cubicBezTo>
                  <a:pt x="872595" y="4462613"/>
                  <a:pt x="835560" y="4500275"/>
                  <a:pt x="789734" y="4500275"/>
                </a:cubicBezTo>
                <a:close/>
                <a:moveTo>
                  <a:pt x="3519114" y="4520419"/>
                </a:moveTo>
                <a:cubicBezTo>
                  <a:pt x="3483423" y="4520419"/>
                  <a:pt x="3454418" y="4491413"/>
                  <a:pt x="3454418" y="4455718"/>
                </a:cubicBezTo>
                <a:cubicBezTo>
                  <a:pt x="3454418" y="4420025"/>
                  <a:pt x="3483423" y="4389899"/>
                  <a:pt x="3519114" y="4391018"/>
                </a:cubicBezTo>
                <a:cubicBezTo>
                  <a:pt x="3554805" y="4391018"/>
                  <a:pt x="3583810" y="4420025"/>
                  <a:pt x="3583810" y="4455718"/>
                </a:cubicBezTo>
                <a:cubicBezTo>
                  <a:pt x="3583810" y="4491413"/>
                  <a:pt x="3554805" y="4520419"/>
                  <a:pt x="3519114" y="4520419"/>
                </a:cubicBezTo>
                <a:close/>
                <a:moveTo>
                  <a:pt x="0" y="4559202"/>
                </a:moveTo>
                <a:lnTo>
                  <a:pt x="0" y="4444276"/>
                </a:lnTo>
                <a:lnTo>
                  <a:pt x="16192" y="4454676"/>
                </a:lnTo>
                <a:cubicBezTo>
                  <a:pt x="28196" y="4466431"/>
                  <a:pt x="35547" y="4483085"/>
                  <a:pt x="35547" y="4501705"/>
                </a:cubicBezTo>
                <a:cubicBezTo>
                  <a:pt x="36529" y="4519342"/>
                  <a:pt x="29669" y="4535508"/>
                  <a:pt x="17910" y="4547264"/>
                </a:cubicBezTo>
                <a:close/>
                <a:moveTo>
                  <a:pt x="2175337" y="4584925"/>
                </a:moveTo>
                <a:cubicBezTo>
                  <a:pt x="2097494" y="4584925"/>
                  <a:pt x="2034092" y="4522151"/>
                  <a:pt x="2033469" y="4443687"/>
                </a:cubicBezTo>
                <a:cubicBezTo>
                  <a:pt x="2032840" y="4365849"/>
                  <a:pt x="2096242" y="4301820"/>
                  <a:pt x="2174708" y="4301820"/>
                </a:cubicBezTo>
                <a:cubicBezTo>
                  <a:pt x="2252545" y="4301820"/>
                  <a:pt x="2315947" y="4364592"/>
                  <a:pt x="2316576" y="4443056"/>
                </a:cubicBezTo>
                <a:cubicBezTo>
                  <a:pt x="2316576" y="4520893"/>
                  <a:pt x="2253803" y="4584925"/>
                  <a:pt x="2175337" y="4584925"/>
                </a:cubicBezTo>
                <a:close/>
                <a:moveTo>
                  <a:pt x="1113226" y="4638768"/>
                </a:moveTo>
                <a:cubicBezTo>
                  <a:pt x="1032881" y="4638768"/>
                  <a:pt x="966970" y="4574108"/>
                  <a:pt x="966970" y="4493127"/>
                </a:cubicBezTo>
                <a:cubicBezTo>
                  <a:pt x="966970" y="4412158"/>
                  <a:pt x="1031622" y="4346877"/>
                  <a:pt x="1112597" y="4346877"/>
                </a:cubicBezTo>
                <a:cubicBezTo>
                  <a:pt x="1192948" y="4346877"/>
                  <a:pt x="1258859" y="4411527"/>
                  <a:pt x="1258859" y="4492502"/>
                </a:cubicBezTo>
                <a:cubicBezTo>
                  <a:pt x="1258859" y="4572857"/>
                  <a:pt x="1193571" y="4638137"/>
                  <a:pt x="1113226" y="4638768"/>
                </a:cubicBezTo>
                <a:close/>
                <a:moveTo>
                  <a:pt x="2493340" y="4642500"/>
                </a:moveTo>
                <a:cubicBezTo>
                  <a:pt x="2424293" y="4643130"/>
                  <a:pt x="2367794" y="4587267"/>
                  <a:pt x="2367794" y="4518213"/>
                </a:cubicBezTo>
                <a:cubicBezTo>
                  <a:pt x="2367794" y="4449790"/>
                  <a:pt x="2423035" y="4393297"/>
                  <a:pt x="2492087" y="4392669"/>
                </a:cubicBezTo>
                <a:cubicBezTo>
                  <a:pt x="2561134" y="4392038"/>
                  <a:pt x="2617633" y="4447909"/>
                  <a:pt x="2617633" y="4516956"/>
                </a:cubicBezTo>
                <a:cubicBezTo>
                  <a:pt x="2618256" y="4586008"/>
                  <a:pt x="2562392" y="4642500"/>
                  <a:pt x="2493340" y="4642500"/>
                </a:cubicBezTo>
                <a:close/>
                <a:moveTo>
                  <a:pt x="311808" y="4653247"/>
                </a:moveTo>
                <a:cubicBezTo>
                  <a:pt x="275658" y="4653247"/>
                  <a:pt x="246482" y="4624073"/>
                  <a:pt x="246482" y="4588549"/>
                </a:cubicBezTo>
                <a:cubicBezTo>
                  <a:pt x="246482" y="4552401"/>
                  <a:pt x="275022" y="4523220"/>
                  <a:pt x="311808" y="4523857"/>
                </a:cubicBezTo>
                <a:cubicBezTo>
                  <a:pt x="347329" y="4523857"/>
                  <a:pt x="376504" y="4553032"/>
                  <a:pt x="376504" y="4588549"/>
                </a:cubicBezTo>
                <a:cubicBezTo>
                  <a:pt x="376504" y="4624073"/>
                  <a:pt x="347329" y="4653247"/>
                  <a:pt x="311808" y="4653247"/>
                </a:cubicBezTo>
                <a:close/>
                <a:moveTo>
                  <a:pt x="2810807" y="4688467"/>
                </a:moveTo>
                <a:cubicBezTo>
                  <a:pt x="2756819" y="4689097"/>
                  <a:pt x="2712880" y="4645149"/>
                  <a:pt x="2712880" y="4591796"/>
                </a:cubicBezTo>
                <a:cubicBezTo>
                  <a:pt x="2712880" y="4537806"/>
                  <a:pt x="2756190" y="4494495"/>
                  <a:pt x="2809549" y="4493865"/>
                </a:cubicBezTo>
                <a:cubicBezTo>
                  <a:pt x="2863531" y="4493237"/>
                  <a:pt x="2907476" y="4536555"/>
                  <a:pt x="2907476" y="4590537"/>
                </a:cubicBezTo>
                <a:cubicBezTo>
                  <a:pt x="2908099" y="4644526"/>
                  <a:pt x="2864789" y="4688467"/>
                  <a:pt x="2810807" y="4688467"/>
                </a:cubicBezTo>
                <a:close/>
                <a:moveTo>
                  <a:pt x="3128182" y="4731178"/>
                </a:moveTo>
                <a:cubicBezTo>
                  <a:pt x="3091774" y="4731807"/>
                  <a:pt x="3061639" y="4701678"/>
                  <a:pt x="3061639" y="4665269"/>
                </a:cubicBezTo>
                <a:cubicBezTo>
                  <a:pt x="3061639" y="4628858"/>
                  <a:pt x="3091145" y="4598723"/>
                  <a:pt x="3127553" y="4598723"/>
                </a:cubicBezTo>
                <a:cubicBezTo>
                  <a:pt x="3163961" y="4598723"/>
                  <a:pt x="3194090" y="4628229"/>
                  <a:pt x="3194090" y="4664640"/>
                </a:cubicBezTo>
                <a:cubicBezTo>
                  <a:pt x="3194090" y="4701048"/>
                  <a:pt x="3164591" y="4731178"/>
                  <a:pt x="3128182" y="4731178"/>
                </a:cubicBezTo>
                <a:close/>
                <a:moveTo>
                  <a:pt x="647351" y="4776926"/>
                </a:moveTo>
                <a:cubicBezTo>
                  <a:pt x="589598" y="4776926"/>
                  <a:pt x="541889" y="4729843"/>
                  <a:pt x="541889" y="4672094"/>
                </a:cubicBezTo>
                <a:cubicBezTo>
                  <a:pt x="541889" y="4613715"/>
                  <a:pt x="588969" y="4566636"/>
                  <a:pt x="646721" y="4566636"/>
                </a:cubicBezTo>
                <a:cubicBezTo>
                  <a:pt x="704474" y="4566636"/>
                  <a:pt x="752183" y="4613715"/>
                  <a:pt x="752183" y="4671464"/>
                </a:cubicBezTo>
                <a:cubicBezTo>
                  <a:pt x="752183" y="4729216"/>
                  <a:pt x="705726" y="4776926"/>
                  <a:pt x="647351" y="4776926"/>
                </a:cubicBezTo>
                <a:close/>
                <a:moveTo>
                  <a:pt x="3445555" y="4803030"/>
                </a:moveTo>
                <a:cubicBezTo>
                  <a:pt x="3410266" y="4803030"/>
                  <a:pt x="3380859" y="4773622"/>
                  <a:pt x="3380859" y="4738319"/>
                </a:cubicBezTo>
                <a:cubicBezTo>
                  <a:pt x="3380859" y="4703030"/>
                  <a:pt x="3408792" y="4673622"/>
                  <a:pt x="3445555" y="4673622"/>
                </a:cubicBezTo>
                <a:cubicBezTo>
                  <a:pt x="3480858" y="4673622"/>
                  <a:pt x="3510266" y="4703030"/>
                  <a:pt x="3510266" y="4738319"/>
                </a:cubicBezTo>
                <a:cubicBezTo>
                  <a:pt x="3510266" y="4773622"/>
                  <a:pt x="3480858" y="4803030"/>
                  <a:pt x="3445555" y="4803030"/>
                </a:cubicBezTo>
                <a:close/>
                <a:moveTo>
                  <a:pt x="2078214" y="4859519"/>
                </a:moveTo>
                <a:cubicBezTo>
                  <a:pt x="2000377" y="4859519"/>
                  <a:pt x="1937603" y="4796748"/>
                  <a:pt x="1936974" y="4719531"/>
                </a:cubicBezTo>
                <a:cubicBezTo>
                  <a:pt x="1936974" y="4642323"/>
                  <a:pt x="1999118" y="4578919"/>
                  <a:pt x="2076962" y="4578292"/>
                </a:cubicBezTo>
                <a:cubicBezTo>
                  <a:pt x="2154800" y="4578292"/>
                  <a:pt x="2218202" y="4640437"/>
                  <a:pt x="2218202" y="4718279"/>
                </a:cubicBezTo>
                <a:cubicBezTo>
                  <a:pt x="2218202" y="4796115"/>
                  <a:pt x="2155429" y="4858890"/>
                  <a:pt x="2078214" y="4859519"/>
                </a:cubicBezTo>
                <a:close/>
                <a:moveTo>
                  <a:pt x="129027" y="4881022"/>
                </a:moveTo>
                <a:cubicBezTo>
                  <a:pt x="92967" y="4881022"/>
                  <a:pt x="63980" y="4852743"/>
                  <a:pt x="63980" y="4816687"/>
                </a:cubicBezTo>
                <a:cubicBezTo>
                  <a:pt x="63271" y="4780626"/>
                  <a:pt x="92258" y="4751635"/>
                  <a:pt x="128318" y="4751635"/>
                </a:cubicBezTo>
                <a:cubicBezTo>
                  <a:pt x="164378" y="4750931"/>
                  <a:pt x="193365" y="4779915"/>
                  <a:pt x="193365" y="4815977"/>
                </a:cubicBezTo>
                <a:cubicBezTo>
                  <a:pt x="193365" y="4852033"/>
                  <a:pt x="164378" y="4881022"/>
                  <a:pt x="129027" y="4881022"/>
                </a:cubicBezTo>
                <a:close/>
                <a:moveTo>
                  <a:pt x="979540" y="4898167"/>
                </a:moveTo>
                <a:cubicBezTo>
                  <a:pt x="898564" y="4898167"/>
                  <a:pt x="832652" y="4832877"/>
                  <a:pt x="832652" y="4752532"/>
                </a:cubicBezTo>
                <a:cubicBezTo>
                  <a:pt x="832652" y="4671561"/>
                  <a:pt x="897306" y="4606278"/>
                  <a:pt x="978911" y="4606278"/>
                </a:cubicBezTo>
                <a:cubicBezTo>
                  <a:pt x="1059257" y="4606278"/>
                  <a:pt x="1125169" y="4670929"/>
                  <a:pt x="1125169" y="4751905"/>
                </a:cubicBezTo>
                <a:cubicBezTo>
                  <a:pt x="1125169" y="4832257"/>
                  <a:pt x="1060515" y="4897538"/>
                  <a:pt x="979540" y="4898167"/>
                </a:cubicBezTo>
                <a:close/>
                <a:moveTo>
                  <a:pt x="2398269" y="4917831"/>
                </a:moveTo>
                <a:cubicBezTo>
                  <a:pt x="2329215" y="4917831"/>
                  <a:pt x="2272721" y="4861958"/>
                  <a:pt x="2272721" y="4792906"/>
                </a:cubicBezTo>
                <a:cubicBezTo>
                  <a:pt x="2272721" y="4723858"/>
                  <a:pt x="2327963" y="4667356"/>
                  <a:pt x="2397016" y="4667987"/>
                </a:cubicBezTo>
                <a:cubicBezTo>
                  <a:pt x="2466064" y="4667356"/>
                  <a:pt x="2522564" y="4723227"/>
                  <a:pt x="2522564" y="4792277"/>
                </a:cubicBezTo>
                <a:cubicBezTo>
                  <a:pt x="2523187" y="4861331"/>
                  <a:pt x="2467322" y="4917831"/>
                  <a:pt x="2398269" y="4917831"/>
                </a:cubicBezTo>
                <a:close/>
                <a:moveTo>
                  <a:pt x="2717263" y="4933051"/>
                </a:moveTo>
                <a:cubicBezTo>
                  <a:pt x="2681484" y="4933051"/>
                  <a:pt x="2651979" y="4903547"/>
                  <a:pt x="2651979" y="4867765"/>
                </a:cubicBezTo>
                <a:cubicBezTo>
                  <a:pt x="2651979" y="4831986"/>
                  <a:pt x="2680855" y="4802481"/>
                  <a:pt x="2717263" y="4802481"/>
                </a:cubicBezTo>
                <a:cubicBezTo>
                  <a:pt x="2753041" y="4802481"/>
                  <a:pt x="2782546" y="4831986"/>
                  <a:pt x="2782546" y="4867765"/>
                </a:cubicBezTo>
                <a:cubicBezTo>
                  <a:pt x="2782546" y="4903547"/>
                  <a:pt x="2753041" y="4933051"/>
                  <a:pt x="2717263" y="4933051"/>
                </a:cubicBezTo>
                <a:close/>
                <a:moveTo>
                  <a:pt x="3036454" y="5006903"/>
                </a:moveTo>
                <a:cubicBezTo>
                  <a:pt x="3000763" y="5006903"/>
                  <a:pt x="2971758" y="4977897"/>
                  <a:pt x="2971758" y="4942206"/>
                </a:cubicBezTo>
                <a:cubicBezTo>
                  <a:pt x="2971758" y="4906515"/>
                  <a:pt x="3000763" y="4877509"/>
                  <a:pt x="3036454" y="4877509"/>
                </a:cubicBezTo>
                <a:cubicBezTo>
                  <a:pt x="3072145" y="4877509"/>
                  <a:pt x="3101150" y="4906515"/>
                  <a:pt x="3101150" y="4942206"/>
                </a:cubicBezTo>
                <a:cubicBezTo>
                  <a:pt x="3101150" y="4977897"/>
                  <a:pt x="3072145" y="5006903"/>
                  <a:pt x="3036454" y="5006903"/>
                </a:cubicBezTo>
                <a:close/>
                <a:moveTo>
                  <a:pt x="477852" y="5009977"/>
                </a:moveTo>
                <a:cubicBezTo>
                  <a:pt x="421988" y="5009977"/>
                  <a:pt x="376790" y="4965408"/>
                  <a:pt x="376790" y="4909537"/>
                </a:cubicBezTo>
                <a:cubicBezTo>
                  <a:pt x="376161" y="4853680"/>
                  <a:pt x="421359" y="4808481"/>
                  <a:pt x="477229" y="4808481"/>
                </a:cubicBezTo>
                <a:cubicBezTo>
                  <a:pt x="533093" y="4808481"/>
                  <a:pt x="578291" y="4853680"/>
                  <a:pt x="578291" y="4908915"/>
                </a:cubicBezTo>
                <a:cubicBezTo>
                  <a:pt x="578291" y="4964778"/>
                  <a:pt x="533093" y="5009977"/>
                  <a:pt x="477852" y="5009977"/>
                </a:cubicBezTo>
                <a:close/>
                <a:moveTo>
                  <a:pt x="3355644" y="5080943"/>
                </a:moveTo>
                <a:cubicBezTo>
                  <a:pt x="3319094" y="5080943"/>
                  <a:pt x="3290948" y="5052797"/>
                  <a:pt x="3290948" y="5016218"/>
                </a:cubicBezTo>
                <a:cubicBezTo>
                  <a:pt x="3290948" y="4979667"/>
                  <a:pt x="3321886" y="4951522"/>
                  <a:pt x="3355644" y="4951522"/>
                </a:cubicBezTo>
                <a:cubicBezTo>
                  <a:pt x="3392222" y="4951522"/>
                  <a:pt x="3420368" y="4979667"/>
                  <a:pt x="3420368" y="5016218"/>
                </a:cubicBezTo>
                <a:cubicBezTo>
                  <a:pt x="3420368" y="5052797"/>
                  <a:pt x="3389430" y="5080943"/>
                  <a:pt x="3355644" y="5080943"/>
                </a:cubicBezTo>
                <a:close/>
                <a:moveTo>
                  <a:pt x="1960248" y="5110963"/>
                </a:moveTo>
                <a:cubicBezTo>
                  <a:pt x="1891202" y="5111593"/>
                  <a:pt x="1834703" y="5055728"/>
                  <a:pt x="1834703" y="4986675"/>
                </a:cubicBezTo>
                <a:cubicBezTo>
                  <a:pt x="1834703" y="4917621"/>
                  <a:pt x="1890573" y="4861124"/>
                  <a:pt x="1959619" y="4861124"/>
                </a:cubicBezTo>
                <a:cubicBezTo>
                  <a:pt x="2028671" y="4860495"/>
                  <a:pt x="2085164" y="4916369"/>
                  <a:pt x="2085164" y="4985415"/>
                </a:cubicBezTo>
                <a:cubicBezTo>
                  <a:pt x="2085164" y="5054468"/>
                  <a:pt x="2029300" y="5110963"/>
                  <a:pt x="1960248" y="5110963"/>
                </a:cubicBezTo>
                <a:close/>
                <a:moveTo>
                  <a:pt x="819946" y="5130916"/>
                </a:moveTo>
                <a:cubicBezTo>
                  <a:pt x="745871" y="5131539"/>
                  <a:pt x="685609" y="5071904"/>
                  <a:pt x="685609" y="4997831"/>
                </a:cubicBezTo>
                <a:cubicBezTo>
                  <a:pt x="685609" y="4923762"/>
                  <a:pt x="745242" y="4863499"/>
                  <a:pt x="818687" y="4863499"/>
                </a:cubicBezTo>
                <a:cubicBezTo>
                  <a:pt x="892762" y="4862868"/>
                  <a:pt x="952395" y="4922503"/>
                  <a:pt x="953024" y="4996578"/>
                </a:cubicBezTo>
                <a:cubicBezTo>
                  <a:pt x="953653" y="5070653"/>
                  <a:pt x="894014" y="5130916"/>
                  <a:pt x="819946" y="5130916"/>
                </a:cubicBezTo>
                <a:close/>
                <a:moveTo>
                  <a:pt x="2284172" y="5161907"/>
                </a:moveTo>
                <a:cubicBezTo>
                  <a:pt x="2228932" y="5161907"/>
                  <a:pt x="2184363" y="5117967"/>
                  <a:pt x="2184363" y="5062725"/>
                </a:cubicBezTo>
                <a:cubicBezTo>
                  <a:pt x="2183734" y="5008115"/>
                  <a:pt x="2228302" y="4963545"/>
                  <a:pt x="2283543" y="4962916"/>
                </a:cubicBezTo>
                <a:cubicBezTo>
                  <a:pt x="2338783" y="4962916"/>
                  <a:pt x="2383351" y="5006856"/>
                  <a:pt x="2383351" y="5062097"/>
                </a:cubicBezTo>
                <a:cubicBezTo>
                  <a:pt x="2383351" y="5116708"/>
                  <a:pt x="2338783" y="5161907"/>
                  <a:pt x="2284172" y="5161907"/>
                </a:cubicBezTo>
                <a:close/>
                <a:moveTo>
                  <a:pt x="2606705" y="5203204"/>
                </a:moveTo>
                <a:cubicBezTo>
                  <a:pt x="2570927" y="5203204"/>
                  <a:pt x="2541422" y="5173698"/>
                  <a:pt x="2541422" y="5137920"/>
                </a:cubicBezTo>
                <a:cubicBezTo>
                  <a:pt x="2541422" y="5102140"/>
                  <a:pt x="2570298" y="5072634"/>
                  <a:pt x="2606705" y="5072634"/>
                </a:cubicBezTo>
                <a:cubicBezTo>
                  <a:pt x="2642484" y="5072634"/>
                  <a:pt x="2671989" y="5102140"/>
                  <a:pt x="2671989" y="5137920"/>
                </a:cubicBezTo>
                <a:cubicBezTo>
                  <a:pt x="2671989" y="5173698"/>
                  <a:pt x="2642484" y="5203204"/>
                  <a:pt x="2606705" y="5203204"/>
                </a:cubicBezTo>
                <a:close/>
                <a:moveTo>
                  <a:pt x="282554" y="5227222"/>
                </a:moveTo>
                <a:cubicBezTo>
                  <a:pt x="226690" y="5227222"/>
                  <a:pt x="181492" y="5182653"/>
                  <a:pt x="181492" y="5126781"/>
                </a:cubicBezTo>
                <a:cubicBezTo>
                  <a:pt x="180863" y="5071546"/>
                  <a:pt x="226061" y="5026347"/>
                  <a:pt x="281931" y="5025719"/>
                </a:cubicBezTo>
                <a:cubicBezTo>
                  <a:pt x="337795" y="5025719"/>
                  <a:pt x="382993" y="5070916"/>
                  <a:pt x="382993" y="5126157"/>
                </a:cubicBezTo>
                <a:cubicBezTo>
                  <a:pt x="382993" y="5182022"/>
                  <a:pt x="337795" y="5227222"/>
                  <a:pt x="282554" y="5227222"/>
                </a:cubicBezTo>
                <a:close/>
                <a:moveTo>
                  <a:pt x="2928920" y="5278373"/>
                </a:moveTo>
                <a:cubicBezTo>
                  <a:pt x="2894415" y="5278373"/>
                  <a:pt x="2864213" y="5250333"/>
                  <a:pt x="2864213" y="5213666"/>
                </a:cubicBezTo>
                <a:cubicBezTo>
                  <a:pt x="2864213" y="5179162"/>
                  <a:pt x="2894415" y="5148959"/>
                  <a:pt x="2928920" y="5148959"/>
                </a:cubicBezTo>
                <a:cubicBezTo>
                  <a:pt x="2965586" y="5148959"/>
                  <a:pt x="2993626" y="5176999"/>
                  <a:pt x="2993626" y="5213666"/>
                </a:cubicBezTo>
                <a:cubicBezTo>
                  <a:pt x="2993626" y="5250333"/>
                  <a:pt x="2965586" y="5278373"/>
                  <a:pt x="2928920" y="5278373"/>
                </a:cubicBezTo>
                <a:close/>
                <a:moveTo>
                  <a:pt x="3250679" y="5353672"/>
                </a:moveTo>
                <a:cubicBezTo>
                  <a:pt x="3212149" y="5353672"/>
                  <a:pt x="3179998" y="5327960"/>
                  <a:pt x="3179998" y="5289358"/>
                </a:cubicBezTo>
                <a:cubicBezTo>
                  <a:pt x="3179998" y="5250822"/>
                  <a:pt x="3212149" y="5225110"/>
                  <a:pt x="3250679" y="5225110"/>
                </a:cubicBezTo>
                <a:cubicBezTo>
                  <a:pt x="3289273" y="5218665"/>
                  <a:pt x="3321424" y="5250822"/>
                  <a:pt x="3321424" y="5289358"/>
                </a:cubicBezTo>
                <a:cubicBezTo>
                  <a:pt x="3321424" y="5321515"/>
                  <a:pt x="3289273" y="5353672"/>
                  <a:pt x="3250679" y="5353672"/>
                </a:cubicBezTo>
                <a:close/>
                <a:moveTo>
                  <a:pt x="637118" y="5377314"/>
                </a:moveTo>
                <a:cubicBezTo>
                  <a:pt x="553001" y="5377944"/>
                  <a:pt x="483949" y="5309521"/>
                  <a:pt x="483949" y="5225403"/>
                </a:cubicBezTo>
                <a:cubicBezTo>
                  <a:pt x="483949" y="5141285"/>
                  <a:pt x="551743" y="5072239"/>
                  <a:pt x="635859" y="5072239"/>
                </a:cubicBezTo>
                <a:cubicBezTo>
                  <a:pt x="719976" y="5071609"/>
                  <a:pt x="789028" y="5140032"/>
                  <a:pt x="789028" y="5224152"/>
                </a:cubicBezTo>
                <a:cubicBezTo>
                  <a:pt x="789651" y="5308269"/>
                  <a:pt x="721228" y="5377314"/>
                  <a:pt x="637118" y="5377314"/>
                </a:cubicBezTo>
                <a:close/>
                <a:moveTo>
                  <a:pt x="1822594" y="5385068"/>
                </a:moveTo>
                <a:cubicBezTo>
                  <a:pt x="1744751" y="5385068"/>
                  <a:pt x="1680726" y="5322295"/>
                  <a:pt x="1680726" y="5243827"/>
                </a:cubicBezTo>
                <a:cubicBezTo>
                  <a:pt x="1680726" y="5165989"/>
                  <a:pt x="1743499" y="5101958"/>
                  <a:pt x="1821965" y="5101958"/>
                </a:cubicBezTo>
                <a:cubicBezTo>
                  <a:pt x="1899802" y="5101958"/>
                  <a:pt x="1963833" y="5164731"/>
                  <a:pt x="1963833" y="5243198"/>
                </a:cubicBezTo>
                <a:cubicBezTo>
                  <a:pt x="1963833" y="5321038"/>
                  <a:pt x="1900431" y="5385068"/>
                  <a:pt x="1822594" y="5385068"/>
                </a:cubicBezTo>
                <a:close/>
                <a:moveTo>
                  <a:pt x="64027" y="5415148"/>
                </a:moveTo>
                <a:cubicBezTo>
                  <a:pt x="51000" y="5415148"/>
                  <a:pt x="38523" y="5412519"/>
                  <a:pt x="27135" y="5407753"/>
                </a:cubicBezTo>
                <a:lnTo>
                  <a:pt x="0" y="5389675"/>
                </a:lnTo>
                <a:lnTo>
                  <a:pt x="0" y="5250177"/>
                </a:lnTo>
                <a:lnTo>
                  <a:pt x="26253" y="5232443"/>
                </a:lnTo>
                <a:cubicBezTo>
                  <a:pt x="37660" y="5227617"/>
                  <a:pt x="50215" y="5224949"/>
                  <a:pt x="63398" y="5224949"/>
                </a:cubicBezTo>
                <a:cubicBezTo>
                  <a:pt x="116129" y="5224949"/>
                  <a:pt x="158810" y="5267005"/>
                  <a:pt x="158810" y="5319739"/>
                </a:cubicBezTo>
                <a:cubicBezTo>
                  <a:pt x="158810" y="5372467"/>
                  <a:pt x="116758" y="5415148"/>
                  <a:pt x="64027" y="5415148"/>
                </a:cubicBezTo>
                <a:close/>
                <a:moveTo>
                  <a:pt x="2151676" y="5430955"/>
                </a:moveTo>
                <a:cubicBezTo>
                  <a:pt x="2092044" y="5430955"/>
                  <a:pt x="2043083" y="5383253"/>
                  <a:pt x="2043083" y="5322992"/>
                </a:cubicBezTo>
                <a:cubicBezTo>
                  <a:pt x="2043083" y="5263352"/>
                  <a:pt x="2091421" y="5214390"/>
                  <a:pt x="2151054" y="5214390"/>
                </a:cubicBezTo>
                <a:cubicBezTo>
                  <a:pt x="2210686" y="5214390"/>
                  <a:pt x="2259647" y="5262097"/>
                  <a:pt x="2259647" y="5322361"/>
                </a:cubicBezTo>
                <a:cubicBezTo>
                  <a:pt x="2259647" y="5381993"/>
                  <a:pt x="2211315" y="5430955"/>
                  <a:pt x="2151676" y="5430955"/>
                </a:cubicBezTo>
                <a:close/>
                <a:moveTo>
                  <a:pt x="2479474" y="5482904"/>
                </a:moveTo>
                <a:cubicBezTo>
                  <a:pt x="2434275" y="5482904"/>
                  <a:pt x="2397238" y="5446495"/>
                  <a:pt x="2397238" y="5401304"/>
                </a:cubicBezTo>
                <a:cubicBezTo>
                  <a:pt x="2397238" y="5356734"/>
                  <a:pt x="2433646" y="5319697"/>
                  <a:pt x="2478845" y="5319068"/>
                </a:cubicBezTo>
                <a:cubicBezTo>
                  <a:pt x="2524038" y="5319068"/>
                  <a:pt x="2561075" y="5355476"/>
                  <a:pt x="2561075" y="5400674"/>
                </a:cubicBezTo>
                <a:cubicBezTo>
                  <a:pt x="2561075" y="5445874"/>
                  <a:pt x="2524667" y="5482904"/>
                  <a:pt x="2479474" y="5482904"/>
                </a:cubicBezTo>
                <a:close/>
                <a:moveTo>
                  <a:pt x="2805452" y="5542928"/>
                </a:moveTo>
                <a:cubicBezTo>
                  <a:pt x="2769922" y="5542928"/>
                  <a:pt x="2740750" y="5513743"/>
                  <a:pt x="2740750" y="5478225"/>
                </a:cubicBezTo>
                <a:cubicBezTo>
                  <a:pt x="2740750" y="5442707"/>
                  <a:pt x="2768663" y="5413523"/>
                  <a:pt x="2805452" y="5413523"/>
                </a:cubicBezTo>
                <a:cubicBezTo>
                  <a:pt x="2840970" y="5413523"/>
                  <a:pt x="2870155" y="5442707"/>
                  <a:pt x="2870155" y="5478225"/>
                </a:cubicBezTo>
                <a:cubicBezTo>
                  <a:pt x="2870155" y="5513743"/>
                  <a:pt x="2840970" y="5542928"/>
                  <a:pt x="2805452" y="5542928"/>
                </a:cubicBezTo>
                <a:close/>
                <a:moveTo>
                  <a:pt x="432254" y="5561139"/>
                </a:moveTo>
                <a:cubicBezTo>
                  <a:pt x="361320" y="5561139"/>
                  <a:pt x="303568" y="5504015"/>
                  <a:pt x="303568" y="5433082"/>
                </a:cubicBezTo>
                <a:cubicBezTo>
                  <a:pt x="303568" y="5362149"/>
                  <a:pt x="360691" y="5304397"/>
                  <a:pt x="431625" y="5304397"/>
                </a:cubicBezTo>
                <a:cubicBezTo>
                  <a:pt x="502559" y="5304397"/>
                  <a:pt x="560311" y="5361519"/>
                  <a:pt x="560311" y="5432453"/>
                </a:cubicBezTo>
                <a:cubicBezTo>
                  <a:pt x="560311" y="5503388"/>
                  <a:pt x="503189" y="5561139"/>
                  <a:pt x="432254" y="5561139"/>
                </a:cubicBezTo>
                <a:close/>
                <a:moveTo>
                  <a:pt x="1666966" y="5607507"/>
                </a:moveTo>
                <a:cubicBezTo>
                  <a:pt x="1601681" y="5608129"/>
                  <a:pt x="1548950" y="5555400"/>
                  <a:pt x="1548950" y="5490746"/>
                </a:cubicBezTo>
                <a:cubicBezTo>
                  <a:pt x="1548321" y="5426094"/>
                  <a:pt x="1601052" y="5373364"/>
                  <a:pt x="1666337" y="5373364"/>
                </a:cubicBezTo>
                <a:cubicBezTo>
                  <a:pt x="1730992" y="5372734"/>
                  <a:pt x="1783723" y="5425464"/>
                  <a:pt x="1783723" y="5490116"/>
                </a:cubicBezTo>
                <a:cubicBezTo>
                  <a:pt x="1783723" y="5554775"/>
                  <a:pt x="1731621" y="5607507"/>
                  <a:pt x="1666966" y="5607507"/>
                </a:cubicBezTo>
                <a:close/>
                <a:moveTo>
                  <a:pt x="3130114" y="5619540"/>
                </a:moveTo>
                <a:cubicBezTo>
                  <a:pt x="3096147" y="5619540"/>
                  <a:pt x="3065553" y="5592320"/>
                  <a:pt x="3065553" y="5554945"/>
                </a:cubicBezTo>
                <a:cubicBezTo>
                  <a:pt x="3065553" y="5517572"/>
                  <a:pt x="3096147" y="5486978"/>
                  <a:pt x="3126741" y="5490385"/>
                </a:cubicBezTo>
                <a:cubicBezTo>
                  <a:pt x="3164115" y="5490385"/>
                  <a:pt x="3194709" y="5517572"/>
                  <a:pt x="3194709" y="5554945"/>
                </a:cubicBezTo>
                <a:cubicBezTo>
                  <a:pt x="3198116" y="5588947"/>
                  <a:pt x="3167522" y="5619540"/>
                  <a:pt x="3130114" y="5619540"/>
                </a:cubicBezTo>
                <a:close/>
                <a:moveTo>
                  <a:pt x="2001975" y="5659784"/>
                </a:moveTo>
                <a:cubicBezTo>
                  <a:pt x="1954266" y="5659784"/>
                  <a:pt x="1915348" y="5621495"/>
                  <a:pt x="1915348" y="5573786"/>
                </a:cubicBezTo>
                <a:cubicBezTo>
                  <a:pt x="1915348" y="5526707"/>
                  <a:pt x="1953637" y="5487787"/>
                  <a:pt x="2001345" y="5487159"/>
                </a:cubicBezTo>
                <a:cubicBezTo>
                  <a:pt x="2049054" y="5487159"/>
                  <a:pt x="2087972" y="5525448"/>
                  <a:pt x="2087972" y="5573156"/>
                </a:cubicBezTo>
                <a:cubicBezTo>
                  <a:pt x="2087972" y="5620866"/>
                  <a:pt x="2049683" y="5659784"/>
                  <a:pt x="2001975" y="5659784"/>
                </a:cubicBezTo>
                <a:close/>
                <a:moveTo>
                  <a:pt x="2335375" y="5719486"/>
                </a:moveTo>
                <a:cubicBezTo>
                  <a:pt x="2299321" y="5719486"/>
                  <a:pt x="2270353" y="5690517"/>
                  <a:pt x="2270353" y="5655108"/>
                </a:cubicBezTo>
                <a:cubicBezTo>
                  <a:pt x="2270353" y="5619699"/>
                  <a:pt x="2298676" y="5590731"/>
                  <a:pt x="2334730" y="5590086"/>
                </a:cubicBezTo>
                <a:cubicBezTo>
                  <a:pt x="2370783" y="5590086"/>
                  <a:pt x="2399751" y="5619055"/>
                  <a:pt x="2399751" y="5654463"/>
                </a:cubicBezTo>
                <a:cubicBezTo>
                  <a:pt x="2399751" y="5690517"/>
                  <a:pt x="2370783" y="5719486"/>
                  <a:pt x="2335375" y="5719486"/>
                </a:cubicBezTo>
                <a:close/>
                <a:moveTo>
                  <a:pt x="208233" y="5751408"/>
                </a:moveTo>
                <a:cubicBezTo>
                  <a:pt x="135418" y="5751408"/>
                  <a:pt x="76415" y="5693027"/>
                  <a:pt x="75786" y="5620212"/>
                </a:cubicBezTo>
                <a:cubicBezTo>
                  <a:pt x="75786" y="5548018"/>
                  <a:pt x="134789" y="5489015"/>
                  <a:pt x="207610" y="5488386"/>
                </a:cubicBezTo>
                <a:cubicBezTo>
                  <a:pt x="279796" y="5488386"/>
                  <a:pt x="339428" y="5546767"/>
                  <a:pt x="339428" y="5619583"/>
                </a:cubicBezTo>
                <a:cubicBezTo>
                  <a:pt x="339428" y="5691770"/>
                  <a:pt x="281054" y="5751408"/>
                  <a:pt x="208233" y="5751408"/>
                </a:cubicBezTo>
                <a:close/>
                <a:moveTo>
                  <a:pt x="2666078" y="5799312"/>
                </a:moveTo>
                <a:cubicBezTo>
                  <a:pt x="2630548" y="5799312"/>
                  <a:pt x="2601376" y="5770126"/>
                  <a:pt x="2601376" y="5734609"/>
                </a:cubicBezTo>
                <a:cubicBezTo>
                  <a:pt x="2601376" y="5699092"/>
                  <a:pt x="2629289" y="5669907"/>
                  <a:pt x="2666078" y="5669907"/>
                </a:cubicBezTo>
                <a:cubicBezTo>
                  <a:pt x="2701596" y="5669907"/>
                  <a:pt x="2730768" y="5699092"/>
                  <a:pt x="2730768" y="5734609"/>
                </a:cubicBezTo>
                <a:cubicBezTo>
                  <a:pt x="2730768" y="5770126"/>
                  <a:pt x="2701596" y="5799312"/>
                  <a:pt x="2666078" y="5799312"/>
                </a:cubicBezTo>
                <a:close/>
                <a:moveTo>
                  <a:pt x="1492315" y="5868417"/>
                </a:moveTo>
                <a:cubicBezTo>
                  <a:pt x="1413219" y="5869048"/>
                  <a:pt x="1348565" y="5805015"/>
                  <a:pt x="1347936" y="5725296"/>
                </a:cubicBezTo>
                <a:cubicBezTo>
                  <a:pt x="1347936" y="5645569"/>
                  <a:pt x="1411961" y="5581535"/>
                  <a:pt x="1491056" y="5580914"/>
                </a:cubicBezTo>
                <a:cubicBezTo>
                  <a:pt x="1570152" y="5580285"/>
                  <a:pt x="1634806" y="5644310"/>
                  <a:pt x="1635435" y="5724037"/>
                </a:cubicBezTo>
                <a:cubicBezTo>
                  <a:pt x="1636064" y="5803134"/>
                  <a:pt x="1571410" y="5868417"/>
                  <a:pt x="1492315" y="5868417"/>
                </a:cubicBezTo>
                <a:close/>
                <a:moveTo>
                  <a:pt x="2995160" y="5878794"/>
                </a:moveTo>
                <a:cubicBezTo>
                  <a:pt x="2962839" y="5878794"/>
                  <a:pt x="2930464" y="5851871"/>
                  <a:pt x="2930464" y="5814081"/>
                </a:cubicBezTo>
                <a:cubicBezTo>
                  <a:pt x="2930464" y="5776345"/>
                  <a:pt x="2962839" y="5743961"/>
                  <a:pt x="2995160" y="5749367"/>
                </a:cubicBezTo>
                <a:cubicBezTo>
                  <a:pt x="3032886" y="5749367"/>
                  <a:pt x="3059856" y="5776345"/>
                  <a:pt x="3059856" y="5814081"/>
                </a:cubicBezTo>
                <a:cubicBezTo>
                  <a:pt x="3059856" y="5851871"/>
                  <a:pt x="3032886" y="5878794"/>
                  <a:pt x="2995160" y="5878794"/>
                </a:cubicBezTo>
                <a:close/>
                <a:moveTo>
                  <a:pt x="580240" y="5882856"/>
                </a:moveTo>
                <a:cubicBezTo>
                  <a:pt x="499891" y="5882856"/>
                  <a:pt x="433977" y="5817571"/>
                  <a:pt x="433977" y="5737224"/>
                </a:cubicBezTo>
                <a:cubicBezTo>
                  <a:pt x="433348" y="5656245"/>
                  <a:pt x="498633" y="5590961"/>
                  <a:pt x="579611" y="5590961"/>
                </a:cubicBezTo>
                <a:cubicBezTo>
                  <a:pt x="599699" y="5590961"/>
                  <a:pt x="618885" y="5595040"/>
                  <a:pt x="636364" y="5602418"/>
                </a:cubicBezTo>
                <a:lnTo>
                  <a:pt x="669550" y="5624700"/>
                </a:lnTo>
                <a:lnTo>
                  <a:pt x="650469" y="5596632"/>
                </a:lnTo>
                <a:cubicBezTo>
                  <a:pt x="642584" y="5578251"/>
                  <a:pt x="638150" y="5558047"/>
                  <a:pt x="637993" y="5536861"/>
                </a:cubicBezTo>
                <a:cubicBezTo>
                  <a:pt x="637364" y="5452118"/>
                  <a:pt x="706417" y="5383066"/>
                  <a:pt x="791157" y="5382443"/>
                </a:cubicBezTo>
                <a:lnTo>
                  <a:pt x="829413" y="5389916"/>
                </a:lnTo>
                <a:lnTo>
                  <a:pt x="825795" y="5384597"/>
                </a:lnTo>
                <a:cubicBezTo>
                  <a:pt x="816978" y="5363998"/>
                  <a:pt x="812034" y="5341321"/>
                  <a:pt x="811877" y="5317465"/>
                </a:cubicBezTo>
                <a:cubicBezTo>
                  <a:pt x="811877" y="5222052"/>
                  <a:pt x="889086" y="5144212"/>
                  <a:pt x="983876" y="5144212"/>
                </a:cubicBezTo>
                <a:lnTo>
                  <a:pt x="1003968" y="5148148"/>
                </a:lnTo>
                <a:lnTo>
                  <a:pt x="1003242" y="5147081"/>
                </a:lnTo>
                <a:cubicBezTo>
                  <a:pt x="994738" y="5127162"/>
                  <a:pt x="990030" y="5105231"/>
                  <a:pt x="990030" y="5082165"/>
                </a:cubicBezTo>
                <a:cubicBezTo>
                  <a:pt x="989401" y="4989884"/>
                  <a:pt x="1064098" y="4915179"/>
                  <a:pt x="1156377" y="4914558"/>
                </a:cubicBezTo>
                <a:lnTo>
                  <a:pt x="1157320" y="4914741"/>
                </a:lnTo>
                <a:lnTo>
                  <a:pt x="1147184" y="4899835"/>
                </a:lnTo>
                <a:cubicBezTo>
                  <a:pt x="1138240" y="4878953"/>
                  <a:pt x="1133219" y="4855960"/>
                  <a:pt x="1133063" y="4831793"/>
                </a:cubicBezTo>
                <a:cubicBezTo>
                  <a:pt x="1132591" y="4759290"/>
                  <a:pt x="1176257" y="4697030"/>
                  <a:pt x="1238901" y="4670426"/>
                </a:cubicBezTo>
                <a:lnTo>
                  <a:pt x="1302861" y="4657482"/>
                </a:lnTo>
                <a:lnTo>
                  <a:pt x="1285895" y="4632557"/>
                </a:lnTo>
                <a:cubicBezTo>
                  <a:pt x="1277577" y="4613167"/>
                  <a:pt x="1272908" y="4591824"/>
                  <a:pt x="1272751" y="4569384"/>
                </a:cubicBezTo>
                <a:cubicBezTo>
                  <a:pt x="1272751" y="4502059"/>
                  <a:pt x="1313356" y="4444268"/>
                  <a:pt x="1371528" y="4419318"/>
                </a:cubicBezTo>
                <a:lnTo>
                  <a:pt x="1433163" y="4406496"/>
                </a:lnTo>
                <a:lnTo>
                  <a:pt x="1430650" y="4404815"/>
                </a:lnTo>
                <a:cubicBezTo>
                  <a:pt x="1402638" y="4377039"/>
                  <a:pt x="1385219" y="4338595"/>
                  <a:pt x="1385219" y="4296224"/>
                </a:cubicBezTo>
                <a:cubicBezTo>
                  <a:pt x="1384590" y="4210846"/>
                  <a:pt x="1453642" y="4141802"/>
                  <a:pt x="1538381" y="4141802"/>
                </a:cubicBezTo>
                <a:lnTo>
                  <a:pt x="1544525" y="4143007"/>
                </a:lnTo>
                <a:lnTo>
                  <a:pt x="1511406" y="4120864"/>
                </a:lnTo>
                <a:cubicBezTo>
                  <a:pt x="1484021" y="4093713"/>
                  <a:pt x="1467073" y="4056207"/>
                  <a:pt x="1467073" y="4014775"/>
                </a:cubicBezTo>
                <a:cubicBezTo>
                  <a:pt x="1467073" y="3952631"/>
                  <a:pt x="1504503" y="3898963"/>
                  <a:pt x="1558705" y="3876012"/>
                </a:cubicBezTo>
                <a:lnTo>
                  <a:pt x="1607131" y="3866259"/>
                </a:lnTo>
                <a:lnTo>
                  <a:pt x="1562279" y="3836312"/>
                </a:lnTo>
                <a:cubicBezTo>
                  <a:pt x="1534268" y="3808613"/>
                  <a:pt x="1516849" y="3770324"/>
                  <a:pt x="1516849" y="3727962"/>
                </a:cubicBezTo>
                <a:cubicBezTo>
                  <a:pt x="1516849" y="3663922"/>
                  <a:pt x="1555336" y="3609076"/>
                  <a:pt x="1610332" y="3585656"/>
                </a:cubicBezTo>
                <a:lnTo>
                  <a:pt x="1647563" y="3578094"/>
                </a:lnTo>
                <a:lnTo>
                  <a:pt x="1639313" y="3576431"/>
                </a:lnTo>
                <a:cubicBezTo>
                  <a:pt x="1584849" y="3553451"/>
                  <a:pt x="1546361" y="3499662"/>
                  <a:pt x="1546361" y="3437058"/>
                </a:cubicBezTo>
                <a:cubicBezTo>
                  <a:pt x="1546361" y="3374450"/>
                  <a:pt x="1584141" y="3320666"/>
                  <a:pt x="1638517" y="3297425"/>
                </a:cubicBezTo>
                <a:lnTo>
                  <a:pt x="1680874" y="3288643"/>
                </a:lnTo>
                <a:lnTo>
                  <a:pt x="1642437" y="3281111"/>
                </a:lnTo>
                <a:cubicBezTo>
                  <a:pt x="1589709" y="3259067"/>
                  <a:pt x="1552518" y="3206813"/>
                  <a:pt x="1552046" y="3146080"/>
                </a:cubicBezTo>
                <a:cubicBezTo>
                  <a:pt x="1551417" y="3065122"/>
                  <a:pt x="1617330" y="2998585"/>
                  <a:pt x="1698937" y="2997956"/>
                </a:cubicBezTo>
                <a:cubicBezTo>
                  <a:pt x="1779915" y="2997956"/>
                  <a:pt x="1846451" y="3063870"/>
                  <a:pt x="1846451" y="3144829"/>
                </a:cubicBezTo>
                <a:cubicBezTo>
                  <a:pt x="1846451" y="3205556"/>
                  <a:pt x="1809375" y="3258167"/>
                  <a:pt x="1756674" y="3280650"/>
                </a:cubicBezTo>
                <a:lnTo>
                  <a:pt x="1716184" y="3288913"/>
                </a:lnTo>
                <a:lnTo>
                  <a:pt x="1756509" y="3297061"/>
                </a:lnTo>
                <a:cubicBezTo>
                  <a:pt x="1810826" y="3320040"/>
                  <a:pt x="1849078" y="3373821"/>
                  <a:pt x="1849550" y="3436433"/>
                </a:cubicBezTo>
                <a:cubicBezTo>
                  <a:pt x="1849550" y="3499037"/>
                  <a:pt x="1811416" y="3553178"/>
                  <a:pt x="1757129" y="3576332"/>
                </a:cubicBezTo>
                <a:lnTo>
                  <a:pt x="1721353" y="3583624"/>
                </a:lnTo>
                <a:lnTo>
                  <a:pt x="1729804" y="3585283"/>
                </a:lnTo>
                <a:cubicBezTo>
                  <a:pt x="1785003" y="3608410"/>
                  <a:pt x="1823963" y="3663140"/>
                  <a:pt x="1824435" y="3726698"/>
                </a:cubicBezTo>
                <a:cubicBezTo>
                  <a:pt x="1824435" y="3790253"/>
                  <a:pt x="1785948" y="3844983"/>
                  <a:pt x="1730952" y="3868639"/>
                </a:cubicBezTo>
                <a:lnTo>
                  <a:pt x="1680961" y="3879090"/>
                </a:lnTo>
                <a:lnTo>
                  <a:pt x="1724131" y="3908063"/>
                </a:lnTo>
                <a:cubicBezTo>
                  <a:pt x="1751436" y="3935213"/>
                  <a:pt x="1768385" y="3972718"/>
                  <a:pt x="1768385" y="4014150"/>
                </a:cubicBezTo>
                <a:cubicBezTo>
                  <a:pt x="1768385" y="4097011"/>
                  <a:pt x="1701220" y="4164807"/>
                  <a:pt x="1618355" y="4164807"/>
                </a:cubicBezTo>
                <a:lnTo>
                  <a:pt x="1613709" y="4163874"/>
                </a:lnTo>
                <a:lnTo>
                  <a:pt x="1647370" y="4186372"/>
                </a:lnTo>
                <a:cubicBezTo>
                  <a:pt x="1675382" y="4214147"/>
                  <a:pt x="1692801" y="4252596"/>
                  <a:pt x="1692801" y="4294968"/>
                </a:cubicBezTo>
                <a:cubicBezTo>
                  <a:pt x="1693273" y="4358527"/>
                  <a:pt x="1654549" y="4413249"/>
                  <a:pt x="1599408" y="4436910"/>
                </a:cubicBezTo>
                <a:lnTo>
                  <a:pt x="1543097" y="4448660"/>
                </a:lnTo>
                <a:lnTo>
                  <a:pt x="1549971" y="4453252"/>
                </a:lnTo>
                <a:cubicBezTo>
                  <a:pt x="1579553" y="4482597"/>
                  <a:pt x="1597914" y="4523246"/>
                  <a:pt x="1597914" y="4568131"/>
                </a:cubicBezTo>
                <a:cubicBezTo>
                  <a:pt x="1598386" y="4635451"/>
                  <a:pt x="1557542" y="4693596"/>
                  <a:pt x="1499223" y="4718461"/>
                </a:cubicBezTo>
                <a:lnTo>
                  <a:pt x="1445826" y="4729330"/>
                </a:lnTo>
                <a:lnTo>
                  <a:pt x="1468306" y="4762495"/>
                </a:lnTo>
                <a:cubicBezTo>
                  <a:pt x="1477173" y="4783375"/>
                  <a:pt x="1482077" y="4806366"/>
                  <a:pt x="1482077" y="4830536"/>
                </a:cubicBezTo>
                <a:cubicBezTo>
                  <a:pt x="1482706" y="4926583"/>
                  <a:pt x="1404869" y="5005674"/>
                  <a:pt x="1308199" y="5005674"/>
                </a:cubicBezTo>
                <a:lnTo>
                  <a:pt x="1302861" y="5004626"/>
                </a:lnTo>
                <a:lnTo>
                  <a:pt x="1310505" y="5015893"/>
                </a:lnTo>
                <a:cubicBezTo>
                  <a:pt x="1319038" y="5035864"/>
                  <a:pt x="1323825" y="5057835"/>
                  <a:pt x="1323982" y="5080903"/>
                </a:cubicBezTo>
                <a:cubicBezTo>
                  <a:pt x="1324611" y="5173185"/>
                  <a:pt x="1249908" y="5247884"/>
                  <a:pt x="1157635" y="5248512"/>
                </a:cubicBezTo>
                <a:lnTo>
                  <a:pt x="1140879" y="5245163"/>
                </a:lnTo>
                <a:lnTo>
                  <a:pt x="1143480" y="5248995"/>
                </a:lnTo>
                <a:cubicBezTo>
                  <a:pt x="1152268" y="5269642"/>
                  <a:pt x="1157133" y="5292358"/>
                  <a:pt x="1157133" y="5316214"/>
                </a:cubicBezTo>
                <a:cubicBezTo>
                  <a:pt x="1157133" y="5411633"/>
                  <a:pt x="1080547" y="5489471"/>
                  <a:pt x="985134" y="5489471"/>
                </a:cubicBezTo>
                <a:lnTo>
                  <a:pt x="934152" y="5479265"/>
                </a:lnTo>
                <a:lnTo>
                  <a:pt x="945579" y="5535604"/>
                </a:lnTo>
                <a:cubicBezTo>
                  <a:pt x="946208" y="5620350"/>
                  <a:pt x="877155" y="5690026"/>
                  <a:pt x="792415" y="5690026"/>
                </a:cubicBezTo>
                <a:cubicBezTo>
                  <a:pt x="771228" y="5690183"/>
                  <a:pt x="751023" y="5685984"/>
                  <a:pt x="732623" y="5678276"/>
                </a:cubicBezTo>
                <a:lnTo>
                  <a:pt x="696944" y="5654361"/>
                </a:lnTo>
                <a:lnTo>
                  <a:pt x="714319" y="5679942"/>
                </a:lnTo>
                <a:cubicBezTo>
                  <a:pt x="721754" y="5697361"/>
                  <a:pt x="725873" y="5716508"/>
                  <a:pt x="725873" y="5736595"/>
                </a:cubicBezTo>
                <a:cubicBezTo>
                  <a:pt x="725873" y="5816949"/>
                  <a:pt x="660588" y="5882856"/>
                  <a:pt x="580240" y="5882856"/>
                </a:cubicBezTo>
                <a:close/>
                <a:moveTo>
                  <a:pt x="1835066" y="5906921"/>
                </a:moveTo>
                <a:cubicBezTo>
                  <a:pt x="1783593" y="5907548"/>
                  <a:pt x="1740904" y="5865490"/>
                  <a:pt x="1740904" y="5813388"/>
                </a:cubicBezTo>
                <a:cubicBezTo>
                  <a:pt x="1740904" y="5761286"/>
                  <a:pt x="1782963" y="5719226"/>
                  <a:pt x="1834436" y="5719226"/>
                </a:cubicBezTo>
                <a:cubicBezTo>
                  <a:pt x="1885915" y="5719226"/>
                  <a:pt x="1928598" y="5760656"/>
                  <a:pt x="1928598" y="5812758"/>
                </a:cubicBezTo>
                <a:cubicBezTo>
                  <a:pt x="1929227" y="5864237"/>
                  <a:pt x="1887168" y="5906921"/>
                  <a:pt x="1835066" y="5906921"/>
                </a:cubicBezTo>
                <a:close/>
                <a:moveTo>
                  <a:pt x="0" y="5908550"/>
                </a:moveTo>
                <a:lnTo>
                  <a:pt x="0" y="5658693"/>
                </a:lnTo>
                <a:lnTo>
                  <a:pt x="16628" y="5662012"/>
                </a:lnTo>
                <a:cubicBezTo>
                  <a:pt x="64118" y="5681844"/>
                  <a:pt x="97661" y="5728336"/>
                  <a:pt x="97661" y="5782949"/>
                </a:cubicBezTo>
                <a:cubicBezTo>
                  <a:pt x="97661" y="5837559"/>
                  <a:pt x="64826" y="5884755"/>
                  <a:pt x="17686" y="5904940"/>
                </a:cubicBezTo>
                <a:close/>
                <a:moveTo>
                  <a:pt x="2174916" y="5963402"/>
                </a:moveTo>
                <a:cubicBezTo>
                  <a:pt x="2139507" y="5963402"/>
                  <a:pt x="2109894" y="5934432"/>
                  <a:pt x="2109894" y="5899023"/>
                </a:cubicBezTo>
                <a:cubicBezTo>
                  <a:pt x="2109894" y="5862969"/>
                  <a:pt x="2138862" y="5834002"/>
                  <a:pt x="2174271" y="5834002"/>
                </a:cubicBezTo>
                <a:cubicBezTo>
                  <a:pt x="2210324" y="5834002"/>
                  <a:pt x="2239292" y="5862969"/>
                  <a:pt x="2239292" y="5898379"/>
                </a:cubicBezTo>
                <a:cubicBezTo>
                  <a:pt x="2239292" y="5934432"/>
                  <a:pt x="2210963" y="5963402"/>
                  <a:pt x="2174916" y="5963402"/>
                </a:cubicBezTo>
                <a:close/>
                <a:moveTo>
                  <a:pt x="944170" y="5981628"/>
                </a:moveTo>
                <a:cubicBezTo>
                  <a:pt x="868844" y="5981628"/>
                  <a:pt x="806700" y="5920735"/>
                  <a:pt x="806700" y="5844773"/>
                </a:cubicBezTo>
                <a:cubicBezTo>
                  <a:pt x="806071" y="5768818"/>
                  <a:pt x="866962" y="5707303"/>
                  <a:pt x="943541" y="5707303"/>
                </a:cubicBezTo>
                <a:cubicBezTo>
                  <a:pt x="962374" y="5707303"/>
                  <a:pt x="980383" y="5711109"/>
                  <a:pt x="996802" y="5718003"/>
                </a:cubicBezTo>
                <a:lnTo>
                  <a:pt x="1032709" y="5742017"/>
                </a:lnTo>
                <a:lnTo>
                  <a:pt x="1000297" y="5694280"/>
                </a:lnTo>
                <a:cubicBezTo>
                  <a:pt x="992265" y="5675517"/>
                  <a:pt x="987754" y="5654878"/>
                  <a:pt x="987598" y="5633221"/>
                </a:cubicBezTo>
                <a:cubicBezTo>
                  <a:pt x="986969" y="5545970"/>
                  <a:pt x="1057274" y="5475666"/>
                  <a:pt x="1143900" y="5475666"/>
                </a:cubicBezTo>
                <a:lnTo>
                  <a:pt x="1182349" y="5483194"/>
                </a:lnTo>
                <a:lnTo>
                  <a:pt x="1173854" y="5470670"/>
                </a:lnTo>
                <a:cubicBezTo>
                  <a:pt x="1165321" y="5450701"/>
                  <a:pt x="1160536" y="5428734"/>
                  <a:pt x="1160380" y="5405666"/>
                </a:cubicBezTo>
                <a:cubicBezTo>
                  <a:pt x="1159751" y="5313388"/>
                  <a:pt x="1234448" y="5238060"/>
                  <a:pt x="1326727" y="5238060"/>
                </a:cubicBezTo>
                <a:lnTo>
                  <a:pt x="1346608" y="5241952"/>
                </a:lnTo>
                <a:lnTo>
                  <a:pt x="1337756" y="5228905"/>
                </a:lnTo>
                <a:cubicBezTo>
                  <a:pt x="1329223" y="5208936"/>
                  <a:pt x="1324438" y="5186963"/>
                  <a:pt x="1324282" y="5163893"/>
                </a:cubicBezTo>
                <a:cubicBezTo>
                  <a:pt x="1323653" y="5071614"/>
                  <a:pt x="1398350" y="4996287"/>
                  <a:pt x="1490629" y="4996287"/>
                </a:cubicBezTo>
                <a:lnTo>
                  <a:pt x="1513231" y="5000811"/>
                </a:lnTo>
                <a:lnTo>
                  <a:pt x="1492209" y="4969814"/>
                </a:lnTo>
                <a:cubicBezTo>
                  <a:pt x="1484343" y="4951335"/>
                  <a:pt x="1479988" y="4931011"/>
                  <a:pt x="1479988" y="4909668"/>
                </a:cubicBezTo>
                <a:cubicBezTo>
                  <a:pt x="1479359" y="4824288"/>
                  <a:pt x="1548411" y="4754613"/>
                  <a:pt x="1633780" y="4753981"/>
                </a:cubicBezTo>
                <a:lnTo>
                  <a:pt x="1653737" y="4757973"/>
                </a:lnTo>
                <a:lnTo>
                  <a:pt x="1647662" y="4753897"/>
                </a:lnTo>
                <a:cubicBezTo>
                  <a:pt x="1619572" y="4725964"/>
                  <a:pt x="1602153" y="4687357"/>
                  <a:pt x="1602153" y="4644671"/>
                </a:cubicBezTo>
                <a:cubicBezTo>
                  <a:pt x="1601524" y="4559294"/>
                  <a:pt x="1670576" y="4489615"/>
                  <a:pt x="1756574" y="4488988"/>
                </a:cubicBezTo>
                <a:lnTo>
                  <a:pt x="1778451" y="4493388"/>
                </a:lnTo>
                <a:lnTo>
                  <a:pt x="1751682" y="4475444"/>
                </a:lnTo>
                <a:cubicBezTo>
                  <a:pt x="1724611" y="4448533"/>
                  <a:pt x="1707819" y="4411336"/>
                  <a:pt x="1707505" y="4370218"/>
                </a:cubicBezTo>
                <a:cubicBezTo>
                  <a:pt x="1707505" y="4287359"/>
                  <a:pt x="1774048" y="4220815"/>
                  <a:pt x="1856277" y="4220194"/>
                </a:cubicBezTo>
                <a:cubicBezTo>
                  <a:pt x="1939142" y="4219565"/>
                  <a:pt x="2006308" y="4286730"/>
                  <a:pt x="2006308" y="4368965"/>
                </a:cubicBezTo>
                <a:cubicBezTo>
                  <a:pt x="2006937" y="4451825"/>
                  <a:pt x="1939765" y="4518996"/>
                  <a:pt x="1857536" y="4518996"/>
                </a:cubicBezTo>
                <a:lnTo>
                  <a:pt x="1837487" y="4514981"/>
                </a:lnTo>
                <a:lnTo>
                  <a:pt x="1866112" y="4534185"/>
                </a:lnTo>
                <a:cubicBezTo>
                  <a:pt x="1894204" y="4562122"/>
                  <a:pt x="1911624" y="4600729"/>
                  <a:pt x="1911624" y="4643414"/>
                </a:cubicBezTo>
                <a:cubicBezTo>
                  <a:pt x="1911624" y="4729411"/>
                  <a:pt x="1842572" y="4799095"/>
                  <a:pt x="1757197" y="4799095"/>
                </a:cubicBezTo>
                <a:lnTo>
                  <a:pt x="1737947" y="4795224"/>
                </a:lnTo>
                <a:lnTo>
                  <a:pt x="1743869" y="4799182"/>
                </a:lnTo>
                <a:cubicBezTo>
                  <a:pt x="1772039" y="4827115"/>
                  <a:pt x="1789459" y="4865719"/>
                  <a:pt x="1789459" y="4908411"/>
                </a:cubicBezTo>
                <a:cubicBezTo>
                  <a:pt x="1789459" y="4994411"/>
                  <a:pt x="1720407" y="5064095"/>
                  <a:pt x="1635032" y="5064095"/>
                </a:cubicBezTo>
                <a:lnTo>
                  <a:pt x="1619800" y="5061030"/>
                </a:lnTo>
                <a:lnTo>
                  <a:pt x="1644757" y="5097714"/>
                </a:lnTo>
                <a:cubicBezTo>
                  <a:pt x="1653290" y="5117635"/>
                  <a:pt x="1658077" y="5139565"/>
                  <a:pt x="1658234" y="5162634"/>
                </a:cubicBezTo>
                <a:cubicBezTo>
                  <a:pt x="1658863" y="5254915"/>
                  <a:pt x="1584160" y="5329619"/>
                  <a:pt x="1491887" y="5330242"/>
                </a:cubicBezTo>
                <a:lnTo>
                  <a:pt x="1472297" y="5326403"/>
                </a:lnTo>
                <a:lnTo>
                  <a:pt x="1481120" y="5339398"/>
                </a:lnTo>
                <a:cubicBezTo>
                  <a:pt x="1489624" y="5359367"/>
                  <a:pt x="1494332" y="5381337"/>
                  <a:pt x="1494332" y="5404407"/>
                </a:cubicBezTo>
                <a:cubicBezTo>
                  <a:pt x="1494961" y="5496683"/>
                  <a:pt x="1420258" y="5572010"/>
                  <a:pt x="1327985" y="5572010"/>
                </a:cubicBezTo>
                <a:lnTo>
                  <a:pt x="1283896" y="5563367"/>
                </a:lnTo>
                <a:lnTo>
                  <a:pt x="1289024" y="5570914"/>
                </a:lnTo>
                <a:cubicBezTo>
                  <a:pt x="1297028" y="5589675"/>
                  <a:pt x="1301461" y="5610314"/>
                  <a:pt x="1301461" y="5631968"/>
                </a:cubicBezTo>
                <a:cubicBezTo>
                  <a:pt x="1302090" y="5718597"/>
                  <a:pt x="1231779" y="5789530"/>
                  <a:pt x="1145153" y="5789530"/>
                </a:cubicBezTo>
                <a:cubicBezTo>
                  <a:pt x="1123496" y="5789690"/>
                  <a:pt x="1102860" y="5785413"/>
                  <a:pt x="1084077" y="5777556"/>
                </a:cubicBezTo>
                <a:lnTo>
                  <a:pt x="1041960" y="5749347"/>
                </a:lnTo>
                <a:lnTo>
                  <a:pt x="1070129" y="5790723"/>
                </a:lnTo>
                <a:cubicBezTo>
                  <a:pt x="1077132" y="5807112"/>
                  <a:pt x="1081016" y="5825160"/>
                  <a:pt x="1081016" y="5844149"/>
                </a:cubicBezTo>
                <a:cubicBezTo>
                  <a:pt x="1081016" y="5919477"/>
                  <a:pt x="1020125" y="5981628"/>
                  <a:pt x="944170" y="5981628"/>
                </a:cubicBezTo>
                <a:close/>
                <a:moveTo>
                  <a:pt x="2511644" y="6047089"/>
                </a:moveTo>
                <a:cubicBezTo>
                  <a:pt x="2475915" y="6047089"/>
                  <a:pt x="2446943" y="6018117"/>
                  <a:pt x="2446943" y="5982389"/>
                </a:cubicBezTo>
                <a:cubicBezTo>
                  <a:pt x="2446943" y="5946660"/>
                  <a:pt x="2475915" y="5917688"/>
                  <a:pt x="2511644" y="5917688"/>
                </a:cubicBezTo>
                <a:cubicBezTo>
                  <a:pt x="2547373" y="5917688"/>
                  <a:pt x="2576345" y="5946660"/>
                  <a:pt x="2576345" y="5982389"/>
                </a:cubicBezTo>
                <a:cubicBezTo>
                  <a:pt x="2576345" y="6018117"/>
                  <a:pt x="2547373" y="6047089"/>
                  <a:pt x="2511644" y="6047089"/>
                </a:cubicBezTo>
                <a:close/>
                <a:moveTo>
                  <a:pt x="351481" y="6062421"/>
                </a:moveTo>
                <a:cubicBezTo>
                  <a:pt x="271756" y="6063051"/>
                  <a:pt x="207102" y="5999019"/>
                  <a:pt x="207102" y="5919290"/>
                </a:cubicBezTo>
                <a:cubicBezTo>
                  <a:pt x="207102" y="5840192"/>
                  <a:pt x="271133" y="5775533"/>
                  <a:pt x="350222" y="5774911"/>
                </a:cubicBezTo>
                <a:cubicBezTo>
                  <a:pt x="429947" y="5774281"/>
                  <a:pt x="493972" y="5838311"/>
                  <a:pt x="494601" y="5918032"/>
                </a:cubicBezTo>
                <a:cubicBezTo>
                  <a:pt x="495230" y="5997137"/>
                  <a:pt x="431199" y="6062421"/>
                  <a:pt x="351481" y="6062421"/>
                </a:cubicBezTo>
                <a:close/>
                <a:moveTo>
                  <a:pt x="1301312" y="6067134"/>
                </a:moveTo>
                <a:cubicBezTo>
                  <a:pt x="1234148" y="6067764"/>
                  <a:pt x="1178907" y="6013146"/>
                  <a:pt x="1178907" y="5945983"/>
                </a:cubicBezTo>
                <a:cubicBezTo>
                  <a:pt x="1178907" y="5878811"/>
                  <a:pt x="1232889" y="5824199"/>
                  <a:pt x="1300689" y="5823570"/>
                </a:cubicBezTo>
                <a:cubicBezTo>
                  <a:pt x="1367224" y="5822942"/>
                  <a:pt x="1422465" y="5877553"/>
                  <a:pt x="1422465" y="5944724"/>
                </a:cubicBezTo>
                <a:cubicBezTo>
                  <a:pt x="1422465" y="6011894"/>
                  <a:pt x="1368483" y="6067134"/>
                  <a:pt x="1301312" y="6067134"/>
                </a:cubicBezTo>
                <a:close/>
                <a:moveTo>
                  <a:pt x="2846317" y="6129704"/>
                </a:moveTo>
                <a:cubicBezTo>
                  <a:pt x="2809936" y="6129704"/>
                  <a:pt x="2781621" y="6099363"/>
                  <a:pt x="2781621" y="6064988"/>
                </a:cubicBezTo>
                <a:cubicBezTo>
                  <a:pt x="2781621" y="6030614"/>
                  <a:pt x="2809936" y="6000292"/>
                  <a:pt x="2846317" y="6000292"/>
                </a:cubicBezTo>
                <a:cubicBezTo>
                  <a:pt x="2882719" y="6000292"/>
                  <a:pt x="2911033" y="6028607"/>
                  <a:pt x="2911033" y="6064988"/>
                </a:cubicBezTo>
                <a:cubicBezTo>
                  <a:pt x="2911033" y="6101390"/>
                  <a:pt x="2880692" y="6129704"/>
                  <a:pt x="2846317" y="6129704"/>
                </a:cubicBezTo>
                <a:close/>
                <a:moveTo>
                  <a:pt x="1652239" y="6134497"/>
                </a:moveTo>
                <a:cubicBezTo>
                  <a:pt x="1600767" y="6134497"/>
                  <a:pt x="1558079" y="6093068"/>
                  <a:pt x="1558079" y="6040967"/>
                </a:cubicBezTo>
                <a:cubicBezTo>
                  <a:pt x="1558079" y="5988866"/>
                  <a:pt x="1600137" y="5946808"/>
                  <a:pt x="1651609" y="5946808"/>
                </a:cubicBezTo>
                <a:cubicBezTo>
                  <a:pt x="1703711" y="5946808"/>
                  <a:pt x="1745769" y="5988237"/>
                  <a:pt x="1745769" y="6040337"/>
                </a:cubicBezTo>
                <a:cubicBezTo>
                  <a:pt x="1745769" y="6091816"/>
                  <a:pt x="1704340" y="6134497"/>
                  <a:pt x="1652239" y="6134497"/>
                </a:cubicBezTo>
                <a:close/>
                <a:moveTo>
                  <a:pt x="727026" y="6180171"/>
                </a:moveTo>
                <a:cubicBezTo>
                  <a:pt x="649184" y="6180171"/>
                  <a:pt x="585788" y="6118022"/>
                  <a:pt x="585788" y="6040185"/>
                </a:cubicBezTo>
                <a:cubicBezTo>
                  <a:pt x="585159" y="5962350"/>
                  <a:pt x="647931" y="5899570"/>
                  <a:pt x="726397" y="5898939"/>
                </a:cubicBezTo>
                <a:cubicBezTo>
                  <a:pt x="803611" y="5898939"/>
                  <a:pt x="866383" y="5961091"/>
                  <a:pt x="867006" y="6038933"/>
                </a:cubicBezTo>
                <a:cubicBezTo>
                  <a:pt x="867006" y="6116769"/>
                  <a:pt x="804863" y="6180171"/>
                  <a:pt x="727026" y="6180171"/>
                </a:cubicBezTo>
                <a:close/>
                <a:moveTo>
                  <a:pt x="1999598" y="6197703"/>
                </a:moveTo>
                <a:cubicBezTo>
                  <a:pt x="1963837" y="6197703"/>
                  <a:pt x="1934391" y="6169313"/>
                  <a:pt x="1934391" y="6133553"/>
                </a:cubicBezTo>
                <a:cubicBezTo>
                  <a:pt x="1934391" y="6097793"/>
                  <a:pt x="1963837" y="6068349"/>
                  <a:pt x="1998544" y="6067295"/>
                </a:cubicBezTo>
                <a:cubicBezTo>
                  <a:pt x="2034306" y="6067295"/>
                  <a:pt x="2063752" y="6096739"/>
                  <a:pt x="2063752" y="6132499"/>
                </a:cubicBezTo>
                <a:cubicBezTo>
                  <a:pt x="2064806" y="6168258"/>
                  <a:pt x="2035360" y="6197703"/>
                  <a:pt x="1999598" y="6197703"/>
                </a:cubicBezTo>
                <a:close/>
                <a:moveTo>
                  <a:pt x="3178847" y="6210654"/>
                </a:moveTo>
                <a:cubicBezTo>
                  <a:pt x="3141865" y="6210654"/>
                  <a:pt x="3114151" y="6182848"/>
                  <a:pt x="3114151" y="6145866"/>
                </a:cubicBezTo>
                <a:cubicBezTo>
                  <a:pt x="3114151" y="6108884"/>
                  <a:pt x="3141865" y="6081170"/>
                  <a:pt x="3178847" y="6081170"/>
                </a:cubicBezTo>
                <a:cubicBezTo>
                  <a:pt x="3215829" y="6081170"/>
                  <a:pt x="3243635" y="6108884"/>
                  <a:pt x="3243635" y="6145866"/>
                </a:cubicBezTo>
                <a:cubicBezTo>
                  <a:pt x="3243635" y="6182848"/>
                  <a:pt x="3215829" y="6210654"/>
                  <a:pt x="3178847" y="6210654"/>
                </a:cubicBezTo>
                <a:close/>
                <a:moveTo>
                  <a:pt x="107572" y="6223995"/>
                </a:moveTo>
                <a:cubicBezTo>
                  <a:pt x="67084" y="6223995"/>
                  <a:pt x="30519" y="6207673"/>
                  <a:pt x="3998" y="6181309"/>
                </a:cubicBezTo>
                <a:lnTo>
                  <a:pt x="0" y="6175430"/>
                </a:lnTo>
                <a:lnTo>
                  <a:pt x="0" y="5979658"/>
                </a:lnTo>
                <a:lnTo>
                  <a:pt x="3211" y="5974866"/>
                </a:lnTo>
                <a:cubicBezTo>
                  <a:pt x="29576" y="5948421"/>
                  <a:pt x="66140" y="5932099"/>
                  <a:pt x="106943" y="5932099"/>
                </a:cubicBezTo>
                <a:cubicBezTo>
                  <a:pt x="187289" y="5932099"/>
                  <a:pt x="253201" y="5997389"/>
                  <a:pt x="253201" y="6077734"/>
                </a:cubicBezTo>
                <a:cubicBezTo>
                  <a:pt x="253201" y="6158085"/>
                  <a:pt x="187918" y="6223995"/>
                  <a:pt x="107572" y="6223995"/>
                </a:cubicBezTo>
                <a:close/>
                <a:moveTo>
                  <a:pt x="1093967" y="6270351"/>
                </a:moveTo>
                <a:cubicBezTo>
                  <a:pt x="1028055" y="6270351"/>
                  <a:pt x="974073" y="6216991"/>
                  <a:pt x="974073" y="6151078"/>
                </a:cubicBezTo>
                <a:cubicBezTo>
                  <a:pt x="974073" y="6085164"/>
                  <a:pt x="1026803" y="6031181"/>
                  <a:pt x="1092714" y="6031181"/>
                </a:cubicBezTo>
                <a:cubicBezTo>
                  <a:pt x="1158626" y="6031181"/>
                  <a:pt x="1212608" y="6084542"/>
                  <a:pt x="1212608" y="6150448"/>
                </a:cubicBezTo>
                <a:cubicBezTo>
                  <a:pt x="1213237" y="6216362"/>
                  <a:pt x="1159878" y="6270351"/>
                  <a:pt x="1093967" y="6270351"/>
                </a:cubicBezTo>
                <a:close/>
                <a:moveTo>
                  <a:pt x="2342587" y="6285418"/>
                </a:moveTo>
                <a:cubicBezTo>
                  <a:pt x="2308082" y="6285418"/>
                  <a:pt x="2277880" y="6257378"/>
                  <a:pt x="2277880" y="6220712"/>
                </a:cubicBezTo>
                <a:cubicBezTo>
                  <a:pt x="2277880" y="6184045"/>
                  <a:pt x="2305920" y="6156005"/>
                  <a:pt x="2342587" y="6156005"/>
                </a:cubicBezTo>
                <a:cubicBezTo>
                  <a:pt x="2379253" y="6156005"/>
                  <a:pt x="2407293" y="6186207"/>
                  <a:pt x="2407293" y="6220712"/>
                </a:cubicBezTo>
                <a:cubicBezTo>
                  <a:pt x="2407293" y="6257378"/>
                  <a:pt x="2379253" y="6285418"/>
                  <a:pt x="2342587" y="6285418"/>
                </a:cubicBezTo>
                <a:close/>
                <a:moveTo>
                  <a:pt x="493774" y="6344519"/>
                </a:moveTo>
                <a:cubicBezTo>
                  <a:pt x="422840" y="6344519"/>
                  <a:pt x="365088" y="6287397"/>
                  <a:pt x="365088" y="6216463"/>
                </a:cubicBezTo>
                <a:cubicBezTo>
                  <a:pt x="365088" y="6145529"/>
                  <a:pt x="422211" y="6088406"/>
                  <a:pt x="493145" y="6087778"/>
                </a:cubicBezTo>
                <a:cubicBezTo>
                  <a:pt x="564079" y="6087778"/>
                  <a:pt x="621831" y="6144900"/>
                  <a:pt x="621831" y="6215834"/>
                </a:cubicBezTo>
                <a:cubicBezTo>
                  <a:pt x="621831" y="6286768"/>
                  <a:pt x="564709" y="6344519"/>
                  <a:pt x="493774" y="6344519"/>
                </a:cubicBezTo>
                <a:close/>
                <a:moveTo>
                  <a:pt x="1454361" y="6357516"/>
                </a:moveTo>
                <a:cubicBezTo>
                  <a:pt x="1397861" y="6358138"/>
                  <a:pt x="1351410" y="6312318"/>
                  <a:pt x="1351410" y="6255196"/>
                </a:cubicBezTo>
                <a:cubicBezTo>
                  <a:pt x="1350781" y="6198074"/>
                  <a:pt x="1396609" y="6151618"/>
                  <a:pt x="1453731" y="6152247"/>
                </a:cubicBezTo>
                <a:cubicBezTo>
                  <a:pt x="1510225" y="6152247"/>
                  <a:pt x="1556682" y="6198074"/>
                  <a:pt x="1556682" y="6254566"/>
                </a:cubicBezTo>
                <a:cubicBezTo>
                  <a:pt x="1557305" y="6311059"/>
                  <a:pt x="1510854" y="6357516"/>
                  <a:pt x="1454361" y="6357516"/>
                </a:cubicBezTo>
                <a:close/>
                <a:moveTo>
                  <a:pt x="2682869" y="6371877"/>
                </a:moveTo>
                <a:cubicBezTo>
                  <a:pt x="2645900" y="6371877"/>
                  <a:pt x="2618150" y="6344173"/>
                  <a:pt x="2618150" y="6307204"/>
                </a:cubicBezTo>
                <a:cubicBezTo>
                  <a:pt x="2618150" y="6270235"/>
                  <a:pt x="2650487" y="6242485"/>
                  <a:pt x="2682869" y="6242485"/>
                </a:cubicBezTo>
                <a:cubicBezTo>
                  <a:pt x="2719838" y="6242485"/>
                  <a:pt x="2747542" y="6270235"/>
                  <a:pt x="2747542" y="6307204"/>
                </a:cubicBezTo>
                <a:cubicBezTo>
                  <a:pt x="2747542" y="6344173"/>
                  <a:pt x="2719838" y="6371877"/>
                  <a:pt x="2682869" y="6371877"/>
                </a:cubicBezTo>
                <a:close/>
                <a:moveTo>
                  <a:pt x="1809156" y="6428951"/>
                </a:moveTo>
                <a:cubicBezTo>
                  <a:pt x="1767728" y="6428951"/>
                  <a:pt x="1733831" y="6395055"/>
                  <a:pt x="1733831" y="6353626"/>
                </a:cubicBezTo>
                <a:cubicBezTo>
                  <a:pt x="1733831" y="6312193"/>
                  <a:pt x="1767098" y="6278296"/>
                  <a:pt x="1809156" y="6278296"/>
                </a:cubicBezTo>
                <a:cubicBezTo>
                  <a:pt x="1850584" y="6277672"/>
                  <a:pt x="1884481" y="6311569"/>
                  <a:pt x="1884481" y="6352998"/>
                </a:cubicBezTo>
                <a:cubicBezTo>
                  <a:pt x="1884481" y="6395055"/>
                  <a:pt x="1850584" y="6428951"/>
                  <a:pt x="1809156" y="6428951"/>
                </a:cubicBezTo>
                <a:close/>
                <a:moveTo>
                  <a:pt x="871999" y="6465599"/>
                </a:moveTo>
                <a:cubicBezTo>
                  <a:pt x="802952" y="6466229"/>
                  <a:pt x="746453" y="6410365"/>
                  <a:pt x="746453" y="6341313"/>
                </a:cubicBezTo>
                <a:cubicBezTo>
                  <a:pt x="746453" y="6272261"/>
                  <a:pt x="801694" y="6215769"/>
                  <a:pt x="870746" y="6215769"/>
                </a:cubicBezTo>
                <a:cubicBezTo>
                  <a:pt x="939793" y="6215139"/>
                  <a:pt x="996292" y="6271009"/>
                  <a:pt x="996292" y="6340055"/>
                </a:cubicBezTo>
                <a:cubicBezTo>
                  <a:pt x="996915" y="6409107"/>
                  <a:pt x="941051" y="6464976"/>
                  <a:pt x="871999" y="6465599"/>
                </a:cubicBezTo>
                <a:close/>
                <a:moveTo>
                  <a:pt x="247710" y="6508631"/>
                </a:moveTo>
                <a:cubicBezTo>
                  <a:pt x="173007" y="6508631"/>
                  <a:pt x="112115" y="6448369"/>
                  <a:pt x="111492" y="6373043"/>
                </a:cubicBezTo>
                <a:cubicBezTo>
                  <a:pt x="110863" y="6297717"/>
                  <a:pt x="171755" y="6236197"/>
                  <a:pt x="247081" y="6236826"/>
                </a:cubicBezTo>
                <a:cubicBezTo>
                  <a:pt x="321778" y="6236826"/>
                  <a:pt x="383299" y="6297088"/>
                  <a:pt x="383299" y="6372414"/>
                </a:cubicBezTo>
                <a:cubicBezTo>
                  <a:pt x="383299" y="6447110"/>
                  <a:pt x="323037" y="6508631"/>
                  <a:pt x="247710" y="6508631"/>
                </a:cubicBezTo>
                <a:close/>
                <a:moveTo>
                  <a:pt x="2160210" y="6513179"/>
                </a:moveTo>
                <a:cubicBezTo>
                  <a:pt x="2123442" y="6513179"/>
                  <a:pt x="2094838" y="6484576"/>
                  <a:pt x="2094838" y="6449159"/>
                </a:cubicBezTo>
                <a:cubicBezTo>
                  <a:pt x="2094838" y="6412391"/>
                  <a:pt x="2124807" y="6383788"/>
                  <a:pt x="2158858" y="6383788"/>
                </a:cubicBezTo>
                <a:cubicBezTo>
                  <a:pt x="2195626" y="6383788"/>
                  <a:pt x="2224230" y="6412391"/>
                  <a:pt x="2224230" y="6447807"/>
                </a:cubicBezTo>
                <a:cubicBezTo>
                  <a:pt x="2224230" y="6484576"/>
                  <a:pt x="2195626" y="6513179"/>
                  <a:pt x="2160210" y="6513179"/>
                </a:cubicBezTo>
                <a:close/>
                <a:moveTo>
                  <a:pt x="1241852" y="6541647"/>
                </a:moveTo>
                <a:cubicBezTo>
                  <a:pt x="1194143" y="6541647"/>
                  <a:pt x="1155225" y="6503359"/>
                  <a:pt x="1155225" y="6455651"/>
                </a:cubicBezTo>
                <a:cubicBezTo>
                  <a:pt x="1155225" y="6407942"/>
                  <a:pt x="1193514" y="6369024"/>
                  <a:pt x="1241222" y="6369024"/>
                </a:cubicBezTo>
                <a:cubicBezTo>
                  <a:pt x="1288931" y="6369024"/>
                  <a:pt x="1327849" y="6407313"/>
                  <a:pt x="1327849" y="6455022"/>
                </a:cubicBezTo>
                <a:cubicBezTo>
                  <a:pt x="1327849" y="6502730"/>
                  <a:pt x="1289560" y="6541647"/>
                  <a:pt x="1241852" y="6541647"/>
                </a:cubicBezTo>
                <a:close/>
                <a:moveTo>
                  <a:pt x="2506494" y="6604865"/>
                </a:moveTo>
                <a:cubicBezTo>
                  <a:pt x="2470534" y="6608468"/>
                  <a:pt x="2441780" y="6579718"/>
                  <a:pt x="2441780" y="6543763"/>
                </a:cubicBezTo>
                <a:cubicBezTo>
                  <a:pt x="2445383" y="6507843"/>
                  <a:pt x="2470534" y="6482696"/>
                  <a:pt x="2506494" y="6475490"/>
                </a:cubicBezTo>
                <a:cubicBezTo>
                  <a:pt x="2542418" y="6475490"/>
                  <a:pt x="2571172" y="6504240"/>
                  <a:pt x="2571172" y="6540196"/>
                </a:cubicBezTo>
                <a:cubicBezTo>
                  <a:pt x="2571172" y="6576115"/>
                  <a:pt x="2542418" y="6604865"/>
                  <a:pt x="2506494" y="6604865"/>
                </a:cubicBezTo>
                <a:close/>
                <a:moveTo>
                  <a:pt x="636161" y="6620104"/>
                </a:moveTo>
                <a:cubicBezTo>
                  <a:pt x="577151" y="6620104"/>
                  <a:pt x="528818" y="6571767"/>
                  <a:pt x="528818" y="6512764"/>
                </a:cubicBezTo>
                <a:cubicBezTo>
                  <a:pt x="528189" y="6453133"/>
                  <a:pt x="575898" y="6404796"/>
                  <a:pt x="635532" y="6405425"/>
                </a:cubicBezTo>
                <a:cubicBezTo>
                  <a:pt x="694542" y="6404796"/>
                  <a:pt x="742875" y="6453133"/>
                  <a:pt x="742875" y="6512135"/>
                </a:cubicBezTo>
                <a:cubicBezTo>
                  <a:pt x="743504" y="6571767"/>
                  <a:pt x="695795" y="6619475"/>
                  <a:pt x="636161" y="6620104"/>
                </a:cubicBezTo>
                <a:close/>
                <a:moveTo>
                  <a:pt x="0" y="6625003"/>
                </a:moveTo>
                <a:lnTo>
                  <a:pt x="0" y="6394664"/>
                </a:lnTo>
                <a:lnTo>
                  <a:pt x="34326" y="6401495"/>
                </a:lnTo>
                <a:cubicBezTo>
                  <a:pt x="76698" y="6419179"/>
                  <a:pt x="106355" y="6460609"/>
                  <a:pt x="106355" y="6509100"/>
                </a:cubicBezTo>
                <a:cubicBezTo>
                  <a:pt x="106827" y="6558067"/>
                  <a:pt x="77284" y="6599967"/>
                  <a:pt x="35208" y="6617856"/>
                </a:cubicBezTo>
                <a:close/>
                <a:moveTo>
                  <a:pt x="1605782" y="6627599"/>
                </a:moveTo>
                <a:cubicBezTo>
                  <a:pt x="1569804" y="6627599"/>
                  <a:pt x="1540767" y="6598564"/>
                  <a:pt x="1540767" y="6563214"/>
                </a:cubicBezTo>
                <a:cubicBezTo>
                  <a:pt x="1540134" y="6527237"/>
                  <a:pt x="1569171" y="6498202"/>
                  <a:pt x="1605149" y="6498202"/>
                </a:cubicBezTo>
                <a:cubicBezTo>
                  <a:pt x="1641134" y="6498202"/>
                  <a:pt x="1670171" y="6527237"/>
                  <a:pt x="1670171" y="6562587"/>
                </a:cubicBezTo>
                <a:cubicBezTo>
                  <a:pt x="1670171" y="6598564"/>
                  <a:pt x="1641134" y="6627599"/>
                  <a:pt x="1605782" y="6627599"/>
                </a:cubicBezTo>
                <a:close/>
                <a:moveTo>
                  <a:pt x="1964034" y="6729553"/>
                </a:moveTo>
                <a:cubicBezTo>
                  <a:pt x="1927278" y="6730905"/>
                  <a:pt x="1898683" y="6700958"/>
                  <a:pt x="1898683" y="6665550"/>
                </a:cubicBezTo>
                <a:cubicBezTo>
                  <a:pt x="1898683" y="6630143"/>
                  <a:pt x="1928642" y="6600183"/>
                  <a:pt x="1962683" y="6600183"/>
                </a:cubicBezTo>
                <a:cubicBezTo>
                  <a:pt x="1999440" y="6598831"/>
                  <a:pt x="2028034" y="6628778"/>
                  <a:pt x="2028034" y="6664185"/>
                </a:cubicBezTo>
                <a:cubicBezTo>
                  <a:pt x="2029399" y="6700958"/>
                  <a:pt x="1999440" y="6729553"/>
                  <a:pt x="1964034" y="6729553"/>
                </a:cubicBezTo>
                <a:close/>
                <a:moveTo>
                  <a:pt x="1016008" y="6740237"/>
                </a:moveTo>
                <a:cubicBezTo>
                  <a:pt x="961397" y="6740237"/>
                  <a:pt x="916199" y="6696297"/>
                  <a:pt x="916199" y="6641058"/>
                </a:cubicBezTo>
                <a:cubicBezTo>
                  <a:pt x="916199" y="6586447"/>
                  <a:pt x="960767" y="6541879"/>
                  <a:pt x="1015378" y="6541249"/>
                </a:cubicBezTo>
                <a:cubicBezTo>
                  <a:pt x="1070619" y="6541249"/>
                  <a:pt x="1115187" y="6585189"/>
                  <a:pt x="1115187" y="6640428"/>
                </a:cubicBezTo>
                <a:cubicBezTo>
                  <a:pt x="1115187" y="6695669"/>
                  <a:pt x="1071248" y="6740237"/>
                  <a:pt x="1016008" y="6740237"/>
                </a:cubicBezTo>
                <a:close/>
                <a:moveTo>
                  <a:pt x="388474" y="6779360"/>
                </a:moveTo>
                <a:cubicBezTo>
                  <a:pt x="326330" y="6779983"/>
                  <a:pt x="276110" y="6729769"/>
                  <a:pt x="276110" y="6668248"/>
                </a:cubicBezTo>
                <a:cubicBezTo>
                  <a:pt x="276110" y="6606104"/>
                  <a:pt x="325701" y="6555884"/>
                  <a:pt x="387221" y="6555884"/>
                </a:cubicBezTo>
                <a:cubicBezTo>
                  <a:pt x="449365" y="6555254"/>
                  <a:pt x="499585" y="6605475"/>
                  <a:pt x="499585" y="6666996"/>
                </a:cubicBezTo>
                <a:cubicBezTo>
                  <a:pt x="500214" y="6729139"/>
                  <a:pt x="449995" y="6779360"/>
                  <a:pt x="388474" y="6779360"/>
                </a:cubicBezTo>
                <a:close/>
                <a:moveTo>
                  <a:pt x="2317645" y="6827001"/>
                </a:moveTo>
                <a:cubicBezTo>
                  <a:pt x="2281685" y="6827001"/>
                  <a:pt x="2252931" y="6798247"/>
                  <a:pt x="2252931" y="6762323"/>
                </a:cubicBezTo>
                <a:cubicBezTo>
                  <a:pt x="2252931" y="6726363"/>
                  <a:pt x="2281685" y="6701213"/>
                  <a:pt x="2317645" y="6697609"/>
                </a:cubicBezTo>
                <a:cubicBezTo>
                  <a:pt x="2353569" y="6697609"/>
                  <a:pt x="2382323" y="6726363"/>
                  <a:pt x="2382323" y="6762323"/>
                </a:cubicBezTo>
                <a:cubicBezTo>
                  <a:pt x="2382323" y="6798247"/>
                  <a:pt x="2353569" y="6827001"/>
                  <a:pt x="2317645" y="6827001"/>
                </a:cubicBezTo>
                <a:close/>
                <a:moveTo>
                  <a:pt x="1388540" y="6844934"/>
                </a:moveTo>
                <a:cubicBezTo>
                  <a:pt x="1340831" y="6844934"/>
                  <a:pt x="1301913" y="6806646"/>
                  <a:pt x="1301913" y="6758937"/>
                </a:cubicBezTo>
                <a:cubicBezTo>
                  <a:pt x="1301913" y="6711229"/>
                  <a:pt x="1340202" y="6672940"/>
                  <a:pt x="1387910" y="6672311"/>
                </a:cubicBezTo>
                <a:cubicBezTo>
                  <a:pt x="1435619" y="6672311"/>
                  <a:pt x="1474537" y="6710600"/>
                  <a:pt x="1474537" y="6758308"/>
                </a:cubicBezTo>
                <a:cubicBezTo>
                  <a:pt x="1474537" y="6806016"/>
                  <a:pt x="1436248" y="6844934"/>
                  <a:pt x="1388540" y="6844934"/>
                </a:cubicBezTo>
                <a:close/>
                <a:moveTo>
                  <a:pt x="778121" y="6891725"/>
                </a:moveTo>
                <a:cubicBezTo>
                  <a:pt x="732922" y="6891725"/>
                  <a:pt x="695885" y="6855317"/>
                  <a:pt x="695885" y="6810125"/>
                </a:cubicBezTo>
                <a:cubicBezTo>
                  <a:pt x="695885" y="6764926"/>
                  <a:pt x="732293" y="6728517"/>
                  <a:pt x="777492" y="6727888"/>
                </a:cubicBezTo>
                <a:cubicBezTo>
                  <a:pt x="822685" y="6727888"/>
                  <a:pt x="859722" y="6764297"/>
                  <a:pt x="859722" y="6809495"/>
                </a:cubicBezTo>
                <a:cubicBezTo>
                  <a:pt x="859722" y="6854694"/>
                  <a:pt x="823314" y="6891725"/>
                  <a:pt x="778121" y="6891725"/>
                </a:cubicBezTo>
                <a:close/>
                <a:moveTo>
                  <a:pt x="129309" y="6896031"/>
                </a:moveTo>
                <a:cubicBezTo>
                  <a:pt x="78466" y="6896031"/>
                  <a:pt x="36408" y="6854602"/>
                  <a:pt x="36408" y="6803129"/>
                </a:cubicBezTo>
                <a:cubicBezTo>
                  <a:pt x="36408" y="6752279"/>
                  <a:pt x="77837" y="6710220"/>
                  <a:pt x="128686" y="6710220"/>
                </a:cubicBezTo>
                <a:cubicBezTo>
                  <a:pt x="180157" y="6709591"/>
                  <a:pt x="221586" y="6751027"/>
                  <a:pt x="222215" y="6802500"/>
                </a:cubicBezTo>
                <a:cubicBezTo>
                  <a:pt x="222215" y="6853972"/>
                  <a:pt x="180786" y="6895402"/>
                  <a:pt x="129309" y="6896031"/>
                </a:cubicBezTo>
                <a:close/>
                <a:moveTo>
                  <a:pt x="1754959" y="6933471"/>
                </a:moveTo>
                <a:cubicBezTo>
                  <a:pt x="1718973" y="6933471"/>
                  <a:pt x="1689840" y="6904337"/>
                  <a:pt x="1689840" y="6868349"/>
                </a:cubicBezTo>
                <a:cubicBezTo>
                  <a:pt x="1689840" y="6833221"/>
                  <a:pt x="1718114" y="6803228"/>
                  <a:pt x="1754959" y="6804087"/>
                </a:cubicBezTo>
                <a:cubicBezTo>
                  <a:pt x="1790945" y="6803228"/>
                  <a:pt x="1820077" y="6832362"/>
                  <a:pt x="1820077" y="6868349"/>
                </a:cubicBezTo>
                <a:cubicBezTo>
                  <a:pt x="1820077" y="6904337"/>
                  <a:pt x="1790945" y="6933471"/>
                  <a:pt x="1754959" y="6933471"/>
                </a:cubicBezTo>
                <a:close/>
                <a:moveTo>
                  <a:pt x="608501" y="6994525"/>
                </a:moveTo>
                <a:lnTo>
                  <a:pt x="448954" y="6994525"/>
                </a:lnTo>
                <a:lnTo>
                  <a:pt x="442420" y="6962396"/>
                </a:lnTo>
                <a:cubicBezTo>
                  <a:pt x="441791" y="6914688"/>
                  <a:pt x="480716" y="6875770"/>
                  <a:pt x="528419" y="6875770"/>
                </a:cubicBezTo>
                <a:cubicBezTo>
                  <a:pt x="576129" y="6875770"/>
                  <a:pt x="615048" y="6914059"/>
                  <a:pt x="615048" y="6961768"/>
                </a:cubicBezTo>
                <a:close/>
                <a:moveTo>
                  <a:pt x="1208063" y="6994525"/>
                </a:moveTo>
                <a:lnTo>
                  <a:pt x="1110791" y="6994525"/>
                </a:lnTo>
                <a:lnTo>
                  <a:pt x="1106799" y="6991851"/>
                </a:lnTo>
                <a:cubicBezTo>
                  <a:pt x="1093303" y="6978434"/>
                  <a:pt x="1084986" y="6959916"/>
                  <a:pt x="1084986" y="6939515"/>
                </a:cubicBezTo>
                <a:cubicBezTo>
                  <a:pt x="1084986" y="6898708"/>
                  <a:pt x="1118254" y="6865439"/>
                  <a:pt x="1159689" y="6865439"/>
                </a:cubicBezTo>
                <a:cubicBezTo>
                  <a:pt x="1200489" y="6865439"/>
                  <a:pt x="1233757" y="6898708"/>
                  <a:pt x="1233757" y="6939515"/>
                </a:cubicBezTo>
                <a:cubicBezTo>
                  <a:pt x="1233757" y="6959916"/>
                  <a:pt x="1225440" y="6978434"/>
                  <a:pt x="1212023" y="6991851"/>
                </a:cubicBezTo>
                <a:close/>
                <a:moveTo>
                  <a:pt x="2176182" y="6994525"/>
                </a:moveTo>
                <a:lnTo>
                  <a:pt x="2055562" y="6994525"/>
                </a:lnTo>
                <a:lnTo>
                  <a:pt x="2051176" y="6973520"/>
                </a:lnTo>
                <a:cubicBezTo>
                  <a:pt x="2051176" y="6936799"/>
                  <a:pt x="2080904" y="6908824"/>
                  <a:pt x="2115872" y="6908824"/>
                </a:cubicBezTo>
                <a:cubicBezTo>
                  <a:pt x="2150840" y="6908824"/>
                  <a:pt x="2180568" y="6936799"/>
                  <a:pt x="2180568" y="6973520"/>
                </a:cubicBezTo>
                <a:close/>
              </a:path>
            </a:pathLst>
          </a:custGeom>
          <a:gradFill flip="none" rotWithShape="1">
            <a:gsLst>
              <a:gs pos="0">
                <a:schemeClr val="accent3"/>
              </a:gs>
              <a:gs pos="100000">
                <a:schemeClr val="accent2">
                  <a:lumMod val="0"/>
                </a:schemeClr>
              </a:gs>
            </a:gsLst>
            <a:path path="circle">
              <a:fillToRect l="100000" t="100000"/>
            </a:path>
            <a:tileRect r="-100000" b="-100000"/>
          </a:gradFill>
          <a:ln w="10076" cap="flat">
            <a:noFill/>
            <a:prstDash val="solid"/>
            <a:miter/>
          </a:ln>
        </p:spPr>
        <p:txBody>
          <a:bodyPr wrap="square" rtlCol="0" anchor="ctr">
            <a:noAutofit/>
          </a:bodyPr>
          <a:lstStyle/>
          <a:p>
            <a:endParaRPr lang="en-US" sz="1765"/>
          </a:p>
        </p:txBody>
      </p:sp>
    </p:spTree>
    <p:extLst>
      <p:ext uri="{BB962C8B-B14F-4D97-AF65-F5344CB8AC3E}">
        <p14:creationId xmlns:p14="http://schemas.microsoft.com/office/powerpoint/2010/main" val="4225875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4838603"/>
      </p:ext>
    </p:extLst>
  </p:cSld>
  <p:clrMapOvr>
    <a:masterClrMapping/>
  </p:clrMapOvr>
  <p:transition>
    <p:fade/>
  </p:transition>
  <p:hf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sz="3529">
                <a:solidFill>
                  <a:schemeClr val="tx1"/>
                </a:solidFill>
              </a:defRPr>
            </a:lvl1pPr>
          </a:lstStyle>
          <a:p>
            <a:r>
              <a:rPr lang="en-US"/>
              <a:t>Click to edit Master title style</a:t>
            </a:r>
          </a:p>
        </p:txBody>
      </p:sp>
    </p:spTree>
    <p:extLst>
      <p:ext uri="{BB962C8B-B14F-4D97-AF65-F5344CB8AC3E}">
        <p14:creationId xmlns:p14="http://schemas.microsoft.com/office/powerpoint/2010/main" val="1441934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74847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062421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1_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663"/>
            <a:ext cx="5794056" cy="498674"/>
          </a:xfrm>
          <a:noFill/>
        </p:spPr>
        <p:txBody>
          <a:bodyPr wrap="square" lIns="0" tIns="0" rIns="0" bIns="0" anchor="ctr"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162" name="Rectangle 161">
            <a:extLst>
              <a:ext uri="{FF2B5EF4-FFF2-40B4-BE49-F238E27FC236}">
                <a16:creationId xmlns:a16="http://schemas.microsoft.com/office/drawing/2014/main" id="{0FD9F46C-0C7B-482C-8FBC-4CB29AE623AD}"/>
              </a:ext>
            </a:extLst>
          </p:cNvPr>
          <p:cNvSpPr/>
          <p:nvPr userDrawn="1"/>
        </p:nvSpPr>
        <p:spPr>
          <a:xfrm>
            <a:off x="588263" y="6598452"/>
            <a:ext cx="1232049" cy="135796"/>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grpSp>
        <p:nvGrpSpPr>
          <p:cNvPr id="16" name="Group 15">
            <a:extLst>
              <a:ext uri="{FF2B5EF4-FFF2-40B4-BE49-F238E27FC236}">
                <a16:creationId xmlns:a16="http://schemas.microsoft.com/office/drawing/2014/main" id="{7FF4DC87-AA9F-421C-AC1E-122CB147C861}"/>
              </a:ext>
              <a:ext uri="{C183D7F6-B498-43B3-948B-1728B52AA6E4}">
                <adec:decorative xmlns:adec="http://schemas.microsoft.com/office/drawing/2017/decorative" val="1"/>
              </a:ext>
            </a:extLst>
          </p:cNvPr>
          <p:cNvGrpSpPr/>
          <p:nvPr userDrawn="1"/>
        </p:nvGrpSpPr>
        <p:grpSpPr>
          <a:xfrm>
            <a:off x="6774582" y="3"/>
            <a:ext cx="5223611" cy="7093674"/>
            <a:chOff x="6910426" y="2"/>
            <a:chExt cx="5328355" cy="7234891"/>
          </a:xfrm>
        </p:grpSpPr>
        <p:sp>
          <p:nvSpPr>
            <p:cNvPr id="17" name="Freeform: Shape 16">
              <a:extLst>
                <a:ext uri="{FF2B5EF4-FFF2-40B4-BE49-F238E27FC236}">
                  <a16:creationId xmlns:a16="http://schemas.microsoft.com/office/drawing/2014/main" id="{273795DB-6AB6-464F-A095-4F940D7CCEA3}"/>
                </a:ext>
              </a:extLst>
            </p:cNvPr>
            <p:cNvSpPr/>
            <p:nvPr/>
          </p:nvSpPr>
          <p:spPr>
            <a:xfrm rot="16200000" flipH="1">
              <a:off x="7498467" y="507905"/>
              <a:ext cx="5248218" cy="4232411"/>
            </a:xfrm>
            <a:custGeom>
              <a:avLst/>
              <a:gdLst>
                <a:gd name="connsiteX0" fmla="*/ 5236026 w 5248218"/>
                <a:gd name="connsiteY0" fmla="*/ 541982 h 4232411"/>
                <a:gd name="connsiteX1" fmla="*/ 5242307 w 5248218"/>
                <a:gd name="connsiteY1" fmla="*/ 543829 h 4232411"/>
                <a:gd name="connsiteX2" fmla="*/ 5248218 w 5248218"/>
                <a:gd name="connsiteY2" fmla="*/ 537918 h 4232411"/>
                <a:gd name="connsiteX3" fmla="*/ 5242307 w 5248218"/>
                <a:gd name="connsiteY3" fmla="*/ 532007 h 4232411"/>
                <a:gd name="connsiteX4" fmla="*/ 5236396 w 5248218"/>
                <a:gd name="connsiteY4" fmla="*/ 537918 h 4232411"/>
                <a:gd name="connsiteX5" fmla="*/ 5236026 w 5248218"/>
                <a:gd name="connsiteY5" fmla="*/ 541982 h 4232411"/>
                <a:gd name="connsiteX6" fmla="*/ 5230482 w 5248218"/>
                <a:gd name="connsiteY6" fmla="*/ 1223616 h 4232411"/>
                <a:gd name="connsiteX7" fmla="*/ 5233439 w 5248218"/>
                <a:gd name="connsiteY7" fmla="*/ 1226573 h 4232411"/>
                <a:gd name="connsiteX8" fmla="*/ 5236393 w 5248218"/>
                <a:gd name="connsiteY8" fmla="*/ 1223616 h 4232411"/>
                <a:gd name="connsiteX9" fmla="*/ 5233439 w 5248218"/>
                <a:gd name="connsiteY9" fmla="*/ 1220662 h 4232411"/>
                <a:gd name="connsiteX10" fmla="*/ 5230482 w 5248218"/>
                <a:gd name="connsiteY10" fmla="*/ 1223616 h 4232411"/>
                <a:gd name="connsiteX11" fmla="*/ 5192060 w 5248218"/>
                <a:gd name="connsiteY11" fmla="*/ 712300 h 4232411"/>
                <a:gd name="connsiteX12" fmla="*/ 5197972 w 5248218"/>
                <a:gd name="connsiteY12" fmla="*/ 718211 h 4232411"/>
                <a:gd name="connsiteX13" fmla="*/ 5203883 w 5248218"/>
                <a:gd name="connsiteY13" fmla="*/ 712300 h 4232411"/>
                <a:gd name="connsiteX14" fmla="*/ 5197972 w 5248218"/>
                <a:gd name="connsiteY14" fmla="*/ 706389 h 4232411"/>
                <a:gd name="connsiteX15" fmla="*/ 5192060 w 5248218"/>
                <a:gd name="connsiteY15" fmla="*/ 712300 h 4232411"/>
                <a:gd name="connsiteX16" fmla="*/ 5153636 w 5248218"/>
                <a:gd name="connsiteY16" fmla="*/ 1383218 h 4232411"/>
                <a:gd name="connsiteX17" fmla="*/ 5159547 w 5248218"/>
                <a:gd name="connsiteY17" fmla="*/ 1389129 h 4232411"/>
                <a:gd name="connsiteX18" fmla="*/ 5165459 w 5248218"/>
                <a:gd name="connsiteY18" fmla="*/ 1383218 h 4232411"/>
                <a:gd name="connsiteX19" fmla="*/ 5159547 w 5248218"/>
                <a:gd name="connsiteY19" fmla="*/ 1377307 h 4232411"/>
                <a:gd name="connsiteX20" fmla="*/ 5153636 w 5248218"/>
                <a:gd name="connsiteY20" fmla="*/ 1383218 h 4232411"/>
                <a:gd name="connsiteX21" fmla="*/ 5144771 w 5248218"/>
                <a:gd name="connsiteY21" fmla="*/ 883721 h 4232411"/>
                <a:gd name="connsiteX22" fmla="*/ 5147728 w 5248218"/>
                <a:gd name="connsiteY22" fmla="*/ 886678 h 4232411"/>
                <a:gd name="connsiteX23" fmla="*/ 5150682 w 5248218"/>
                <a:gd name="connsiteY23" fmla="*/ 883721 h 4232411"/>
                <a:gd name="connsiteX24" fmla="*/ 5147728 w 5248218"/>
                <a:gd name="connsiteY24" fmla="*/ 880767 h 4232411"/>
                <a:gd name="connsiteX25" fmla="*/ 5144771 w 5248218"/>
                <a:gd name="connsiteY25" fmla="*/ 883721 h 4232411"/>
                <a:gd name="connsiteX26" fmla="*/ 5093786 w 5248218"/>
                <a:gd name="connsiteY26" fmla="*/ 187681 h 4232411"/>
                <a:gd name="connsiteX27" fmla="*/ 5097481 w 5248218"/>
                <a:gd name="connsiteY27" fmla="*/ 189158 h 4232411"/>
                <a:gd name="connsiteX28" fmla="*/ 5100435 w 5248218"/>
                <a:gd name="connsiteY28" fmla="*/ 186204 h 4232411"/>
                <a:gd name="connsiteX29" fmla="*/ 5097481 w 5248218"/>
                <a:gd name="connsiteY29" fmla="*/ 183247 h 4232411"/>
                <a:gd name="connsiteX30" fmla="*/ 5094524 w 5248218"/>
                <a:gd name="connsiteY30" fmla="*/ 186204 h 4232411"/>
                <a:gd name="connsiteX31" fmla="*/ 5093786 w 5248218"/>
                <a:gd name="connsiteY31" fmla="*/ 187681 h 4232411"/>
                <a:gd name="connsiteX32" fmla="*/ 5084918 w 5248218"/>
                <a:gd name="connsiteY32" fmla="*/ 1054779 h 4232411"/>
                <a:gd name="connsiteX33" fmla="*/ 5088613 w 5248218"/>
                <a:gd name="connsiteY33" fmla="*/ 1055149 h 4232411"/>
                <a:gd name="connsiteX34" fmla="*/ 5091570 w 5248218"/>
                <a:gd name="connsiteY34" fmla="*/ 1052192 h 4232411"/>
                <a:gd name="connsiteX35" fmla="*/ 5088613 w 5248218"/>
                <a:gd name="connsiteY35" fmla="*/ 1049238 h 4232411"/>
                <a:gd name="connsiteX36" fmla="*/ 5085656 w 5248218"/>
                <a:gd name="connsiteY36" fmla="*/ 1052192 h 4232411"/>
                <a:gd name="connsiteX37" fmla="*/ 5084918 w 5248218"/>
                <a:gd name="connsiteY37" fmla="*/ 1054779 h 4232411"/>
                <a:gd name="connsiteX38" fmla="*/ 5064968 w 5248218"/>
                <a:gd name="connsiteY38" fmla="*/ 360582 h 4232411"/>
                <a:gd name="connsiteX39" fmla="*/ 5070879 w 5248218"/>
                <a:gd name="connsiteY39" fmla="*/ 366494 h 4232411"/>
                <a:gd name="connsiteX40" fmla="*/ 5076791 w 5248218"/>
                <a:gd name="connsiteY40" fmla="*/ 360582 h 4232411"/>
                <a:gd name="connsiteX41" fmla="*/ 5070879 w 5248218"/>
                <a:gd name="connsiteY41" fmla="*/ 354671 h 4232411"/>
                <a:gd name="connsiteX42" fmla="*/ 5064968 w 5248218"/>
                <a:gd name="connsiteY42" fmla="*/ 360582 h 4232411"/>
                <a:gd name="connsiteX43" fmla="*/ 5032458 w 5248218"/>
                <a:gd name="connsiteY43" fmla="*/ 534964 h 4232411"/>
                <a:gd name="connsiteX44" fmla="*/ 5038369 w 5248218"/>
                <a:gd name="connsiteY44" fmla="*/ 540875 h 4232411"/>
                <a:gd name="connsiteX45" fmla="*/ 5044281 w 5248218"/>
                <a:gd name="connsiteY45" fmla="*/ 534964 h 4232411"/>
                <a:gd name="connsiteX46" fmla="*/ 5038369 w 5248218"/>
                <a:gd name="connsiteY46" fmla="*/ 529053 h 4232411"/>
                <a:gd name="connsiteX47" fmla="*/ 5032458 w 5248218"/>
                <a:gd name="connsiteY47" fmla="*/ 534964 h 4232411"/>
                <a:gd name="connsiteX48" fmla="*/ 5014725 w 5248218"/>
                <a:gd name="connsiteY48" fmla="*/ 2009804 h 4232411"/>
                <a:gd name="connsiteX49" fmla="*/ 5023593 w 5248218"/>
                <a:gd name="connsiteY49" fmla="*/ 2018669 h 4232411"/>
                <a:gd name="connsiteX50" fmla="*/ 5032458 w 5248218"/>
                <a:gd name="connsiteY50" fmla="*/ 2009804 h 4232411"/>
                <a:gd name="connsiteX51" fmla="*/ 5023593 w 5248218"/>
                <a:gd name="connsiteY51" fmla="*/ 2000936 h 4232411"/>
                <a:gd name="connsiteX52" fmla="*/ 5014725 w 5248218"/>
                <a:gd name="connsiteY52" fmla="*/ 2009804 h 4232411"/>
                <a:gd name="connsiteX53" fmla="*/ 4994037 w 5248218"/>
                <a:gd name="connsiteY53" fmla="*/ 1217705 h 4232411"/>
                <a:gd name="connsiteX54" fmla="*/ 5017682 w 5248218"/>
                <a:gd name="connsiteY54" fmla="*/ 1241350 h 4232411"/>
                <a:gd name="connsiteX55" fmla="*/ 5041327 w 5248218"/>
                <a:gd name="connsiteY55" fmla="*/ 1217705 h 4232411"/>
                <a:gd name="connsiteX56" fmla="*/ 5017682 w 5248218"/>
                <a:gd name="connsiteY56" fmla="*/ 1194060 h 4232411"/>
                <a:gd name="connsiteX57" fmla="*/ 4994037 w 5248218"/>
                <a:gd name="connsiteY57" fmla="*/ 1217705 h 4232411"/>
                <a:gd name="connsiteX58" fmla="*/ 4982212 w 5248218"/>
                <a:gd name="connsiteY58" fmla="*/ 709343 h 4232411"/>
                <a:gd name="connsiteX59" fmla="*/ 4991080 w 5248218"/>
                <a:gd name="connsiteY59" fmla="*/ 718208 h 4232411"/>
                <a:gd name="connsiteX60" fmla="*/ 4999945 w 5248218"/>
                <a:gd name="connsiteY60" fmla="*/ 709343 h 4232411"/>
                <a:gd name="connsiteX61" fmla="*/ 4991080 w 5248218"/>
                <a:gd name="connsiteY61" fmla="*/ 700474 h 4232411"/>
                <a:gd name="connsiteX62" fmla="*/ 4982212 w 5248218"/>
                <a:gd name="connsiteY62" fmla="*/ 709343 h 4232411"/>
                <a:gd name="connsiteX63" fmla="*/ 4967435 w 5248218"/>
                <a:gd name="connsiteY63" fmla="*/ 1696508 h 4232411"/>
                <a:gd name="connsiteX64" fmla="*/ 4988126 w 5248218"/>
                <a:gd name="connsiteY64" fmla="*/ 1717199 h 4232411"/>
                <a:gd name="connsiteX65" fmla="*/ 5008814 w 5248218"/>
                <a:gd name="connsiteY65" fmla="*/ 1696508 h 4232411"/>
                <a:gd name="connsiteX66" fmla="*/ 4988126 w 5248218"/>
                <a:gd name="connsiteY66" fmla="*/ 1675821 h 4232411"/>
                <a:gd name="connsiteX67" fmla="*/ 4967435 w 5248218"/>
                <a:gd name="connsiteY67" fmla="*/ 1696508 h 4232411"/>
                <a:gd name="connsiteX68" fmla="*/ 4923100 w 5248218"/>
                <a:gd name="connsiteY68" fmla="*/ 880770 h 4232411"/>
                <a:gd name="connsiteX69" fmla="*/ 4937879 w 5248218"/>
                <a:gd name="connsiteY69" fmla="*/ 895547 h 4232411"/>
                <a:gd name="connsiteX70" fmla="*/ 4952656 w 5248218"/>
                <a:gd name="connsiteY70" fmla="*/ 880770 h 4232411"/>
                <a:gd name="connsiteX71" fmla="*/ 4937879 w 5248218"/>
                <a:gd name="connsiteY71" fmla="*/ 865991 h 4232411"/>
                <a:gd name="connsiteX72" fmla="*/ 4923100 w 5248218"/>
                <a:gd name="connsiteY72" fmla="*/ 880770 h 4232411"/>
                <a:gd name="connsiteX73" fmla="*/ 4911280 w 5248218"/>
                <a:gd name="connsiteY73" fmla="*/ 2151673 h 4232411"/>
                <a:gd name="connsiteX74" fmla="*/ 4917192 w 5248218"/>
                <a:gd name="connsiteY74" fmla="*/ 2157584 h 4232411"/>
                <a:gd name="connsiteX75" fmla="*/ 4923103 w 5248218"/>
                <a:gd name="connsiteY75" fmla="*/ 2151673 h 4232411"/>
                <a:gd name="connsiteX76" fmla="*/ 4917192 w 5248218"/>
                <a:gd name="connsiteY76" fmla="*/ 2145762 h 4232411"/>
                <a:gd name="connsiteX77" fmla="*/ 4911280 w 5248218"/>
                <a:gd name="connsiteY77" fmla="*/ 2151673 h 4232411"/>
                <a:gd name="connsiteX78" fmla="*/ 4905369 w 5248218"/>
                <a:gd name="connsiteY78" fmla="*/ 5911 h 4232411"/>
                <a:gd name="connsiteX79" fmla="*/ 4911280 w 5248218"/>
                <a:gd name="connsiteY79" fmla="*/ 11822 h 4232411"/>
                <a:gd name="connsiteX80" fmla="*/ 4917192 w 5248218"/>
                <a:gd name="connsiteY80" fmla="*/ 5911 h 4232411"/>
                <a:gd name="connsiteX81" fmla="*/ 4911280 w 5248218"/>
                <a:gd name="connsiteY81" fmla="*/ 0 h 4232411"/>
                <a:gd name="connsiteX82" fmla="*/ 4905369 w 5248218"/>
                <a:gd name="connsiteY82" fmla="*/ 5911 h 4232411"/>
                <a:gd name="connsiteX83" fmla="*/ 4902412 w 5248218"/>
                <a:gd name="connsiteY83" fmla="*/ 1377310 h 4232411"/>
                <a:gd name="connsiteX84" fmla="*/ 4940836 w 5248218"/>
                <a:gd name="connsiteY84" fmla="*/ 1415731 h 4232411"/>
                <a:gd name="connsiteX85" fmla="*/ 4979258 w 5248218"/>
                <a:gd name="connsiteY85" fmla="*/ 1377310 h 4232411"/>
                <a:gd name="connsiteX86" fmla="*/ 4940836 w 5248218"/>
                <a:gd name="connsiteY86" fmla="*/ 1338886 h 4232411"/>
                <a:gd name="connsiteX87" fmla="*/ 4902412 w 5248218"/>
                <a:gd name="connsiteY87" fmla="*/ 1377310 h 4232411"/>
                <a:gd name="connsiteX88" fmla="*/ 4890590 w 5248218"/>
                <a:gd name="connsiteY88" fmla="*/ 183247 h 4232411"/>
                <a:gd name="connsiteX89" fmla="*/ 4896501 w 5248218"/>
                <a:gd name="connsiteY89" fmla="*/ 189158 h 4232411"/>
                <a:gd name="connsiteX90" fmla="*/ 4902412 w 5248218"/>
                <a:gd name="connsiteY90" fmla="*/ 183247 h 4232411"/>
                <a:gd name="connsiteX91" fmla="*/ 4896501 w 5248218"/>
                <a:gd name="connsiteY91" fmla="*/ 177335 h 4232411"/>
                <a:gd name="connsiteX92" fmla="*/ 4890590 w 5248218"/>
                <a:gd name="connsiteY92" fmla="*/ 183247 h 4232411"/>
                <a:gd name="connsiteX93" fmla="*/ 4884679 w 5248218"/>
                <a:gd name="connsiteY93" fmla="*/ 1847248 h 4232411"/>
                <a:gd name="connsiteX94" fmla="*/ 4893544 w 5248218"/>
                <a:gd name="connsiteY94" fmla="*/ 1856113 h 4232411"/>
                <a:gd name="connsiteX95" fmla="*/ 4902412 w 5248218"/>
                <a:gd name="connsiteY95" fmla="*/ 1847248 h 4232411"/>
                <a:gd name="connsiteX96" fmla="*/ 4893544 w 5248218"/>
                <a:gd name="connsiteY96" fmla="*/ 1838380 h 4232411"/>
                <a:gd name="connsiteX97" fmla="*/ 4884679 w 5248218"/>
                <a:gd name="connsiteY97" fmla="*/ 1847248 h 4232411"/>
                <a:gd name="connsiteX98" fmla="*/ 4863988 w 5248218"/>
                <a:gd name="connsiteY98" fmla="*/ 360582 h 4232411"/>
                <a:gd name="connsiteX99" fmla="*/ 4869899 w 5248218"/>
                <a:gd name="connsiteY99" fmla="*/ 366494 h 4232411"/>
                <a:gd name="connsiteX100" fmla="*/ 4875810 w 5248218"/>
                <a:gd name="connsiteY100" fmla="*/ 360582 h 4232411"/>
                <a:gd name="connsiteX101" fmla="*/ 4869899 w 5248218"/>
                <a:gd name="connsiteY101" fmla="*/ 354671 h 4232411"/>
                <a:gd name="connsiteX102" fmla="*/ 4863988 w 5248218"/>
                <a:gd name="connsiteY102" fmla="*/ 360582 h 4232411"/>
                <a:gd name="connsiteX103" fmla="*/ 4849211 w 5248218"/>
                <a:gd name="connsiteY103" fmla="*/ 1049235 h 4232411"/>
                <a:gd name="connsiteX104" fmla="*/ 4872856 w 5248218"/>
                <a:gd name="connsiteY104" fmla="*/ 1072879 h 4232411"/>
                <a:gd name="connsiteX105" fmla="*/ 4896501 w 5248218"/>
                <a:gd name="connsiteY105" fmla="*/ 1049235 h 4232411"/>
                <a:gd name="connsiteX106" fmla="*/ 4872856 w 5248218"/>
                <a:gd name="connsiteY106" fmla="*/ 1025590 h 4232411"/>
                <a:gd name="connsiteX107" fmla="*/ 4849211 w 5248218"/>
                <a:gd name="connsiteY107" fmla="*/ 1049235 h 4232411"/>
                <a:gd name="connsiteX108" fmla="*/ 4828521 w 5248218"/>
                <a:gd name="connsiteY108" fmla="*/ 537915 h 4232411"/>
                <a:gd name="connsiteX109" fmla="*/ 4831478 w 5248218"/>
                <a:gd name="connsiteY109" fmla="*/ 540872 h 4232411"/>
                <a:gd name="connsiteX110" fmla="*/ 4834432 w 5248218"/>
                <a:gd name="connsiteY110" fmla="*/ 537915 h 4232411"/>
                <a:gd name="connsiteX111" fmla="*/ 4831478 w 5248218"/>
                <a:gd name="connsiteY111" fmla="*/ 534961 h 4232411"/>
                <a:gd name="connsiteX112" fmla="*/ 4828521 w 5248218"/>
                <a:gd name="connsiteY112" fmla="*/ 537915 h 4232411"/>
                <a:gd name="connsiteX113" fmla="*/ 4825567 w 5248218"/>
                <a:gd name="connsiteY113" fmla="*/ 1536909 h 4232411"/>
                <a:gd name="connsiteX114" fmla="*/ 4855123 w 5248218"/>
                <a:gd name="connsiteY114" fmla="*/ 1566465 h 4232411"/>
                <a:gd name="connsiteX115" fmla="*/ 4884679 w 5248218"/>
                <a:gd name="connsiteY115" fmla="*/ 1536909 h 4232411"/>
                <a:gd name="connsiteX116" fmla="*/ 4855123 w 5248218"/>
                <a:gd name="connsiteY116" fmla="*/ 1507353 h 4232411"/>
                <a:gd name="connsiteX117" fmla="*/ 4825567 w 5248218"/>
                <a:gd name="connsiteY117" fmla="*/ 1536909 h 4232411"/>
                <a:gd name="connsiteX118" fmla="*/ 4801922 w 5248218"/>
                <a:gd name="connsiteY118" fmla="*/ 2580236 h 4232411"/>
                <a:gd name="connsiteX119" fmla="*/ 4807833 w 5248218"/>
                <a:gd name="connsiteY119" fmla="*/ 2586146 h 4232411"/>
                <a:gd name="connsiteX120" fmla="*/ 4813744 w 5248218"/>
                <a:gd name="connsiteY120" fmla="*/ 2580236 h 4232411"/>
                <a:gd name="connsiteX121" fmla="*/ 4807833 w 5248218"/>
                <a:gd name="connsiteY121" fmla="*/ 2574324 h 4232411"/>
                <a:gd name="connsiteX122" fmla="*/ 4801922 w 5248218"/>
                <a:gd name="connsiteY122" fmla="*/ 2580236 h 4232411"/>
                <a:gd name="connsiteX123" fmla="*/ 4790100 w 5248218"/>
                <a:gd name="connsiteY123" fmla="*/ 2293541 h 4232411"/>
                <a:gd name="connsiteX124" fmla="*/ 4801922 w 5248218"/>
                <a:gd name="connsiteY124" fmla="*/ 2305364 h 4232411"/>
                <a:gd name="connsiteX125" fmla="*/ 4813744 w 5248218"/>
                <a:gd name="connsiteY125" fmla="*/ 2293541 h 4232411"/>
                <a:gd name="connsiteX126" fmla="*/ 4801922 w 5248218"/>
                <a:gd name="connsiteY126" fmla="*/ 2281719 h 4232411"/>
                <a:gd name="connsiteX127" fmla="*/ 4790100 w 5248218"/>
                <a:gd name="connsiteY127" fmla="*/ 2293541 h 4232411"/>
                <a:gd name="connsiteX128" fmla="*/ 4775320 w 5248218"/>
                <a:gd name="connsiteY128" fmla="*/ 1211794 h 4232411"/>
                <a:gd name="connsiteX129" fmla="*/ 4801922 w 5248218"/>
                <a:gd name="connsiteY129" fmla="*/ 1238393 h 4232411"/>
                <a:gd name="connsiteX130" fmla="*/ 4828521 w 5248218"/>
                <a:gd name="connsiteY130" fmla="*/ 1211794 h 4232411"/>
                <a:gd name="connsiteX131" fmla="*/ 4801922 w 5248218"/>
                <a:gd name="connsiteY131" fmla="*/ 1185192 h 4232411"/>
                <a:gd name="connsiteX132" fmla="*/ 4775320 w 5248218"/>
                <a:gd name="connsiteY132" fmla="*/ 1211794 h 4232411"/>
                <a:gd name="connsiteX133" fmla="*/ 4772366 w 5248218"/>
                <a:gd name="connsiteY133" fmla="*/ 709343 h 4232411"/>
                <a:gd name="connsiteX134" fmla="*/ 4784188 w 5248218"/>
                <a:gd name="connsiteY134" fmla="*/ 721165 h 4232411"/>
                <a:gd name="connsiteX135" fmla="*/ 4796011 w 5248218"/>
                <a:gd name="connsiteY135" fmla="*/ 709343 h 4232411"/>
                <a:gd name="connsiteX136" fmla="*/ 4784188 w 5248218"/>
                <a:gd name="connsiteY136" fmla="*/ 697520 h 4232411"/>
                <a:gd name="connsiteX137" fmla="*/ 4772366 w 5248218"/>
                <a:gd name="connsiteY137" fmla="*/ 709343 h 4232411"/>
                <a:gd name="connsiteX138" fmla="*/ 4751678 w 5248218"/>
                <a:gd name="connsiteY138" fmla="*/ 1992071 h 4232411"/>
                <a:gd name="connsiteX139" fmla="*/ 4787146 w 5248218"/>
                <a:gd name="connsiteY139" fmla="*/ 2027538 h 4232411"/>
                <a:gd name="connsiteX140" fmla="*/ 4822613 w 5248218"/>
                <a:gd name="connsiteY140" fmla="*/ 1992071 h 4232411"/>
                <a:gd name="connsiteX141" fmla="*/ 4787146 w 5248218"/>
                <a:gd name="connsiteY141" fmla="*/ 1956604 h 4232411"/>
                <a:gd name="connsiteX142" fmla="*/ 4751678 w 5248218"/>
                <a:gd name="connsiteY142" fmla="*/ 1992071 h 4232411"/>
                <a:gd name="connsiteX143" fmla="*/ 4730988 w 5248218"/>
                <a:gd name="connsiteY143" fmla="*/ 1687646 h 4232411"/>
                <a:gd name="connsiteX144" fmla="*/ 4760544 w 5248218"/>
                <a:gd name="connsiteY144" fmla="*/ 1717202 h 4232411"/>
                <a:gd name="connsiteX145" fmla="*/ 4790100 w 5248218"/>
                <a:gd name="connsiteY145" fmla="*/ 1687646 h 4232411"/>
                <a:gd name="connsiteX146" fmla="*/ 4760544 w 5248218"/>
                <a:gd name="connsiteY146" fmla="*/ 1658090 h 4232411"/>
                <a:gd name="connsiteX147" fmla="*/ 4730988 w 5248218"/>
                <a:gd name="connsiteY147" fmla="*/ 1687646 h 4232411"/>
                <a:gd name="connsiteX148" fmla="*/ 4707343 w 5248218"/>
                <a:gd name="connsiteY148" fmla="*/ 880767 h 4232411"/>
                <a:gd name="connsiteX149" fmla="*/ 4728034 w 5248218"/>
                <a:gd name="connsiteY149" fmla="*/ 901455 h 4232411"/>
                <a:gd name="connsiteX150" fmla="*/ 4748721 w 5248218"/>
                <a:gd name="connsiteY150" fmla="*/ 880767 h 4232411"/>
                <a:gd name="connsiteX151" fmla="*/ 4728034 w 5248218"/>
                <a:gd name="connsiteY151" fmla="*/ 860076 h 4232411"/>
                <a:gd name="connsiteX152" fmla="*/ 4707343 w 5248218"/>
                <a:gd name="connsiteY152" fmla="*/ 880767 h 4232411"/>
                <a:gd name="connsiteX153" fmla="*/ 4692567 w 5248218"/>
                <a:gd name="connsiteY153" fmla="*/ 183247 h 4232411"/>
                <a:gd name="connsiteX154" fmla="*/ 4695521 w 5248218"/>
                <a:gd name="connsiteY154" fmla="*/ 186204 h 4232411"/>
                <a:gd name="connsiteX155" fmla="*/ 4698478 w 5248218"/>
                <a:gd name="connsiteY155" fmla="*/ 183247 h 4232411"/>
                <a:gd name="connsiteX156" fmla="*/ 4695521 w 5248218"/>
                <a:gd name="connsiteY156" fmla="*/ 180293 h 4232411"/>
                <a:gd name="connsiteX157" fmla="*/ 4692567 w 5248218"/>
                <a:gd name="connsiteY157" fmla="*/ 183247 h 4232411"/>
                <a:gd name="connsiteX158" fmla="*/ 4683698 w 5248218"/>
                <a:gd name="connsiteY158" fmla="*/ 1371396 h 4232411"/>
                <a:gd name="connsiteX159" fmla="*/ 4719165 w 5248218"/>
                <a:gd name="connsiteY159" fmla="*/ 1406863 h 4232411"/>
                <a:gd name="connsiteX160" fmla="*/ 4754632 w 5248218"/>
                <a:gd name="connsiteY160" fmla="*/ 1371396 h 4232411"/>
                <a:gd name="connsiteX161" fmla="*/ 4719165 w 5248218"/>
                <a:gd name="connsiteY161" fmla="*/ 1335929 h 4232411"/>
                <a:gd name="connsiteX162" fmla="*/ 4683698 w 5248218"/>
                <a:gd name="connsiteY162" fmla="*/ 1371396 h 4232411"/>
                <a:gd name="connsiteX163" fmla="*/ 4671876 w 5248218"/>
                <a:gd name="connsiteY163" fmla="*/ 2426542 h 4232411"/>
                <a:gd name="connsiteX164" fmla="*/ 4683698 w 5248218"/>
                <a:gd name="connsiteY164" fmla="*/ 2438364 h 4232411"/>
                <a:gd name="connsiteX165" fmla="*/ 4695521 w 5248218"/>
                <a:gd name="connsiteY165" fmla="*/ 2426542 h 4232411"/>
                <a:gd name="connsiteX166" fmla="*/ 4683698 w 5248218"/>
                <a:gd name="connsiteY166" fmla="*/ 2414719 h 4232411"/>
                <a:gd name="connsiteX167" fmla="*/ 4671876 w 5248218"/>
                <a:gd name="connsiteY167" fmla="*/ 2426542 h 4232411"/>
                <a:gd name="connsiteX168" fmla="*/ 4651185 w 5248218"/>
                <a:gd name="connsiteY168" fmla="*/ 1043326 h 4232411"/>
                <a:gd name="connsiteX169" fmla="*/ 4660053 w 5248218"/>
                <a:gd name="connsiteY169" fmla="*/ 1052192 h 4232411"/>
                <a:gd name="connsiteX170" fmla="*/ 4668919 w 5248218"/>
                <a:gd name="connsiteY170" fmla="*/ 1043326 h 4232411"/>
                <a:gd name="connsiteX171" fmla="*/ 4660053 w 5248218"/>
                <a:gd name="connsiteY171" fmla="*/ 1034458 h 4232411"/>
                <a:gd name="connsiteX172" fmla="*/ 4651185 w 5248218"/>
                <a:gd name="connsiteY172" fmla="*/ 1043326 h 4232411"/>
                <a:gd name="connsiteX173" fmla="*/ 4648231 w 5248218"/>
                <a:gd name="connsiteY173" fmla="*/ 2133939 h 4232411"/>
                <a:gd name="connsiteX174" fmla="*/ 4674830 w 5248218"/>
                <a:gd name="connsiteY174" fmla="*/ 2160541 h 4232411"/>
                <a:gd name="connsiteX175" fmla="*/ 4701432 w 5248218"/>
                <a:gd name="connsiteY175" fmla="*/ 2133939 h 4232411"/>
                <a:gd name="connsiteX176" fmla="*/ 4674830 w 5248218"/>
                <a:gd name="connsiteY176" fmla="*/ 2107340 h 4232411"/>
                <a:gd name="connsiteX177" fmla="*/ 4648231 w 5248218"/>
                <a:gd name="connsiteY177" fmla="*/ 2133939 h 4232411"/>
                <a:gd name="connsiteX178" fmla="*/ 4639366 w 5248218"/>
                <a:gd name="connsiteY178" fmla="*/ 1832469 h 4232411"/>
                <a:gd name="connsiteX179" fmla="*/ 4657099 w 5248218"/>
                <a:gd name="connsiteY179" fmla="*/ 1850202 h 4232411"/>
                <a:gd name="connsiteX180" fmla="*/ 4674833 w 5248218"/>
                <a:gd name="connsiteY180" fmla="*/ 1832469 h 4232411"/>
                <a:gd name="connsiteX181" fmla="*/ 4657099 w 5248218"/>
                <a:gd name="connsiteY181" fmla="*/ 1814735 h 4232411"/>
                <a:gd name="connsiteX182" fmla="*/ 4639366 w 5248218"/>
                <a:gd name="connsiteY182" fmla="*/ 1832469 h 4232411"/>
                <a:gd name="connsiteX183" fmla="*/ 4612764 w 5248218"/>
                <a:gd name="connsiteY183" fmla="*/ 1525090 h 4232411"/>
                <a:gd name="connsiteX184" fmla="*/ 4627543 w 5248218"/>
                <a:gd name="connsiteY184" fmla="*/ 1539866 h 4232411"/>
                <a:gd name="connsiteX185" fmla="*/ 4642320 w 5248218"/>
                <a:gd name="connsiteY185" fmla="*/ 1525090 h 4232411"/>
                <a:gd name="connsiteX186" fmla="*/ 4627543 w 5248218"/>
                <a:gd name="connsiteY186" fmla="*/ 1510310 h 4232411"/>
                <a:gd name="connsiteX187" fmla="*/ 4612764 w 5248218"/>
                <a:gd name="connsiteY187" fmla="*/ 1525090 h 4232411"/>
                <a:gd name="connsiteX188" fmla="*/ 4571386 w 5248218"/>
                <a:gd name="connsiteY188" fmla="*/ 706386 h 4232411"/>
                <a:gd name="connsiteX189" fmla="*/ 4577297 w 5248218"/>
                <a:gd name="connsiteY189" fmla="*/ 712297 h 4232411"/>
                <a:gd name="connsiteX190" fmla="*/ 4583208 w 5248218"/>
                <a:gd name="connsiteY190" fmla="*/ 706386 h 4232411"/>
                <a:gd name="connsiteX191" fmla="*/ 4577297 w 5248218"/>
                <a:gd name="connsiteY191" fmla="*/ 700474 h 4232411"/>
                <a:gd name="connsiteX192" fmla="*/ 4571386 w 5248218"/>
                <a:gd name="connsiteY192" fmla="*/ 706386 h 4232411"/>
                <a:gd name="connsiteX193" fmla="*/ 4562517 w 5248218"/>
                <a:gd name="connsiteY193" fmla="*/ 1205883 h 4232411"/>
                <a:gd name="connsiteX194" fmla="*/ 4580251 w 5248218"/>
                <a:gd name="connsiteY194" fmla="*/ 1223616 h 4232411"/>
                <a:gd name="connsiteX195" fmla="*/ 4597984 w 5248218"/>
                <a:gd name="connsiteY195" fmla="*/ 1205883 h 4232411"/>
                <a:gd name="connsiteX196" fmla="*/ 4580251 w 5248218"/>
                <a:gd name="connsiteY196" fmla="*/ 1188149 h 4232411"/>
                <a:gd name="connsiteX197" fmla="*/ 4562517 w 5248218"/>
                <a:gd name="connsiteY197" fmla="*/ 1205883 h 4232411"/>
                <a:gd name="connsiteX198" fmla="*/ 4538872 w 5248218"/>
                <a:gd name="connsiteY198" fmla="*/ 2828506 h 4232411"/>
                <a:gd name="connsiteX199" fmla="*/ 4550695 w 5248218"/>
                <a:gd name="connsiteY199" fmla="*/ 2840328 h 4232411"/>
                <a:gd name="connsiteX200" fmla="*/ 4562517 w 5248218"/>
                <a:gd name="connsiteY200" fmla="*/ 2828506 h 4232411"/>
                <a:gd name="connsiteX201" fmla="*/ 4550695 w 5248218"/>
                <a:gd name="connsiteY201" fmla="*/ 2816683 h 4232411"/>
                <a:gd name="connsiteX202" fmla="*/ 4538872 w 5248218"/>
                <a:gd name="connsiteY202" fmla="*/ 2828506 h 4232411"/>
                <a:gd name="connsiteX203" fmla="*/ 4532961 w 5248218"/>
                <a:gd name="connsiteY203" fmla="*/ 2553634 h 4232411"/>
                <a:gd name="connsiteX204" fmla="*/ 4556606 w 5248218"/>
                <a:gd name="connsiteY204" fmla="*/ 2577278 h 4232411"/>
                <a:gd name="connsiteX205" fmla="*/ 4580251 w 5248218"/>
                <a:gd name="connsiteY205" fmla="*/ 2553634 h 4232411"/>
                <a:gd name="connsiteX206" fmla="*/ 4556606 w 5248218"/>
                <a:gd name="connsiteY206" fmla="*/ 2529988 h 4232411"/>
                <a:gd name="connsiteX207" fmla="*/ 4532961 w 5248218"/>
                <a:gd name="connsiteY207" fmla="*/ 2553634 h 4232411"/>
                <a:gd name="connsiteX208" fmla="*/ 4521142 w 5248218"/>
                <a:gd name="connsiteY208" fmla="*/ 2269897 h 4232411"/>
                <a:gd name="connsiteX209" fmla="*/ 4556609 w 5248218"/>
                <a:gd name="connsiteY209" fmla="*/ 2305364 h 4232411"/>
                <a:gd name="connsiteX210" fmla="*/ 4592076 w 5248218"/>
                <a:gd name="connsiteY210" fmla="*/ 2269897 h 4232411"/>
                <a:gd name="connsiteX211" fmla="*/ 4556609 w 5248218"/>
                <a:gd name="connsiteY211" fmla="*/ 2234429 h 4232411"/>
                <a:gd name="connsiteX212" fmla="*/ 4521142 w 5248218"/>
                <a:gd name="connsiteY212" fmla="*/ 2269897 h 4232411"/>
                <a:gd name="connsiteX213" fmla="*/ 4521142 w 5248218"/>
                <a:gd name="connsiteY213" fmla="*/ 1974337 h 4232411"/>
                <a:gd name="connsiteX214" fmla="*/ 4547741 w 5248218"/>
                <a:gd name="connsiteY214" fmla="*/ 2000936 h 4232411"/>
                <a:gd name="connsiteX215" fmla="*/ 4574343 w 5248218"/>
                <a:gd name="connsiteY215" fmla="*/ 1974337 h 4232411"/>
                <a:gd name="connsiteX216" fmla="*/ 4547741 w 5248218"/>
                <a:gd name="connsiteY216" fmla="*/ 1947735 h 4232411"/>
                <a:gd name="connsiteX217" fmla="*/ 4521142 w 5248218"/>
                <a:gd name="connsiteY217" fmla="*/ 1974337 h 4232411"/>
                <a:gd name="connsiteX218" fmla="*/ 4512274 w 5248218"/>
                <a:gd name="connsiteY218" fmla="*/ 1672866 h 4232411"/>
                <a:gd name="connsiteX219" fmla="*/ 4530007 w 5248218"/>
                <a:gd name="connsiteY219" fmla="*/ 1690600 h 4232411"/>
                <a:gd name="connsiteX220" fmla="*/ 4547741 w 5248218"/>
                <a:gd name="connsiteY220" fmla="*/ 1672866 h 4232411"/>
                <a:gd name="connsiteX221" fmla="*/ 4530007 w 5248218"/>
                <a:gd name="connsiteY221" fmla="*/ 1655133 h 4232411"/>
                <a:gd name="connsiteX222" fmla="*/ 4512274 w 5248218"/>
                <a:gd name="connsiteY222" fmla="*/ 1672866 h 4232411"/>
                <a:gd name="connsiteX223" fmla="*/ 4506363 w 5248218"/>
                <a:gd name="connsiteY223" fmla="*/ 874856 h 4232411"/>
                <a:gd name="connsiteX224" fmla="*/ 4515231 w 5248218"/>
                <a:gd name="connsiteY224" fmla="*/ 883724 h 4232411"/>
                <a:gd name="connsiteX225" fmla="*/ 4524096 w 5248218"/>
                <a:gd name="connsiteY225" fmla="*/ 874856 h 4232411"/>
                <a:gd name="connsiteX226" fmla="*/ 4515231 w 5248218"/>
                <a:gd name="connsiteY226" fmla="*/ 865991 h 4232411"/>
                <a:gd name="connsiteX227" fmla="*/ 4506363 w 5248218"/>
                <a:gd name="connsiteY227" fmla="*/ 874856 h 4232411"/>
                <a:gd name="connsiteX228" fmla="*/ 4479761 w 5248218"/>
                <a:gd name="connsiteY228" fmla="*/ 1359577 h 4232411"/>
                <a:gd name="connsiteX229" fmla="*/ 4494540 w 5248218"/>
                <a:gd name="connsiteY229" fmla="*/ 1374353 h 4232411"/>
                <a:gd name="connsiteX230" fmla="*/ 4509317 w 5248218"/>
                <a:gd name="connsiteY230" fmla="*/ 1359577 h 4232411"/>
                <a:gd name="connsiteX231" fmla="*/ 4494540 w 5248218"/>
                <a:gd name="connsiteY231" fmla="*/ 1344797 h 4232411"/>
                <a:gd name="connsiteX232" fmla="*/ 4479761 w 5248218"/>
                <a:gd name="connsiteY232" fmla="*/ 1359577 h 4232411"/>
                <a:gd name="connsiteX233" fmla="*/ 4408829 w 5248218"/>
                <a:gd name="connsiteY233" fmla="*/ 1814735 h 4232411"/>
                <a:gd name="connsiteX234" fmla="*/ 4420652 w 5248218"/>
                <a:gd name="connsiteY234" fmla="*/ 1826557 h 4232411"/>
                <a:gd name="connsiteX235" fmla="*/ 4432474 w 5248218"/>
                <a:gd name="connsiteY235" fmla="*/ 1814735 h 4232411"/>
                <a:gd name="connsiteX236" fmla="*/ 4420652 w 5248218"/>
                <a:gd name="connsiteY236" fmla="*/ 1802913 h 4232411"/>
                <a:gd name="connsiteX237" fmla="*/ 4408829 w 5248218"/>
                <a:gd name="connsiteY237" fmla="*/ 1814735 h 4232411"/>
                <a:gd name="connsiteX238" fmla="*/ 4405872 w 5248218"/>
                <a:gd name="connsiteY238" fmla="*/ 2110294 h 4232411"/>
                <a:gd name="connsiteX239" fmla="*/ 4432474 w 5248218"/>
                <a:gd name="connsiteY239" fmla="*/ 2136896 h 4232411"/>
                <a:gd name="connsiteX240" fmla="*/ 4459073 w 5248218"/>
                <a:gd name="connsiteY240" fmla="*/ 2110294 h 4232411"/>
                <a:gd name="connsiteX241" fmla="*/ 4432474 w 5248218"/>
                <a:gd name="connsiteY241" fmla="*/ 2083696 h 4232411"/>
                <a:gd name="connsiteX242" fmla="*/ 4405872 w 5248218"/>
                <a:gd name="connsiteY242" fmla="*/ 2110294 h 4232411"/>
                <a:gd name="connsiteX243" fmla="*/ 4394050 w 5248218"/>
                <a:gd name="connsiteY243" fmla="*/ 2943772 h 4232411"/>
                <a:gd name="connsiteX244" fmla="*/ 4411783 w 5248218"/>
                <a:gd name="connsiteY244" fmla="*/ 2961506 h 4232411"/>
                <a:gd name="connsiteX245" fmla="*/ 4429517 w 5248218"/>
                <a:gd name="connsiteY245" fmla="*/ 2943772 h 4232411"/>
                <a:gd name="connsiteX246" fmla="*/ 4411783 w 5248218"/>
                <a:gd name="connsiteY246" fmla="*/ 2926038 h 4232411"/>
                <a:gd name="connsiteX247" fmla="*/ 4394050 w 5248218"/>
                <a:gd name="connsiteY247" fmla="*/ 2943772 h 4232411"/>
                <a:gd name="connsiteX248" fmla="*/ 4394050 w 5248218"/>
                <a:gd name="connsiteY248" fmla="*/ 2671857 h 4232411"/>
                <a:gd name="connsiteX249" fmla="*/ 4426563 w 5248218"/>
                <a:gd name="connsiteY249" fmla="*/ 2704370 h 4232411"/>
                <a:gd name="connsiteX250" fmla="*/ 4459073 w 5248218"/>
                <a:gd name="connsiteY250" fmla="*/ 2671857 h 4232411"/>
                <a:gd name="connsiteX251" fmla="*/ 4426563 w 5248218"/>
                <a:gd name="connsiteY251" fmla="*/ 2639347 h 4232411"/>
                <a:gd name="connsiteX252" fmla="*/ 4394050 w 5248218"/>
                <a:gd name="connsiteY252" fmla="*/ 2671857 h 4232411"/>
                <a:gd name="connsiteX253" fmla="*/ 4394050 w 5248218"/>
                <a:gd name="connsiteY253" fmla="*/ 2394031 h 4232411"/>
                <a:gd name="connsiteX254" fmla="*/ 4432474 w 5248218"/>
                <a:gd name="connsiteY254" fmla="*/ 2432452 h 4232411"/>
                <a:gd name="connsiteX255" fmla="*/ 4470895 w 5248218"/>
                <a:gd name="connsiteY255" fmla="*/ 2394031 h 4232411"/>
                <a:gd name="connsiteX256" fmla="*/ 4432474 w 5248218"/>
                <a:gd name="connsiteY256" fmla="*/ 2355607 h 4232411"/>
                <a:gd name="connsiteX257" fmla="*/ 4394050 w 5248218"/>
                <a:gd name="connsiteY257" fmla="*/ 2394031 h 4232411"/>
                <a:gd name="connsiteX258" fmla="*/ 4391093 w 5248218"/>
                <a:gd name="connsiteY258" fmla="*/ 1513264 h 4232411"/>
                <a:gd name="connsiteX259" fmla="*/ 4397004 w 5248218"/>
                <a:gd name="connsiteY259" fmla="*/ 1519176 h 4232411"/>
                <a:gd name="connsiteX260" fmla="*/ 4402915 w 5248218"/>
                <a:gd name="connsiteY260" fmla="*/ 1513264 h 4232411"/>
                <a:gd name="connsiteX261" fmla="*/ 4397004 w 5248218"/>
                <a:gd name="connsiteY261" fmla="*/ 1507353 h 4232411"/>
                <a:gd name="connsiteX262" fmla="*/ 4391093 w 5248218"/>
                <a:gd name="connsiteY262" fmla="*/ 1513264 h 4232411"/>
                <a:gd name="connsiteX263" fmla="*/ 4388139 w 5248218"/>
                <a:gd name="connsiteY263" fmla="*/ 3209776 h 4232411"/>
                <a:gd name="connsiteX264" fmla="*/ 4394050 w 5248218"/>
                <a:gd name="connsiteY264" fmla="*/ 3215686 h 4232411"/>
                <a:gd name="connsiteX265" fmla="*/ 4399961 w 5248218"/>
                <a:gd name="connsiteY265" fmla="*/ 3209776 h 4232411"/>
                <a:gd name="connsiteX266" fmla="*/ 4394050 w 5248218"/>
                <a:gd name="connsiteY266" fmla="*/ 3203864 h 4232411"/>
                <a:gd name="connsiteX267" fmla="*/ 4388139 w 5248218"/>
                <a:gd name="connsiteY267" fmla="*/ 3209776 h 4232411"/>
                <a:gd name="connsiteX268" fmla="*/ 4287649 w 5248218"/>
                <a:gd name="connsiteY268" fmla="*/ 1953649 h 4232411"/>
                <a:gd name="connsiteX269" fmla="*/ 4305382 w 5248218"/>
                <a:gd name="connsiteY269" fmla="*/ 1971383 h 4232411"/>
                <a:gd name="connsiteX270" fmla="*/ 4323116 w 5248218"/>
                <a:gd name="connsiteY270" fmla="*/ 1953649 h 4232411"/>
                <a:gd name="connsiteX271" fmla="*/ 4305382 w 5248218"/>
                <a:gd name="connsiteY271" fmla="*/ 1935916 h 4232411"/>
                <a:gd name="connsiteX272" fmla="*/ 4287649 w 5248218"/>
                <a:gd name="connsiteY272" fmla="*/ 1953649 h 4232411"/>
                <a:gd name="connsiteX273" fmla="*/ 4281737 w 5248218"/>
                <a:gd name="connsiteY273" fmla="*/ 2240341 h 4232411"/>
                <a:gd name="connsiteX274" fmla="*/ 4308339 w 5248218"/>
                <a:gd name="connsiteY274" fmla="*/ 2266939 h 4232411"/>
                <a:gd name="connsiteX275" fmla="*/ 4334938 w 5248218"/>
                <a:gd name="connsiteY275" fmla="*/ 2240341 h 4232411"/>
                <a:gd name="connsiteX276" fmla="*/ 4308339 w 5248218"/>
                <a:gd name="connsiteY276" fmla="*/ 2213739 h 4232411"/>
                <a:gd name="connsiteX277" fmla="*/ 4281737 w 5248218"/>
                <a:gd name="connsiteY277" fmla="*/ 2240341 h 4232411"/>
                <a:gd name="connsiteX278" fmla="*/ 4281737 w 5248218"/>
                <a:gd name="connsiteY278" fmla="*/ 1655133 h 4232411"/>
                <a:gd name="connsiteX279" fmla="*/ 4293560 w 5248218"/>
                <a:gd name="connsiteY279" fmla="*/ 1666955 h 4232411"/>
                <a:gd name="connsiteX280" fmla="*/ 4305382 w 5248218"/>
                <a:gd name="connsiteY280" fmla="*/ 1655133 h 4232411"/>
                <a:gd name="connsiteX281" fmla="*/ 4293560 w 5248218"/>
                <a:gd name="connsiteY281" fmla="*/ 1643311 h 4232411"/>
                <a:gd name="connsiteX282" fmla="*/ 4281737 w 5248218"/>
                <a:gd name="connsiteY282" fmla="*/ 1655133 h 4232411"/>
                <a:gd name="connsiteX283" fmla="*/ 4264004 w 5248218"/>
                <a:gd name="connsiteY283" fmla="*/ 3053130 h 4232411"/>
                <a:gd name="connsiteX284" fmla="*/ 4269915 w 5248218"/>
                <a:gd name="connsiteY284" fmla="*/ 3059042 h 4232411"/>
                <a:gd name="connsiteX285" fmla="*/ 4275826 w 5248218"/>
                <a:gd name="connsiteY285" fmla="*/ 3053130 h 4232411"/>
                <a:gd name="connsiteX286" fmla="*/ 4269915 w 5248218"/>
                <a:gd name="connsiteY286" fmla="*/ 3047219 h 4232411"/>
                <a:gd name="connsiteX287" fmla="*/ 4264004 w 5248218"/>
                <a:gd name="connsiteY287" fmla="*/ 3053130 h 4232411"/>
                <a:gd name="connsiteX288" fmla="*/ 4263264 w 5248218"/>
                <a:gd name="connsiteY288" fmla="*/ 1353292 h 4232411"/>
                <a:gd name="connsiteX289" fmla="*/ 4266958 w 5248218"/>
                <a:gd name="connsiteY289" fmla="*/ 1353662 h 4232411"/>
                <a:gd name="connsiteX290" fmla="*/ 4269915 w 5248218"/>
                <a:gd name="connsiteY290" fmla="*/ 1350705 h 4232411"/>
                <a:gd name="connsiteX291" fmla="*/ 4266958 w 5248218"/>
                <a:gd name="connsiteY291" fmla="*/ 1347751 h 4232411"/>
                <a:gd name="connsiteX292" fmla="*/ 4264004 w 5248218"/>
                <a:gd name="connsiteY292" fmla="*/ 1350705 h 4232411"/>
                <a:gd name="connsiteX293" fmla="*/ 4263264 w 5248218"/>
                <a:gd name="connsiteY293" fmla="*/ 1353292 h 4232411"/>
                <a:gd name="connsiteX294" fmla="*/ 4258093 w 5248218"/>
                <a:gd name="connsiteY294" fmla="*/ 2518166 h 4232411"/>
                <a:gd name="connsiteX295" fmla="*/ 4302428 w 5248218"/>
                <a:gd name="connsiteY295" fmla="*/ 2562498 h 4232411"/>
                <a:gd name="connsiteX296" fmla="*/ 4346760 w 5248218"/>
                <a:gd name="connsiteY296" fmla="*/ 2518166 h 4232411"/>
                <a:gd name="connsiteX297" fmla="*/ 4302428 w 5248218"/>
                <a:gd name="connsiteY297" fmla="*/ 2473831 h 4232411"/>
                <a:gd name="connsiteX298" fmla="*/ 4258093 w 5248218"/>
                <a:gd name="connsiteY298" fmla="*/ 2518166 h 4232411"/>
                <a:gd name="connsiteX299" fmla="*/ 4255139 w 5248218"/>
                <a:gd name="connsiteY299" fmla="*/ 2787127 h 4232411"/>
                <a:gd name="connsiteX300" fmla="*/ 4287649 w 5248218"/>
                <a:gd name="connsiteY300" fmla="*/ 2819637 h 4232411"/>
                <a:gd name="connsiteX301" fmla="*/ 4320162 w 5248218"/>
                <a:gd name="connsiteY301" fmla="*/ 2787127 h 4232411"/>
                <a:gd name="connsiteX302" fmla="*/ 4287649 w 5248218"/>
                <a:gd name="connsiteY302" fmla="*/ 2754614 h 4232411"/>
                <a:gd name="connsiteX303" fmla="*/ 4255139 w 5248218"/>
                <a:gd name="connsiteY303" fmla="*/ 2787127 h 4232411"/>
                <a:gd name="connsiteX304" fmla="*/ 4237405 w 5248218"/>
                <a:gd name="connsiteY304" fmla="*/ 3310266 h 4232411"/>
                <a:gd name="connsiteX305" fmla="*/ 4249227 w 5248218"/>
                <a:gd name="connsiteY305" fmla="*/ 3322088 h 4232411"/>
                <a:gd name="connsiteX306" fmla="*/ 4261050 w 5248218"/>
                <a:gd name="connsiteY306" fmla="*/ 3310266 h 4232411"/>
                <a:gd name="connsiteX307" fmla="*/ 4249227 w 5248218"/>
                <a:gd name="connsiteY307" fmla="*/ 3298443 h 4232411"/>
                <a:gd name="connsiteX308" fmla="*/ 4237405 w 5248218"/>
                <a:gd name="connsiteY308" fmla="*/ 3310266 h 4232411"/>
                <a:gd name="connsiteX309" fmla="*/ 4169425 w 5248218"/>
                <a:gd name="connsiteY309" fmla="*/ 1797004 h 4232411"/>
                <a:gd name="connsiteX310" fmla="*/ 4178293 w 5248218"/>
                <a:gd name="connsiteY310" fmla="*/ 1805870 h 4232411"/>
                <a:gd name="connsiteX311" fmla="*/ 4187158 w 5248218"/>
                <a:gd name="connsiteY311" fmla="*/ 1797004 h 4232411"/>
                <a:gd name="connsiteX312" fmla="*/ 4178293 w 5248218"/>
                <a:gd name="connsiteY312" fmla="*/ 1788136 h 4232411"/>
                <a:gd name="connsiteX313" fmla="*/ 4169425 w 5248218"/>
                <a:gd name="connsiteY313" fmla="*/ 1797004 h 4232411"/>
                <a:gd name="connsiteX314" fmla="*/ 4160560 w 5248218"/>
                <a:gd name="connsiteY314" fmla="*/ 2083696 h 4232411"/>
                <a:gd name="connsiteX315" fmla="*/ 4181250 w 5248218"/>
                <a:gd name="connsiteY315" fmla="*/ 2104383 h 4232411"/>
                <a:gd name="connsiteX316" fmla="*/ 4201938 w 5248218"/>
                <a:gd name="connsiteY316" fmla="*/ 2083696 h 4232411"/>
                <a:gd name="connsiteX317" fmla="*/ 4181250 w 5248218"/>
                <a:gd name="connsiteY317" fmla="*/ 2063005 h 4232411"/>
                <a:gd name="connsiteX318" fmla="*/ 4160560 w 5248218"/>
                <a:gd name="connsiteY318" fmla="*/ 2083696 h 4232411"/>
                <a:gd name="connsiteX319" fmla="*/ 4145780 w 5248218"/>
                <a:gd name="connsiteY319" fmla="*/ 2361518 h 4232411"/>
                <a:gd name="connsiteX320" fmla="*/ 4178293 w 5248218"/>
                <a:gd name="connsiteY320" fmla="*/ 2394031 h 4232411"/>
                <a:gd name="connsiteX321" fmla="*/ 4210803 w 5248218"/>
                <a:gd name="connsiteY321" fmla="*/ 2361518 h 4232411"/>
                <a:gd name="connsiteX322" fmla="*/ 4178293 w 5248218"/>
                <a:gd name="connsiteY322" fmla="*/ 2329008 h 4232411"/>
                <a:gd name="connsiteX323" fmla="*/ 4145780 w 5248218"/>
                <a:gd name="connsiteY323" fmla="*/ 2361518 h 4232411"/>
                <a:gd name="connsiteX324" fmla="*/ 4125089 w 5248218"/>
                <a:gd name="connsiteY324" fmla="*/ 2630479 h 4232411"/>
                <a:gd name="connsiteX325" fmla="*/ 4163514 w 5248218"/>
                <a:gd name="connsiteY325" fmla="*/ 2668900 h 4232411"/>
                <a:gd name="connsiteX326" fmla="*/ 4201935 w 5248218"/>
                <a:gd name="connsiteY326" fmla="*/ 2630479 h 4232411"/>
                <a:gd name="connsiteX327" fmla="*/ 4163514 w 5248218"/>
                <a:gd name="connsiteY327" fmla="*/ 2592054 h 4232411"/>
                <a:gd name="connsiteX328" fmla="*/ 4125089 w 5248218"/>
                <a:gd name="connsiteY328" fmla="*/ 2630479 h 4232411"/>
                <a:gd name="connsiteX329" fmla="*/ 4101448 w 5248218"/>
                <a:gd name="connsiteY329" fmla="*/ 2896486 h 4232411"/>
                <a:gd name="connsiteX330" fmla="*/ 4145783 w 5248218"/>
                <a:gd name="connsiteY330" fmla="*/ 2940818 h 4232411"/>
                <a:gd name="connsiteX331" fmla="*/ 4190115 w 5248218"/>
                <a:gd name="connsiteY331" fmla="*/ 2896486 h 4232411"/>
                <a:gd name="connsiteX332" fmla="*/ 4145783 w 5248218"/>
                <a:gd name="connsiteY332" fmla="*/ 2852150 h 4232411"/>
                <a:gd name="connsiteX333" fmla="*/ 4101448 w 5248218"/>
                <a:gd name="connsiteY333" fmla="*/ 2896486 h 4232411"/>
                <a:gd name="connsiteX334" fmla="*/ 4098490 w 5248218"/>
                <a:gd name="connsiteY334" fmla="*/ 3153618 h 4232411"/>
                <a:gd name="connsiteX335" fmla="*/ 4125089 w 5248218"/>
                <a:gd name="connsiteY335" fmla="*/ 3180220 h 4232411"/>
                <a:gd name="connsiteX336" fmla="*/ 4151691 w 5248218"/>
                <a:gd name="connsiteY336" fmla="*/ 3153618 h 4232411"/>
                <a:gd name="connsiteX337" fmla="*/ 4125089 w 5248218"/>
                <a:gd name="connsiteY337" fmla="*/ 3127018 h 4232411"/>
                <a:gd name="connsiteX338" fmla="*/ 4098490 w 5248218"/>
                <a:gd name="connsiteY338" fmla="*/ 3153618 h 4232411"/>
                <a:gd name="connsiteX339" fmla="*/ 4086668 w 5248218"/>
                <a:gd name="connsiteY339" fmla="*/ 3407798 h 4232411"/>
                <a:gd name="connsiteX340" fmla="*/ 4098490 w 5248218"/>
                <a:gd name="connsiteY340" fmla="*/ 3419621 h 4232411"/>
                <a:gd name="connsiteX341" fmla="*/ 4110313 w 5248218"/>
                <a:gd name="connsiteY341" fmla="*/ 3407798 h 4232411"/>
                <a:gd name="connsiteX342" fmla="*/ 4098490 w 5248218"/>
                <a:gd name="connsiteY342" fmla="*/ 3395976 h 4232411"/>
                <a:gd name="connsiteX343" fmla="*/ 4086668 w 5248218"/>
                <a:gd name="connsiteY343" fmla="*/ 3407798 h 4232411"/>
                <a:gd name="connsiteX344" fmla="*/ 4048247 w 5248218"/>
                <a:gd name="connsiteY344" fmla="*/ 1927048 h 4232411"/>
                <a:gd name="connsiteX345" fmla="*/ 4057115 w 5248218"/>
                <a:gd name="connsiteY345" fmla="*/ 1935913 h 4232411"/>
                <a:gd name="connsiteX346" fmla="*/ 4065980 w 5248218"/>
                <a:gd name="connsiteY346" fmla="*/ 1927048 h 4232411"/>
                <a:gd name="connsiteX347" fmla="*/ 4057115 w 5248218"/>
                <a:gd name="connsiteY347" fmla="*/ 1918179 h 4232411"/>
                <a:gd name="connsiteX348" fmla="*/ 4048247 w 5248218"/>
                <a:gd name="connsiteY348" fmla="*/ 1927048 h 4232411"/>
                <a:gd name="connsiteX349" fmla="*/ 4048247 w 5248218"/>
                <a:gd name="connsiteY349" fmla="*/ 1637399 h 4232411"/>
                <a:gd name="connsiteX350" fmla="*/ 4051201 w 5248218"/>
                <a:gd name="connsiteY350" fmla="*/ 1640356 h 4232411"/>
                <a:gd name="connsiteX351" fmla="*/ 4054158 w 5248218"/>
                <a:gd name="connsiteY351" fmla="*/ 1637399 h 4232411"/>
                <a:gd name="connsiteX352" fmla="*/ 4051201 w 5248218"/>
                <a:gd name="connsiteY352" fmla="*/ 1634445 h 4232411"/>
                <a:gd name="connsiteX353" fmla="*/ 4048247 w 5248218"/>
                <a:gd name="connsiteY353" fmla="*/ 1637399 h 4232411"/>
                <a:gd name="connsiteX354" fmla="*/ 4036421 w 5248218"/>
                <a:gd name="connsiteY354" fmla="*/ 2204873 h 4232411"/>
                <a:gd name="connsiteX355" fmla="*/ 4054155 w 5248218"/>
                <a:gd name="connsiteY355" fmla="*/ 2222607 h 4232411"/>
                <a:gd name="connsiteX356" fmla="*/ 4071889 w 5248218"/>
                <a:gd name="connsiteY356" fmla="*/ 2204873 h 4232411"/>
                <a:gd name="connsiteX357" fmla="*/ 4054155 w 5248218"/>
                <a:gd name="connsiteY357" fmla="*/ 2187140 h 4232411"/>
                <a:gd name="connsiteX358" fmla="*/ 4036421 w 5248218"/>
                <a:gd name="connsiteY358" fmla="*/ 2204873 h 4232411"/>
                <a:gd name="connsiteX359" fmla="*/ 4030510 w 5248218"/>
                <a:gd name="connsiteY359" fmla="*/ 1335928 h 4232411"/>
                <a:gd name="connsiteX360" fmla="*/ 4033467 w 5248218"/>
                <a:gd name="connsiteY360" fmla="*/ 1338886 h 4232411"/>
                <a:gd name="connsiteX361" fmla="*/ 4036421 w 5248218"/>
                <a:gd name="connsiteY361" fmla="*/ 1335928 h 4232411"/>
                <a:gd name="connsiteX362" fmla="*/ 4033467 w 5248218"/>
                <a:gd name="connsiteY362" fmla="*/ 1332974 h 4232411"/>
                <a:gd name="connsiteX363" fmla="*/ 4030510 w 5248218"/>
                <a:gd name="connsiteY363" fmla="*/ 1335928 h 4232411"/>
                <a:gd name="connsiteX364" fmla="*/ 3995046 w 5248218"/>
                <a:gd name="connsiteY364" fmla="*/ 2476791 h 4232411"/>
                <a:gd name="connsiteX365" fmla="*/ 4039382 w 5248218"/>
                <a:gd name="connsiteY365" fmla="*/ 2521124 h 4232411"/>
                <a:gd name="connsiteX366" fmla="*/ 4083714 w 5248218"/>
                <a:gd name="connsiteY366" fmla="*/ 2476791 h 4232411"/>
                <a:gd name="connsiteX367" fmla="*/ 4039382 w 5248218"/>
                <a:gd name="connsiteY367" fmla="*/ 2432456 h 4232411"/>
                <a:gd name="connsiteX368" fmla="*/ 3995046 w 5248218"/>
                <a:gd name="connsiteY368" fmla="*/ 2476791 h 4232411"/>
                <a:gd name="connsiteX369" fmla="*/ 3968444 w 5248218"/>
                <a:gd name="connsiteY369" fmla="*/ 2742792 h 4232411"/>
                <a:gd name="connsiteX370" fmla="*/ 4021645 w 5248218"/>
                <a:gd name="connsiteY370" fmla="*/ 2795992 h 4232411"/>
                <a:gd name="connsiteX371" fmla="*/ 4074846 w 5248218"/>
                <a:gd name="connsiteY371" fmla="*/ 2742792 h 4232411"/>
                <a:gd name="connsiteX372" fmla="*/ 4021645 w 5248218"/>
                <a:gd name="connsiteY372" fmla="*/ 2689591 h 4232411"/>
                <a:gd name="connsiteX373" fmla="*/ 3968444 w 5248218"/>
                <a:gd name="connsiteY373" fmla="*/ 2742792 h 4232411"/>
                <a:gd name="connsiteX374" fmla="*/ 3953668 w 5248218"/>
                <a:gd name="connsiteY374" fmla="*/ 2999930 h 4232411"/>
                <a:gd name="connsiteX375" fmla="*/ 3998003 w 5248218"/>
                <a:gd name="connsiteY375" fmla="*/ 3044262 h 4232411"/>
                <a:gd name="connsiteX376" fmla="*/ 4042336 w 5248218"/>
                <a:gd name="connsiteY376" fmla="*/ 2999930 h 4232411"/>
                <a:gd name="connsiteX377" fmla="*/ 3998003 w 5248218"/>
                <a:gd name="connsiteY377" fmla="*/ 2955594 h 4232411"/>
                <a:gd name="connsiteX378" fmla="*/ 3953668 w 5248218"/>
                <a:gd name="connsiteY378" fmla="*/ 2999930 h 4232411"/>
                <a:gd name="connsiteX379" fmla="*/ 3932977 w 5248218"/>
                <a:gd name="connsiteY379" fmla="*/ 3248196 h 4232411"/>
                <a:gd name="connsiteX380" fmla="*/ 3971401 w 5248218"/>
                <a:gd name="connsiteY380" fmla="*/ 3286621 h 4232411"/>
                <a:gd name="connsiteX381" fmla="*/ 4009823 w 5248218"/>
                <a:gd name="connsiteY381" fmla="*/ 3248196 h 4232411"/>
                <a:gd name="connsiteX382" fmla="*/ 3971401 w 5248218"/>
                <a:gd name="connsiteY382" fmla="*/ 3209776 h 4232411"/>
                <a:gd name="connsiteX383" fmla="*/ 3932977 w 5248218"/>
                <a:gd name="connsiteY383" fmla="*/ 3248196 h 4232411"/>
                <a:gd name="connsiteX384" fmla="*/ 3930023 w 5248218"/>
                <a:gd name="connsiteY384" fmla="*/ 3496466 h 4232411"/>
                <a:gd name="connsiteX385" fmla="*/ 3941846 w 5248218"/>
                <a:gd name="connsiteY385" fmla="*/ 3508289 h 4232411"/>
                <a:gd name="connsiteX386" fmla="*/ 3953668 w 5248218"/>
                <a:gd name="connsiteY386" fmla="*/ 3496466 h 4232411"/>
                <a:gd name="connsiteX387" fmla="*/ 3941846 w 5248218"/>
                <a:gd name="connsiteY387" fmla="*/ 3484644 h 4232411"/>
                <a:gd name="connsiteX388" fmla="*/ 3930023 w 5248218"/>
                <a:gd name="connsiteY388" fmla="*/ 3496466 h 4232411"/>
                <a:gd name="connsiteX389" fmla="*/ 3924112 w 5248218"/>
                <a:gd name="connsiteY389" fmla="*/ 1767448 h 4232411"/>
                <a:gd name="connsiteX390" fmla="*/ 3932977 w 5248218"/>
                <a:gd name="connsiteY390" fmla="*/ 1776314 h 4232411"/>
                <a:gd name="connsiteX391" fmla="*/ 3941846 w 5248218"/>
                <a:gd name="connsiteY391" fmla="*/ 1767448 h 4232411"/>
                <a:gd name="connsiteX392" fmla="*/ 3932977 w 5248218"/>
                <a:gd name="connsiteY392" fmla="*/ 1758580 h 4232411"/>
                <a:gd name="connsiteX393" fmla="*/ 3924112 w 5248218"/>
                <a:gd name="connsiteY393" fmla="*/ 1767448 h 4232411"/>
                <a:gd name="connsiteX394" fmla="*/ 3921155 w 5248218"/>
                <a:gd name="connsiteY394" fmla="*/ 1477797 h 4232411"/>
                <a:gd name="connsiteX395" fmla="*/ 3924112 w 5248218"/>
                <a:gd name="connsiteY395" fmla="*/ 1480751 h 4232411"/>
                <a:gd name="connsiteX396" fmla="*/ 3927066 w 5248218"/>
                <a:gd name="connsiteY396" fmla="*/ 1477797 h 4232411"/>
                <a:gd name="connsiteX397" fmla="*/ 3924112 w 5248218"/>
                <a:gd name="connsiteY397" fmla="*/ 1474840 h 4232411"/>
                <a:gd name="connsiteX398" fmla="*/ 3921155 w 5248218"/>
                <a:gd name="connsiteY398" fmla="*/ 1477797 h 4232411"/>
                <a:gd name="connsiteX399" fmla="*/ 3909332 w 5248218"/>
                <a:gd name="connsiteY399" fmla="*/ 2048225 h 4232411"/>
                <a:gd name="connsiteX400" fmla="*/ 3927066 w 5248218"/>
                <a:gd name="connsiteY400" fmla="*/ 2065959 h 4232411"/>
                <a:gd name="connsiteX401" fmla="*/ 3944800 w 5248218"/>
                <a:gd name="connsiteY401" fmla="*/ 2048225 h 4232411"/>
                <a:gd name="connsiteX402" fmla="*/ 3927066 w 5248218"/>
                <a:gd name="connsiteY402" fmla="*/ 2030492 h 4232411"/>
                <a:gd name="connsiteX403" fmla="*/ 3909332 w 5248218"/>
                <a:gd name="connsiteY403" fmla="*/ 2048225 h 4232411"/>
                <a:gd name="connsiteX404" fmla="*/ 3882731 w 5248218"/>
                <a:gd name="connsiteY404" fmla="*/ 2323100 h 4232411"/>
                <a:gd name="connsiteX405" fmla="*/ 3915244 w 5248218"/>
                <a:gd name="connsiteY405" fmla="*/ 2355610 h 4232411"/>
                <a:gd name="connsiteX406" fmla="*/ 3947754 w 5248218"/>
                <a:gd name="connsiteY406" fmla="*/ 2323100 h 4232411"/>
                <a:gd name="connsiteX407" fmla="*/ 3915244 w 5248218"/>
                <a:gd name="connsiteY407" fmla="*/ 2290587 h 4232411"/>
                <a:gd name="connsiteX408" fmla="*/ 3882731 w 5248218"/>
                <a:gd name="connsiteY408" fmla="*/ 2323100 h 4232411"/>
                <a:gd name="connsiteX409" fmla="*/ 3853175 w 5248218"/>
                <a:gd name="connsiteY409" fmla="*/ 2583190 h 4232411"/>
                <a:gd name="connsiteX410" fmla="*/ 3897510 w 5248218"/>
                <a:gd name="connsiteY410" fmla="*/ 2627522 h 4232411"/>
                <a:gd name="connsiteX411" fmla="*/ 3941842 w 5248218"/>
                <a:gd name="connsiteY411" fmla="*/ 2583190 h 4232411"/>
                <a:gd name="connsiteX412" fmla="*/ 3897510 w 5248218"/>
                <a:gd name="connsiteY412" fmla="*/ 2538854 h 4232411"/>
                <a:gd name="connsiteX413" fmla="*/ 3853175 w 5248218"/>
                <a:gd name="connsiteY413" fmla="*/ 2583190 h 4232411"/>
                <a:gd name="connsiteX414" fmla="*/ 3829530 w 5248218"/>
                <a:gd name="connsiteY414" fmla="*/ 2843282 h 4232411"/>
                <a:gd name="connsiteX415" fmla="*/ 3873865 w 5248218"/>
                <a:gd name="connsiteY415" fmla="*/ 2887614 h 4232411"/>
                <a:gd name="connsiteX416" fmla="*/ 3918198 w 5248218"/>
                <a:gd name="connsiteY416" fmla="*/ 2843282 h 4232411"/>
                <a:gd name="connsiteX417" fmla="*/ 3873865 w 5248218"/>
                <a:gd name="connsiteY417" fmla="*/ 2798946 h 4232411"/>
                <a:gd name="connsiteX418" fmla="*/ 3829530 w 5248218"/>
                <a:gd name="connsiteY418" fmla="*/ 2843282 h 4232411"/>
                <a:gd name="connsiteX419" fmla="*/ 3805888 w 5248218"/>
                <a:gd name="connsiteY419" fmla="*/ 3094509 h 4232411"/>
                <a:gd name="connsiteX420" fmla="*/ 3847267 w 5248218"/>
                <a:gd name="connsiteY420" fmla="*/ 3135887 h 4232411"/>
                <a:gd name="connsiteX421" fmla="*/ 3888645 w 5248218"/>
                <a:gd name="connsiteY421" fmla="*/ 3094509 h 4232411"/>
                <a:gd name="connsiteX422" fmla="*/ 3847267 w 5248218"/>
                <a:gd name="connsiteY422" fmla="*/ 3053130 h 4232411"/>
                <a:gd name="connsiteX423" fmla="*/ 3805888 w 5248218"/>
                <a:gd name="connsiteY423" fmla="*/ 3094509 h 4232411"/>
                <a:gd name="connsiteX424" fmla="*/ 3799974 w 5248218"/>
                <a:gd name="connsiteY424" fmla="*/ 1610800 h 4232411"/>
                <a:gd name="connsiteX425" fmla="*/ 3805885 w 5248218"/>
                <a:gd name="connsiteY425" fmla="*/ 1616712 h 4232411"/>
                <a:gd name="connsiteX426" fmla="*/ 3811796 w 5248218"/>
                <a:gd name="connsiteY426" fmla="*/ 1610800 h 4232411"/>
                <a:gd name="connsiteX427" fmla="*/ 3805885 w 5248218"/>
                <a:gd name="connsiteY427" fmla="*/ 1604889 h 4232411"/>
                <a:gd name="connsiteX428" fmla="*/ 3799974 w 5248218"/>
                <a:gd name="connsiteY428" fmla="*/ 1610800 h 4232411"/>
                <a:gd name="connsiteX429" fmla="*/ 3791109 w 5248218"/>
                <a:gd name="connsiteY429" fmla="*/ 1894534 h 4232411"/>
                <a:gd name="connsiteX430" fmla="*/ 3802931 w 5248218"/>
                <a:gd name="connsiteY430" fmla="*/ 1906357 h 4232411"/>
                <a:gd name="connsiteX431" fmla="*/ 3814753 w 5248218"/>
                <a:gd name="connsiteY431" fmla="*/ 1894534 h 4232411"/>
                <a:gd name="connsiteX432" fmla="*/ 3802931 w 5248218"/>
                <a:gd name="connsiteY432" fmla="*/ 1882712 h 4232411"/>
                <a:gd name="connsiteX433" fmla="*/ 3791109 w 5248218"/>
                <a:gd name="connsiteY433" fmla="*/ 1894534 h 4232411"/>
                <a:gd name="connsiteX434" fmla="*/ 3782243 w 5248218"/>
                <a:gd name="connsiteY434" fmla="*/ 3336864 h 4232411"/>
                <a:gd name="connsiteX435" fmla="*/ 3817711 w 5248218"/>
                <a:gd name="connsiteY435" fmla="*/ 3372332 h 4232411"/>
                <a:gd name="connsiteX436" fmla="*/ 3853178 w 5248218"/>
                <a:gd name="connsiteY436" fmla="*/ 3336864 h 4232411"/>
                <a:gd name="connsiteX437" fmla="*/ 3817711 w 5248218"/>
                <a:gd name="connsiteY437" fmla="*/ 3301397 h 4232411"/>
                <a:gd name="connsiteX438" fmla="*/ 3782243 w 5248218"/>
                <a:gd name="connsiteY438" fmla="*/ 3336864 h 4232411"/>
                <a:gd name="connsiteX439" fmla="*/ 3773375 w 5248218"/>
                <a:gd name="connsiteY439" fmla="*/ 2166449 h 4232411"/>
                <a:gd name="connsiteX440" fmla="*/ 3791109 w 5248218"/>
                <a:gd name="connsiteY440" fmla="*/ 2184182 h 4232411"/>
                <a:gd name="connsiteX441" fmla="*/ 3808842 w 5248218"/>
                <a:gd name="connsiteY441" fmla="*/ 2166449 h 4232411"/>
                <a:gd name="connsiteX442" fmla="*/ 3791109 w 5248218"/>
                <a:gd name="connsiteY442" fmla="*/ 2148716 h 4232411"/>
                <a:gd name="connsiteX443" fmla="*/ 3773375 w 5248218"/>
                <a:gd name="connsiteY443" fmla="*/ 2166449 h 4232411"/>
                <a:gd name="connsiteX444" fmla="*/ 3755642 w 5248218"/>
                <a:gd name="connsiteY444" fmla="*/ 3579226 h 4232411"/>
                <a:gd name="connsiteX445" fmla="*/ 3785197 w 5248218"/>
                <a:gd name="connsiteY445" fmla="*/ 3608782 h 4232411"/>
                <a:gd name="connsiteX446" fmla="*/ 3814753 w 5248218"/>
                <a:gd name="connsiteY446" fmla="*/ 3579226 h 4232411"/>
                <a:gd name="connsiteX447" fmla="*/ 3785197 w 5248218"/>
                <a:gd name="connsiteY447" fmla="*/ 3549670 h 4232411"/>
                <a:gd name="connsiteX448" fmla="*/ 3755642 w 5248218"/>
                <a:gd name="connsiteY448" fmla="*/ 3579226 h 4232411"/>
                <a:gd name="connsiteX449" fmla="*/ 3740862 w 5248218"/>
                <a:gd name="connsiteY449" fmla="*/ 2429498 h 4232411"/>
                <a:gd name="connsiteX450" fmla="*/ 3773375 w 5248218"/>
                <a:gd name="connsiteY450" fmla="*/ 2462012 h 4232411"/>
                <a:gd name="connsiteX451" fmla="*/ 3805885 w 5248218"/>
                <a:gd name="connsiteY451" fmla="*/ 2429498 h 4232411"/>
                <a:gd name="connsiteX452" fmla="*/ 3773375 w 5248218"/>
                <a:gd name="connsiteY452" fmla="*/ 2396988 h 4232411"/>
                <a:gd name="connsiteX453" fmla="*/ 3740862 w 5248218"/>
                <a:gd name="connsiteY453" fmla="*/ 2429498 h 4232411"/>
                <a:gd name="connsiteX454" fmla="*/ 3702441 w 5248218"/>
                <a:gd name="connsiteY454" fmla="*/ 2686636 h 4232411"/>
                <a:gd name="connsiteX455" fmla="*/ 3749730 w 5248218"/>
                <a:gd name="connsiteY455" fmla="*/ 2733926 h 4232411"/>
                <a:gd name="connsiteX456" fmla="*/ 3797020 w 5248218"/>
                <a:gd name="connsiteY456" fmla="*/ 2686636 h 4232411"/>
                <a:gd name="connsiteX457" fmla="*/ 3749730 w 5248218"/>
                <a:gd name="connsiteY457" fmla="*/ 2639347 h 4232411"/>
                <a:gd name="connsiteX458" fmla="*/ 3702441 w 5248218"/>
                <a:gd name="connsiteY458" fmla="*/ 2686636 h 4232411"/>
                <a:gd name="connsiteX459" fmla="*/ 3675839 w 5248218"/>
                <a:gd name="connsiteY459" fmla="*/ 1737890 h 4232411"/>
                <a:gd name="connsiteX460" fmla="*/ 3678796 w 5248218"/>
                <a:gd name="connsiteY460" fmla="*/ 1740844 h 4232411"/>
                <a:gd name="connsiteX461" fmla="*/ 3681750 w 5248218"/>
                <a:gd name="connsiteY461" fmla="*/ 1737890 h 4232411"/>
                <a:gd name="connsiteX462" fmla="*/ 3678796 w 5248218"/>
                <a:gd name="connsiteY462" fmla="*/ 1734932 h 4232411"/>
                <a:gd name="connsiteX463" fmla="*/ 3675839 w 5248218"/>
                <a:gd name="connsiteY463" fmla="*/ 1737890 h 4232411"/>
                <a:gd name="connsiteX464" fmla="*/ 3675839 w 5248218"/>
                <a:gd name="connsiteY464" fmla="*/ 1454152 h 4232411"/>
                <a:gd name="connsiteX465" fmla="*/ 3681750 w 5248218"/>
                <a:gd name="connsiteY465" fmla="*/ 1460064 h 4232411"/>
                <a:gd name="connsiteX466" fmla="*/ 3687661 w 5248218"/>
                <a:gd name="connsiteY466" fmla="*/ 1454152 h 4232411"/>
                <a:gd name="connsiteX467" fmla="*/ 3681750 w 5248218"/>
                <a:gd name="connsiteY467" fmla="*/ 1448241 h 4232411"/>
                <a:gd name="connsiteX468" fmla="*/ 3675839 w 5248218"/>
                <a:gd name="connsiteY468" fmla="*/ 1454152 h 4232411"/>
                <a:gd name="connsiteX469" fmla="*/ 3666974 w 5248218"/>
                <a:gd name="connsiteY469" fmla="*/ 2934906 h 4232411"/>
                <a:gd name="connsiteX470" fmla="*/ 3720174 w 5248218"/>
                <a:gd name="connsiteY470" fmla="*/ 2988108 h 4232411"/>
                <a:gd name="connsiteX471" fmla="*/ 3773375 w 5248218"/>
                <a:gd name="connsiteY471" fmla="*/ 2934906 h 4232411"/>
                <a:gd name="connsiteX472" fmla="*/ 3720174 w 5248218"/>
                <a:gd name="connsiteY472" fmla="*/ 2881706 h 4232411"/>
                <a:gd name="connsiteX473" fmla="*/ 3666974 w 5248218"/>
                <a:gd name="connsiteY473" fmla="*/ 2934906 h 4232411"/>
                <a:gd name="connsiteX474" fmla="*/ 3658108 w 5248218"/>
                <a:gd name="connsiteY474" fmla="*/ 2009804 h 4232411"/>
                <a:gd name="connsiteX475" fmla="*/ 3666974 w 5248218"/>
                <a:gd name="connsiteY475" fmla="*/ 2018669 h 4232411"/>
                <a:gd name="connsiteX476" fmla="*/ 3675842 w 5248218"/>
                <a:gd name="connsiteY476" fmla="*/ 2009804 h 4232411"/>
                <a:gd name="connsiteX477" fmla="*/ 3666974 w 5248218"/>
                <a:gd name="connsiteY477" fmla="*/ 2000936 h 4232411"/>
                <a:gd name="connsiteX478" fmla="*/ 3658108 w 5248218"/>
                <a:gd name="connsiteY478" fmla="*/ 2009804 h 4232411"/>
                <a:gd name="connsiteX479" fmla="*/ 3649240 w 5248218"/>
                <a:gd name="connsiteY479" fmla="*/ 3180220 h 4232411"/>
                <a:gd name="connsiteX480" fmla="*/ 3690618 w 5248218"/>
                <a:gd name="connsiteY480" fmla="*/ 3221598 h 4232411"/>
                <a:gd name="connsiteX481" fmla="*/ 3731997 w 5248218"/>
                <a:gd name="connsiteY481" fmla="*/ 3180220 h 4232411"/>
                <a:gd name="connsiteX482" fmla="*/ 3690618 w 5248218"/>
                <a:gd name="connsiteY482" fmla="*/ 3138841 h 4232411"/>
                <a:gd name="connsiteX483" fmla="*/ 3649240 w 5248218"/>
                <a:gd name="connsiteY483" fmla="*/ 3180220 h 4232411"/>
                <a:gd name="connsiteX484" fmla="*/ 3622638 w 5248218"/>
                <a:gd name="connsiteY484" fmla="*/ 2269896 h 4232411"/>
                <a:gd name="connsiteX485" fmla="*/ 3649240 w 5248218"/>
                <a:gd name="connsiteY485" fmla="*/ 2296495 h 4232411"/>
                <a:gd name="connsiteX486" fmla="*/ 3675839 w 5248218"/>
                <a:gd name="connsiteY486" fmla="*/ 2269896 h 4232411"/>
                <a:gd name="connsiteX487" fmla="*/ 3649240 w 5248218"/>
                <a:gd name="connsiteY487" fmla="*/ 2243294 h 4232411"/>
                <a:gd name="connsiteX488" fmla="*/ 3622638 w 5248218"/>
                <a:gd name="connsiteY488" fmla="*/ 2269896 h 4232411"/>
                <a:gd name="connsiteX489" fmla="*/ 3613773 w 5248218"/>
                <a:gd name="connsiteY489" fmla="*/ 3656072 h 4232411"/>
                <a:gd name="connsiteX490" fmla="*/ 3622641 w 5248218"/>
                <a:gd name="connsiteY490" fmla="*/ 3664937 h 4232411"/>
                <a:gd name="connsiteX491" fmla="*/ 3631507 w 5248218"/>
                <a:gd name="connsiteY491" fmla="*/ 3656072 h 4232411"/>
                <a:gd name="connsiteX492" fmla="*/ 3622641 w 5248218"/>
                <a:gd name="connsiteY492" fmla="*/ 3647204 h 4232411"/>
                <a:gd name="connsiteX493" fmla="*/ 3613773 w 5248218"/>
                <a:gd name="connsiteY493" fmla="*/ 3656072 h 4232411"/>
                <a:gd name="connsiteX494" fmla="*/ 3610819 w 5248218"/>
                <a:gd name="connsiteY494" fmla="*/ 3419624 h 4232411"/>
                <a:gd name="connsiteX495" fmla="*/ 3658108 w 5248218"/>
                <a:gd name="connsiteY495" fmla="*/ 3466914 h 4232411"/>
                <a:gd name="connsiteX496" fmla="*/ 3705398 w 5248218"/>
                <a:gd name="connsiteY496" fmla="*/ 3419624 h 4232411"/>
                <a:gd name="connsiteX497" fmla="*/ 3658108 w 5248218"/>
                <a:gd name="connsiteY497" fmla="*/ 3372334 h 4232411"/>
                <a:gd name="connsiteX498" fmla="*/ 3610819 w 5248218"/>
                <a:gd name="connsiteY498" fmla="*/ 3419624 h 4232411"/>
                <a:gd name="connsiteX499" fmla="*/ 3593082 w 5248218"/>
                <a:gd name="connsiteY499" fmla="*/ 2529992 h 4232411"/>
                <a:gd name="connsiteX500" fmla="*/ 3625595 w 5248218"/>
                <a:gd name="connsiteY500" fmla="*/ 2562502 h 4232411"/>
                <a:gd name="connsiteX501" fmla="*/ 3658105 w 5248218"/>
                <a:gd name="connsiteY501" fmla="*/ 2529992 h 4232411"/>
                <a:gd name="connsiteX502" fmla="*/ 3625595 w 5248218"/>
                <a:gd name="connsiteY502" fmla="*/ 2497478 h 4232411"/>
                <a:gd name="connsiteX503" fmla="*/ 3593082 w 5248218"/>
                <a:gd name="connsiteY503" fmla="*/ 2529992 h 4232411"/>
                <a:gd name="connsiteX504" fmla="*/ 3551707 w 5248218"/>
                <a:gd name="connsiteY504" fmla="*/ 1297504 h 4232411"/>
                <a:gd name="connsiteX505" fmla="*/ 3554664 w 5248218"/>
                <a:gd name="connsiteY505" fmla="*/ 1300462 h 4232411"/>
                <a:gd name="connsiteX506" fmla="*/ 3557618 w 5248218"/>
                <a:gd name="connsiteY506" fmla="*/ 1297504 h 4232411"/>
                <a:gd name="connsiteX507" fmla="*/ 3554664 w 5248218"/>
                <a:gd name="connsiteY507" fmla="*/ 1294550 h 4232411"/>
                <a:gd name="connsiteX508" fmla="*/ 3551707 w 5248218"/>
                <a:gd name="connsiteY508" fmla="*/ 1297504 h 4232411"/>
                <a:gd name="connsiteX509" fmla="*/ 3548750 w 5248218"/>
                <a:gd name="connsiteY509" fmla="*/ 1581244 h 4232411"/>
                <a:gd name="connsiteX510" fmla="*/ 3554661 w 5248218"/>
                <a:gd name="connsiteY510" fmla="*/ 1587156 h 4232411"/>
                <a:gd name="connsiteX511" fmla="*/ 3560572 w 5248218"/>
                <a:gd name="connsiteY511" fmla="*/ 1581244 h 4232411"/>
                <a:gd name="connsiteX512" fmla="*/ 3554661 w 5248218"/>
                <a:gd name="connsiteY512" fmla="*/ 1575333 h 4232411"/>
                <a:gd name="connsiteX513" fmla="*/ 3548750 w 5248218"/>
                <a:gd name="connsiteY513" fmla="*/ 1581244 h 4232411"/>
                <a:gd name="connsiteX514" fmla="*/ 3545796 w 5248218"/>
                <a:gd name="connsiteY514" fmla="*/ 2775302 h 4232411"/>
                <a:gd name="connsiteX515" fmla="*/ 3596039 w 5248218"/>
                <a:gd name="connsiteY515" fmla="*/ 2825548 h 4232411"/>
                <a:gd name="connsiteX516" fmla="*/ 3646286 w 5248218"/>
                <a:gd name="connsiteY516" fmla="*/ 2775302 h 4232411"/>
                <a:gd name="connsiteX517" fmla="*/ 3596039 w 5248218"/>
                <a:gd name="connsiteY517" fmla="*/ 2725058 h 4232411"/>
                <a:gd name="connsiteX518" fmla="*/ 3545796 w 5248218"/>
                <a:gd name="connsiteY518" fmla="*/ 2775302 h 4232411"/>
                <a:gd name="connsiteX519" fmla="*/ 3533970 w 5248218"/>
                <a:gd name="connsiteY519" fmla="*/ 1853159 h 4232411"/>
                <a:gd name="connsiteX520" fmla="*/ 3542839 w 5248218"/>
                <a:gd name="connsiteY520" fmla="*/ 1862024 h 4232411"/>
                <a:gd name="connsiteX521" fmla="*/ 3551704 w 5248218"/>
                <a:gd name="connsiteY521" fmla="*/ 1853159 h 4232411"/>
                <a:gd name="connsiteX522" fmla="*/ 3542839 w 5248218"/>
                <a:gd name="connsiteY522" fmla="*/ 1844291 h 4232411"/>
                <a:gd name="connsiteX523" fmla="*/ 3533970 w 5248218"/>
                <a:gd name="connsiteY523" fmla="*/ 1853159 h 4232411"/>
                <a:gd name="connsiteX524" fmla="*/ 3510329 w 5248218"/>
                <a:gd name="connsiteY524" fmla="*/ 3020618 h 4232411"/>
                <a:gd name="connsiteX525" fmla="*/ 3563529 w 5248218"/>
                <a:gd name="connsiteY525" fmla="*/ 3073818 h 4232411"/>
                <a:gd name="connsiteX526" fmla="*/ 3616730 w 5248218"/>
                <a:gd name="connsiteY526" fmla="*/ 3020618 h 4232411"/>
                <a:gd name="connsiteX527" fmla="*/ 3563529 w 5248218"/>
                <a:gd name="connsiteY527" fmla="*/ 2967416 h 4232411"/>
                <a:gd name="connsiteX528" fmla="*/ 3510329 w 5248218"/>
                <a:gd name="connsiteY528" fmla="*/ 3020618 h 4232411"/>
                <a:gd name="connsiteX529" fmla="*/ 3510329 w 5248218"/>
                <a:gd name="connsiteY529" fmla="*/ 2116208 h 4232411"/>
                <a:gd name="connsiteX530" fmla="*/ 3525108 w 5248218"/>
                <a:gd name="connsiteY530" fmla="*/ 2130985 h 4232411"/>
                <a:gd name="connsiteX531" fmla="*/ 3539885 w 5248218"/>
                <a:gd name="connsiteY531" fmla="*/ 2116208 h 4232411"/>
                <a:gd name="connsiteX532" fmla="*/ 3525108 w 5248218"/>
                <a:gd name="connsiteY532" fmla="*/ 2101429 h 4232411"/>
                <a:gd name="connsiteX533" fmla="*/ 3510329 w 5248218"/>
                <a:gd name="connsiteY533" fmla="*/ 2116208 h 4232411"/>
                <a:gd name="connsiteX534" fmla="*/ 3483727 w 5248218"/>
                <a:gd name="connsiteY534" fmla="*/ 3260019 h 4232411"/>
                <a:gd name="connsiteX535" fmla="*/ 3531016 w 5248218"/>
                <a:gd name="connsiteY535" fmla="*/ 3307308 h 4232411"/>
                <a:gd name="connsiteX536" fmla="*/ 3578306 w 5248218"/>
                <a:gd name="connsiteY536" fmla="*/ 3260019 h 4232411"/>
                <a:gd name="connsiteX537" fmla="*/ 3531016 w 5248218"/>
                <a:gd name="connsiteY537" fmla="*/ 3212730 h 4232411"/>
                <a:gd name="connsiteX538" fmla="*/ 3483727 w 5248218"/>
                <a:gd name="connsiteY538" fmla="*/ 3260019 h 4232411"/>
                <a:gd name="connsiteX539" fmla="*/ 3471904 w 5248218"/>
                <a:gd name="connsiteY539" fmla="*/ 2370386 h 4232411"/>
                <a:gd name="connsiteX540" fmla="*/ 3498503 w 5248218"/>
                <a:gd name="connsiteY540" fmla="*/ 2396988 h 4232411"/>
                <a:gd name="connsiteX541" fmla="*/ 3525105 w 5248218"/>
                <a:gd name="connsiteY541" fmla="*/ 2370386 h 4232411"/>
                <a:gd name="connsiteX542" fmla="*/ 3498503 w 5248218"/>
                <a:gd name="connsiteY542" fmla="*/ 2343788 h 4232411"/>
                <a:gd name="connsiteX543" fmla="*/ 3471904 w 5248218"/>
                <a:gd name="connsiteY543" fmla="*/ 2370386 h 4232411"/>
                <a:gd name="connsiteX544" fmla="*/ 3454171 w 5248218"/>
                <a:gd name="connsiteY544" fmla="*/ 3493512 h 4232411"/>
                <a:gd name="connsiteX545" fmla="*/ 3495549 w 5248218"/>
                <a:gd name="connsiteY545" fmla="*/ 3534890 h 4232411"/>
                <a:gd name="connsiteX546" fmla="*/ 3536928 w 5248218"/>
                <a:gd name="connsiteY546" fmla="*/ 3493512 h 4232411"/>
                <a:gd name="connsiteX547" fmla="*/ 3495549 w 5248218"/>
                <a:gd name="connsiteY547" fmla="*/ 3452134 h 4232411"/>
                <a:gd name="connsiteX548" fmla="*/ 3454171 w 5248218"/>
                <a:gd name="connsiteY548" fmla="*/ 3493512 h 4232411"/>
                <a:gd name="connsiteX549" fmla="*/ 3430526 w 5248218"/>
                <a:gd name="connsiteY549" fmla="*/ 2618660 h 4232411"/>
                <a:gd name="connsiteX550" fmla="*/ 3468950 w 5248218"/>
                <a:gd name="connsiteY550" fmla="*/ 2657081 h 4232411"/>
                <a:gd name="connsiteX551" fmla="*/ 3507372 w 5248218"/>
                <a:gd name="connsiteY551" fmla="*/ 2618660 h 4232411"/>
                <a:gd name="connsiteX552" fmla="*/ 3468950 w 5248218"/>
                <a:gd name="connsiteY552" fmla="*/ 2580236 h 4232411"/>
                <a:gd name="connsiteX553" fmla="*/ 3430526 w 5248218"/>
                <a:gd name="connsiteY553" fmla="*/ 2618660 h 4232411"/>
                <a:gd name="connsiteX554" fmla="*/ 3424615 w 5248218"/>
                <a:gd name="connsiteY554" fmla="*/ 3724049 h 4232411"/>
                <a:gd name="connsiteX555" fmla="*/ 3457128 w 5248218"/>
                <a:gd name="connsiteY555" fmla="*/ 3756559 h 4232411"/>
                <a:gd name="connsiteX556" fmla="*/ 3489638 w 5248218"/>
                <a:gd name="connsiteY556" fmla="*/ 3724049 h 4232411"/>
                <a:gd name="connsiteX557" fmla="*/ 3457128 w 5248218"/>
                <a:gd name="connsiteY557" fmla="*/ 3691536 h 4232411"/>
                <a:gd name="connsiteX558" fmla="*/ 3424615 w 5248218"/>
                <a:gd name="connsiteY558" fmla="*/ 3724049 h 4232411"/>
                <a:gd name="connsiteX559" fmla="*/ 3415747 w 5248218"/>
                <a:gd name="connsiteY559" fmla="*/ 1699468 h 4232411"/>
                <a:gd name="connsiteX560" fmla="*/ 3418704 w 5248218"/>
                <a:gd name="connsiteY560" fmla="*/ 1702422 h 4232411"/>
                <a:gd name="connsiteX561" fmla="*/ 3421658 w 5248218"/>
                <a:gd name="connsiteY561" fmla="*/ 1699468 h 4232411"/>
                <a:gd name="connsiteX562" fmla="*/ 3418704 w 5248218"/>
                <a:gd name="connsiteY562" fmla="*/ 1696511 h 4232411"/>
                <a:gd name="connsiteX563" fmla="*/ 3415747 w 5248218"/>
                <a:gd name="connsiteY563" fmla="*/ 1699468 h 4232411"/>
                <a:gd name="connsiteX564" fmla="*/ 3389148 w 5248218"/>
                <a:gd name="connsiteY564" fmla="*/ 1962514 h 4232411"/>
                <a:gd name="connsiteX565" fmla="*/ 3400970 w 5248218"/>
                <a:gd name="connsiteY565" fmla="*/ 1974337 h 4232411"/>
                <a:gd name="connsiteX566" fmla="*/ 3412793 w 5248218"/>
                <a:gd name="connsiteY566" fmla="*/ 1962514 h 4232411"/>
                <a:gd name="connsiteX567" fmla="*/ 3400970 w 5248218"/>
                <a:gd name="connsiteY567" fmla="*/ 1950692 h 4232411"/>
                <a:gd name="connsiteX568" fmla="*/ 3389148 w 5248218"/>
                <a:gd name="connsiteY568" fmla="*/ 1962514 h 4232411"/>
                <a:gd name="connsiteX569" fmla="*/ 3386191 w 5248218"/>
                <a:gd name="connsiteY569" fmla="*/ 2861016 h 4232411"/>
                <a:gd name="connsiteX570" fmla="*/ 3439391 w 5248218"/>
                <a:gd name="connsiteY570" fmla="*/ 2914216 h 4232411"/>
                <a:gd name="connsiteX571" fmla="*/ 3492592 w 5248218"/>
                <a:gd name="connsiteY571" fmla="*/ 2861016 h 4232411"/>
                <a:gd name="connsiteX572" fmla="*/ 3439391 w 5248218"/>
                <a:gd name="connsiteY572" fmla="*/ 2807814 h 4232411"/>
                <a:gd name="connsiteX573" fmla="*/ 3386191 w 5248218"/>
                <a:gd name="connsiteY573" fmla="*/ 2861016 h 4232411"/>
                <a:gd name="connsiteX574" fmla="*/ 3353681 w 5248218"/>
                <a:gd name="connsiteY574" fmla="*/ 2213738 h 4232411"/>
                <a:gd name="connsiteX575" fmla="*/ 3374371 w 5248218"/>
                <a:gd name="connsiteY575" fmla="*/ 2234429 h 4232411"/>
                <a:gd name="connsiteX576" fmla="*/ 3395059 w 5248218"/>
                <a:gd name="connsiteY576" fmla="*/ 2213738 h 4232411"/>
                <a:gd name="connsiteX577" fmla="*/ 3374371 w 5248218"/>
                <a:gd name="connsiteY577" fmla="*/ 2193051 h 4232411"/>
                <a:gd name="connsiteX578" fmla="*/ 3353681 w 5248218"/>
                <a:gd name="connsiteY578" fmla="*/ 2213738 h 4232411"/>
                <a:gd name="connsiteX579" fmla="*/ 3350724 w 5248218"/>
                <a:gd name="connsiteY579" fmla="*/ 3097463 h 4232411"/>
                <a:gd name="connsiteX580" fmla="*/ 3403924 w 5248218"/>
                <a:gd name="connsiteY580" fmla="*/ 3150664 h 4232411"/>
                <a:gd name="connsiteX581" fmla="*/ 3457125 w 5248218"/>
                <a:gd name="connsiteY581" fmla="*/ 3097463 h 4232411"/>
                <a:gd name="connsiteX582" fmla="*/ 3403924 w 5248218"/>
                <a:gd name="connsiteY582" fmla="*/ 3044262 h 4232411"/>
                <a:gd name="connsiteX583" fmla="*/ 3350724 w 5248218"/>
                <a:gd name="connsiteY583" fmla="*/ 3097463 h 4232411"/>
                <a:gd name="connsiteX584" fmla="*/ 3318214 w 5248218"/>
                <a:gd name="connsiteY584" fmla="*/ 3330956 h 4232411"/>
                <a:gd name="connsiteX585" fmla="*/ 3365503 w 5248218"/>
                <a:gd name="connsiteY585" fmla="*/ 3378246 h 4232411"/>
                <a:gd name="connsiteX586" fmla="*/ 3412793 w 5248218"/>
                <a:gd name="connsiteY586" fmla="*/ 3330956 h 4232411"/>
                <a:gd name="connsiteX587" fmla="*/ 3365503 w 5248218"/>
                <a:gd name="connsiteY587" fmla="*/ 3283667 h 4232411"/>
                <a:gd name="connsiteX588" fmla="*/ 3318214 w 5248218"/>
                <a:gd name="connsiteY588" fmla="*/ 3330956 h 4232411"/>
                <a:gd name="connsiteX589" fmla="*/ 3306391 w 5248218"/>
                <a:gd name="connsiteY589" fmla="*/ 2459054 h 4232411"/>
                <a:gd name="connsiteX590" fmla="*/ 3344815 w 5248218"/>
                <a:gd name="connsiteY590" fmla="*/ 2497476 h 4232411"/>
                <a:gd name="connsiteX591" fmla="*/ 3383237 w 5248218"/>
                <a:gd name="connsiteY591" fmla="*/ 2459054 h 4232411"/>
                <a:gd name="connsiteX592" fmla="*/ 3344815 w 5248218"/>
                <a:gd name="connsiteY592" fmla="*/ 2420630 h 4232411"/>
                <a:gd name="connsiteX593" fmla="*/ 3306391 w 5248218"/>
                <a:gd name="connsiteY593" fmla="*/ 2459054 h 4232411"/>
                <a:gd name="connsiteX594" fmla="*/ 3279792 w 5248218"/>
                <a:gd name="connsiteY594" fmla="*/ 3561490 h 4232411"/>
                <a:gd name="connsiteX595" fmla="*/ 3327082 w 5248218"/>
                <a:gd name="connsiteY595" fmla="*/ 3608779 h 4232411"/>
                <a:gd name="connsiteX596" fmla="*/ 3374371 w 5248218"/>
                <a:gd name="connsiteY596" fmla="*/ 3561490 h 4232411"/>
                <a:gd name="connsiteX597" fmla="*/ 3327082 w 5248218"/>
                <a:gd name="connsiteY597" fmla="*/ 3514200 h 4232411"/>
                <a:gd name="connsiteX598" fmla="*/ 3279792 w 5248218"/>
                <a:gd name="connsiteY598" fmla="*/ 3561490 h 4232411"/>
                <a:gd name="connsiteX599" fmla="*/ 3270924 w 5248218"/>
                <a:gd name="connsiteY599" fmla="*/ 1805870 h 4232411"/>
                <a:gd name="connsiteX600" fmla="*/ 3273881 w 5248218"/>
                <a:gd name="connsiteY600" fmla="*/ 1808824 h 4232411"/>
                <a:gd name="connsiteX601" fmla="*/ 3276835 w 5248218"/>
                <a:gd name="connsiteY601" fmla="*/ 1805870 h 4232411"/>
                <a:gd name="connsiteX602" fmla="*/ 3273881 w 5248218"/>
                <a:gd name="connsiteY602" fmla="*/ 1802912 h 4232411"/>
                <a:gd name="connsiteX603" fmla="*/ 3270924 w 5248218"/>
                <a:gd name="connsiteY603" fmla="*/ 1805870 h 4232411"/>
                <a:gd name="connsiteX604" fmla="*/ 3265013 w 5248218"/>
                <a:gd name="connsiteY604" fmla="*/ 2701413 h 4232411"/>
                <a:gd name="connsiteX605" fmla="*/ 3312302 w 5248218"/>
                <a:gd name="connsiteY605" fmla="*/ 2748702 h 4232411"/>
                <a:gd name="connsiteX606" fmla="*/ 3359592 w 5248218"/>
                <a:gd name="connsiteY606" fmla="*/ 2701413 h 4232411"/>
                <a:gd name="connsiteX607" fmla="*/ 3312302 w 5248218"/>
                <a:gd name="connsiteY607" fmla="*/ 2654124 h 4232411"/>
                <a:gd name="connsiteX608" fmla="*/ 3265013 w 5248218"/>
                <a:gd name="connsiteY608" fmla="*/ 2701413 h 4232411"/>
                <a:gd name="connsiteX609" fmla="*/ 3256148 w 5248218"/>
                <a:gd name="connsiteY609" fmla="*/ 3786118 h 4232411"/>
                <a:gd name="connsiteX610" fmla="*/ 3288661 w 5248218"/>
                <a:gd name="connsiteY610" fmla="*/ 3818628 h 4232411"/>
                <a:gd name="connsiteX611" fmla="*/ 3321171 w 5248218"/>
                <a:gd name="connsiteY611" fmla="*/ 3786118 h 4232411"/>
                <a:gd name="connsiteX612" fmla="*/ 3288661 w 5248218"/>
                <a:gd name="connsiteY612" fmla="*/ 3753604 h 4232411"/>
                <a:gd name="connsiteX613" fmla="*/ 3256148 w 5248218"/>
                <a:gd name="connsiteY613" fmla="*/ 3786118 h 4232411"/>
                <a:gd name="connsiteX614" fmla="*/ 3244325 w 5248218"/>
                <a:gd name="connsiteY614" fmla="*/ 4010740 h 4232411"/>
                <a:gd name="connsiteX615" fmla="*/ 3247279 w 5248218"/>
                <a:gd name="connsiteY615" fmla="*/ 4013697 h 4232411"/>
                <a:gd name="connsiteX616" fmla="*/ 3250236 w 5248218"/>
                <a:gd name="connsiteY616" fmla="*/ 4010740 h 4232411"/>
                <a:gd name="connsiteX617" fmla="*/ 3247279 w 5248218"/>
                <a:gd name="connsiteY617" fmla="*/ 4007786 h 4232411"/>
                <a:gd name="connsiteX618" fmla="*/ 3244325 w 5248218"/>
                <a:gd name="connsiteY618" fmla="*/ 4010740 h 4232411"/>
                <a:gd name="connsiteX619" fmla="*/ 3229549 w 5248218"/>
                <a:gd name="connsiteY619" fmla="*/ 2057094 h 4232411"/>
                <a:gd name="connsiteX620" fmla="*/ 3250236 w 5248218"/>
                <a:gd name="connsiteY620" fmla="*/ 2077781 h 4232411"/>
                <a:gd name="connsiteX621" fmla="*/ 3270924 w 5248218"/>
                <a:gd name="connsiteY621" fmla="*/ 2057094 h 4232411"/>
                <a:gd name="connsiteX622" fmla="*/ 3250236 w 5248218"/>
                <a:gd name="connsiteY622" fmla="*/ 2036403 h 4232411"/>
                <a:gd name="connsiteX623" fmla="*/ 3229549 w 5248218"/>
                <a:gd name="connsiteY623" fmla="*/ 2057094 h 4232411"/>
                <a:gd name="connsiteX624" fmla="*/ 3223635 w 5248218"/>
                <a:gd name="connsiteY624" fmla="*/ 2934906 h 4232411"/>
                <a:gd name="connsiteX625" fmla="*/ 3276835 w 5248218"/>
                <a:gd name="connsiteY625" fmla="*/ 2988108 h 4232411"/>
                <a:gd name="connsiteX626" fmla="*/ 3330036 w 5248218"/>
                <a:gd name="connsiteY626" fmla="*/ 2934906 h 4232411"/>
                <a:gd name="connsiteX627" fmla="*/ 3276835 w 5248218"/>
                <a:gd name="connsiteY627" fmla="*/ 2881706 h 4232411"/>
                <a:gd name="connsiteX628" fmla="*/ 3223635 w 5248218"/>
                <a:gd name="connsiteY628" fmla="*/ 2934906 h 4232411"/>
                <a:gd name="connsiteX629" fmla="*/ 3191125 w 5248218"/>
                <a:gd name="connsiteY629" fmla="*/ 2302406 h 4232411"/>
                <a:gd name="connsiteX630" fmla="*/ 3217723 w 5248218"/>
                <a:gd name="connsiteY630" fmla="*/ 2329008 h 4232411"/>
                <a:gd name="connsiteX631" fmla="*/ 3244325 w 5248218"/>
                <a:gd name="connsiteY631" fmla="*/ 2302406 h 4232411"/>
                <a:gd name="connsiteX632" fmla="*/ 3217723 w 5248218"/>
                <a:gd name="connsiteY632" fmla="*/ 2275808 h 4232411"/>
                <a:gd name="connsiteX633" fmla="*/ 3191125 w 5248218"/>
                <a:gd name="connsiteY633" fmla="*/ 2302406 h 4232411"/>
                <a:gd name="connsiteX634" fmla="*/ 3182256 w 5248218"/>
                <a:gd name="connsiteY634" fmla="*/ 3168397 h 4232411"/>
                <a:gd name="connsiteX635" fmla="*/ 3238411 w 5248218"/>
                <a:gd name="connsiteY635" fmla="*/ 3224555 h 4232411"/>
                <a:gd name="connsiteX636" fmla="*/ 3294569 w 5248218"/>
                <a:gd name="connsiteY636" fmla="*/ 3168397 h 4232411"/>
                <a:gd name="connsiteX637" fmla="*/ 3238411 w 5248218"/>
                <a:gd name="connsiteY637" fmla="*/ 3112242 h 4232411"/>
                <a:gd name="connsiteX638" fmla="*/ 3182256 w 5248218"/>
                <a:gd name="connsiteY638" fmla="*/ 3168397 h 4232411"/>
                <a:gd name="connsiteX639" fmla="*/ 3152700 w 5248218"/>
                <a:gd name="connsiteY639" fmla="*/ 2541814 h 4232411"/>
                <a:gd name="connsiteX640" fmla="*/ 3185210 w 5248218"/>
                <a:gd name="connsiteY640" fmla="*/ 2574324 h 4232411"/>
                <a:gd name="connsiteX641" fmla="*/ 3217723 w 5248218"/>
                <a:gd name="connsiteY641" fmla="*/ 2541814 h 4232411"/>
                <a:gd name="connsiteX642" fmla="*/ 3185210 w 5248218"/>
                <a:gd name="connsiteY642" fmla="*/ 2509301 h 4232411"/>
                <a:gd name="connsiteX643" fmla="*/ 3152700 w 5248218"/>
                <a:gd name="connsiteY643" fmla="*/ 2541814 h 4232411"/>
                <a:gd name="connsiteX644" fmla="*/ 3146789 w 5248218"/>
                <a:gd name="connsiteY644" fmla="*/ 1649222 h 4232411"/>
                <a:gd name="connsiteX645" fmla="*/ 3149743 w 5248218"/>
                <a:gd name="connsiteY645" fmla="*/ 1652176 h 4232411"/>
                <a:gd name="connsiteX646" fmla="*/ 3152700 w 5248218"/>
                <a:gd name="connsiteY646" fmla="*/ 1649222 h 4232411"/>
                <a:gd name="connsiteX647" fmla="*/ 3149743 w 5248218"/>
                <a:gd name="connsiteY647" fmla="*/ 1646264 h 4232411"/>
                <a:gd name="connsiteX648" fmla="*/ 3146789 w 5248218"/>
                <a:gd name="connsiteY648" fmla="*/ 1649222 h 4232411"/>
                <a:gd name="connsiteX649" fmla="*/ 3143835 w 5248218"/>
                <a:gd name="connsiteY649" fmla="*/ 3395976 h 4232411"/>
                <a:gd name="connsiteX650" fmla="*/ 3199993 w 5248218"/>
                <a:gd name="connsiteY650" fmla="*/ 3452134 h 4232411"/>
                <a:gd name="connsiteX651" fmla="*/ 3256148 w 5248218"/>
                <a:gd name="connsiteY651" fmla="*/ 3395976 h 4232411"/>
                <a:gd name="connsiteX652" fmla="*/ 3199993 w 5248218"/>
                <a:gd name="connsiteY652" fmla="*/ 3339822 h 4232411"/>
                <a:gd name="connsiteX653" fmla="*/ 3143835 w 5248218"/>
                <a:gd name="connsiteY653" fmla="*/ 3395976 h 4232411"/>
                <a:gd name="connsiteX654" fmla="*/ 3114276 w 5248218"/>
                <a:gd name="connsiteY654" fmla="*/ 3842272 h 4232411"/>
                <a:gd name="connsiteX655" fmla="*/ 3117233 w 5248218"/>
                <a:gd name="connsiteY655" fmla="*/ 3845226 h 4232411"/>
                <a:gd name="connsiteX656" fmla="*/ 3120187 w 5248218"/>
                <a:gd name="connsiteY656" fmla="*/ 3842272 h 4232411"/>
                <a:gd name="connsiteX657" fmla="*/ 3117233 w 5248218"/>
                <a:gd name="connsiteY657" fmla="*/ 3839316 h 4232411"/>
                <a:gd name="connsiteX658" fmla="*/ 3114276 w 5248218"/>
                <a:gd name="connsiteY658" fmla="*/ 3842272 h 4232411"/>
                <a:gd name="connsiteX659" fmla="*/ 3108368 w 5248218"/>
                <a:gd name="connsiteY659" fmla="*/ 3620602 h 4232411"/>
                <a:gd name="connsiteX660" fmla="*/ 3158611 w 5248218"/>
                <a:gd name="connsiteY660" fmla="*/ 3670848 h 4232411"/>
                <a:gd name="connsiteX661" fmla="*/ 3208858 w 5248218"/>
                <a:gd name="connsiteY661" fmla="*/ 3620602 h 4232411"/>
                <a:gd name="connsiteX662" fmla="*/ 3158611 w 5248218"/>
                <a:gd name="connsiteY662" fmla="*/ 3570358 h 4232411"/>
                <a:gd name="connsiteX663" fmla="*/ 3108368 w 5248218"/>
                <a:gd name="connsiteY663" fmla="*/ 3620602 h 4232411"/>
                <a:gd name="connsiteX664" fmla="*/ 3108368 w 5248218"/>
                <a:gd name="connsiteY664" fmla="*/ 2775302 h 4232411"/>
                <a:gd name="connsiteX665" fmla="*/ 3146792 w 5248218"/>
                <a:gd name="connsiteY665" fmla="*/ 2813726 h 4232411"/>
                <a:gd name="connsiteX666" fmla="*/ 3185213 w 5248218"/>
                <a:gd name="connsiteY666" fmla="*/ 2775302 h 4232411"/>
                <a:gd name="connsiteX667" fmla="*/ 3146792 w 5248218"/>
                <a:gd name="connsiteY667" fmla="*/ 2736880 h 4232411"/>
                <a:gd name="connsiteX668" fmla="*/ 3108368 w 5248218"/>
                <a:gd name="connsiteY668" fmla="*/ 2775302 h 4232411"/>
                <a:gd name="connsiteX669" fmla="*/ 3108368 w 5248218"/>
                <a:gd name="connsiteY669" fmla="*/ 1897492 h 4232411"/>
                <a:gd name="connsiteX670" fmla="*/ 3123147 w 5248218"/>
                <a:gd name="connsiteY670" fmla="*/ 1912268 h 4232411"/>
                <a:gd name="connsiteX671" fmla="*/ 3137924 w 5248218"/>
                <a:gd name="connsiteY671" fmla="*/ 1897492 h 4232411"/>
                <a:gd name="connsiteX672" fmla="*/ 3123147 w 5248218"/>
                <a:gd name="connsiteY672" fmla="*/ 1882712 h 4232411"/>
                <a:gd name="connsiteX673" fmla="*/ 3108368 w 5248218"/>
                <a:gd name="connsiteY673" fmla="*/ 1897492 h 4232411"/>
                <a:gd name="connsiteX674" fmla="*/ 3069944 w 5248218"/>
                <a:gd name="connsiteY674" fmla="*/ 2142804 h 4232411"/>
                <a:gd name="connsiteX675" fmla="*/ 3090631 w 5248218"/>
                <a:gd name="connsiteY675" fmla="*/ 2163495 h 4232411"/>
                <a:gd name="connsiteX676" fmla="*/ 3111322 w 5248218"/>
                <a:gd name="connsiteY676" fmla="*/ 2142804 h 4232411"/>
                <a:gd name="connsiteX677" fmla="*/ 3090631 w 5248218"/>
                <a:gd name="connsiteY677" fmla="*/ 2122117 h 4232411"/>
                <a:gd name="connsiteX678" fmla="*/ 3069944 w 5248218"/>
                <a:gd name="connsiteY678" fmla="*/ 2142804 h 4232411"/>
                <a:gd name="connsiteX679" fmla="*/ 3055164 w 5248218"/>
                <a:gd name="connsiteY679" fmla="*/ 3002884 h 4232411"/>
                <a:gd name="connsiteX680" fmla="*/ 3108365 w 5248218"/>
                <a:gd name="connsiteY680" fmla="*/ 3056084 h 4232411"/>
                <a:gd name="connsiteX681" fmla="*/ 3161566 w 5248218"/>
                <a:gd name="connsiteY681" fmla="*/ 3002884 h 4232411"/>
                <a:gd name="connsiteX682" fmla="*/ 3108365 w 5248218"/>
                <a:gd name="connsiteY682" fmla="*/ 2949683 h 4232411"/>
                <a:gd name="connsiteX683" fmla="*/ 3055164 w 5248218"/>
                <a:gd name="connsiteY683" fmla="*/ 3002884 h 4232411"/>
                <a:gd name="connsiteX684" fmla="*/ 3037434 w 5248218"/>
                <a:gd name="connsiteY684" fmla="*/ 2379252 h 4232411"/>
                <a:gd name="connsiteX685" fmla="*/ 3058121 w 5248218"/>
                <a:gd name="connsiteY685" fmla="*/ 2399942 h 4232411"/>
                <a:gd name="connsiteX686" fmla="*/ 3078812 w 5248218"/>
                <a:gd name="connsiteY686" fmla="*/ 2379252 h 4232411"/>
                <a:gd name="connsiteX687" fmla="*/ 3058121 w 5248218"/>
                <a:gd name="connsiteY687" fmla="*/ 2358564 h 4232411"/>
                <a:gd name="connsiteX688" fmla="*/ 3037434 w 5248218"/>
                <a:gd name="connsiteY688" fmla="*/ 2379252 h 4232411"/>
                <a:gd name="connsiteX689" fmla="*/ 3010832 w 5248218"/>
                <a:gd name="connsiteY689" fmla="*/ 3230466 h 4232411"/>
                <a:gd name="connsiteX690" fmla="*/ 3069944 w 5248218"/>
                <a:gd name="connsiteY690" fmla="*/ 3289578 h 4232411"/>
                <a:gd name="connsiteX691" fmla="*/ 3129056 w 5248218"/>
                <a:gd name="connsiteY691" fmla="*/ 3230466 h 4232411"/>
                <a:gd name="connsiteX692" fmla="*/ 3069944 w 5248218"/>
                <a:gd name="connsiteY692" fmla="*/ 3171354 h 4232411"/>
                <a:gd name="connsiteX693" fmla="*/ 3010832 w 5248218"/>
                <a:gd name="connsiteY693" fmla="*/ 3230466 h 4232411"/>
                <a:gd name="connsiteX694" fmla="*/ 2996052 w 5248218"/>
                <a:gd name="connsiteY694" fmla="*/ 1743800 h 4232411"/>
                <a:gd name="connsiteX695" fmla="*/ 2999009 w 5248218"/>
                <a:gd name="connsiteY695" fmla="*/ 1746755 h 4232411"/>
                <a:gd name="connsiteX696" fmla="*/ 3001963 w 5248218"/>
                <a:gd name="connsiteY696" fmla="*/ 1743800 h 4232411"/>
                <a:gd name="connsiteX697" fmla="*/ 2999009 w 5248218"/>
                <a:gd name="connsiteY697" fmla="*/ 1740844 h 4232411"/>
                <a:gd name="connsiteX698" fmla="*/ 2996052 w 5248218"/>
                <a:gd name="connsiteY698" fmla="*/ 1743800 h 4232411"/>
                <a:gd name="connsiteX699" fmla="*/ 2990144 w 5248218"/>
                <a:gd name="connsiteY699" fmla="*/ 2609792 h 4232411"/>
                <a:gd name="connsiteX700" fmla="*/ 3019700 w 5248218"/>
                <a:gd name="connsiteY700" fmla="*/ 2639347 h 4232411"/>
                <a:gd name="connsiteX701" fmla="*/ 3049256 w 5248218"/>
                <a:gd name="connsiteY701" fmla="*/ 2609792 h 4232411"/>
                <a:gd name="connsiteX702" fmla="*/ 3019700 w 5248218"/>
                <a:gd name="connsiteY702" fmla="*/ 2580236 h 4232411"/>
                <a:gd name="connsiteX703" fmla="*/ 2990144 w 5248218"/>
                <a:gd name="connsiteY703" fmla="*/ 2609792 h 4232411"/>
                <a:gd name="connsiteX704" fmla="*/ 2972407 w 5248218"/>
                <a:gd name="connsiteY704" fmla="*/ 3449177 h 4232411"/>
                <a:gd name="connsiteX705" fmla="*/ 3028565 w 5248218"/>
                <a:gd name="connsiteY705" fmla="*/ 3505335 h 4232411"/>
                <a:gd name="connsiteX706" fmla="*/ 3084720 w 5248218"/>
                <a:gd name="connsiteY706" fmla="*/ 3449177 h 4232411"/>
                <a:gd name="connsiteX707" fmla="*/ 3028565 w 5248218"/>
                <a:gd name="connsiteY707" fmla="*/ 3393022 h 4232411"/>
                <a:gd name="connsiteX708" fmla="*/ 2972407 w 5248218"/>
                <a:gd name="connsiteY708" fmla="*/ 3449177 h 4232411"/>
                <a:gd name="connsiteX709" fmla="*/ 2957631 w 5248218"/>
                <a:gd name="connsiteY709" fmla="*/ 1983205 h 4232411"/>
                <a:gd name="connsiteX710" fmla="*/ 2966499 w 5248218"/>
                <a:gd name="connsiteY710" fmla="*/ 1992070 h 4232411"/>
                <a:gd name="connsiteX711" fmla="*/ 2975365 w 5248218"/>
                <a:gd name="connsiteY711" fmla="*/ 1983205 h 4232411"/>
                <a:gd name="connsiteX712" fmla="*/ 2966499 w 5248218"/>
                <a:gd name="connsiteY712" fmla="*/ 1974337 h 4232411"/>
                <a:gd name="connsiteX713" fmla="*/ 2957631 w 5248218"/>
                <a:gd name="connsiteY713" fmla="*/ 1983205 h 4232411"/>
                <a:gd name="connsiteX714" fmla="*/ 2945809 w 5248218"/>
                <a:gd name="connsiteY714" fmla="*/ 2837370 h 4232411"/>
                <a:gd name="connsiteX715" fmla="*/ 2981276 w 5248218"/>
                <a:gd name="connsiteY715" fmla="*/ 2872838 h 4232411"/>
                <a:gd name="connsiteX716" fmla="*/ 3016743 w 5248218"/>
                <a:gd name="connsiteY716" fmla="*/ 2837370 h 4232411"/>
                <a:gd name="connsiteX717" fmla="*/ 2981276 w 5248218"/>
                <a:gd name="connsiteY717" fmla="*/ 2801904 h 4232411"/>
                <a:gd name="connsiteX718" fmla="*/ 2945809 w 5248218"/>
                <a:gd name="connsiteY718" fmla="*/ 2837370 h 4232411"/>
                <a:gd name="connsiteX719" fmla="*/ 2936943 w 5248218"/>
                <a:gd name="connsiteY719" fmla="*/ 3670848 h 4232411"/>
                <a:gd name="connsiteX720" fmla="*/ 2987190 w 5248218"/>
                <a:gd name="connsiteY720" fmla="*/ 3721094 h 4232411"/>
                <a:gd name="connsiteX721" fmla="*/ 3037434 w 5248218"/>
                <a:gd name="connsiteY721" fmla="*/ 3670848 h 4232411"/>
                <a:gd name="connsiteX722" fmla="*/ 2987190 w 5248218"/>
                <a:gd name="connsiteY722" fmla="*/ 3620604 h 4232411"/>
                <a:gd name="connsiteX723" fmla="*/ 2936943 w 5248218"/>
                <a:gd name="connsiteY723" fmla="*/ 3670848 h 4232411"/>
                <a:gd name="connsiteX724" fmla="*/ 2928075 w 5248218"/>
                <a:gd name="connsiteY724" fmla="*/ 3886605 h 4232411"/>
                <a:gd name="connsiteX725" fmla="*/ 2945809 w 5248218"/>
                <a:gd name="connsiteY725" fmla="*/ 3904338 h 4232411"/>
                <a:gd name="connsiteX726" fmla="*/ 2963542 w 5248218"/>
                <a:gd name="connsiteY726" fmla="*/ 3886605 h 4232411"/>
                <a:gd name="connsiteX727" fmla="*/ 2945809 w 5248218"/>
                <a:gd name="connsiteY727" fmla="*/ 3868872 h 4232411"/>
                <a:gd name="connsiteX728" fmla="*/ 2928075 w 5248218"/>
                <a:gd name="connsiteY728" fmla="*/ 3886605 h 4232411"/>
                <a:gd name="connsiteX729" fmla="*/ 2913296 w 5248218"/>
                <a:gd name="connsiteY729" fmla="*/ 2216699 h 4232411"/>
                <a:gd name="connsiteX730" fmla="*/ 2928075 w 5248218"/>
                <a:gd name="connsiteY730" fmla="*/ 2231475 h 4232411"/>
                <a:gd name="connsiteX731" fmla="*/ 2942852 w 5248218"/>
                <a:gd name="connsiteY731" fmla="*/ 2216699 h 4232411"/>
                <a:gd name="connsiteX732" fmla="*/ 2928075 w 5248218"/>
                <a:gd name="connsiteY732" fmla="*/ 2201919 h 4232411"/>
                <a:gd name="connsiteX733" fmla="*/ 2913296 w 5248218"/>
                <a:gd name="connsiteY733" fmla="*/ 2216699 h 4232411"/>
                <a:gd name="connsiteX734" fmla="*/ 2880786 w 5248218"/>
                <a:gd name="connsiteY734" fmla="*/ 3061996 h 4232411"/>
                <a:gd name="connsiteX735" fmla="*/ 2939897 w 5248218"/>
                <a:gd name="connsiteY735" fmla="*/ 3121108 h 4232411"/>
                <a:gd name="connsiteX736" fmla="*/ 2999009 w 5248218"/>
                <a:gd name="connsiteY736" fmla="*/ 3061996 h 4232411"/>
                <a:gd name="connsiteX737" fmla="*/ 2939897 w 5248218"/>
                <a:gd name="connsiteY737" fmla="*/ 3002884 h 4232411"/>
                <a:gd name="connsiteX738" fmla="*/ 2880786 w 5248218"/>
                <a:gd name="connsiteY738" fmla="*/ 3061996 h 4232411"/>
                <a:gd name="connsiteX739" fmla="*/ 2863052 w 5248218"/>
                <a:gd name="connsiteY739" fmla="*/ 2444275 h 4232411"/>
                <a:gd name="connsiteX740" fmla="*/ 2892608 w 5248218"/>
                <a:gd name="connsiteY740" fmla="*/ 2473831 h 4232411"/>
                <a:gd name="connsiteX741" fmla="*/ 2922164 w 5248218"/>
                <a:gd name="connsiteY741" fmla="*/ 2444275 h 4232411"/>
                <a:gd name="connsiteX742" fmla="*/ 2892608 w 5248218"/>
                <a:gd name="connsiteY742" fmla="*/ 2414719 h 4232411"/>
                <a:gd name="connsiteX743" fmla="*/ 2863052 w 5248218"/>
                <a:gd name="connsiteY743" fmla="*/ 2444275 h 4232411"/>
                <a:gd name="connsiteX744" fmla="*/ 2836453 w 5248218"/>
                <a:gd name="connsiteY744" fmla="*/ 3283667 h 4232411"/>
                <a:gd name="connsiteX745" fmla="*/ 2898519 w 5248218"/>
                <a:gd name="connsiteY745" fmla="*/ 3345732 h 4232411"/>
                <a:gd name="connsiteX746" fmla="*/ 2960588 w 5248218"/>
                <a:gd name="connsiteY746" fmla="*/ 3283667 h 4232411"/>
                <a:gd name="connsiteX747" fmla="*/ 2898519 w 5248218"/>
                <a:gd name="connsiteY747" fmla="*/ 3221598 h 4232411"/>
                <a:gd name="connsiteX748" fmla="*/ 2836453 w 5248218"/>
                <a:gd name="connsiteY748" fmla="*/ 3283667 h 4232411"/>
                <a:gd name="connsiteX749" fmla="*/ 2821674 w 5248218"/>
                <a:gd name="connsiteY749" fmla="*/ 2671857 h 4232411"/>
                <a:gd name="connsiteX750" fmla="*/ 2851230 w 5248218"/>
                <a:gd name="connsiteY750" fmla="*/ 2701413 h 4232411"/>
                <a:gd name="connsiteX751" fmla="*/ 2880786 w 5248218"/>
                <a:gd name="connsiteY751" fmla="*/ 2671857 h 4232411"/>
                <a:gd name="connsiteX752" fmla="*/ 2851230 w 5248218"/>
                <a:gd name="connsiteY752" fmla="*/ 2642302 h 4232411"/>
                <a:gd name="connsiteX753" fmla="*/ 2821674 w 5248218"/>
                <a:gd name="connsiteY753" fmla="*/ 2671857 h 4232411"/>
                <a:gd name="connsiteX754" fmla="*/ 2800986 w 5248218"/>
                <a:gd name="connsiteY754" fmla="*/ 3499424 h 4232411"/>
                <a:gd name="connsiteX755" fmla="*/ 2857141 w 5248218"/>
                <a:gd name="connsiteY755" fmla="*/ 3555582 h 4232411"/>
                <a:gd name="connsiteX756" fmla="*/ 2913299 w 5248218"/>
                <a:gd name="connsiteY756" fmla="*/ 3499424 h 4232411"/>
                <a:gd name="connsiteX757" fmla="*/ 2857141 w 5248218"/>
                <a:gd name="connsiteY757" fmla="*/ 3443269 h 4232411"/>
                <a:gd name="connsiteX758" fmla="*/ 2800986 w 5248218"/>
                <a:gd name="connsiteY758" fmla="*/ 3499424 h 4232411"/>
                <a:gd name="connsiteX759" fmla="*/ 2795072 w 5248218"/>
                <a:gd name="connsiteY759" fmla="*/ 2054140 h 4232411"/>
                <a:gd name="connsiteX760" fmla="*/ 2800983 w 5248218"/>
                <a:gd name="connsiteY760" fmla="*/ 2060051 h 4232411"/>
                <a:gd name="connsiteX761" fmla="*/ 2806894 w 5248218"/>
                <a:gd name="connsiteY761" fmla="*/ 2054140 h 4232411"/>
                <a:gd name="connsiteX762" fmla="*/ 2800983 w 5248218"/>
                <a:gd name="connsiteY762" fmla="*/ 2048228 h 4232411"/>
                <a:gd name="connsiteX763" fmla="*/ 2795072 w 5248218"/>
                <a:gd name="connsiteY763" fmla="*/ 2054140 h 4232411"/>
                <a:gd name="connsiteX764" fmla="*/ 2771430 w 5248218"/>
                <a:gd name="connsiteY764" fmla="*/ 2890574 h 4232411"/>
                <a:gd name="connsiteX765" fmla="*/ 2809851 w 5248218"/>
                <a:gd name="connsiteY765" fmla="*/ 2928996 h 4232411"/>
                <a:gd name="connsiteX766" fmla="*/ 2848276 w 5248218"/>
                <a:gd name="connsiteY766" fmla="*/ 2890574 h 4232411"/>
                <a:gd name="connsiteX767" fmla="*/ 2809851 w 5248218"/>
                <a:gd name="connsiteY767" fmla="*/ 2852150 h 4232411"/>
                <a:gd name="connsiteX768" fmla="*/ 2771430 w 5248218"/>
                <a:gd name="connsiteY768" fmla="*/ 2890574 h 4232411"/>
                <a:gd name="connsiteX769" fmla="*/ 2762562 w 5248218"/>
                <a:gd name="connsiteY769" fmla="*/ 3715180 h 4232411"/>
                <a:gd name="connsiteX770" fmla="*/ 2815763 w 5248218"/>
                <a:gd name="connsiteY770" fmla="*/ 3768381 h 4232411"/>
                <a:gd name="connsiteX771" fmla="*/ 2868960 w 5248218"/>
                <a:gd name="connsiteY771" fmla="*/ 3715180 h 4232411"/>
                <a:gd name="connsiteX772" fmla="*/ 2815763 w 5248218"/>
                <a:gd name="connsiteY772" fmla="*/ 3661980 h 4232411"/>
                <a:gd name="connsiteX773" fmla="*/ 2762562 w 5248218"/>
                <a:gd name="connsiteY773" fmla="*/ 3715180 h 4232411"/>
                <a:gd name="connsiteX774" fmla="*/ 2747785 w 5248218"/>
                <a:gd name="connsiteY774" fmla="*/ 2281719 h 4232411"/>
                <a:gd name="connsiteX775" fmla="*/ 2762565 w 5248218"/>
                <a:gd name="connsiteY775" fmla="*/ 2296495 h 4232411"/>
                <a:gd name="connsiteX776" fmla="*/ 2777341 w 5248218"/>
                <a:gd name="connsiteY776" fmla="*/ 2281719 h 4232411"/>
                <a:gd name="connsiteX777" fmla="*/ 2762565 w 5248218"/>
                <a:gd name="connsiteY777" fmla="*/ 2266939 h 4232411"/>
                <a:gd name="connsiteX778" fmla="*/ 2747785 w 5248218"/>
                <a:gd name="connsiteY778" fmla="*/ 2281719 h 4232411"/>
                <a:gd name="connsiteX779" fmla="*/ 2738917 w 5248218"/>
                <a:gd name="connsiteY779" fmla="*/ 3927983 h 4232411"/>
                <a:gd name="connsiteX780" fmla="*/ 2771430 w 5248218"/>
                <a:gd name="connsiteY780" fmla="*/ 3960496 h 4232411"/>
                <a:gd name="connsiteX781" fmla="*/ 2803940 w 5248218"/>
                <a:gd name="connsiteY781" fmla="*/ 3927983 h 4232411"/>
                <a:gd name="connsiteX782" fmla="*/ 2771430 w 5248218"/>
                <a:gd name="connsiteY782" fmla="*/ 3895474 h 4232411"/>
                <a:gd name="connsiteX783" fmla="*/ 2738917 w 5248218"/>
                <a:gd name="connsiteY783" fmla="*/ 3927983 h 4232411"/>
                <a:gd name="connsiteX784" fmla="*/ 2712318 w 5248218"/>
                <a:gd name="connsiteY784" fmla="*/ 3109285 h 4232411"/>
                <a:gd name="connsiteX785" fmla="*/ 2768473 w 5248218"/>
                <a:gd name="connsiteY785" fmla="*/ 3165443 h 4232411"/>
                <a:gd name="connsiteX786" fmla="*/ 2824631 w 5248218"/>
                <a:gd name="connsiteY786" fmla="*/ 3109285 h 4232411"/>
                <a:gd name="connsiteX787" fmla="*/ 2768473 w 5248218"/>
                <a:gd name="connsiteY787" fmla="*/ 3053130 h 4232411"/>
                <a:gd name="connsiteX788" fmla="*/ 2712318 w 5248218"/>
                <a:gd name="connsiteY788" fmla="*/ 3109285 h 4232411"/>
                <a:gd name="connsiteX789" fmla="*/ 2691628 w 5248218"/>
                <a:gd name="connsiteY789" fmla="*/ 2503387 h 4232411"/>
                <a:gd name="connsiteX790" fmla="*/ 2721183 w 5248218"/>
                <a:gd name="connsiteY790" fmla="*/ 2532942 h 4232411"/>
                <a:gd name="connsiteX791" fmla="*/ 2750739 w 5248218"/>
                <a:gd name="connsiteY791" fmla="*/ 2503387 h 4232411"/>
                <a:gd name="connsiteX792" fmla="*/ 2721183 w 5248218"/>
                <a:gd name="connsiteY792" fmla="*/ 2473831 h 4232411"/>
                <a:gd name="connsiteX793" fmla="*/ 2691628 w 5248218"/>
                <a:gd name="connsiteY793" fmla="*/ 2503387 h 4232411"/>
                <a:gd name="connsiteX794" fmla="*/ 2667613 w 5248218"/>
                <a:gd name="connsiteY794" fmla="*/ 1895645 h 4232411"/>
                <a:gd name="connsiteX795" fmla="*/ 2673894 w 5248218"/>
                <a:gd name="connsiteY795" fmla="*/ 1897492 h 4232411"/>
                <a:gd name="connsiteX796" fmla="*/ 2679805 w 5248218"/>
                <a:gd name="connsiteY796" fmla="*/ 1891580 h 4232411"/>
                <a:gd name="connsiteX797" fmla="*/ 2673894 w 5248218"/>
                <a:gd name="connsiteY797" fmla="*/ 1885669 h 4232411"/>
                <a:gd name="connsiteX798" fmla="*/ 2667983 w 5248218"/>
                <a:gd name="connsiteY798" fmla="*/ 1891580 h 4232411"/>
                <a:gd name="connsiteX799" fmla="*/ 2667613 w 5248218"/>
                <a:gd name="connsiteY799" fmla="*/ 1895645 h 4232411"/>
                <a:gd name="connsiteX800" fmla="*/ 2662072 w 5248218"/>
                <a:gd name="connsiteY800" fmla="*/ 3325045 h 4232411"/>
                <a:gd name="connsiteX801" fmla="*/ 2727095 w 5248218"/>
                <a:gd name="connsiteY801" fmla="*/ 3390068 h 4232411"/>
                <a:gd name="connsiteX802" fmla="*/ 2792118 w 5248218"/>
                <a:gd name="connsiteY802" fmla="*/ 3325045 h 4232411"/>
                <a:gd name="connsiteX803" fmla="*/ 2727095 w 5248218"/>
                <a:gd name="connsiteY803" fmla="*/ 3260022 h 4232411"/>
                <a:gd name="connsiteX804" fmla="*/ 2662072 w 5248218"/>
                <a:gd name="connsiteY804" fmla="*/ 3325045 h 4232411"/>
                <a:gd name="connsiteX805" fmla="*/ 2650249 w 5248218"/>
                <a:gd name="connsiteY805" fmla="*/ 2719146 h 4232411"/>
                <a:gd name="connsiteX806" fmla="*/ 2679805 w 5248218"/>
                <a:gd name="connsiteY806" fmla="*/ 2748702 h 4232411"/>
                <a:gd name="connsiteX807" fmla="*/ 2709361 w 5248218"/>
                <a:gd name="connsiteY807" fmla="*/ 2719146 h 4232411"/>
                <a:gd name="connsiteX808" fmla="*/ 2679805 w 5248218"/>
                <a:gd name="connsiteY808" fmla="*/ 2689591 h 4232411"/>
                <a:gd name="connsiteX809" fmla="*/ 2650249 w 5248218"/>
                <a:gd name="connsiteY809" fmla="*/ 2719146 h 4232411"/>
                <a:gd name="connsiteX810" fmla="*/ 2626604 w 5248218"/>
                <a:gd name="connsiteY810" fmla="*/ 3540802 h 4232411"/>
                <a:gd name="connsiteX811" fmla="*/ 2682762 w 5248218"/>
                <a:gd name="connsiteY811" fmla="*/ 3596956 h 4232411"/>
                <a:gd name="connsiteX812" fmla="*/ 2738917 w 5248218"/>
                <a:gd name="connsiteY812" fmla="*/ 3540802 h 4232411"/>
                <a:gd name="connsiteX813" fmla="*/ 2682762 w 5248218"/>
                <a:gd name="connsiteY813" fmla="*/ 3484644 h 4232411"/>
                <a:gd name="connsiteX814" fmla="*/ 2626604 w 5248218"/>
                <a:gd name="connsiteY814" fmla="*/ 3540802 h 4232411"/>
                <a:gd name="connsiteX815" fmla="*/ 2623650 w 5248218"/>
                <a:gd name="connsiteY815" fmla="*/ 2113252 h 4232411"/>
                <a:gd name="connsiteX816" fmla="*/ 2632516 w 5248218"/>
                <a:gd name="connsiteY816" fmla="*/ 2122117 h 4232411"/>
                <a:gd name="connsiteX817" fmla="*/ 2641384 w 5248218"/>
                <a:gd name="connsiteY817" fmla="*/ 2113252 h 4232411"/>
                <a:gd name="connsiteX818" fmla="*/ 2632516 w 5248218"/>
                <a:gd name="connsiteY818" fmla="*/ 2104383 h 4232411"/>
                <a:gd name="connsiteX819" fmla="*/ 2623650 w 5248218"/>
                <a:gd name="connsiteY819" fmla="*/ 2113252 h 4232411"/>
                <a:gd name="connsiteX820" fmla="*/ 2597049 w 5248218"/>
                <a:gd name="connsiteY820" fmla="*/ 2937860 h 4232411"/>
                <a:gd name="connsiteX821" fmla="*/ 2638427 w 5248218"/>
                <a:gd name="connsiteY821" fmla="*/ 2979239 h 4232411"/>
                <a:gd name="connsiteX822" fmla="*/ 2679805 w 5248218"/>
                <a:gd name="connsiteY822" fmla="*/ 2937860 h 4232411"/>
                <a:gd name="connsiteX823" fmla="*/ 2638427 w 5248218"/>
                <a:gd name="connsiteY823" fmla="*/ 2896482 h 4232411"/>
                <a:gd name="connsiteX824" fmla="*/ 2597049 w 5248218"/>
                <a:gd name="connsiteY824" fmla="*/ 2937860 h 4232411"/>
                <a:gd name="connsiteX825" fmla="*/ 2591137 w 5248218"/>
                <a:gd name="connsiteY825" fmla="*/ 3750650 h 4232411"/>
                <a:gd name="connsiteX826" fmla="*/ 2638427 w 5248218"/>
                <a:gd name="connsiteY826" fmla="*/ 3797940 h 4232411"/>
                <a:gd name="connsiteX827" fmla="*/ 2685716 w 5248218"/>
                <a:gd name="connsiteY827" fmla="*/ 3750650 h 4232411"/>
                <a:gd name="connsiteX828" fmla="*/ 2638427 w 5248218"/>
                <a:gd name="connsiteY828" fmla="*/ 3703361 h 4232411"/>
                <a:gd name="connsiteX829" fmla="*/ 2591137 w 5248218"/>
                <a:gd name="connsiteY829" fmla="*/ 3750650 h 4232411"/>
                <a:gd name="connsiteX830" fmla="*/ 2579315 w 5248218"/>
                <a:gd name="connsiteY830" fmla="*/ 2334920 h 4232411"/>
                <a:gd name="connsiteX831" fmla="*/ 2591137 w 5248218"/>
                <a:gd name="connsiteY831" fmla="*/ 2346742 h 4232411"/>
                <a:gd name="connsiteX832" fmla="*/ 2602960 w 5248218"/>
                <a:gd name="connsiteY832" fmla="*/ 2334920 h 4232411"/>
                <a:gd name="connsiteX833" fmla="*/ 2591137 w 5248218"/>
                <a:gd name="connsiteY833" fmla="*/ 2323097 h 4232411"/>
                <a:gd name="connsiteX834" fmla="*/ 2579315 w 5248218"/>
                <a:gd name="connsiteY834" fmla="*/ 2334920 h 4232411"/>
                <a:gd name="connsiteX835" fmla="*/ 2546805 w 5248218"/>
                <a:gd name="connsiteY835" fmla="*/ 3960496 h 4232411"/>
                <a:gd name="connsiteX836" fmla="*/ 2594094 w 5248218"/>
                <a:gd name="connsiteY836" fmla="*/ 4007786 h 4232411"/>
                <a:gd name="connsiteX837" fmla="*/ 2641384 w 5248218"/>
                <a:gd name="connsiteY837" fmla="*/ 3960496 h 4232411"/>
                <a:gd name="connsiteX838" fmla="*/ 2594094 w 5248218"/>
                <a:gd name="connsiteY838" fmla="*/ 3913207 h 4232411"/>
                <a:gd name="connsiteX839" fmla="*/ 2546805 w 5248218"/>
                <a:gd name="connsiteY839" fmla="*/ 3960496 h 4232411"/>
                <a:gd name="connsiteX840" fmla="*/ 2540894 w 5248218"/>
                <a:gd name="connsiteY840" fmla="*/ 3150664 h 4232411"/>
                <a:gd name="connsiteX841" fmla="*/ 2594094 w 5248218"/>
                <a:gd name="connsiteY841" fmla="*/ 3203864 h 4232411"/>
                <a:gd name="connsiteX842" fmla="*/ 2647295 w 5248218"/>
                <a:gd name="connsiteY842" fmla="*/ 3150664 h 4232411"/>
                <a:gd name="connsiteX843" fmla="*/ 2594094 w 5248218"/>
                <a:gd name="connsiteY843" fmla="*/ 3097463 h 4232411"/>
                <a:gd name="connsiteX844" fmla="*/ 2540894 w 5248218"/>
                <a:gd name="connsiteY844" fmla="*/ 3150664 h 4232411"/>
                <a:gd name="connsiteX845" fmla="*/ 2532025 w 5248218"/>
                <a:gd name="connsiteY845" fmla="*/ 2547722 h 4232411"/>
                <a:gd name="connsiteX846" fmla="*/ 2549759 w 5248218"/>
                <a:gd name="connsiteY846" fmla="*/ 2565456 h 4232411"/>
                <a:gd name="connsiteX847" fmla="*/ 2567493 w 5248218"/>
                <a:gd name="connsiteY847" fmla="*/ 2547722 h 4232411"/>
                <a:gd name="connsiteX848" fmla="*/ 2549759 w 5248218"/>
                <a:gd name="connsiteY848" fmla="*/ 2529988 h 4232411"/>
                <a:gd name="connsiteX849" fmla="*/ 2532025 w 5248218"/>
                <a:gd name="connsiteY849" fmla="*/ 2547722 h 4232411"/>
                <a:gd name="connsiteX850" fmla="*/ 2496558 w 5248218"/>
                <a:gd name="connsiteY850" fmla="*/ 1944781 h 4232411"/>
                <a:gd name="connsiteX851" fmla="*/ 2502470 w 5248218"/>
                <a:gd name="connsiteY851" fmla="*/ 1950692 h 4232411"/>
                <a:gd name="connsiteX852" fmla="*/ 2508381 w 5248218"/>
                <a:gd name="connsiteY852" fmla="*/ 1944781 h 4232411"/>
                <a:gd name="connsiteX853" fmla="*/ 2502470 w 5248218"/>
                <a:gd name="connsiteY853" fmla="*/ 1938870 h 4232411"/>
                <a:gd name="connsiteX854" fmla="*/ 2496558 w 5248218"/>
                <a:gd name="connsiteY854" fmla="*/ 1944781 h 4232411"/>
                <a:gd name="connsiteX855" fmla="*/ 2490647 w 5248218"/>
                <a:gd name="connsiteY855" fmla="*/ 3360509 h 4232411"/>
                <a:gd name="connsiteX856" fmla="*/ 2549759 w 5248218"/>
                <a:gd name="connsiteY856" fmla="*/ 3419621 h 4232411"/>
                <a:gd name="connsiteX857" fmla="*/ 2608871 w 5248218"/>
                <a:gd name="connsiteY857" fmla="*/ 3360509 h 4232411"/>
                <a:gd name="connsiteX858" fmla="*/ 2549759 w 5248218"/>
                <a:gd name="connsiteY858" fmla="*/ 3301397 h 4232411"/>
                <a:gd name="connsiteX859" fmla="*/ 2490647 w 5248218"/>
                <a:gd name="connsiteY859" fmla="*/ 3360509 h 4232411"/>
                <a:gd name="connsiteX860" fmla="*/ 2481782 w 5248218"/>
                <a:gd name="connsiteY860" fmla="*/ 2760525 h 4232411"/>
                <a:gd name="connsiteX861" fmla="*/ 2505427 w 5248218"/>
                <a:gd name="connsiteY861" fmla="*/ 2784170 h 4232411"/>
                <a:gd name="connsiteX862" fmla="*/ 2529071 w 5248218"/>
                <a:gd name="connsiteY862" fmla="*/ 2760525 h 4232411"/>
                <a:gd name="connsiteX863" fmla="*/ 2505427 w 5248218"/>
                <a:gd name="connsiteY863" fmla="*/ 2736880 h 4232411"/>
                <a:gd name="connsiteX864" fmla="*/ 2481782 w 5248218"/>
                <a:gd name="connsiteY864" fmla="*/ 2760525 h 4232411"/>
                <a:gd name="connsiteX865" fmla="*/ 2449269 w 5248218"/>
                <a:gd name="connsiteY865" fmla="*/ 2157584 h 4232411"/>
                <a:gd name="connsiteX866" fmla="*/ 2461091 w 5248218"/>
                <a:gd name="connsiteY866" fmla="*/ 2169406 h 4232411"/>
                <a:gd name="connsiteX867" fmla="*/ 2472914 w 5248218"/>
                <a:gd name="connsiteY867" fmla="*/ 2157584 h 4232411"/>
                <a:gd name="connsiteX868" fmla="*/ 2461091 w 5248218"/>
                <a:gd name="connsiteY868" fmla="*/ 2145762 h 4232411"/>
                <a:gd name="connsiteX869" fmla="*/ 2449269 w 5248218"/>
                <a:gd name="connsiteY869" fmla="*/ 2157584 h 4232411"/>
                <a:gd name="connsiteX870" fmla="*/ 2446315 w 5248218"/>
                <a:gd name="connsiteY870" fmla="*/ 3570358 h 4232411"/>
                <a:gd name="connsiteX871" fmla="*/ 2505427 w 5248218"/>
                <a:gd name="connsiteY871" fmla="*/ 3629470 h 4232411"/>
                <a:gd name="connsiteX872" fmla="*/ 2564539 w 5248218"/>
                <a:gd name="connsiteY872" fmla="*/ 3570358 h 4232411"/>
                <a:gd name="connsiteX873" fmla="*/ 2505427 w 5248218"/>
                <a:gd name="connsiteY873" fmla="*/ 3511246 h 4232411"/>
                <a:gd name="connsiteX874" fmla="*/ 2446315 w 5248218"/>
                <a:gd name="connsiteY874" fmla="*/ 3570358 h 4232411"/>
                <a:gd name="connsiteX875" fmla="*/ 2422670 w 5248218"/>
                <a:gd name="connsiteY875" fmla="*/ 2973331 h 4232411"/>
                <a:gd name="connsiteX876" fmla="*/ 2461094 w 5248218"/>
                <a:gd name="connsiteY876" fmla="*/ 3011752 h 4232411"/>
                <a:gd name="connsiteX877" fmla="*/ 2499515 w 5248218"/>
                <a:gd name="connsiteY877" fmla="*/ 2973331 h 4232411"/>
                <a:gd name="connsiteX878" fmla="*/ 2461094 w 5248218"/>
                <a:gd name="connsiteY878" fmla="*/ 2934906 h 4232411"/>
                <a:gd name="connsiteX879" fmla="*/ 2422670 w 5248218"/>
                <a:gd name="connsiteY879" fmla="*/ 2973331 h 4232411"/>
                <a:gd name="connsiteX880" fmla="*/ 2407890 w 5248218"/>
                <a:gd name="connsiteY880" fmla="*/ 2373344 h 4232411"/>
                <a:gd name="connsiteX881" fmla="*/ 2416759 w 5248218"/>
                <a:gd name="connsiteY881" fmla="*/ 2382209 h 4232411"/>
                <a:gd name="connsiteX882" fmla="*/ 2425624 w 5248218"/>
                <a:gd name="connsiteY882" fmla="*/ 2373344 h 4232411"/>
                <a:gd name="connsiteX883" fmla="*/ 2416759 w 5248218"/>
                <a:gd name="connsiteY883" fmla="*/ 2364476 h 4232411"/>
                <a:gd name="connsiteX884" fmla="*/ 2407890 w 5248218"/>
                <a:gd name="connsiteY884" fmla="*/ 2373344 h 4232411"/>
                <a:gd name="connsiteX885" fmla="*/ 2404933 w 5248218"/>
                <a:gd name="connsiteY885" fmla="*/ 3780204 h 4232411"/>
                <a:gd name="connsiteX886" fmla="*/ 2461091 w 5248218"/>
                <a:gd name="connsiteY886" fmla="*/ 3836362 h 4232411"/>
                <a:gd name="connsiteX887" fmla="*/ 2517246 w 5248218"/>
                <a:gd name="connsiteY887" fmla="*/ 3780204 h 4232411"/>
                <a:gd name="connsiteX888" fmla="*/ 2461091 w 5248218"/>
                <a:gd name="connsiteY888" fmla="*/ 3724049 h 4232411"/>
                <a:gd name="connsiteX889" fmla="*/ 2404933 w 5248218"/>
                <a:gd name="connsiteY889" fmla="*/ 3780204 h 4232411"/>
                <a:gd name="connsiteX890" fmla="*/ 2369469 w 5248218"/>
                <a:gd name="connsiteY890" fmla="*/ 3180220 h 4232411"/>
                <a:gd name="connsiteX891" fmla="*/ 2416759 w 5248218"/>
                <a:gd name="connsiteY891" fmla="*/ 3227509 h 4232411"/>
                <a:gd name="connsiteX892" fmla="*/ 2464048 w 5248218"/>
                <a:gd name="connsiteY892" fmla="*/ 3180220 h 4232411"/>
                <a:gd name="connsiteX893" fmla="*/ 2416759 w 5248218"/>
                <a:gd name="connsiteY893" fmla="*/ 3132930 h 4232411"/>
                <a:gd name="connsiteX894" fmla="*/ 2369469 w 5248218"/>
                <a:gd name="connsiteY894" fmla="*/ 3180220 h 4232411"/>
                <a:gd name="connsiteX895" fmla="*/ 2360601 w 5248218"/>
                <a:gd name="connsiteY895" fmla="*/ 3984141 h 4232411"/>
                <a:gd name="connsiteX896" fmla="*/ 2419713 w 5248218"/>
                <a:gd name="connsiteY896" fmla="*/ 4043253 h 4232411"/>
                <a:gd name="connsiteX897" fmla="*/ 2478825 w 5248218"/>
                <a:gd name="connsiteY897" fmla="*/ 3984141 h 4232411"/>
                <a:gd name="connsiteX898" fmla="*/ 2419713 w 5248218"/>
                <a:gd name="connsiteY898" fmla="*/ 3925029 h 4232411"/>
                <a:gd name="connsiteX899" fmla="*/ 2360601 w 5248218"/>
                <a:gd name="connsiteY899" fmla="*/ 3984141 h 4232411"/>
                <a:gd name="connsiteX900" fmla="*/ 2354690 w 5248218"/>
                <a:gd name="connsiteY900" fmla="*/ 2583190 h 4232411"/>
                <a:gd name="connsiteX901" fmla="*/ 2372423 w 5248218"/>
                <a:gd name="connsiteY901" fmla="*/ 2600923 h 4232411"/>
                <a:gd name="connsiteX902" fmla="*/ 2390157 w 5248218"/>
                <a:gd name="connsiteY902" fmla="*/ 2583190 h 4232411"/>
                <a:gd name="connsiteX903" fmla="*/ 2372423 w 5248218"/>
                <a:gd name="connsiteY903" fmla="*/ 2565456 h 4232411"/>
                <a:gd name="connsiteX904" fmla="*/ 2354690 w 5248218"/>
                <a:gd name="connsiteY904" fmla="*/ 2583190 h 4232411"/>
                <a:gd name="connsiteX905" fmla="*/ 2319223 w 5248218"/>
                <a:gd name="connsiteY905" fmla="*/ 1983205 h 4232411"/>
                <a:gd name="connsiteX906" fmla="*/ 2328088 w 5248218"/>
                <a:gd name="connsiteY906" fmla="*/ 1992070 h 4232411"/>
                <a:gd name="connsiteX907" fmla="*/ 2336956 w 5248218"/>
                <a:gd name="connsiteY907" fmla="*/ 1983205 h 4232411"/>
                <a:gd name="connsiteX908" fmla="*/ 2328088 w 5248218"/>
                <a:gd name="connsiteY908" fmla="*/ 1974337 h 4232411"/>
                <a:gd name="connsiteX909" fmla="*/ 2319223 w 5248218"/>
                <a:gd name="connsiteY909" fmla="*/ 1983205 h 4232411"/>
                <a:gd name="connsiteX910" fmla="*/ 2313311 w 5248218"/>
                <a:gd name="connsiteY910" fmla="*/ 3387111 h 4232411"/>
                <a:gd name="connsiteX911" fmla="*/ 2372423 w 5248218"/>
                <a:gd name="connsiteY911" fmla="*/ 3446223 h 4232411"/>
                <a:gd name="connsiteX912" fmla="*/ 2431535 w 5248218"/>
                <a:gd name="connsiteY912" fmla="*/ 3387111 h 4232411"/>
                <a:gd name="connsiteX913" fmla="*/ 2372423 w 5248218"/>
                <a:gd name="connsiteY913" fmla="*/ 3327999 h 4232411"/>
                <a:gd name="connsiteX914" fmla="*/ 2313311 w 5248218"/>
                <a:gd name="connsiteY914" fmla="*/ 3387111 h 4232411"/>
                <a:gd name="connsiteX915" fmla="*/ 2307400 w 5248218"/>
                <a:gd name="connsiteY915" fmla="*/ 2793035 h 4232411"/>
                <a:gd name="connsiteX916" fmla="*/ 2328091 w 5248218"/>
                <a:gd name="connsiteY916" fmla="*/ 2813726 h 4232411"/>
                <a:gd name="connsiteX917" fmla="*/ 2348779 w 5248218"/>
                <a:gd name="connsiteY917" fmla="*/ 2793035 h 4232411"/>
                <a:gd name="connsiteX918" fmla="*/ 2328091 w 5248218"/>
                <a:gd name="connsiteY918" fmla="*/ 2772348 h 4232411"/>
                <a:gd name="connsiteX919" fmla="*/ 2307400 w 5248218"/>
                <a:gd name="connsiteY919" fmla="*/ 2793035 h 4232411"/>
                <a:gd name="connsiteX920" fmla="*/ 2271933 w 5248218"/>
                <a:gd name="connsiteY920" fmla="*/ 2193051 h 4232411"/>
                <a:gd name="connsiteX921" fmla="*/ 2283756 w 5248218"/>
                <a:gd name="connsiteY921" fmla="*/ 2204873 h 4232411"/>
                <a:gd name="connsiteX922" fmla="*/ 2295578 w 5248218"/>
                <a:gd name="connsiteY922" fmla="*/ 2193051 h 4232411"/>
                <a:gd name="connsiteX923" fmla="*/ 2283756 w 5248218"/>
                <a:gd name="connsiteY923" fmla="*/ 2181228 h 4232411"/>
                <a:gd name="connsiteX924" fmla="*/ 2271933 w 5248218"/>
                <a:gd name="connsiteY924" fmla="*/ 2193051 h 4232411"/>
                <a:gd name="connsiteX925" fmla="*/ 2266022 w 5248218"/>
                <a:gd name="connsiteY925" fmla="*/ 3594006 h 4232411"/>
                <a:gd name="connsiteX926" fmla="*/ 2328091 w 5248218"/>
                <a:gd name="connsiteY926" fmla="*/ 3656072 h 4232411"/>
                <a:gd name="connsiteX927" fmla="*/ 2390157 w 5248218"/>
                <a:gd name="connsiteY927" fmla="*/ 3594006 h 4232411"/>
                <a:gd name="connsiteX928" fmla="*/ 2328091 w 5248218"/>
                <a:gd name="connsiteY928" fmla="*/ 3531936 h 4232411"/>
                <a:gd name="connsiteX929" fmla="*/ 2266022 w 5248218"/>
                <a:gd name="connsiteY929" fmla="*/ 3594006 h 4232411"/>
                <a:gd name="connsiteX930" fmla="*/ 2245334 w 5248218"/>
                <a:gd name="connsiteY930" fmla="*/ 2996972 h 4232411"/>
                <a:gd name="connsiteX931" fmla="*/ 2283756 w 5248218"/>
                <a:gd name="connsiteY931" fmla="*/ 3035397 h 4232411"/>
                <a:gd name="connsiteX932" fmla="*/ 2322180 w 5248218"/>
                <a:gd name="connsiteY932" fmla="*/ 2996972 h 4232411"/>
                <a:gd name="connsiteX933" fmla="*/ 2283756 w 5248218"/>
                <a:gd name="connsiteY933" fmla="*/ 2958552 h 4232411"/>
                <a:gd name="connsiteX934" fmla="*/ 2245334 w 5248218"/>
                <a:gd name="connsiteY934" fmla="*/ 2996972 h 4232411"/>
                <a:gd name="connsiteX935" fmla="*/ 2227598 w 5248218"/>
                <a:gd name="connsiteY935" fmla="*/ 3797937 h 4232411"/>
                <a:gd name="connsiteX936" fmla="*/ 2283756 w 5248218"/>
                <a:gd name="connsiteY936" fmla="*/ 3854095 h 4232411"/>
                <a:gd name="connsiteX937" fmla="*/ 2339910 w 5248218"/>
                <a:gd name="connsiteY937" fmla="*/ 3797937 h 4232411"/>
                <a:gd name="connsiteX938" fmla="*/ 2283756 w 5248218"/>
                <a:gd name="connsiteY938" fmla="*/ 3741782 h 4232411"/>
                <a:gd name="connsiteX939" fmla="*/ 2227598 w 5248218"/>
                <a:gd name="connsiteY939" fmla="*/ 3797937 h 4232411"/>
                <a:gd name="connsiteX940" fmla="*/ 2224644 w 5248218"/>
                <a:gd name="connsiteY940" fmla="*/ 2399942 h 4232411"/>
                <a:gd name="connsiteX941" fmla="*/ 2239423 w 5248218"/>
                <a:gd name="connsiteY941" fmla="*/ 2414719 h 4232411"/>
                <a:gd name="connsiteX942" fmla="*/ 2254200 w 5248218"/>
                <a:gd name="connsiteY942" fmla="*/ 2399942 h 4232411"/>
                <a:gd name="connsiteX943" fmla="*/ 2239423 w 5248218"/>
                <a:gd name="connsiteY943" fmla="*/ 2385163 h 4232411"/>
                <a:gd name="connsiteX944" fmla="*/ 2224644 w 5248218"/>
                <a:gd name="connsiteY944" fmla="*/ 2399942 h 4232411"/>
                <a:gd name="connsiteX945" fmla="*/ 2192134 w 5248218"/>
                <a:gd name="connsiteY945" fmla="*/ 1802916 h 4232411"/>
                <a:gd name="connsiteX946" fmla="*/ 2195088 w 5248218"/>
                <a:gd name="connsiteY946" fmla="*/ 1805870 h 4232411"/>
                <a:gd name="connsiteX947" fmla="*/ 2198045 w 5248218"/>
                <a:gd name="connsiteY947" fmla="*/ 1802916 h 4232411"/>
                <a:gd name="connsiteX948" fmla="*/ 2195088 w 5248218"/>
                <a:gd name="connsiteY948" fmla="*/ 1799958 h 4232411"/>
                <a:gd name="connsiteX949" fmla="*/ 2192134 w 5248218"/>
                <a:gd name="connsiteY949" fmla="*/ 1802916 h 4232411"/>
                <a:gd name="connsiteX950" fmla="*/ 2189176 w 5248218"/>
                <a:gd name="connsiteY950" fmla="*/ 4205812 h 4232411"/>
                <a:gd name="connsiteX951" fmla="*/ 2195088 w 5248218"/>
                <a:gd name="connsiteY951" fmla="*/ 4211724 h 4232411"/>
                <a:gd name="connsiteX952" fmla="*/ 2200999 w 5248218"/>
                <a:gd name="connsiteY952" fmla="*/ 4205812 h 4232411"/>
                <a:gd name="connsiteX953" fmla="*/ 2195088 w 5248218"/>
                <a:gd name="connsiteY953" fmla="*/ 4199901 h 4232411"/>
                <a:gd name="connsiteX954" fmla="*/ 2189176 w 5248218"/>
                <a:gd name="connsiteY954" fmla="*/ 4205812 h 4232411"/>
                <a:gd name="connsiteX955" fmla="*/ 2186222 w 5248218"/>
                <a:gd name="connsiteY955" fmla="*/ 3200910 h 4232411"/>
                <a:gd name="connsiteX956" fmla="*/ 2239423 w 5248218"/>
                <a:gd name="connsiteY956" fmla="*/ 3254111 h 4232411"/>
                <a:gd name="connsiteX957" fmla="*/ 2292624 w 5248218"/>
                <a:gd name="connsiteY957" fmla="*/ 3200910 h 4232411"/>
                <a:gd name="connsiteX958" fmla="*/ 2239423 w 5248218"/>
                <a:gd name="connsiteY958" fmla="*/ 3147710 h 4232411"/>
                <a:gd name="connsiteX959" fmla="*/ 2186222 w 5248218"/>
                <a:gd name="connsiteY959" fmla="*/ 3200910 h 4232411"/>
                <a:gd name="connsiteX960" fmla="*/ 2180311 w 5248218"/>
                <a:gd name="connsiteY960" fmla="*/ 4004832 h 4232411"/>
                <a:gd name="connsiteX961" fmla="*/ 2239423 w 5248218"/>
                <a:gd name="connsiteY961" fmla="*/ 4063944 h 4232411"/>
                <a:gd name="connsiteX962" fmla="*/ 2298535 w 5248218"/>
                <a:gd name="connsiteY962" fmla="*/ 4004832 h 4232411"/>
                <a:gd name="connsiteX963" fmla="*/ 2239423 w 5248218"/>
                <a:gd name="connsiteY963" fmla="*/ 3945720 h 4232411"/>
                <a:gd name="connsiteX964" fmla="*/ 2180311 w 5248218"/>
                <a:gd name="connsiteY964" fmla="*/ 4004832 h 4232411"/>
                <a:gd name="connsiteX965" fmla="*/ 2174397 w 5248218"/>
                <a:gd name="connsiteY965" fmla="*/ 2606834 h 4232411"/>
                <a:gd name="connsiteX966" fmla="*/ 2195088 w 5248218"/>
                <a:gd name="connsiteY966" fmla="*/ 2627525 h 4232411"/>
                <a:gd name="connsiteX967" fmla="*/ 2215775 w 5248218"/>
                <a:gd name="connsiteY967" fmla="*/ 2606834 h 4232411"/>
                <a:gd name="connsiteX968" fmla="*/ 2195088 w 5248218"/>
                <a:gd name="connsiteY968" fmla="*/ 2586146 h 4232411"/>
                <a:gd name="connsiteX969" fmla="*/ 2174397 w 5248218"/>
                <a:gd name="connsiteY969" fmla="*/ 2606834 h 4232411"/>
                <a:gd name="connsiteX970" fmla="*/ 2144841 w 5248218"/>
                <a:gd name="connsiteY970" fmla="*/ 2009804 h 4232411"/>
                <a:gd name="connsiteX971" fmla="*/ 2150752 w 5248218"/>
                <a:gd name="connsiteY971" fmla="*/ 2015715 h 4232411"/>
                <a:gd name="connsiteX972" fmla="*/ 2156663 w 5248218"/>
                <a:gd name="connsiteY972" fmla="*/ 2009804 h 4232411"/>
                <a:gd name="connsiteX973" fmla="*/ 2150752 w 5248218"/>
                <a:gd name="connsiteY973" fmla="*/ 2003893 h 4232411"/>
                <a:gd name="connsiteX974" fmla="*/ 2144841 w 5248218"/>
                <a:gd name="connsiteY974" fmla="*/ 2009804 h 4232411"/>
                <a:gd name="connsiteX975" fmla="*/ 2135976 w 5248218"/>
                <a:gd name="connsiteY975" fmla="*/ 3407802 h 4232411"/>
                <a:gd name="connsiteX976" fmla="*/ 2195088 w 5248218"/>
                <a:gd name="connsiteY976" fmla="*/ 3466914 h 4232411"/>
                <a:gd name="connsiteX977" fmla="*/ 2254200 w 5248218"/>
                <a:gd name="connsiteY977" fmla="*/ 3407802 h 4232411"/>
                <a:gd name="connsiteX978" fmla="*/ 2195088 w 5248218"/>
                <a:gd name="connsiteY978" fmla="*/ 3348690 h 4232411"/>
                <a:gd name="connsiteX979" fmla="*/ 2135976 w 5248218"/>
                <a:gd name="connsiteY979" fmla="*/ 3407802 h 4232411"/>
                <a:gd name="connsiteX980" fmla="*/ 2127111 w 5248218"/>
                <a:gd name="connsiteY980" fmla="*/ 2810772 h 4232411"/>
                <a:gd name="connsiteX981" fmla="*/ 2150755 w 5248218"/>
                <a:gd name="connsiteY981" fmla="*/ 2834416 h 4232411"/>
                <a:gd name="connsiteX982" fmla="*/ 2174400 w 5248218"/>
                <a:gd name="connsiteY982" fmla="*/ 2810772 h 4232411"/>
                <a:gd name="connsiteX983" fmla="*/ 2150755 w 5248218"/>
                <a:gd name="connsiteY983" fmla="*/ 2787127 h 4232411"/>
                <a:gd name="connsiteX984" fmla="*/ 2127111 w 5248218"/>
                <a:gd name="connsiteY984" fmla="*/ 2810772 h 4232411"/>
                <a:gd name="connsiteX985" fmla="*/ 2097555 w 5248218"/>
                <a:gd name="connsiteY985" fmla="*/ 2210788 h 4232411"/>
                <a:gd name="connsiteX986" fmla="*/ 2106423 w 5248218"/>
                <a:gd name="connsiteY986" fmla="*/ 2219653 h 4232411"/>
                <a:gd name="connsiteX987" fmla="*/ 2115288 w 5248218"/>
                <a:gd name="connsiteY987" fmla="*/ 2210788 h 4232411"/>
                <a:gd name="connsiteX988" fmla="*/ 2106423 w 5248218"/>
                <a:gd name="connsiteY988" fmla="*/ 2201919 h 4232411"/>
                <a:gd name="connsiteX989" fmla="*/ 2097555 w 5248218"/>
                <a:gd name="connsiteY989" fmla="*/ 2210788 h 4232411"/>
                <a:gd name="connsiteX990" fmla="*/ 2082775 w 5248218"/>
                <a:gd name="connsiteY990" fmla="*/ 3608782 h 4232411"/>
                <a:gd name="connsiteX991" fmla="*/ 2150755 w 5248218"/>
                <a:gd name="connsiteY991" fmla="*/ 3676760 h 4232411"/>
                <a:gd name="connsiteX992" fmla="*/ 2218732 w 5248218"/>
                <a:gd name="connsiteY992" fmla="*/ 3608782 h 4232411"/>
                <a:gd name="connsiteX993" fmla="*/ 2150755 w 5248218"/>
                <a:gd name="connsiteY993" fmla="*/ 3540802 h 4232411"/>
                <a:gd name="connsiteX994" fmla="*/ 2082775 w 5248218"/>
                <a:gd name="connsiteY994" fmla="*/ 3608782 h 4232411"/>
                <a:gd name="connsiteX995" fmla="*/ 2062087 w 5248218"/>
                <a:gd name="connsiteY995" fmla="*/ 3011752 h 4232411"/>
                <a:gd name="connsiteX996" fmla="*/ 2106423 w 5248218"/>
                <a:gd name="connsiteY996" fmla="*/ 3056084 h 4232411"/>
                <a:gd name="connsiteX997" fmla="*/ 2150755 w 5248218"/>
                <a:gd name="connsiteY997" fmla="*/ 3011752 h 4232411"/>
                <a:gd name="connsiteX998" fmla="*/ 2106423 w 5248218"/>
                <a:gd name="connsiteY998" fmla="*/ 2967416 h 4232411"/>
                <a:gd name="connsiteX999" fmla="*/ 2062087 w 5248218"/>
                <a:gd name="connsiteY999" fmla="*/ 3011752 h 4232411"/>
                <a:gd name="connsiteX1000" fmla="*/ 2050262 w 5248218"/>
                <a:gd name="connsiteY1000" fmla="*/ 2414722 h 4232411"/>
                <a:gd name="connsiteX1001" fmla="*/ 2062084 w 5248218"/>
                <a:gd name="connsiteY1001" fmla="*/ 2426544 h 4232411"/>
                <a:gd name="connsiteX1002" fmla="*/ 2073907 w 5248218"/>
                <a:gd name="connsiteY1002" fmla="*/ 2414722 h 4232411"/>
                <a:gd name="connsiteX1003" fmla="*/ 2062084 w 5248218"/>
                <a:gd name="connsiteY1003" fmla="*/ 2402900 h 4232411"/>
                <a:gd name="connsiteX1004" fmla="*/ 2050262 w 5248218"/>
                <a:gd name="connsiteY1004" fmla="*/ 2414722 h 4232411"/>
                <a:gd name="connsiteX1005" fmla="*/ 2047308 w 5248218"/>
                <a:gd name="connsiteY1005" fmla="*/ 3812716 h 4232411"/>
                <a:gd name="connsiteX1006" fmla="*/ 2106420 w 5248218"/>
                <a:gd name="connsiteY1006" fmla="*/ 3871828 h 4232411"/>
                <a:gd name="connsiteX1007" fmla="*/ 2165532 w 5248218"/>
                <a:gd name="connsiteY1007" fmla="*/ 3812716 h 4232411"/>
                <a:gd name="connsiteX1008" fmla="*/ 2106420 w 5248218"/>
                <a:gd name="connsiteY1008" fmla="*/ 3753604 h 4232411"/>
                <a:gd name="connsiteX1009" fmla="*/ 2047308 w 5248218"/>
                <a:gd name="connsiteY1009" fmla="*/ 3812716 h 4232411"/>
                <a:gd name="connsiteX1010" fmla="*/ 2008887 w 5248218"/>
                <a:gd name="connsiteY1010" fmla="*/ 3215686 h 4232411"/>
                <a:gd name="connsiteX1011" fmla="*/ 2062087 w 5248218"/>
                <a:gd name="connsiteY1011" fmla="*/ 3268888 h 4232411"/>
                <a:gd name="connsiteX1012" fmla="*/ 2115288 w 5248218"/>
                <a:gd name="connsiteY1012" fmla="*/ 3215686 h 4232411"/>
                <a:gd name="connsiteX1013" fmla="*/ 2062087 w 5248218"/>
                <a:gd name="connsiteY1013" fmla="*/ 3162486 h 4232411"/>
                <a:gd name="connsiteX1014" fmla="*/ 2008887 w 5248218"/>
                <a:gd name="connsiteY1014" fmla="*/ 3215686 h 4232411"/>
                <a:gd name="connsiteX1015" fmla="*/ 2005929 w 5248218"/>
                <a:gd name="connsiteY1015" fmla="*/ 4010740 h 4232411"/>
                <a:gd name="connsiteX1016" fmla="*/ 2062087 w 5248218"/>
                <a:gd name="connsiteY1016" fmla="*/ 4066898 h 4232411"/>
                <a:gd name="connsiteX1017" fmla="*/ 2118242 w 5248218"/>
                <a:gd name="connsiteY1017" fmla="*/ 4010740 h 4232411"/>
                <a:gd name="connsiteX1018" fmla="*/ 2062087 w 5248218"/>
                <a:gd name="connsiteY1018" fmla="*/ 3954585 h 4232411"/>
                <a:gd name="connsiteX1019" fmla="*/ 2005929 w 5248218"/>
                <a:gd name="connsiteY1019" fmla="*/ 4010740 h 4232411"/>
                <a:gd name="connsiteX1020" fmla="*/ 2002975 w 5248218"/>
                <a:gd name="connsiteY1020" fmla="*/ 2618660 h 4232411"/>
                <a:gd name="connsiteX1021" fmla="*/ 2017755 w 5248218"/>
                <a:gd name="connsiteY1021" fmla="*/ 2633436 h 4232411"/>
                <a:gd name="connsiteX1022" fmla="*/ 2032531 w 5248218"/>
                <a:gd name="connsiteY1022" fmla="*/ 2618660 h 4232411"/>
                <a:gd name="connsiteX1023" fmla="*/ 2017755 w 5248218"/>
                <a:gd name="connsiteY1023" fmla="*/ 2603880 h 4232411"/>
                <a:gd name="connsiteX1024" fmla="*/ 2002975 w 5248218"/>
                <a:gd name="connsiteY1024" fmla="*/ 2618660 h 4232411"/>
                <a:gd name="connsiteX1025" fmla="*/ 1997061 w 5248218"/>
                <a:gd name="connsiteY1025" fmla="*/ 4211720 h 4232411"/>
                <a:gd name="connsiteX1026" fmla="*/ 2017752 w 5248218"/>
                <a:gd name="connsiteY1026" fmla="*/ 4232411 h 4232411"/>
                <a:gd name="connsiteX1027" fmla="*/ 2038440 w 5248218"/>
                <a:gd name="connsiteY1027" fmla="*/ 4211720 h 4232411"/>
                <a:gd name="connsiteX1028" fmla="*/ 2017752 w 5248218"/>
                <a:gd name="connsiteY1028" fmla="*/ 4191032 h 4232411"/>
                <a:gd name="connsiteX1029" fmla="*/ 1997061 w 5248218"/>
                <a:gd name="connsiteY1029" fmla="*/ 4211720 h 4232411"/>
                <a:gd name="connsiteX1030" fmla="*/ 1967138 w 5248218"/>
                <a:gd name="connsiteY1030" fmla="*/ 2025691 h 4232411"/>
                <a:gd name="connsiteX1031" fmla="*/ 1973420 w 5248218"/>
                <a:gd name="connsiteY1031" fmla="*/ 2027538 h 4232411"/>
                <a:gd name="connsiteX1032" fmla="*/ 1979331 w 5248218"/>
                <a:gd name="connsiteY1032" fmla="*/ 2021626 h 4232411"/>
                <a:gd name="connsiteX1033" fmla="*/ 1973420 w 5248218"/>
                <a:gd name="connsiteY1033" fmla="*/ 2015715 h 4232411"/>
                <a:gd name="connsiteX1034" fmla="*/ 1967508 w 5248218"/>
                <a:gd name="connsiteY1034" fmla="*/ 2021626 h 4232411"/>
                <a:gd name="connsiteX1035" fmla="*/ 1967138 w 5248218"/>
                <a:gd name="connsiteY1035" fmla="*/ 2025691 h 4232411"/>
                <a:gd name="connsiteX1036" fmla="*/ 1961594 w 5248218"/>
                <a:gd name="connsiteY1036" fmla="*/ 3416667 h 4232411"/>
                <a:gd name="connsiteX1037" fmla="*/ 2017752 w 5248218"/>
                <a:gd name="connsiteY1037" fmla="*/ 3472822 h 4232411"/>
                <a:gd name="connsiteX1038" fmla="*/ 2073907 w 5248218"/>
                <a:gd name="connsiteY1038" fmla="*/ 3416667 h 4232411"/>
                <a:gd name="connsiteX1039" fmla="*/ 2017752 w 5248218"/>
                <a:gd name="connsiteY1039" fmla="*/ 3360509 h 4232411"/>
                <a:gd name="connsiteX1040" fmla="*/ 1961594 w 5248218"/>
                <a:gd name="connsiteY1040" fmla="*/ 3416667 h 4232411"/>
                <a:gd name="connsiteX1041" fmla="*/ 1946818 w 5248218"/>
                <a:gd name="connsiteY1041" fmla="*/ 2816683 h 4232411"/>
                <a:gd name="connsiteX1042" fmla="*/ 1973420 w 5248218"/>
                <a:gd name="connsiteY1042" fmla="*/ 2843282 h 4232411"/>
                <a:gd name="connsiteX1043" fmla="*/ 2000018 w 5248218"/>
                <a:gd name="connsiteY1043" fmla="*/ 2816683 h 4232411"/>
                <a:gd name="connsiteX1044" fmla="*/ 1973420 w 5248218"/>
                <a:gd name="connsiteY1044" fmla="*/ 2790081 h 4232411"/>
                <a:gd name="connsiteX1045" fmla="*/ 1946818 w 5248218"/>
                <a:gd name="connsiteY1045" fmla="*/ 2816683 h 4232411"/>
                <a:gd name="connsiteX1046" fmla="*/ 1917262 w 5248218"/>
                <a:gd name="connsiteY1046" fmla="*/ 2219653 h 4232411"/>
                <a:gd name="connsiteX1047" fmla="*/ 1926130 w 5248218"/>
                <a:gd name="connsiteY1047" fmla="*/ 2228518 h 4232411"/>
                <a:gd name="connsiteX1048" fmla="*/ 1934995 w 5248218"/>
                <a:gd name="connsiteY1048" fmla="*/ 2219653 h 4232411"/>
                <a:gd name="connsiteX1049" fmla="*/ 1926130 w 5248218"/>
                <a:gd name="connsiteY1049" fmla="*/ 2210784 h 4232411"/>
                <a:gd name="connsiteX1050" fmla="*/ 1917262 w 5248218"/>
                <a:gd name="connsiteY1050" fmla="*/ 2219653 h 4232411"/>
                <a:gd name="connsiteX1051" fmla="*/ 1905439 w 5248218"/>
                <a:gd name="connsiteY1051" fmla="*/ 3614694 h 4232411"/>
                <a:gd name="connsiteX1052" fmla="*/ 1973420 w 5248218"/>
                <a:gd name="connsiteY1052" fmla="*/ 3682670 h 4232411"/>
                <a:gd name="connsiteX1053" fmla="*/ 2041397 w 5248218"/>
                <a:gd name="connsiteY1053" fmla="*/ 3614694 h 4232411"/>
                <a:gd name="connsiteX1054" fmla="*/ 1973420 w 5248218"/>
                <a:gd name="connsiteY1054" fmla="*/ 3546713 h 4232411"/>
                <a:gd name="connsiteX1055" fmla="*/ 1905439 w 5248218"/>
                <a:gd name="connsiteY1055" fmla="*/ 3614694 h 4232411"/>
                <a:gd name="connsiteX1056" fmla="*/ 1881795 w 5248218"/>
                <a:gd name="connsiteY1056" fmla="*/ 3017664 h 4232411"/>
                <a:gd name="connsiteX1057" fmla="*/ 1926130 w 5248218"/>
                <a:gd name="connsiteY1057" fmla="*/ 3061996 h 4232411"/>
                <a:gd name="connsiteX1058" fmla="*/ 1970462 w 5248218"/>
                <a:gd name="connsiteY1058" fmla="*/ 3017664 h 4232411"/>
                <a:gd name="connsiteX1059" fmla="*/ 1926130 w 5248218"/>
                <a:gd name="connsiteY1059" fmla="*/ 2973328 h 4232411"/>
                <a:gd name="connsiteX1060" fmla="*/ 1881795 w 5248218"/>
                <a:gd name="connsiteY1060" fmla="*/ 3017664 h 4232411"/>
                <a:gd name="connsiteX1061" fmla="*/ 1869972 w 5248218"/>
                <a:gd name="connsiteY1061" fmla="*/ 2417676 h 4232411"/>
                <a:gd name="connsiteX1062" fmla="*/ 1881795 w 5248218"/>
                <a:gd name="connsiteY1062" fmla="*/ 2429498 h 4232411"/>
                <a:gd name="connsiteX1063" fmla="*/ 1893617 w 5248218"/>
                <a:gd name="connsiteY1063" fmla="*/ 2417676 h 4232411"/>
                <a:gd name="connsiteX1064" fmla="*/ 1881795 w 5248218"/>
                <a:gd name="connsiteY1064" fmla="*/ 2405854 h 4232411"/>
                <a:gd name="connsiteX1065" fmla="*/ 1869972 w 5248218"/>
                <a:gd name="connsiteY1065" fmla="*/ 2417676 h 4232411"/>
                <a:gd name="connsiteX1066" fmla="*/ 1867018 w 5248218"/>
                <a:gd name="connsiteY1066" fmla="*/ 3815674 h 4232411"/>
                <a:gd name="connsiteX1067" fmla="*/ 1926130 w 5248218"/>
                <a:gd name="connsiteY1067" fmla="*/ 3874786 h 4232411"/>
                <a:gd name="connsiteX1068" fmla="*/ 1985242 w 5248218"/>
                <a:gd name="connsiteY1068" fmla="*/ 3815674 h 4232411"/>
                <a:gd name="connsiteX1069" fmla="*/ 1926130 w 5248218"/>
                <a:gd name="connsiteY1069" fmla="*/ 3756562 h 4232411"/>
                <a:gd name="connsiteX1070" fmla="*/ 1867018 w 5248218"/>
                <a:gd name="connsiteY1070" fmla="*/ 3815674 h 4232411"/>
                <a:gd name="connsiteX1071" fmla="*/ 1828594 w 5248218"/>
                <a:gd name="connsiteY1071" fmla="*/ 3218644 h 4232411"/>
                <a:gd name="connsiteX1072" fmla="*/ 1881795 w 5248218"/>
                <a:gd name="connsiteY1072" fmla="*/ 3271844 h 4232411"/>
                <a:gd name="connsiteX1073" fmla="*/ 1934995 w 5248218"/>
                <a:gd name="connsiteY1073" fmla="*/ 3218644 h 4232411"/>
                <a:gd name="connsiteX1074" fmla="*/ 1881795 w 5248218"/>
                <a:gd name="connsiteY1074" fmla="*/ 3165443 h 4232411"/>
                <a:gd name="connsiteX1075" fmla="*/ 1828594 w 5248218"/>
                <a:gd name="connsiteY1075" fmla="*/ 3218644 h 4232411"/>
                <a:gd name="connsiteX1076" fmla="*/ 1825640 w 5248218"/>
                <a:gd name="connsiteY1076" fmla="*/ 4013697 h 4232411"/>
                <a:gd name="connsiteX1077" fmla="*/ 1881795 w 5248218"/>
                <a:gd name="connsiteY1077" fmla="*/ 4069852 h 4232411"/>
                <a:gd name="connsiteX1078" fmla="*/ 1937952 w 5248218"/>
                <a:gd name="connsiteY1078" fmla="*/ 4013697 h 4232411"/>
                <a:gd name="connsiteX1079" fmla="*/ 1881795 w 5248218"/>
                <a:gd name="connsiteY1079" fmla="*/ 3957539 h 4232411"/>
                <a:gd name="connsiteX1080" fmla="*/ 1825640 w 5248218"/>
                <a:gd name="connsiteY1080" fmla="*/ 4013697 h 4232411"/>
                <a:gd name="connsiteX1081" fmla="*/ 1816771 w 5248218"/>
                <a:gd name="connsiteY1081" fmla="*/ 4211724 h 4232411"/>
                <a:gd name="connsiteX1082" fmla="*/ 1837462 w 5248218"/>
                <a:gd name="connsiteY1082" fmla="*/ 4232411 h 4232411"/>
                <a:gd name="connsiteX1083" fmla="*/ 1858150 w 5248218"/>
                <a:gd name="connsiteY1083" fmla="*/ 4211724 h 4232411"/>
                <a:gd name="connsiteX1084" fmla="*/ 1837462 w 5248218"/>
                <a:gd name="connsiteY1084" fmla="*/ 4191032 h 4232411"/>
                <a:gd name="connsiteX1085" fmla="*/ 1816771 w 5248218"/>
                <a:gd name="connsiteY1085" fmla="*/ 4211724 h 4232411"/>
                <a:gd name="connsiteX1086" fmla="*/ 1816771 w 5248218"/>
                <a:gd name="connsiteY1086" fmla="*/ 2618656 h 4232411"/>
                <a:gd name="connsiteX1087" fmla="*/ 1837459 w 5248218"/>
                <a:gd name="connsiteY1087" fmla="*/ 2639344 h 4232411"/>
                <a:gd name="connsiteX1088" fmla="*/ 1858150 w 5248218"/>
                <a:gd name="connsiteY1088" fmla="*/ 2618656 h 4232411"/>
                <a:gd name="connsiteX1089" fmla="*/ 1837459 w 5248218"/>
                <a:gd name="connsiteY1089" fmla="*/ 2597966 h 4232411"/>
                <a:gd name="connsiteX1090" fmla="*/ 1816771 w 5248218"/>
                <a:gd name="connsiteY1090" fmla="*/ 2618656 h 4232411"/>
                <a:gd name="connsiteX1091" fmla="*/ 1787216 w 5248218"/>
                <a:gd name="connsiteY1091" fmla="*/ 2015715 h 4232411"/>
                <a:gd name="connsiteX1092" fmla="*/ 1793127 w 5248218"/>
                <a:gd name="connsiteY1092" fmla="*/ 2021626 h 4232411"/>
                <a:gd name="connsiteX1093" fmla="*/ 1799038 w 5248218"/>
                <a:gd name="connsiteY1093" fmla="*/ 2015715 h 4232411"/>
                <a:gd name="connsiteX1094" fmla="*/ 1793127 w 5248218"/>
                <a:gd name="connsiteY1094" fmla="*/ 2009804 h 4232411"/>
                <a:gd name="connsiteX1095" fmla="*/ 1787216 w 5248218"/>
                <a:gd name="connsiteY1095" fmla="*/ 2015715 h 4232411"/>
                <a:gd name="connsiteX1096" fmla="*/ 1775393 w 5248218"/>
                <a:gd name="connsiteY1096" fmla="*/ 3416670 h 4232411"/>
                <a:gd name="connsiteX1097" fmla="*/ 1837462 w 5248218"/>
                <a:gd name="connsiteY1097" fmla="*/ 3478736 h 4232411"/>
                <a:gd name="connsiteX1098" fmla="*/ 1899528 w 5248218"/>
                <a:gd name="connsiteY1098" fmla="*/ 3416670 h 4232411"/>
                <a:gd name="connsiteX1099" fmla="*/ 1837462 w 5248218"/>
                <a:gd name="connsiteY1099" fmla="*/ 3354601 h 4232411"/>
                <a:gd name="connsiteX1100" fmla="*/ 1775393 w 5248218"/>
                <a:gd name="connsiteY1100" fmla="*/ 3416670 h 4232411"/>
                <a:gd name="connsiteX1101" fmla="*/ 1760614 w 5248218"/>
                <a:gd name="connsiteY1101" fmla="*/ 2816683 h 4232411"/>
                <a:gd name="connsiteX1102" fmla="*/ 1793127 w 5248218"/>
                <a:gd name="connsiteY1102" fmla="*/ 2849193 h 4232411"/>
                <a:gd name="connsiteX1103" fmla="*/ 1825637 w 5248218"/>
                <a:gd name="connsiteY1103" fmla="*/ 2816683 h 4232411"/>
                <a:gd name="connsiteX1104" fmla="*/ 1793127 w 5248218"/>
                <a:gd name="connsiteY1104" fmla="*/ 2784170 h 4232411"/>
                <a:gd name="connsiteX1105" fmla="*/ 1760614 w 5248218"/>
                <a:gd name="connsiteY1105" fmla="*/ 2816683 h 4232411"/>
                <a:gd name="connsiteX1106" fmla="*/ 1736972 w 5248218"/>
                <a:gd name="connsiteY1106" fmla="*/ 2213742 h 4232411"/>
                <a:gd name="connsiteX1107" fmla="*/ 1748794 w 5248218"/>
                <a:gd name="connsiteY1107" fmla="*/ 2225564 h 4232411"/>
                <a:gd name="connsiteX1108" fmla="*/ 1760616 w 5248218"/>
                <a:gd name="connsiteY1108" fmla="*/ 2213742 h 4232411"/>
                <a:gd name="connsiteX1109" fmla="*/ 1748794 w 5248218"/>
                <a:gd name="connsiteY1109" fmla="*/ 2201919 h 4232411"/>
                <a:gd name="connsiteX1110" fmla="*/ 1736972 w 5248218"/>
                <a:gd name="connsiteY1110" fmla="*/ 2213742 h 4232411"/>
                <a:gd name="connsiteX1111" fmla="*/ 1728104 w 5248218"/>
                <a:gd name="connsiteY1111" fmla="*/ 3611736 h 4232411"/>
                <a:gd name="connsiteX1112" fmla="*/ 1793127 w 5248218"/>
                <a:gd name="connsiteY1112" fmla="*/ 3676760 h 4232411"/>
                <a:gd name="connsiteX1113" fmla="*/ 1858150 w 5248218"/>
                <a:gd name="connsiteY1113" fmla="*/ 3611736 h 4232411"/>
                <a:gd name="connsiteX1114" fmla="*/ 1793127 w 5248218"/>
                <a:gd name="connsiteY1114" fmla="*/ 3546713 h 4232411"/>
                <a:gd name="connsiteX1115" fmla="*/ 1728104 w 5248218"/>
                <a:gd name="connsiteY1115" fmla="*/ 3611736 h 4232411"/>
                <a:gd name="connsiteX1116" fmla="*/ 1701502 w 5248218"/>
                <a:gd name="connsiteY1116" fmla="*/ 3011752 h 4232411"/>
                <a:gd name="connsiteX1117" fmla="*/ 1748791 w 5248218"/>
                <a:gd name="connsiteY1117" fmla="*/ 3059042 h 4232411"/>
                <a:gd name="connsiteX1118" fmla="*/ 1796081 w 5248218"/>
                <a:gd name="connsiteY1118" fmla="*/ 3011752 h 4232411"/>
                <a:gd name="connsiteX1119" fmla="*/ 1748791 w 5248218"/>
                <a:gd name="connsiteY1119" fmla="*/ 2964462 h 4232411"/>
                <a:gd name="connsiteX1120" fmla="*/ 1701502 w 5248218"/>
                <a:gd name="connsiteY1120" fmla="*/ 3011752 h 4232411"/>
                <a:gd name="connsiteX1121" fmla="*/ 1695590 w 5248218"/>
                <a:gd name="connsiteY1121" fmla="*/ 3812716 h 4232411"/>
                <a:gd name="connsiteX1122" fmla="*/ 1748791 w 5248218"/>
                <a:gd name="connsiteY1122" fmla="*/ 3865918 h 4232411"/>
                <a:gd name="connsiteX1123" fmla="*/ 1801992 w 5248218"/>
                <a:gd name="connsiteY1123" fmla="*/ 3812716 h 4232411"/>
                <a:gd name="connsiteX1124" fmla="*/ 1748791 w 5248218"/>
                <a:gd name="connsiteY1124" fmla="*/ 3759516 h 4232411"/>
                <a:gd name="connsiteX1125" fmla="*/ 1695590 w 5248218"/>
                <a:gd name="connsiteY1125" fmla="*/ 3812716 h 4232411"/>
                <a:gd name="connsiteX1126" fmla="*/ 1689682 w 5248218"/>
                <a:gd name="connsiteY1126" fmla="*/ 2408811 h 4232411"/>
                <a:gd name="connsiteX1127" fmla="*/ 1704462 w 5248218"/>
                <a:gd name="connsiteY1127" fmla="*/ 2423588 h 4232411"/>
                <a:gd name="connsiteX1128" fmla="*/ 1719238 w 5248218"/>
                <a:gd name="connsiteY1128" fmla="*/ 2408811 h 4232411"/>
                <a:gd name="connsiteX1129" fmla="*/ 1704462 w 5248218"/>
                <a:gd name="connsiteY1129" fmla="*/ 2394031 h 4232411"/>
                <a:gd name="connsiteX1130" fmla="*/ 1689682 w 5248218"/>
                <a:gd name="connsiteY1130" fmla="*/ 2408811 h 4232411"/>
                <a:gd name="connsiteX1131" fmla="*/ 1645347 w 5248218"/>
                <a:gd name="connsiteY1131" fmla="*/ 3206822 h 4232411"/>
                <a:gd name="connsiteX1132" fmla="*/ 1704459 w 5248218"/>
                <a:gd name="connsiteY1132" fmla="*/ 3265933 h 4232411"/>
                <a:gd name="connsiteX1133" fmla="*/ 1763571 w 5248218"/>
                <a:gd name="connsiteY1133" fmla="*/ 3206822 h 4232411"/>
                <a:gd name="connsiteX1134" fmla="*/ 1704459 w 5248218"/>
                <a:gd name="connsiteY1134" fmla="*/ 3147710 h 4232411"/>
                <a:gd name="connsiteX1135" fmla="*/ 1645347 w 5248218"/>
                <a:gd name="connsiteY1135" fmla="*/ 3206822 h 4232411"/>
                <a:gd name="connsiteX1136" fmla="*/ 1642390 w 5248218"/>
                <a:gd name="connsiteY1136" fmla="*/ 4202855 h 4232411"/>
                <a:gd name="connsiteX1137" fmla="*/ 1660123 w 5248218"/>
                <a:gd name="connsiteY1137" fmla="*/ 4220588 h 4232411"/>
                <a:gd name="connsiteX1138" fmla="*/ 1677857 w 5248218"/>
                <a:gd name="connsiteY1138" fmla="*/ 4202855 h 4232411"/>
                <a:gd name="connsiteX1139" fmla="*/ 1660123 w 5248218"/>
                <a:gd name="connsiteY1139" fmla="*/ 4185122 h 4232411"/>
                <a:gd name="connsiteX1140" fmla="*/ 1642390 w 5248218"/>
                <a:gd name="connsiteY1140" fmla="*/ 4202855 h 4232411"/>
                <a:gd name="connsiteX1141" fmla="*/ 1642390 w 5248218"/>
                <a:gd name="connsiteY1141" fmla="*/ 4007789 h 4232411"/>
                <a:gd name="connsiteX1142" fmla="*/ 1704459 w 5248218"/>
                <a:gd name="connsiteY1142" fmla="*/ 4069855 h 4232411"/>
                <a:gd name="connsiteX1143" fmla="*/ 1766525 w 5248218"/>
                <a:gd name="connsiteY1143" fmla="*/ 4007789 h 4232411"/>
                <a:gd name="connsiteX1144" fmla="*/ 1704459 w 5248218"/>
                <a:gd name="connsiteY1144" fmla="*/ 3945720 h 4232411"/>
                <a:gd name="connsiteX1145" fmla="*/ 1642390 w 5248218"/>
                <a:gd name="connsiteY1145" fmla="*/ 4007789 h 4232411"/>
                <a:gd name="connsiteX1146" fmla="*/ 1636479 w 5248218"/>
                <a:gd name="connsiteY1146" fmla="*/ 2606834 h 4232411"/>
                <a:gd name="connsiteX1147" fmla="*/ 1660123 w 5248218"/>
                <a:gd name="connsiteY1147" fmla="*/ 2630479 h 4232411"/>
                <a:gd name="connsiteX1148" fmla="*/ 1683768 w 5248218"/>
                <a:gd name="connsiteY1148" fmla="*/ 2606834 h 4232411"/>
                <a:gd name="connsiteX1149" fmla="*/ 1660123 w 5248218"/>
                <a:gd name="connsiteY1149" fmla="*/ 2583190 h 4232411"/>
                <a:gd name="connsiteX1150" fmla="*/ 1636479 w 5248218"/>
                <a:gd name="connsiteY1150" fmla="*/ 2606834 h 4232411"/>
                <a:gd name="connsiteX1151" fmla="*/ 1609880 w 5248218"/>
                <a:gd name="connsiteY1151" fmla="*/ 1997982 h 4232411"/>
                <a:gd name="connsiteX1152" fmla="*/ 1615791 w 5248218"/>
                <a:gd name="connsiteY1152" fmla="*/ 2003893 h 4232411"/>
                <a:gd name="connsiteX1153" fmla="*/ 1621702 w 5248218"/>
                <a:gd name="connsiteY1153" fmla="*/ 1997982 h 4232411"/>
                <a:gd name="connsiteX1154" fmla="*/ 1615791 w 5248218"/>
                <a:gd name="connsiteY1154" fmla="*/ 1992070 h 4232411"/>
                <a:gd name="connsiteX1155" fmla="*/ 1609880 w 5248218"/>
                <a:gd name="connsiteY1155" fmla="*/ 1997982 h 4232411"/>
                <a:gd name="connsiteX1156" fmla="*/ 1601015 w 5248218"/>
                <a:gd name="connsiteY1156" fmla="*/ 3404844 h 4232411"/>
                <a:gd name="connsiteX1157" fmla="*/ 1660127 w 5248218"/>
                <a:gd name="connsiteY1157" fmla="*/ 3463956 h 4232411"/>
                <a:gd name="connsiteX1158" fmla="*/ 1719238 w 5248218"/>
                <a:gd name="connsiteY1158" fmla="*/ 3404844 h 4232411"/>
                <a:gd name="connsiteX1159" fmla="*/ 1660127 w 5248218"/>
                <a:gd name="connsiteY1159" fmla="*/ 3345732 h 4232411"/>
                <a:gd name="connsiteX1160" fmla="*/ 1601015 w 5248218"/>
                <a:gd name="connsiteY1160" fmla="*/ 3404844 h 4232411"/>
                <a:gd name="connsiteX1161" fmla="*/ 1583278 w 5248218"/>
                <a:gd name="connsiteY1161" fmla="*/ 2801904 h 4232411"/>
                <a:gd name="connsiteX1162" fmla="*/ 1615791 w 5248218"/>
                <a:gd name="connsiteY1162" fmla="*/ 2834414 h 4232411"/>
                <a:gd name="connsiteX1163" fmla="*/ 1648301 w 5248218"/>
                <a:gd name="connsiteY1163" fmla="*/ 2801904 h 4232411"/>
                <a:gd name="connsiteX1164" fmla="*/ 1615791 w 5248218"/>
                <a:gd name="connsiteY1164" fmla="*/ 2769390 h 4232411"/>
                <a:gd name="connsiteX1165" fmla="*/ 1583278 w 5248218"/>
                <a:gd name="connsiteY1165" fmla="*/ 2801904 h 4232411"/>
                <a:gd name="connsiteX1166" fmla="*/ 1568502 w 5248218"/>
                <a:gd name="connsiteY1166" fmla="*/ 3602871 h 4232411"/>
                <a:gd name="connsiteX1167" fmla="*/ 1615791 w 5248218"/>
                <a:gd name="connsiteY1167" fmla="*/ 3650160 h 4232411"/>
                <a:gd name="connsiteX1168" fmla="*/ 1663081 w 5248218"/>
                <a:gd name="connsiteY1168" fmla="*/ 3602871 h 4232411"/>
                <a:gd name="connsiteX1169" fmla="*/ 1615791 w 5248218"/>
                <a:gd name="connsiteY1169" fmla="*/ 3555582 h 4232411"/>
                <a:gd name="connsiteX1170" fmla="*/ 1568502 w 5248218"/>
                <a:gd name="connsiteY1170" fmla="*/ 3602871 h 4232411"/>
                <a:gd name="connsiteX1171" fmla="*/ 1562590 w 5248218"/>
                <a:gd name="connsiteY1171" fmla="*/ 2193051 h 4232411"/>
                <a:gd name="connsiteX1172" fmla="*/ 1571459 w 5248218"/>
                <a:gd name="connsiteY1172" fmla="*/ 2201916 h 4232411"/>
                <a:gd name="connsiteX1173" fmla="*/ 1580324 w 5248218"/>
                <a:gd name="connsiteY1173" fmla="*/ 2193051 h 4232411"/>
                <a:gd name="connsiteX1174" fmla="*/ 1571459 w 5248218"/>
                <a:gd name="connsiteY1174" fmla="*/ 2184182 h 4232411"/>
                <a:gd name="connsiteX1175" fmla="*/ 1562590 w 5248218"/>
                <a:gd name="connsiteY1175" fmla="*/ 2193051 h 4232411"/>
                <a:gd name="connsiteX1176" fmla="*/ 1527123 w 5248218"/>
                <a:gd name="connsiteY1176" fmla="*/ 2999930 h 4232411"/>
                <a:gd name="connsiteX1177" fmla="*/ 1571456 w 5248218"/>
                <a:gd name="connsiteY1177" fmla="*/ 3044262 h 4232411"/>
                <a:gd name="connsiteX1178" fmla="*/ 1615791 w 5248218"/>
                <a:gd name="connsiteY1178" fmla="*/ 2999930 h 4232411"/>
                <a:gd name="connsiteX1179" fmla="*/ 1571456 w 5248218"/>
                <a:gd name="connsiteY1179" fmla="*/ 2955594 h 4232411"/>
                <a:gd name="connsiteX1180" fmla="*/ 1527123 w 5248218"/>
                <a:gd name="connsiteY1180" fmla="*/ 2999930 h 4232411"/>
                <a:gd name="connsiteX1181" fmla="*/ 1509390 w 5248218"/>
                <a:gd name="connsiteY1181" fmla="*/ 3797940 h 4232411"/>
                <a:gd name="connsiteX1182" fmla="*/ 1571459 w 5248218"/>
                <a:gd name="connsiteY1182" fmla="*/ 3860006 h 4232411"/>
                <a:gd name="connsiteX1183" fmla="*/ 1633525 w 5248218"/>
                <a:gd name="connsiteY1183" fmla="*/ 3797940 h 4232411"/>
                <a:gd name="connsiteX1184" fmla="*/ 1571459 w 5248218"/>
                <a:gd name="connsiteY1184" fmla="*/ 3735871 h 4232411"/>
                <a:gd name="connsiteX1185" fmla="*/ 1509390 w 5248218"/>
                <a:gd name="connsiteY1185" fmla="*/ 3797940 h 4232411"/>
                <a:gd name="connsiteX1186" fmla="*/ 1509390 w 5248218"/>
                <a:gd name="connsiteY1186" fmla="*/ 2388120 h 4232411"/>
                <a:gd name="connsiteX1187" fmla="*/ 1527123 w 5248218"/>
                <a:gd name="connsiteY1187" fmla="*/ 2405854 h 4232411"/>
                <a:gd name="connsiteX1188" fmla="*/ 1544857 w 5248218"/>
                <a:gd name="connsiteY1188" fmla="*/ 2388120 h 4232411"/>
                <a:gd name="connsiteX1189" fmla="*/ 1527123 w 5248218"/>
                <a:gd name="connsiteY1189" fmla="*/ 2370386 h 4232411"/>
                <a:gd name="connsiteX1190" fmla="*/ 1509390 w 5248218"/>
                <a:gd name="connsiteY1190" fmla="*/ 2388120 h 4232411"/>
                <a:gd name="connsiteX1191" fmla="*/ 1476880 w 5248218"/>
                <a:gd name="connsiteY1191" fmla="*/ 3192042 h 4232411"/>
                <a:gd name="connsiteX1192" fmla="*/ 1527123 w 5248218"/>
                <a:gd name="connsiteY1192" fmla="*/ 3242288 h 4232411"/>
                <a:gd name="connsiteX1193" fmla="*/ 1577370 w 5248218"/>
                <a:gd name="connsiteY1193" fmla="*/ 3192042 h 4232411"/>
                <a:gd name="connsiteX1194" fmla="*/ 1527123 w 5248218"/>
                <a:gd name="connsiteY1194" fmla="*/ 3141798 h 4232411"/>
                <a:gd name="connsiteX1195" fmla="*/ 1476880 w 5248218"/>
                <a:gd name="connsiteY1195" fmla="*/ 3192042 h 4232411"/>
                <a:gd name="connsiteX1196" fmla="*/ 1462100 w 5248218"/>
                <a:gd name="connsiteY1196" fmla="*/ 4188078 h 4232411"/>
                <a:gd name="connsiteX1197" fmla="*/ 1479834 w 5248218"/>
                <a:gd name="connsiteY1197" fmla="*/ 4205812 h 4232411"/>
                <a:gd name="connsiteX1198" fmla="*/ 1497567 w 5248218"/>
                <a:gd name="connsiteY1198" fmla="*/ 4188078 h 4232411"/>
                <a:gd name="connsiteX1199" fmla="*/ 1479834 w 5248218"/>
                <a:gd name="connsiteY1199" fmla="*/ 4170345 h 4232411"/>
                <a:gd name="connsiteX1200" fmla="*/ 1462100 w 5248218"/>
                <a:gd name="connsiteY1200" fmla="*/ 4188078 h 4232411"/>
                <a:gd name="connsiteX1201" fmla="*/ 1459143 w 5248218"/>
                <a:gd name="connsiteY1201" fmla="*/ 3995964 h 4232411"/>
                <a:gd name="connsiteX1202" fmla="*/ 1524166 w 5248218"/>
                <a:gd name="connsiteY1202" fmla="*/ 4060986 h 4232411"/>
                <a:gd name="connsiteX1203" fmla="*/ 1589189 w 5248218"/>
                <a:gd name="connsiteY1203" fmla="*/ 3995964 h 4232411"/>
                <a:gd name="connsiteX1204" fmla="*/ 1524166 w 5248218"/>
                <a:gd name="connsiteY1204" fmla="*/ 3930940 h 4232411"/>
                <a:gd name="connsiteX1205" fmla="*/ 1459143 w 5248218"/>
                <a:gd name="connsiteY1205" fmla="*/ 3995964 h 4232411"/>
                <a:gd name="connsiteX1206" fmla="*/ 1459143 w 5248218"/>
                <a:gd name="connsiteY1206" fmla="*/ 2583190 h 4232411"/>
                <a:gd name="connsiteX1207" fmla="*/ 1482788 w 5248218"/>
                <a:gd name="connsiteY1207" fmla="*/ 2606834 h 4232411"/>
                <a:gd name="connsiteX1208" fmla="*/ 1506433 w 5248218"/>
                <a:gd name="connsiteY1208" fmla="*/ 2583190 h 4232411"/>
                <a:gd name="connsiteX1209" fmla="*/ 1482788 w 5248218"/>
                <a:gd name="connsiteY1209" fmla="*/ 2559544 h 4232411"/>
                <a:gd name="connsiteX1210" fmla="*/ 1459143 w 5248218"/>
                <a:gd name="connsiteY1210" fmla="*/ 2583190 h 4232411"/>
                <a:gd name="connsiteX1211" fmla="*/ 1429587 w 5248218"/>
                <a:gd name="connsiteY1211" fmla="*/ 1965472 h 4232411"/>
                <a:gd name="connsiteX1212" fmla="*/ 1438455 w 5248218"/>
                <a:gd name="connsiteY1212" fmla="*/ 1974337 h 4232411"/>
                <a:gd name="connsiteX1213" fmla="*/ 1447321 w 5248218"/>
                <a:gd name="connsiteY1213" fmla="*/ 1965472 h 4232411"/>
                <a:gd name="connsiteX1214" fmla="*/ 1438455 w 5248218"/>
                <a:gd name="connsiteY1214" fmla="*/ 1956604 h 4232411"/>
                <a:gd name="connsiteX1215" fmla="*/ 1429587 w 5248218"/>
                <a:gd name="connsiteY1215" fmla="*/ 1965472 h 4232411"/>
                <a:gd name="connsiteX1216" fmla="*/ 1420722 w 5248218"/>
                <a:gd name="connsiteY1216" fmla="*/ 3387111 h 4232411"/>
                <a:gd name="connsiteX1217" fmla="*/ 1479834 w 5248218"/>
                <a:gd name="connsiteY1217" fmla="*/ 3446223 h 4232411"/>
                <a:gd name="connsiteX1218" fmla="*/ 1538945 w 5248218"/>
                <a:gd name="connsiteY1218" fmla="*/ 3387111 h 4232411"/>
                <a:gd name="connsiteX1219" fmla="*/ 1479834 w 5248218"/>
                <a:gd name="connsiteY1219" fmla="*/ 3327999 h 4232411"/>
                <a:gd name="connsiteX1220" fmla="*/ 1420722 w 5248218"/>
                <a:gd name="connsiteY1220" fmla="*/ 3387111 h 4232411"/>
                <a:gd name="connsiteX1221" fmla="*/ 1400031 w 5248218"/>
                <a:gd name="connsiteY1221" fmla="*/ 2775302 h 4232411"/>
                <a:gd name="connsiteX1222" fmla="*/ 1438455 w 5248218"/>
                <a:gd name="connsiteY1222" fmla="*/ 2813726 h 4232411"/>
                <a:gd name="connsiteX1223" fmla="*/ 1476877 w 5248218"/>
                <a:gd name="connsiteY1223" fmla="*/ 2775302 h 4232411"/>
                <a:gd name="connsiteX1224" fmla="*/ 1438455 w 5248218"/>
                <a:gd name="connsiteY1224" fmla="*/ 2736880 h 4232411"/>
                <a:gd name="connsiteX1225" fmla="*/ 1400031 w 5248218"/>
                <a:gd name="connsiteY1225" fmla="*/ 2775302 h 4232411"/>
                <a:gd name="connsiteX1226" fmla="*/ 1382298 w 5248218"/>
                <a:gd name="connsiteY1226" fmla="*/ 3585138 h 4232411"/>
                <a:gd name="connsiteX1227" fmla="*/ 1435498 w 5248218"/>
                <a:gd name="connsiteY1227" fmla="*/ 3638338 h 4232411"/>
                <a:gd name="connsiteX1228" fmla="*/ 1488699 w 5248218"/>
                <a:gd name="connsiteY1228" fmla="*/ 3585138 h 4232411"/>
                <a:gd name="connsiteX1229" fmla="*/ 1435498 w 5248218"/>
                <a:gd name="connsiteY1229" fmla="*/ 3531936 h 4232411"/>
                <a:gd name="connsiteX1230" fmla="*/ 1382298 w 5248218"/>
                <a:gd name="connsiteY1230" fmla="*/ 3585138 h 4232411"/>
                <a:gd name="connsiteX1231" fmla="*/ 1382298 w 5248218"/>
                <a:gd name="connsiteY1231" fmla="*/ 2160538 h 4232411"/>
                <a:gd name="connsiteX1232" fmla="*/ 1394120 w 5248218"/>
                <a:gd name="connsiteY1232" fmla="*/ 2172360 h 4232411"/>
                <a:gd name="connsiteX1233" fmla="*/ 1405942 w 5248218"/>
                <a:gd name="connsiteY1233" fmla="*/ 2160538 h 4232411"/>
                <a:gd name="connsiteX1234" fmla="*/ 1394120 w 5248218"/>
                <a:gd name="connsiteY1234" fmla="*/ 2148716 h 4232411"/>
                <a:gd name="connsiteX1235" fmla="*/ 1382298 w 5248218"/>
                <a:gd name="connsiteY1235" fmla="*/ 2160538 h 4232411"/>
                <a:gd name="connsiteX1236" fmla="*/ 1340919 w 5248218"/>
                <a:gd name="connsiteY1236" fmla="*/ 2970370 h 4232411"/>
                <a:gd name="connsiteX1237" fmla="*/ 1394120 w 5248218"/>
                <a:gd name="connsiteY1237" fmla="*/ 3023572 h 4232411"/>
                <a:gd name="connsiteX1238" fmla="*/ 1447321 w 5248218"/>
                <a:gd name="connsiteY1238" fmla="*/ 2970370 h 4232411"/>
                <a:gd name="connsiteX1239" fmla="*/ 1394120 w 5248218"/>
                <a:gd name="connsiteY1239" fmla="*/ 2917170 h 4232411"/>
                <a:gd name="connsiteX1240" fmla="*/ 1340919 w 5248218"/>
                <a:gd name="connsiteY1240" fmla="*/ 2970370 h 4232411"/>
                <a:gd name="connsiteX1241" fmla="*/ 1337965 w 5248218"/>
                <a:gd name="connsiteY1241" fmla="*/ 3777250 h 4232411"/>
                <a:gd name="connsiteX1242" fmla="*/ 1391166 w 5248218"/>
                <a:gd name="connsiteY1242" fmla="*/ 3830450 h 4232411"/>
                <a:gd name="connsiteX1243" fmla="*/ 1444367 w 5248218"/>
                <a:gd name="connsiteY1243" fmla="*/ 3777250 h 4232411"/>
                <a:gd name="connsiteX1244" fmla="*/ 1391166 w 5248218"/>
                <a:gd name="connsiteY1244" fmla="*/ 3724049 h 4232411"/>
                <a:gd name="connsiteX1245" fmla="*/ 1337965 w 5248218"/>
                <a:gd name="connsiteY1245" fmla="*/ 3777250 h 4232411"/>
                <a:gd name="connsiteX1246" fmla="*/ 1335011 w 5248218"/>
                <a:gd name="connsiteY1246" fmla="*/ 2352656 h 4232411"/>
                <a:gd name="connsiteX1247" fmla="*/ 1349790 w 5248218"/>
                <a:gd name="connsiteY1247" fmla="*/ 2367432 h 4232411"/>
                <a:gd name="connsiteX1248" fmla="*/ 1364567 w 5248218"/>
                <a:gd name="connsiteY1248" fmla="*/ 2352656 h 4232411"/>
                <a:gd name="connsiteX1249" fmla="*/ 1349790 w 5248218"/>
                <a:gd name="connsiteY1249" fmla="*/ 2337876 h 4232411"/>
                <a:gd name="connsiteX1250" fmla="*/ 1335011 w 5248218"/>
                <a:gd name="connsiteY1250" fmla="*/ 2352656 h 4232411"/>
                <a:gd name="connsiteX1251" fmla="*/ 1299544 w 5248218"/>
                <a:gd name="connsiteY1251" fmla="*/ 3165443 h 4232411"/>
                <a:gd name="connsiteX1252" fmla="*/ 1349788 w 5248218"/>
                <a:gd name="connsiteY1252" fmla="*/ 3215686 h 4232411"/>
                <a:gd name="connsiteX1253" fmla="*/ 1400034 w 5248218"/>
                <a:gd name="connsiteY1253" fmla="*/ 3165443 h 4232411"/>
                <a:gd name="connsiteX1254" fmla="*/ 1349788 w 5248218"/>
                <a:gd name="connsiteY1254" fmla="*/ 3115196 h 4232411"/>
                <a:gd name="connsiteX1255" fmla="*/ 1299544 w 5248218"/>
                <a:gd name="connsiteY1255" fmla="*/ 3165443 h 4232411"/>
                <a:gd name="connsiteX1256" fmla="*/ 1284764 w 5248218"/>
                <a:gd name="connsiteY1256" fmla="*/ 4170345 h 4232411"/>
                <a:gd name="connsiteX1257" fmla="*/ 1302498 w 5248218"/>
                <a:gd name="connsiteY1257" fmla="*/ 4188078 h 4232411"/>
                <a:gd name="connsiteX1258" fmla="*/ 1320232 w 5248218"/>
                <a:gd name="connsiteY1258" fmla="*/ 4170345 h 4232411"/>
                <a:gd name="connsiteX1259" fmla="*/ 1302498 w 5248218"/>
                <a:gd name="connsiteY1259" fmla="*/ 4152612 h 4232411"/>
                <a:gd name="connsiteX1260" fmla="*/ 1284764 w 5248218"/>
                <a:gd name="connsiteY1260" fmla="*/ 4170345 h 4232411"/>
                <a:gd name="connsiteX1261" fmla="*/ 1284764 w 5248218"/>
                <a:gd name="connsiteY1261" fmla="*/ 3975276 h 4232411"/>
                <a:gd name="connsiteX1262" fmla="*/ 1346830 w 5248218"/>
                <a:gd name="connsiteY1262" fmla="*/ 4037342 h 4232411"/>
                <a:gd name="connsiteX1263" fmla="*/ 1408899 w 5248218"/>
                <a:gd name="connsiteY1263" fmla="*/ 3975276 h 4232411"/>
                <a:gd name="connsiteX1264" fmla="*/ 1346830 w 5248218"/>
                <a:gd name="connsiteY1264" fmla="*/ 3913207 h 4232411"/>
                <a:gd name="connsiteX1265" fmla="*/ 1284764 w 5248218"/>
                <a:gd name="connsiteY1265" fmla="*/ 3975276 h 4232411"/>
                <a:gd name="connsiteX1266" fmla="*/ 1278853 w 5248218"/>
                <a:gd name="connsiteY1266" fmla="*/ 2547722 h 4232411"/>
                <a:gd name="connsiteX1267" fmla="*/ 1305455 w 5248218"/>
                <a:gd name="connsiteY1267" fmla="*/ 2574324 h 4232411"/>
                <a:gd name="connsiteX1268" fmla="*/ 1332054 w 5248218"/>
                <a:gd name="connsiteY1268" fmla="*/ 2547722 h 4232411"/>
                <a:gd name="connsiteX1269" fmla="*/ 1305455 w 5248218"/>
                <a:gd name="connsiteY1269" fmla="*/ 2521124 h 4232411"/>
                <a:gd name="connsiteX1270" fmla="*/ 1278853 w 5248218"/>
                <a:gd name="connsiteY1270" fmla="*/ 2547722 h 4232411"/>
                <a:gd name="connsiteX1271" fmla="*/ 1255209 w 5248218"/>
                <a:gd name="connsiteY1271" fmla="*/ 1918182 h 4232411"/>
                <a:gd name="connsiteX1272" fmla="*/ 1267031 w 5248218"/>
                <a:gd name="connsiteY1272" fmla="*/ 1930004 h 4232411"/>
                <a:gd name="connsiteX1273" fmla="*/ 1278853 w 5248218"/>
                <a:gd name="connsiteY1273" fmla="*/ 1918182 h 4232411"/>
                <a:gd name="connsiteX1274" fmla="*/ 1267031 w 5248218"/>
                <a:gd name="connsiteY1274" fmla="*/ 1906360 h 4232411"/>
                <a:gd name="connsiteX1275" fmla="*/ 1255209 w 5248218"/>
                <a:gd name="connsiteY1275" fmla="*/ 1918182 h 4232411"/>
                <a:gd name="connsiteX1276" fmla="*/ 1249297 w 5248218"/>
                <a:gd name="connsiteY1276" fmla="*/ 3363466 h 4232411"/>
                <a:gd name="connsiteX1277" fmla="*/ 1305455 w 5248218"/>
                <a:gd name="connsiteY1277" fmla="*/ 3419621 h 4232411"/>
                <a:gd name="connsiteX1278" fmla="*/ 1361610 w 5248218"/>
                <a:gd name="connsiteY1278" fmla="*/ 3363466 h 4232411"/>
                <a:gd name="connsiteX1279" fmla="*/ 1305455 w 5248218"/>
                <a:gd name="connsiteY1279" fmla="*/ 3307308 h 4232411"/>
                <a:gd name="connsiteX1280" fmla="*/ 1249297 w 5248218"/>
                <a:gd name="connsiteY1280" fmla="*/ 3363466 h 4232411"/>
                <a:gd name="connsiteX1281" fmla="*/ 1219741 w 5248218"/>
                <a:gd name="connsiteY1281" fmla="*/ 2742792 h 4232411"/>
                <a:gd name="connsiteX1282" fmla="*/ 1261120 w 5248218"/>
                <a:gd name="connsiteY1282" fmla="*/ 2784170 h 4232411"/>
                <a:gd name="connsiteX1283" fmla="*/ 1302498 w 5248218"/>
                <a:gd name="connsiteY1283" fmla="*/ 2742792 h 4232411"/>
                <a:gd name="connsiteX1284" fmla="*/ 1261120 w 5248218"/>
                <a:gd name="connsiteY1284" fmla="*/ 2701413 h 4232411"/>
                <a:gd name="connsiteX1285" fmla="*/ 1219741 w 5248218"/>
                <a:gd name="connsiteY1285" fmla="*/ 2742792 h 4232411"/>
                <a:gd name="connsiteX1286" fmla="*/ 1204962 w 5248218"/>
                <a:gd name="connsiteY1286" fmla="*/ 2113248 h 4232411"/>
                <a:gd name="connsiteX1287" fmla="*/ 1222695 w 5248218"/>
                <a:gd name="connsiteY1287" fmla="*/ 2130982 h 4232411"/>
                <a:gd name="connsiteX1288" fmla="*/ 1240429 w 5248218"/>
                <a:gd name="connsiteY1288" fmla="*/ 2113248 h 4232411"/>
                <a:gd name="connsiteX1289" fmla="*/ 1222695 w 5248218"/>
                <a:gd name="connsiteY1289" fmla="*/ 2095515 h 4232411"/>
                <a:gd name="connsiteX1290" fmla="*/ 1204962 w 5248218"/>
                <a:gd name="connsiteY1290" fmla="*/ 2113248 h 4232411"/>
                <a:gd name="connsiteX1291" fmla="*/ 1196097 w 5248218"/>
                <a:gd name="connsiteY1291" fmla="*/ 3558536 h 4232411"/>
                <a:gd name="connsiteX1292" fmla="*/ 1261120 w 5248218"/>
                <a:gd name="connsiteY1292" fmla="*/ 3623558 h 4232411"/>
                <a:gd name="connsiteX1293" fmla="*/ 1326143 w 5248218"/>
                <a:gd name="connsiteY1293" fmla="*/ 3558536 h 4232411"/>
                <a:gd name="connsiteX1294" fmla="*/ 1261120 w 5248218"/>
                <a:gd name="connsiteY1294" fmla="*/ 3493512 h 4232411"/>
                <a:gd name="connsiteX1295" fmla="*/ 1196097 w 5248218"/>
                <a:gd name="connsiteY1295" fmla="*/ 3558536 h 4232411"/>
                <a:gd name="connsiteX1296" fmla="*/ 1169498 w 5248218"/>
                <a:gd name="connsiteY1296" fmla="*/ 2937860 h 4232411"/>
                <a:gd name="connsiteX1297" fmla="*/ 1216787 w 5248218"/>
                <a:gd name="connsiteY1297" fmla="*/ 2985150 h 4232411"/>
                <a:gd name="connsiteX1298" fmla="*/ 1264077 w 5248218"/>
                <a:gd name="connsiteY1298" fmla="*/ 2937860 h 4232411"/>
                <a:gd name="connsiteX1299" fmla="*/ 1216787 w 5248218"/>
                <a:gd name="connsiteY1299" fmla="*/ 2890571 h 4232411"/>
                <a:gd name="connsiteX1300" fmla="*/ 1169498 w 5248218"/>
                <a:gd name="connsiteY1300" fmla="*/ 2937860 h 4232411"/>
                <a:gd name="connsiteX1301" fmla="*/ 1154718 w 5248218"/>
                <a:gd name="connsiteY1301" fmla="*/ 2308321 h 4232411"/>
                <a:gd name="connsiteX1302" fmla="*/ 1178363 w 5248218"/>
                <a:gd name="connsiteY1302" fmla="*/ 2331966 h 4232411"/>
                <a:gd name="connsiteX1303" fmla="*/ 1202008 w 5248218"/>
                <a:gd name="connsiteY1303" fmla="*/ 2308321 h 4232411"/>
                <a:gd name="connsiteX1304" fmla="*/ 1178363 w 5248218"/>
                <a:gd name="connsiteY1304" fmla="*/ 2284676 h 4232411"/>
                <a:gd name="connsiteX1305" fmla="*/ 1154718 w 5248218"/>
                <a:gd name="connsiteY1305" fmla="*/ 2308321 h 4232411"/>
                <a:gd name="connsiteX1306" fmla="*/ 1151764 w 5248218"/>
                <a:gd name="connsiteY1306" fmla="*/ 3750648 h 4232411"/>
                <a:gd name="connsiteX1307" fmla="*/ 1216787 w 5248218"/>
                <a:gd name="connsiteY1307" fmla="*/ 3815670 h 4232411"/>
                <a:gd name="connsiteX1308" fmla="*/ 1281810 w 5248218"/>
                <a:gd name="connsiteY1308" fmla="*/ 3750648 h 4232411"/>
                <a:gd name="connsiteX1309" fmla="*/ 1216787 w 5248218"/>
                <a:gd name="connsiteY1309" fmla="*/ 3685624 h 4232411"/>
                <a:gd name="connsiteX1310" fmla="*/ 1151764 w 5248218"/>
                <a:gd name="connsiteY1310" fmla="*/ 3750648 h 4232411"/>
                <a:gd name="connsiteX1311" fmla="*/ 1139942 w 5248218"/>
                <a:gd name="connsiteY1311" fmla="*/ 1661044 h 4232411"/>
                <a:gd name="connsiteX1312" fmla="*/ 1142896 w 5248218"/>
                <a:gd name="connsiteY1312" fmla="*/ 1664001 h 4232411"/>
                <a:gd name="connsiteX1313" fmla="*/ 1145853 w 5248218"/>
                <a:gd name="connsiteY1313" fmla="*/ 1661044 h 4232411"/>
                <a:gd name="connsiteX1314" fmla="*/ 1142896 w 5248218"/>
                <a:gd name="connsiteY1314" fmla="*/ 1658090 h 4232411"/>
                <a:gd name="connsiteX1315" fmla="*/ 1139942 w 5248218"/>
                <a:gd name="connsiteY1315" fmla="*/ 1661044 h 4232411"/>
                <a:gd name="connsiteX1316" fmla="*/ 1116294 w 5248218"/>
                <a:gd name="connsiteY1316" fmla="*/ 3129973 h 4232411"/>
                <a:gd name="connsiteX1317" fmla="*/ 1172452 w 5248218"/>
                <a:gd name="connsiteY1317" fmla="*/ 3186130 h 4232411"/>
                <a:gd name="connsiteX1318" fmla="*/ 1228606 w 5248218"/>
                <a:gd name="connsiteY1318" fmla="*/ 3129973 h 4232411"/>
                <a:gd name="connsiteX1319" fmla="*/ 1172452 w 5248218"/>
                <a:gd name="connsiteY1319" fmla="*/ 3073818 h 4232411"/>
                <a:gd name="connsiteX1320" fmla="*/ 1116294 w 5248218"/>
                <a:gd name="connsiteY1320" fmla="*/ 3129973 h 4232411"/>
                <a:gd name="connsiteX1321" fmla="*/ 1110386 w 5248218"/>
                <a:gd name="connsiteY1321" fmla="*/ 3942763 h 4232411"/>
                <a:gd name="connsiteX1322" fmla="*/ 1172452 w 5248218"/>
                <a:gd name="connsiteY1322" fmla="*/ 4004832 h 4232411"/>
                <a:gd name="connsiteX1323" fmla="*/ 1234521 w 5248218"/>
                <a:gd name="connsiteY1323" fmla="*/ 3942763 h 4232411"/>
                <a:gd name="connsiteX1324" fmla="*/ 1172452 w 5248218"/>
                <a:gd name="connsiteY1324" fmla="*/ 3880697 h 4232411"/>
                <a:gd name="connsiteX1325" fmla="*/ 1110386 w 5248218"/>
                <a:gd name="connsiteY1325" fmla="*/ 3942763 h 4232411"/>
                <a:gd name="connsiteX1326" fmla="*/ 1104475 w 5248218"/>
                <a:gd name="connsiteY1326" fmla="*/ 4140789 h 4232411"/>
                <a:gd name="connsiteX1327" fmla="*/ 1128120 w 5248218"/>
                <a:gd name="connsiteY1327" fmla="*/ 4164434 h 4232411"/>
                <a:gd name="connsiteX1328" fmla="*/ 1151764 w 5248218"/>
                <a:gd name="connsiteY1328" fmla="*/ 4140789 h 4232411"/>
                <a:gd name="connsiteX1329" fmla="*/ 1128120 w 5248218"/>
                <a:gd name="connsiteY1329" fmla="*/ 4117144 h 4232411"/>
                <a:gd name="connsiteX1330" fmla="*/ 1104475 w 5248218"/>
                <a:gd name="connsiteY1330" fmla="*/ 4140789 h 4232411"/>
                <a:gd name="connsiteX1331" fmla="*/ 1101518 w 5248218"/>
                <a:gd name="connsiteY1331" fmla="*/ 2503387 h 4232411"/>
                <a:gd name="connsiteX1332" fmla="*/ 1134028 w 5248218"/>
                <a:gd name="connsiteY1332" fmla="*/ 2535900 h 4232411"/>
                <a:gd name="connsiteX1333" fmla="*/ 1166541 w 5248218"/>
                <a:gd name="connsiteY1333" fmla="*/ 2503387 h 4232411"/>
                <a:gd name="connsiteX1334" fmla="*/ 1134028 w 5248218"/>
                <a:gd name="connsiteY1334" fmla="*/ 2470877 h 4232411"/>
                <a:gd name="connsiteX1335" fmla="*/ 1101518 w 5248218"/>
                <a:gd name="connsiteY1335" fmla="*/ 2503387 h 4232411"/>
                <a:gd name="connsiteX1336" fmla="*/ 1086738 w 5248218"/>
                <a:gd name="connsiteY1336" fmla="*/ 1859070 h 4232411"/>
                <a:gd name="connsiteX1337" fmla="*/ 1098560 w 5248218"/>
                <a:gd name="connsiteY1337" fmla="*/ 1870893 h 4232411"/>
                <a:gd name="connsiteX1338" fmla="*/ 1110383 w 5248218"/>
                <a:gd name="connsiteY1338" fmla="*/ 1859070 h 4232411"/>
                <a:gd name="connsiteX1339" fmla="*/ 1098560 w 5248218"/>
                <a:gd name="connsiteY1339" fmla="*/ 1847248 h 4232411"/>
                <a:gd name="connsiteX1340" fmla="*/ 1086738 w 5248218"/>
                <a:gd name="connsiteY1340" fmla="*/ 1859070 h 4232411"/>
                <a:gd name="connsiteX1341" fmla="*/ 1066051 w 5248218"/>
                <a:gd name="connsiteY1341" fmla="*/ 3325045 h 4232411"/>
                <a:gd name="connsiteX1342" fmla="*/ 1128116 w 5248218"/>
                <a:gd name="connsiteY1342" fmla="*/ 3387111 h 4232411"/>
                <a:gd name="connsiteX1343" fmla="*/ 1190185 w 5248218"/>
                <a:gd name="connsiteY1343" fmla="*/ 3325045 h 4232411"/>
                <a:gd name="connsiteX1344" fmla="*/ 1128116 w 5248218"/>
                <a:gd name="connsiteY1344" fmla="*/ 3262976 h 4232411"/>
                <a:gd name="connsiteX1345" fmla="*/ 1066051 w 5248218"/>
                <a:gd name="connsiteY1345" fmla="*/ 3325045 h 4232411"/>
                <a:gd name="connsiteX1346" fmla="*/ 1048317 w 5248218"/>
                <a:gd name="connsiteY1346" fmla="*/ 2698456 h 4232411"/>
                <a:gd name="connsiteX1347" fmla="*/ 1089695 w 5248218"/>
                <a:gd name="connsiteY1347" fmla="*/ 2739834 h 4232411"/>
                <a:gd name="connsiteX1348" fmla="*/ 1131074 w 5248218"/>
                <a:gd name="connsiteY1348" fmla="*/ 2698456 h 4232411"/>
                <a:gd name="connsiteX1349" fmla="*/ 1089695 w 5248218"/>
                <a:gd name="connsiteY1349" fmla="*/ 2657078 h 4232411"/>
                <a:gd name="connsiteX1350" fmla="*/ 1048317 w 5248218"/>
                <a:gd name="connsiteY1350" fmla="*/ 2698456 h 4232411"/>
                <a:gd name="connsiteX1351" fmla="*/ 1036494 w 5248218"/>
                <a:gd name="connsiteY1351" fmla="*/ 2054136 h 4232411"/>
                <a:gd name="connsiteX1352" fmla="*/ 1054228 w 5248218"/>
                <a:gd name="connsiteY1352" fmla="*/ 2071870 h 4232411"/>
                <a:gd name="connsiteX1353" fmla="*/ 1071961 w 5248218"/>
                <a:gd name="connsiteY1353" fmla="*/ 2054136 h 4232411"/>
                <a:gd name="connsiteX1354" fmla="*/ 1054228 w 5248218"/>
                <a:gd name="connsiteY1354" fmla="*/ 2036403 h 4232411"/>
                <a:gd name="connsiteX1355" fmla="*/ 1036494 w 5248218"/>
                <a:gd name="connsiteY1355" fmla="*/ 2054136 h 4232411"/>
                <a:gd name="connsiteX1356" fmla="*/ 1018761 w 5248218"/>
                <a:gd name="connsiteY1356" fmla="*/ 3520111 h 4232411"/>
                <a:gd name="connsiteX1357" fmla="*/ 1083784 w 5248218"/>
                <a:gd name="connsiteY1357" fmla="*/ 3585134 h 4232411"/>
                <a:gd name="connsiteX1358" fmla="*/ 1148807 w 5248218"/>
                <a:gd name="connsiteY1358" fmla="*/ 3520111 h 4232411"/>
                <a:gd name="connsiteX1359" fmla="*/ 1083784 w 5248218"/>
                <a:gd name="connsiteY1359" fmla="*/ 3455088 h 4232411"/>
                <a:gd name="connsiteX1360" fmla="*/ 1018761 w 5248218"/>
                <a:gd name="connsiteY1360" fmla="*/ 3520111 h 4232411"/>
                <a:gd name="connsiteX1361" fmla="*/ 995116 w 5248218"/>
                <a:gd name="connsiteY1361" fmla="*/ 2890571 h 4232411"/>
                <a:gd name="connsiteX1362" fmla="*/ 1045360 w 5248218"/>
                <a:gd name="connsiteY1362" fmla="*/ 2940818 h 4232411"/>
                <a:gd name="connsiteX1363" fmla="*/ 1095606 w 5248218"/>
                <a:gd name="connsiteY1363" fmla="*/ 2890571 h 4232411"/>
                <a:gd name="connsiteX1364" fmla="*/ 1045360 w 5248218"/>
                <a:gd name="connsiteY1364" fmla="*/ 2840328 h 4232411"/>
                <a:gd name="connsiteX1365" fmla="*/ 995116 w 5248218"/>
                <a:gd name="connsiteY1365" fmla="*/ 2890571 h 4232411"/>
                <a:gd name="connsiteX1366" fmla="*/ 977383 w 5248218"/>
                <a:gd name="connsiteY1366" fmla="*/ 2249209 h 4232411"/>
                <a:gd name="connsiteX1367" fmla="*/ 1006939 w 5248218"/>
                <a:gd name="connsiteY1367" fmla="*/ 2278765 h 4232411"/>
                <a:gd name="connsiteX1368" fmla="*/ 1036494 w 5248218"/>
                <a:gd name="connsiteY1368" fmla="*/ 2249209 h 4232411"/>
                <a:gd name="connsiteX1369" fmla="*/ 1006939 w 5248218"/>
                <a:gd name="connsiteY1369" fmla="*/ 2219653 h 4232411"/>
                <a:gd name="connsiteX1370" fmla="*/ 977383 w 5248218"/>
                <a:gd name="connsiteY1370" fmla="*/ 2249209 h 4232411"/>
                <a:gd name="connsiteX1371" fmla="*/ 965560 w 5248218"/>
                <a:gd name="connsiteY1371" fmla="*/ 3715184 h 4232411"/>
                <a:gd name="connsiteX1372" fmla="*/ 1039452 w 5248218"/>
                <a:gd name="connsiteY1372" fmla="*/ 3789072 h 4232411"/>
                <a:gd name="connsiteX1373" fmla="*/ 1113340 w 5248218"/>
                <a:gd name="connsiteY1373" fmla="*/ 3715184 h 4232411"/>
                <a:gd name="connsiteX1374" fmla="*/ 1039452 w 5248218"/>
                <a:gd name="connsiteY1374" fmla="*/ 3641292 h 4232411"/>
                <a:gd name="connsiteX1375" fmla="*/ 965560 w 5248218"/>
                <a:gd name="connsiteY1375" fmla="*/ 3715184 h 4232411"/>
                <a:gd name="connsiteX1376" fmla="*/ 938958 w 5248218"/>
                <a:gd name="connsiteY1376" fmla="*/ 3085640 h 4232411"/>
                <a:gd name="connsiteX1377" fmla="*/ 1001024 w 5248218"/>
                <a:gd name="connsiteY1377" fmla="*/ 3147710 h 4232411"/>
                <a:gd name="connsiteX1378" fmla="*/ 1063093 w 5248218"/>
                <a:gd name="connsiteY1378" fmla="*/ 3085640 h 4232411"/>
                <a:gd name="connsiteX1379" fmla="*/ 1001024 w 5248218"/>
                <a:gd name="connsiteY1379" fmla="*/ 3023574 h 4232411"/>
                <a:gd name="connsiteX1380" fmla="*/ 938958 w 5248218"/>
                <a:gd name="connsiteY1380" fmla="*/ 3085640 h 4232411"/>
                <a:gd name="connsiteX1381" fmla="*/ 930093 w 5248218"/>
                <a:gd name="connsiteY1381" fmla="*/ 1785179 h 4232411"/>
                <a:gd name="connsiteX1382" fmla="*/ 936004 w 5248218"/>
                <a:gd name="connsiteY1382" fmla="*/ 1791090 h 4232411"/>
                <a:gd name="connsiteX1383" fmla="*/ 941916 w 5248218"/>
                <a:gd name="connsiteY1383" fmla="*/ 1785179 h 4232411"/>
                <a:gd name="connsiteX1384" fmla="*/ 936004 w 5248218"/>
                <a:gd name="connsiteY1384" fmla="*/ 1779268 h 4232411"/>
                <a:gd name="connsiteX1385" fmla="*/ 930093 w 5248218"/>
                <a:gd name="connsiteY1385" fmla="*/ 1785179 h 4232411"/>
                <a:gd name="connsiteX1386" fmla="*/ 927136 w 5248218"/>
                <a:gd name="connsiteY1386" fmla="*/ 3907296 h 4232411"/>
                <a:gd name="connsiteX1387" fmla="*/ 995116 w 5248218"/>
                <a:gd name="connsiteY1387" fmla="*/ 3975272 h 4232411"/>
                <a:gd name="connsiteX1388" fmla="*/ 1063093 w 5248218"/>
                <a:gd name="connsiteY1388" fmla="*/ 3907296 h 4232411"/>
                <a:gd name="connsiteX1389" fmla="*/ 995116 w 5248218"/>
                <a:gd name="connsiteY1389" fmla="*/ 3839316 h 4232411"/>
                <a:gd name="connsiteX1390" fmla="*/ 927136 w 5248218"/>
                <a:gd name="connsiteY1390" fmla="*/ 3907296 h 4232411"/>
                <a:gd name="connsiteX1391" fmla="*/ 924182 w 5248218"/>
                <a:gd name="connsiteY1391" fmla="*/ 2447235 h 4232411"/>
                <a:gd name="connsiteX1392" fmla="*/ 962606 w 5248218"/>
                <a:gd name="connsiteY1392" fmla="*/ 2485656 h 4232411"/>
                <a:gd name="connsiteX1393" fmla="*/ 1001027 w 5248218"/>
                <a:gd name="connsiteY1393" fmla="*/ 2447235 h 4232411"/>
                <a:gd name="connsiteX1394" fmla="*/ 962606 w 5248218"/>
                <a:gd name="connsiteY1394" fmla="*/ 2408811 h 4232411"/>
                <a:gd name="connsiteX1395" fmla="*/ 924182 w 5248218"/>
                <a:gd name="connsiteY1395" fmla="*/ 2447235 h 4232411"/>
                <a:gd name="connsiteX1396" fmla="*/ 918271 w 5248218"/>
                <a:gd name="connsiteY1396" fmla="*/ 4102365 h 4232411"/>
                <a:gd name="connsiteX1397" fmla="*/ 950781 w 5248218"/>
                <a:gd name="connsiteY1397" fmla="*/ 4134875 h 4232411"/>
                <a:gd name="connsiteX1398" fmla="*/ 983294 w 5248218"/>
                <a:gd name="connsiteY1398" fmla="*/ 4102365 h 4232411"/>
                <a:gd name="connsiteX1399" fmla="*/ 950781 w 5248218"/>
                <a:gd name="connsiteY1399" fmla="*/ 4069852 h 4232411"/>
                <a:gd name="connsiteX1400" fmla="*/ 918271 w 5248218"/>
                <a:gd name="connsiteY1400" fmla="*/ 4102365 h 4232411"/>
                <a:gd name="connsiteX1401" fmla="*/ 894626 w 5248218"/>
                <a:gd name="connsiteY1401" fmla="*/ 3280710 h 4232411"/>
                <a:gd name="connsiteX1402" fmla="*/ 956692 w 5248218"/>
                <a:gd name="connsiteY1402" fmla="*/ 3342776 h 4232411"/>
                <a:gd name="connsiteX1403" fmla="*/ 1018761 w 5248218"/>
                <a:gd name="connsiteY1403" fmla="*/ 3280710 h 4232411"/>
                <a:gd name="connsiteX1404" fmla="*/ 956692 w 5248218"/>
                <a:gd name="connsiteY1404" fmla="*/ 3218640 h 4232411"/>
                <a:gd name="connsiteX1405" fmla="*/ 894626 w 5248218"/>
                <a:gd name="connsiteY1405" fmla="*/ 3280710 h 4232411"/>
                <a:gd name="connsiteX1406" fmla="*/ 876892 w 5248218"/>
                <a:gd name="connsiteY1406" fmla="*/ 1983202 h 4232411"/>
                <a:gd name="connsiteX1407" fmla="*/ 888715 w 5248218"/>
                <a:gd name="connsiteY1407" fmla="*/ 1995024 h 4232411"/>
                <a:gd name="connsiteX1408" fmla="*/ 900537 w 5248218"/>
                <a:gd name="connsiteY1408" fmla="*/ 1983202 h 4232411"/>
                <a:gd name="connsiteX1409" fmla="*/ 888715 w 5248218"/>
                <a:gd name="connsiteY1409" fmla="*/ 1971380 h 4232411"/>
                <a:gd name="connsiteX1410" fmla="*/ 876892 w 5248218"/>
                <a:gd name="connsiteY1410" fmla="*/ 1983202 h 4232411"/>
                <a:gd name="connsiteX1411" fmla="*/ 870981 w 5248218"/>
                <a:gd name="connsiteY1411" fmla="*/ 2642302 h 4232411"/>
                <a:gd name="connsiteX1412" fmla="*/ 918271 w 5248218"/>
                <a:gd name="connsiteY1412" fmla="*/ 2689591 h 4232411"/>
                <a:gd name="connsiteX1413" fmla="*/ 965560 w 5248218"/>
                <a:gd name="connsiteY1413" fmla="*/ 2642302 h 4232411"/>
                <a:gd name="connsiteX1414" fmla="*/ 918271 w 5248218"/>
                <a:gd name="connsiteY1414" fmla="*/ 2595012 h 4232411"/>
                <a:gd name="connsiteX1415" fmla="*/ 870981 w 5248218"/>
                <a:gd name="connsiteY1415" fmla="*/ 2642302 h 4232411"/>
                <a:gd name="connsiteX1416" fmla="*/ 844379 w 5248218"/>
                <a:gd name="connsiteY1416" fmla="*/ 3478736 h 4232411"/>
                <a:gd name="connsiteX1417" fmla="*/ 912359 w 5248218"/>
                <a:gd name="connsiteY1417" fmla="*/ 3546713 h 4232411"/>
                <a:gd name="connsiteX1418" fmla="*/ 980336 w 5248218"/>
                <a:gd name="connsiteY1418" fmla="*/ 3478736 h 4232411"/>
                <a:gd name="connsiteX1419" fmla="*/ 912359 w 5248218"/>
                <a:gd name="connsiteY1419" fmla="*/ 3410756 h 4232411"/>
                <a:gd name="connsiteX1420" fmla="*/ 844379 w 5248218"/>
                <a:gd name="connsiteY1420" fmla="*/ 3478736 h 4232411"/>
                <a:gd name="connsiteX1421" fmla="*/ 826649 w 5248218"/>
                <a:gd name="connsiteY1421" fmla="*/ 2840328 h 4232411"/>
                <a:gd name="connsiteX1422" fmla="*/ 873938 w 5248218"/>
                <a:gd name="connsiteY1422" fmla="*/ 2887617 h 4232411"/>
                <a:gd name="connsiteX1423" fmla="*/ 921228 w 5248218"/>
                <a:gd name="connsiteY1423" fmla="*/ 2840328 h 4232411"/>
                <a:gd name="connsiteX1424" fmla="*/ 873938 w 5248218"/>
                <a:gd name="connsiteY1424" fmla="*/ 2793038 h 4232411"/>
                <a:gd name="connsiteX1425" fmla="*/ 826649 w 5248218"/>
                <a:gd name="connsiteY1425" fmla="*/ 2840328 h 4232411"/>
                <a:gd name="connsiteX1426" fmla="*/ 826649 w 5248218"/>
                <a:gd name="connsiteY1426" fmla="*/ 1492577 h 4232411"/>
                <a:gd name="connsiteX1427" fmla="*/ 829603 w 5248218"/>
                <a:gd name="connsiteY1427" fmla="*/ 1495531 h 4232411"/>
                <a:gd name="connsiteX1428" fmla="*/ 832560 w 5248218"/>
                <a:gd name="connsiteY1428" fmla="*/ 1492577 h 4232411"/>
                <a:gd name="connsiteX1429" fmla="*/ 829603 w 5248218"/>
                <a:gd name="connsiteY1429" fmla="*/ 1489620 h 4232411"/>
                <a:gd name="connsiteX1430" fmla="*/ 826649 w 5248218"/>
                <a:gd name="connsiteY1430" fmla="*/ 1492577 h 4232411"/>
                <a:gd name="connsiteX1431" fmla="*/ 820735 w 5248218"/>
                <a:gd name="connsiteY1431" fmla="*/ 2181228 h 4232411"/>
                <a:gd name="connsiteX1432" fmla="*/ 844379 w 5248218"/>
                <a:gd name="connsiteY1432" fmla="*/ 2204873 h 4232411"/>
                <a:gd name="connsiteX1433" fmla="*/ 868024 w 5248218"/>
                <a:gd name="connsiteY1433" fmla="*/ 2181228 h 4232411"/>
                <a:gd name="connsiteX1434" fmla="*/ 844379 w 5248218"/>
                <a:gd name="connsiteY1434" fmla="*/ 2157584 h 4232411"/>
                <a:gd name="connsiteX1435" fmla="*/ 820735 w 5248218"/>
                <a:gd name="connsiteY1435" fmla="*/ 2181228 h 4232411"/>
                <a:gd name="connsiteX1436" fmla="*/ 797093 w 5248218"/>
                <a:gd name="connsiteY1436" fmla="*/ 3670848 h 4232411"/>
                <a:gd name="connsiteX1437" fmla="*/ 868027 w 5248218"/>
                <a:gd name="connsiteY1437" fmla="*/ 3741782 h 4232411"/>
                <a:gd name="connsiteX1438" fmla="*/ 938961 w 5248218"/>
                <a:gd name="connsiteY1438" fmla="*/ 3670848 h 4232411"/>
                <a:gd name="connsiteX1439" fmla="*/ 868027 w 5248218"/>
                <a:gd name="connsiteY1439" fmla="*/ 3599914 h 4232411"/>
                <a:gd name="connsiteX1440" fmla="*/ 797093 w 5248218"/>
                <a:gd name="connsiteY1440" fmla="*/ 3670848 h 4232411"/>
                <a:gd name="connsiteX1441" fmla="*/ 770491 w 5248218"/>
                <a:gd name="connsiteY1441" fmla="*/ 3032440 h 4232411"/>
                <a:gd name="connsiteX1442" fmla="*/ 829603 w 5248218"/>
                <a:gd name="connsiteY1442" fmla="*/ 3091552 h 4232411"/>
                <a:gd name="connsiteX1443" fmla="*/ 888715 w 5248218"/>
                <a:gd name="connsiteY1443" fmla="*/ 3032440 h 4232411"/>
                <a:gd name="connsiteX1444" fmla="*/ 829603 w 5248218"/>
                <a:gd name="connsiteY1444" fmla="*/ 2973328 h 4232411"/>
                <a:gd name="connsiteX1445" fmla="*/ 770491 w 5248218"/>
                <a:gd name="connsiteY1445" fmla="*/ 3032440 h 4232411"/>
                <a:gd name="connsiteX1446" fmla="*/ 770491 w 5248218"/>
                <a:gd name="connsiteY1446" fmla="*/ 1696511 h 4232411"/>
                <a:gd name="connsiteX1447" fmla="*/ 779356 w 5248218"/>
                <a:gd name="connsiteY1447" fmla="*/ 1705380 h 4232411"/>
                <a:gd name="connsiteX1448" fmla="*/ 788225 w 5248218"/>
                <a:gd name="connsiteY1448" fmla="*/ 1696511 h 4232411"/>
                <a:gd name="connsiteX1449" fmla="*/ 779356 w 5248218"/>
                <a:gd name="connsiteY1449" fmla="*/ 1687646 h 4232411"/>
                <a:gd name="connsiteX1450" fmla="*/ 770491 w 5248218"/>
                <a:gd name="connsiteY1450" fmla="*/ 1696511 h 4232411"/>
                <a:gd name="connsiteX1451" fmla="*/ 764580 w 5248218"/>
                <a:gd name="connsiteY1451" fmla="*/ 2379255 h 4232411"/>
                <a:gd name="connsiteX1452" fmla="*/ 797093 w 5248218"/>
                <a:gd name="connsiteY1452" fmla="*/ 2411765 h 4232411"/>
                <a:gd name="connsiteX1453" fmla="*/ 829603 w 5248218"/>
                <a:gd name="connsiteY1453" fmla="*/ 2379255 h 4232411"/>
                <a:gd name="connsiteX1454" fmla="*/ 797093 w 5248218"/>
                <a:gd name="connsiteY1454" fmla="*/ 2346742 h 4232411"/>
                <a:gd name="connsiteX1455" fmla="*/ 764580 w 5248218"/>
                <a:gd name="connsiteY1455" fmla="*/ 2379255 h 4232411"/>
                <a:gd name="connsiteX1456" fmla="*/ 758669 w 5248218"/>
                <a:gd name="connsiteY1456" fmla="*/ 4060984 h 4232411"/>
                <a:gd name="connsiteX1457" fmla="*/ 779359 w 5248218"/>
                <a:gd name="connsiteY1457" fmla="*/ 4081674 h 4232411"/>
                <a:gd name="connsiteX1458" fmla="*/ 800047 w 5248218"/>
                <a:gd name="connsiteY1458" fmla="*/ 4060984 h 4232411"/>
                <a:gd name="connsiteX1459" fmla="*/ 779359 w 5248218"/>
                <a:gd name="connsiteY1459" fmla="*/ 4040296 h 4232411"/>
                <a:gd name="connsiteX1460" fmla="*/ 758669 w 5248218"/>
                <a:gd name="connsiteY1460" fmla="*/ 4060984 h 4232411"/>
                <a:gd name="connsiteX1461" fmla="*/ 755715 w 5248218"/>
                <a:gd name="connsiteY1461" fmla="*/ 3862964 h 4232411"/>
                <a:gd name="connsiteX1462" fmla="*/ 823692 w 5248218"/>
                <a:gd name="connsiteY1462" fmla="*/ 3930940 h 4232411"/>
                <a:gd name="connsiteX1463" fmla="*/ 891672 w 5248218"/>
                <a:gd name="connsiteY1463" fmla="*/ 3862964 h 4232411"/>
                <a:gd name="connsiteX1464" fmla="*/ 823692 w 5248218"/>
                <a:gd name="connsiteY1464" fmla="*/ 3794983 h 4232411"/>
                <a:gd name="connsiteX1465" fmla="*/ 755715 w 5248218"/>
                <a:gd name="connsiteY1465" fmla="*/ 3862964 h 4232411"/>
                <a:gd name="connsiteX1466" fmla="*/ 723202 w 5248218"/>
                <a:gd name="connsiteY1466" fmla="*/ 3230466 h 4232411"/>
                <a:gd name="connsiteX1467" fmla="*/ 785267 w 5248218"/>
                <a:gd name="connsiteY1467" fmla="*/ 3292532 h 4232411"/>
                <a:gd name="connsiteX1468" fmla="*/ 847337 w 5248218"/>
                <a:gd name="connsiteY1468" fmla="*/ 3230466 h 4232411"/>
                <a:gd name="connsiteX1469" fmla="*/ 785267 w 5248218"/>
                <a:gd name="connsiteY1469" fmla="*/ 3168397 h 4232411"/>
                <a:gd name="connsiteX1470" fmla="*/ 723202 w 5248218"/>
                <a:gd name="connsiteY1470" fmla="*/ 3230466 h 4232411"/>
                <a:gd name="connsiteX1471" fmla="*/ 714336 w 5248218"/>
                <a:gd name="connsiteY1471" fmla="*/ 1897492 h 4232411"/>
                <a:gd name="connsiteX1472" fmla="*/ 732070 w 5248218"/>
                <a:gd name="connsiteY1472" fmla="*/ 1915225 h 4232411"/>
                <a:gd name="connsiteX1473" fmla="*/ 749803 w 5248218"/>
                <a:gd name="connsiteY1473" fmla="*/ 1897492 h 4232411"/>
                <a:gd name="connsiteX1474" fmla="*/ 732070 w 5248218"/>
                <a:gd name="connsiteY1474" fmla="*/ 1879758 h 4232411"/>
                <a:gd name="connsiteX1475" fmla="*/ 714336 w 5248218"/>
                <a:gd name="connsiteY1475" fmla="*/ 1897492 h 4232411"/>
                <a:gd name="connsiteX1476" fmla="*/ 708425 w 5248218"/>
                <a:gd name="connsiteY1476" fmla="*/ 2577278 h 4232411"/>
                <a:gd name="connsiteX1477" fmla="*/ 752761 w 5248218"/>
                <a:gd name="connsiteY1477" fmla="*/ 2621610 h 4232411"/>
                <a:gd name="connsiteX1478" fmla="*/ 797093 w 5248218"/>
                <a:gd name="connsiteY1478" fmla="*/ 2577278 h 4232411"/>
                <a:gd name="connsiteX1479" fmla="*/ 752761 w 5248218"/>
                <a:gd name="connsiteY1479" fmla="*/ 2532942 h 4232411"/>
                <a:gd name="connsiteX1480" fmla="*/ 708425 w 5248218"/>
                <a:gd name="connsiteY1480" fmla="*/ 2577278 h 4232411"/>
                <a:gd name="connsiteX1481" fmla="*/ 678869 w 5248218"/>
                <a:gd name="connsiteY1481" fmla="*/ 3425532 h 4232411"/>
                <a:gd name="connsiteX1482" fmla="*/ 740935 w 5248218"/>
                <a:gd name="connsiteY1482" fmla="*/ 3487601 h 4232411"/>
                <a:gd name="connsiteX1483" fmla="*/ 803004 w 5248218"/>
                <a:gd name="connsiteY1483" fmla="*/ 3425532 h 4232411"/>
                <a:gd name="connsiteX1484" fmla="*/ 740935 w 5248218"/>
                <a:gd name="connsiteY1484" fmla="*/ 3363466 h 4232411"/>
                <a:gd name="connsiteX1485" fmla="*/ 678869 w 5248218"/>
                <a:gd name="connsiteY1485" fmla="*/ 3425532 h 4232411"/>
                <a:gd name="connsiteX1486" fmla="*/ 661133 w 5248218"/>
                <a:gd name="connsiteY1486" fmla="*/ 2101429 h 4232411"/>
                <a:gd name="connsiteX1487" fmla="*/ 684777 w 5248218"/>
                <a:gd name="connsiteY1487" fmla="*/ 2125074 h 4232411"/>
                <a:gd name="connsiteX1488" fmla="*/ 708422 w 5248218"/>
                <a:gd name="connsiteY1488" fmla="*/ 2101429 h 4232411"/>
                <a:gd name="connsiteX1489" fmla="*/ 684777 w 5248218"/>
                <a:gd name="connsiteY1489" fmla="*/ 2077784 h 4232411"/>
                <a:gd name="connsiteX1490" fmla="*/ 661133 w 5248218"/>
                <a:gd name="connsiteY1490" fmla="*/ 2101429 h 4232411"/>
                <a:gd name="connsiteX1491" fmla="*/ 658178 w 5248218"/>
                <a:gd name="connsiteY1491" fmla="*/ 2775304 h 4232411"/>
                <a:gd name="connsiteX1492" fmla="*/ 705468 w 5248218"/>
                <a:gd name="connsiteY1492" fmla="*/ 2822594 h 4232411"/>
                <a:gd name="connsiteX1493" fmla="*/ 752757 w 5248218"/>
                <a:gd name="connsiteY1493" fmla="*/ 2775304 h 4232411"/>
                <a:gd name="connsiteX1494" fmla="*/ 705468 w 5248218"/>
                <a:gd name="connsiteY1494" fmla="*/ 2728015 h 4232411"/>
                <a:gd name="connsiteX1495" fmla="*/ 658178 w 5248218"/>
                <a:gd name="connsiteY1495" fmla="*/ 2775304 h 4232411"/>
                <a:gd name="connsiteX1496" fmla="*/ 625668 w 5248218"/>
                <a:gd name="connsiteY1496" fmla="*/ 3620604 h 4232411"/>
                <a:gd name="connsiteX1497" fmla="*/ 696603 w 5248218"/>
                <a:gd name="connsiteY1497" fmla="*/ 3691539 h 4232411"/>
                <a:gd name="connsiteX1498" fmla="*/ 767537 w 5248218"/>
                <a:gd name="connsiteY1498" fmla="*/ 3620604 h 4232411"/>
                <a:gd name="connsiteX1499" fmla="*/ 696603 w 5248218"/>
                <a:gd name="connsiteY1499" fmla="*/ 3549670 h 4232411"/>
                <a:gd name="connsiteX1500" fmla="*/ 625668 w 5248218"/>
                <a:gd name="connsiteY1500" fmla="*/ 3620604 h 4232411"/>
                <a:gd name="connsiteX1501" fmla="*/ 622711 w 5248218"/>
                <a:gd name="connsiteY1501" fmla="*/ 1596021 h 4232411"/>
                <a:gd name="connsiteX1502" fmla="*/ 631577 w 5248218"/>
                <a:gd name="connsiteY1502" fmla="*/ 1604886 h 4232411"/>
                <a:gd name="connsiteX1503" fmla="*/ 640445 w 5248218"/>
                <a:gd name="connsiteY1503" fmla="*/ 1596021 h 4232411"/>
                <a:gd name="connsiteX1504" fmla="*/ 631577 w 5248218"/>
                <a:gd name="connsiteY1504" fmla="*/ 1587152 h 4232411"/>
                <a:gd name="connsiteX1505" fmla="*/ 622711 w 5248218"/>
                <a:gd name="connsiteY1505" fmla="*/ 1596021 h 4232411"/>
                <a:gd name="connsiteX1506" fmla="*/ 604978 w 5248218"/>
                <a:gd name="connsiteY1506" fmla="*/ 2970370 h 4232411"/>
                <a:gd name="connsiteX1507" fmla="*/ 661133 w 5248218"/>
                <a:gd name="connsiteY1507" fmla="*/ 3026528 h 4232411"/>
                <a:gd name="connsiteX1508" fmla="*/ 717290 w 5248218"/>
                <a:gd name="connsiteY1508" fmla="*/ 2970370 h 4232411"/>
                <a:gd name="connsiteX1509" fmla="*/ 661133 w 5248218"/>
                <a:gd name="connsiteY1509" fmla="*/ 2914216 h 4232411"/>
                <a:gd name="connsiteX1510" fmla="*/ 604978 w 5248218"/>
                <a:gd name="connsiteY1510" fmla="*/ 2970370 h 4232411"/>
                <a:gd name="connsiteX1511" fmla="*/ 593155 w 5248218"/>
                <a:gd name="connsiteY1511" fmla="*/ 2302410 h 4232411"/>
                <a:gd name="connsiteX1512" fmla="*/ 637488 w 5248218"/>
                <a:gd name="connsiteY1512" fmla="*/ 2346742 h 4232411"/>
                <a:gd name="connsiteX1513" fmla="*/ 681823 w 5248218"/>
                <a:gd name="connsiteY1513" fmla="*/ 2302410 h 4232411"/>
                <a:gd name="connsiteX1514" fmla="*/ 637488 w 5248218"/>
                <a:gd name="connsiteY1514" fmla="*/ 2258074 h 4232411"/>
                <a:gd name="connsiteX1515" fmla="*/ 593155 w 5248218"/>
                <a:gd name="connsiteY1515" fmla="*/ 2302410 h 4232411"/>
                <a:gd name="connsiteX1516" fmla="*/ 587244 w 5248218"/>
                <a:gd name="connsiteY1516" fmla="*/ 3815674 h 4232411"/>
                <a:gd name="connsiteX1517" fmla="*/ 649313 w 5248218"/>
                <a:gd name="connsiteY1517" fmla="*/ 3877740 h 4232411"/>
                <a:gd name="connsiteX1518" fmla="*/ 711379 w 5248218"/>
                <a:gd name="connsiteY1518" fmla="*/ 3815674 h 4232411"/>
                <a:gd name="connsiteX1519" fmla="*/ 649313 w 5248218"/>
                <a:gd name="connsiteY1519" fmla="*/ 3753604 h 4232411"/>
                <a:gd name="connsiteX1520" fmla="*/ 587244 w 5248218"/>
                <a:gd name="connsiteY1520" fmla="*/ 3815674 h 4232411"/>
                <a:gd name="connsiteX1521" fmla="*/ 566557 w 5248218"/>
                <a:gd name="connsiteY1521" fmla="*/ 1802912 h 4232411"/>
                <a:gd name="connsiteX1522" fmla="*/ 578379 w 5248218"/>
                <a:gd name="connsiteY1522" fmla="*/ 1814735 h 4232411"/>
                <a:gd name="connsiteX1523" fmla="*/ 590201 w 5248218"/>
                <a:gd name="connsiteY1523" fmla="*/ 1802912 h 4232411"/>
                <a:gd name="connsiteX1524" fmla="*/ 578379 w 5248218"/>
                <a:gd name="connsiteY1524" fmla="*/ 1791090 h 4232411"/>
                <a:gd name="connsiteX1525" fmla="*/ 566557 w 5248218"/>
                <a:gd name="connsiteY1525" fmla="*/ 1802912 h 4232411"/>
                <a:gd name="connsiteX1526" fmla="*/ 554731 w 5248218"/>
                <a:gd name="connsiteY1526" fmla="*/ 4205812 h 4232411"/>
                <a:gd name="connsiteX1527" fmla="*/ 560642 w 5248218"/>
                <a:gd name="connsiteY1527" fmla="*/ 4211724 h 4232411"/>
                <a:gd name="connsiteX1528" fmla="*/ 566554 w 5248218"/>
                <a:gd name="connsiteY1528" fmla="*/ 4205812 h 4232411"/>
                <a:gd name="connsiteX1529" fmla="*/ 560642 w 5248218"/>
                <a:gd name="connsiteY1529" fmla="*/ 4199901 h 4232411"/>
                <a:gd name="connsiteX1530" fmla="*/ 554731 w 5248218"/>
                <a:gd name="connsiteY1530" fmla="*/ 4205812 h 4232411"/>
                <a:gd name="connsiteX1531" fmla="*/ 554731 w 5248218"/>
                <a:gd name="connsiteY1531" fmla="*/ 3168397 h 4232411"/>
                <a:gd name="connsiteX1532" fmla="*/ 616797 w 5248218"/>
                <a:gd name="connsiteY1532" fmla="*/ 3230466 h 4232411"/>
                <a:gd name="connsiteX1533" fmla="*/ 678866 w 5248218"/>
                <a:gd name="connsiteY1533" fmla="*/ 3168397 h 4232411"/>
                <a:gd name="connsiteX1534" fmla="*/ 616797 w 5248218"/>
                <a:gd name="connsiteY1534" fmla="*/ 3106331 h 4232411"/>
                <a:gd name="connsiteX1535" fmla="*/ 554731 w 5248218"/>
                <a:gd name="connsiteY1535" fmla="*/ 3168397 h 4232411"/>
                <a:gd name="connsiteX1536" fmla="*/ 542909 w 5248218"/>
                <a:gd name="connsiteY1536" fmla="*/ 1267948 h 4232411"/>
                <a:gd name="connsiteX1537" fmla="*/ 548820 w 5248218"/>
                <a:gd name="connsiteY1537" fmla="*/ 1273860 h 4232411"/>
                <a:gd name="connsiteX1538" fmla="*/ 554731 w 5248218"/>
                <a:gd name="connsiteY1538" fmla="*/ 1267948 h 4232411"/>
                <a:gd name="connsiteX1539" fmla="*/ 548820 w 5248218"/>
                <a:gd name="connsiteY1539" fmla="*/ 1262037 h 4232411"/>
                <a:gd name="connsiteX1540" fmla="*/ 542909 w 5248218"/>
                <a:gd name="connsiteY1540" fmla="*/ 1267948 h 4232411"/>
                <a:gd name="connsiteX1541" fmla="*/ 537001 w 5248218"/>
                <a:gd name="connsiteY1541" fmla="*/ 4010740 h 4232411"/>
                <a:gd name="connsiteX1542" fmla="*/ 604978 w 5248218"/>
                <a:gd name="connsiteY1542" fmla="*/ 4078720 h 4232411"/>
                <a:gd name="connsiteX1543" fmla="*/ 672958 w 5248218"/>
                <a:gd name="connsiteY1543" fmla="*/ 4010740 h 4232411"/>
                <a:gd name="connsiteX1544" fmla="*/ 604978 w 5248218"/>
                <a:gd name="connsiteY1544" fmla="*/ 3942763 h 4232411"/>
                <a:gd name="connsiteX1545" fmla="*/ 537001 w 5248218"/>
                <a:gd name="connsiteY1545" fmla="*/ 4010740 h 4232411"/>
                <a:gd name="connsiteX1546" fmla="*/ 537001 w 5248218"/>
                <a:gd name="connsiteY1546" fmla="*/ 2500433 h 4232411"/>
                <a:gd name="connsiteX1547" fmla="*/ 590201 w 5248218"/>
                <a:gd name="connsiteY1547" fmla="*/ 2553634 h 4232411"/>
                <a:gd name="connsiteX1548" fmla="*/ 643402 w 5248218"/>
                <a:gd name="connsiteY1548" fmla="*/ 2500433 h 4232411"/>
                <a:gd name="connsiteX1549" fmla="*/ 590201 w 5248218"/>
                <a:gd name="connsiteY1549" fmla="*/ 2447232 h 4232411"/>
                <a:gd name="connsiteX1550" fmla="*/ 537001 w 5248218"/>
                <a:gd name="connsiteY1550" fmla="*/ 2500433 h 4232411"/>
                <a:gd name="connsiteX1551" fmla="*/ 507445 w 5248218"/>
                <a:gd name="connsiteY1551" fmla="*/ 3363466 h 4232411"/>
                <a:gd name="connsiteX1552" fmla="*/ 572468 w 5248218"/>
                <a:gd name="connsiteY1552" fmla="*/ 3428490 h 4232411"/>
                <a:gd name="connsiteX1553" fmla="*/ 637491 w 5248218"/>
                <a:gd name="connsiteY1553" fmla="*/ 3363466 h 4232411"/>
                <a:gd name="connsiteX1554" fmla="*/ 572468 w 5248218"/>
                <a:gd name="connsiteY1554" fmla="*/ 3298443 h 4232411"/>
                <a:gd name="connsiteX1555" fmla="*/ 507445 w 5248218"/>
                <a:gd name="connsiteY1555" fmla="*/ 3363466 h 4232411"/>
                <a:gd name="connsiteX1556" fmla="*/ 504488 w 5248218"/>
                <a:gd name="connsiteY1556" fmla="*/ 2009804 h 4232411"/>
                <a:gd name="connsiteX1557" fmla="*/ 531089 w 5248218"/>
                <a:gd name="connsiteY1557" fmla="*/ 2036406 h 4232411"/>
                <a:gd name="connsiteX1558" fmla="*/ 557688 w 5248218"/>
                <a:gd name="connsiteY1558" fmla="*/ 2009804 h 4232411"/>
                <a:gd name="connsiteX1559" fmla="*/ 531089 w 5248218"/>
                <a:gd name="connsiteY1559" fmla="*/ 1983205 h 4232411"/>
                <a:gd name="connsiteX1560" fmla="*/ 504488 w 5248218"/>
                <a:gd name="connsiteY1560" fmla="*/ 2009804 h 4232411"/>
                <a:gd name="connsiteX1561" fmla="*/ 489711 w 5248218"/>
                <a:gd name="connsiteY1561" fmla="*/ 2698459 h 4232411"/>
                <a:gd name="connsiteX1562" fmla="*/ 542912 w 5248218"/>
                <a:gd name="connsiteY1562" fmla="*/ 2751660 h 4232411"/>
                <a:gd name="connsiteX1563" fmla="*/ 596113 w 5248218"/>
                <a:gd name="connsiteY1563" fmla="*/ 2698459 h 4232411"/>
                <a:gd name="connsiteX1564" fmla="*/ 542912 w 5248218"/>
                <a:gd name="connsiteY1564" fmla="*/ 2645258 h 4232411"/>
                <a:gd name="connsiteX1565" fmla="*/ 489711 w 5248218"/>
                <a:gd name="connsiteY1565" fmla="*/ 2698459 h 4232411"/>
                <a:gd name="connsiteX1566" fmla="*/ 483797 w 5248218"/>
                <a:gd name="connsiteY1566" fmla="*/ 1483708 h 4232411"/>
                <a:gd name="connsiteX1567" fmla="*/ 492665 w 5248218"/>
                <a:gd name="connsiteY1567" fmla="*/ 1492574 h 4232411"/>
                <a:gd name="connsiteX1568" fmla="*/ 501530 w 5248218"/>
                <a:gd name="connsiteY1568" fmla="*/ 1483708 h 4232411"/>
                <a:gd name="connsiteX1569" fmla="*/ 492665 w 5248218"/>
                <a:gd name="connsiteY1569" fmla="*/ 1474840 h 4232411"/>
                <a:gd name="connsiteX1570" fmla="*/ 483797 w 5248218"/>
                <a:gd name="connsiteY1570" fmla="*/ 1483708 h 4232411"/>
                <a:gd name="connsiteX1571" fmla="*/ 466063 w 5248218"/>
                <a:gd name="connsiteY1571" fmla="*/ 3561492 h 4232411"/>
                <a:gd name="connsiteX1572" fmla="*/ 525175 w 5248218"/>
                <a:gd name="connsiteY1572" fmla="*/ 3620604 h 4232411"/>
                <a:gd name="connsiteX1573" fmla="*/ 584287 w 5248218"/>
                <a:gd name="connsiteY1573" fmla="*/ 3561492 h 4232411"/>
                <a:gd name="connsiteX1574" fmla="*/ 525175 w 5248218"/>
                <a:gd name="connsiteY1574" fmla="*/ 3502381 h 4232411"/>
                <a:gd name="connsiteX1575" fmla="*/ 466063 w 5248218"/>
                <a:gd name="connsiteY1575" fmla="*/ 3561492 h 4232411"/>
                <a:gd name="connsiteX1576" fmla="*/ 442422 w 5248218"/>
                <a:gd name="connsiteY1576" fmla="*/ 2899440 h 4232411"/>
                <a:gd name="connsiteX1577" fmla="*/ 498576 w 5248218"/>
                <a:gd name="connsiteY1577" fmla="*/ 2955594 h 4232411"/>
                <a:gd name="connsiteX1578" fmla="*/ 554734 w 5248218"/>
                <a:gd name="connsiteY1578" fmla="*/ 2899440 h 4232411"/>
                <a:gd name="connsiteX1579" fmla="*/ 498576 w 5248218"/>
                <a:gd name="connsiteY1579" fmla="*/ 2843282 h 4232411"/>
                <a:gd name="connsiteX1580" fmla="*/ 442422 w 5248218"/>
                <a:gd name="connsiteY1580" fmla="*/ 2899440 h 4232411"/>
                <a:gd name="connsiteX1581" fmla="*/ 442422 w 5248218"/>
                <a:gd name="connsiteY1581" fmla="*/ 2216696 h 4232411"/>
                <a:gd name="connsiteX1582" fmla="*/ 480843 w 5248218"/>
                <a:gd name="connsiteY1582" fmla="*/ 2255117 h 4232411"/>
                <a:gd name="connsiteX1583" fmla="*/ 519267 w 5248218"/>
                <a:gd name="connsiteY1583" fmla="*/ 2216696 h 4232411"/>
                <a:gd name="connsiteX1584" fmla="*/ 480843 w 5248218"/>
                <a:gd name="connsiteY1584" fmla="*/ 2178272 h 4232411"/>
                <a:gd name="connsiteX1585" fmla="*/ 442422 w 5248218"/>
                <a:gd name="connsiteY1585" fmla="*/ 2216696 h 4232411"/>
                <a:gd name="connsiteX1586" fmla="*/ 421731 w 5248218"/>
                <a:gd name="connsiteY1586" fmla="*/ 1696511 h 4232411"/>
                <a:gd name="connsiteX1587" fmla="*/ 436510 w 5248218"/>
                <a:gd name="connsiteY1587" fmla="*/ 1711288 h 4232411"/>
                <a:gd name="connsiteX1588" fmla="*/ 451287 w 5248218"/>
                <a:gd name="connsiteY1588" fmla="*/ 1696511 h 4232411"/>
                <a:gd name="connsiteX1589" fmla="*/ 436510 w 5248218"/>
                <a:gd name="connsiteY1589" fmla="*/ 1681732 h 4232411"/>
                <a:gd name="connsiteX1590" fmla="*/ 421731 w 5248218"/>
                <a:gd name="connsiteY1590" fmla="*/ 1696511 h 4232411"/>
                <a:gd name="connsiteX1591" fmla="*/ 418777 w 5248218"/>
                <a:gd name="connsiteY1591" fmla="*/ 3756562 h 4232411"/>
                <a:gd name="connsiteX1592" fmla="*/ 480843 w 5248218"/>
                <a:gd name="connsiteY1592" fmla="*/ 3818628 h 4232411"/>
                <a:gd name="connsiteX1593" fmla="*/ 542912 w 5248218"/>
                <a:gd name="connsiteY1593" fmla="*/ 3756562 h 4232411"/>
                <a:gd name="connsiteX1594" fmla="*/ 480843 w 5248218"/>
                <a:gd name="connsiteY1594" fmla="*/ 3694493 h 4232411"/>
                <a:gd name="connsiteX1595" fmla="*/ 418777 w 5248218"/>
                <a:gd name="connsiteY1595" fmla="*/ 3756562 h 4232411"/>
                <a:gd name="connsiteX1596" fmla="*/ 418777 w 5248218"/>
                <a:gd name="connsiteY1596" fmla="*/ 1137905 h 4232411"/>
                <a:gd name="connsiteX1597" fmla="*/ 424688 w 5248218"/>
                <a:gd name="connsiteY1597" fmla="*/ 1143816 h 4232411"/>
                <a:gd name="connsiteX1598" fmla="*/ 430599 w 5248218"/>
                <a:gd name="connsiteY1598" fmla="*/ 1137905 h 4232411"/>
                <a:gd name="connsiteX1599" fmla="*/ 424688 w 5248218"/>
                <a:gd name="connsiteY1599" fmla="*/ 1131994 h 4232411"/>
                <a:gd name="connsiteX1600" fmla="*/ 418777 w 5248218"/>
                <a:gd name="connsiteY1600" fmla="*/ 1137905 h 4232411"/>
                <a:gd name="connsiteX1601" fmla="*/ 386264 w 5248218"/>
                <a:gd name="connsiteY1601" fmla="*/ 3097463 h 4232411"/>
                <a:gd name="connsiteX1602" fmla="*/ 451287 w 5248218"/>
                <a:gd name="connsiteY1602" fmla="*/ 3162486 h 4232411"/>
                <a:gd name="connsiteX1603" fmla="*/ 516310 w 5248218"/>
                <a:gd name="connsiteY1603" fmla="*/ 3097463 h 4232411"/>
                <a:gd name="connsiteX1604" fmla="*/ 451287 w 5248218"/>
                <a:gd name="connsiteY1604" fmla="*/ 3032440 h 4232411"/>
                <a:gd name="connsiteX1605" fmla="*/ 386264 w 5248218"/>
                <a:gd name="connsiteY1605" fmla="*/ 3097463 h 4232411"/>
                <a:gd name="connsiteX1606" fmla="*/ 386264 w 5248218"/>
                <a:gd name="connsiteY1606" fmla="*/ 2417676 h 4232411"/>
                <a:gd name="connsiteX1607" fmla="*/ 433553 w 5248218"/>
                <a:gd name="connsiteY1607" fmla="*/ 2464966 h 4232411"/>
                <a:gd name="connsiteX1608" fmla="*/ 480843 w 5248218"/>
                <a:gd name="connsiteY1608" fmla="*/ 2417676 h 4232411"/>
                <a:gd name="connsiteX1609" fmla="*/ 433553 w 5248218"/>
                <a:gd name="connsiteY1609" fmla="*/ 2370386 h 4232411"/>
                <a:gd name="connsiteX1610" fmla="*/ 386264 w 5248218"/>
                <a:gd name="connsiteY1610" fmla="*/ 2417676 h 4232411"/>
                <a:gd name="connsiteX1611" fmla="*/ 383310 w 5248218"/>
                <a:gd name="connsiteY1611" fmla="*/ 3951628 h 4232411"/>
                <a:gd name="connsiteX1612" fmla="*/ 436510 w 5248218"/>
                <a:gd name="connsiteY1612" fmla="*/ 4004828 h 4232411"/>
                <a:gd name="connsiteX1613" fmla="*/ 489711 w 5248218"/>
                <a:gd name="connsiteY1613" fmla="*/ 3951628 h 4232411"/>
                <a:gd name="connsiteX1614" fmla="*/ 436510 w 5248218"/>
                <a:gd name="connsiteY1614" fmla="*/ 3898428 h 4232411"/>
                <a:gd name="connsiteX1615" fmla="*/ 383310 w 5248218"/>
                <a:gd name="connsiteY1615" fmla="*/ 3951628 h 4232411"/>
                <a:gd name="connsiteX1616" fmla="*/ 350797 w 5248218"/>
                <a:gd name="connsiteY1616" fmla="*/ 1906360 h 4232411"/>
                <a:gd name="connsiteX1617" fmla="*/ 383310 w 5248218"/>
                <a:gd name="connsiteY1617" fmla="*/ 1938870 h 4232411"/>
                <a:gd name="connsiteX1618" fmla="*/ 415820 w 5248218"/>
                <a:gd name="connsiteY1618" fmla="*/ 1906360 h 4232411"/>
                <a:gd name="connsiteX1619" fmla="*/ 383310 w 5248218"/>
                <a:gd name="connsiteY1619" fmla="*/ 1873847 h 4232411"/>
                <a:gd name="connsiteX1620" fmla="*/ 350797 w 5248218"/>
                <a:gd name="connsiteY1620" fmla="*/ 1906360 h 4232411"/>
                <a:gd name="connsiteX1621" fmla="*/ 350797 w 5248218"/>
                <a:gd name="connsiteY1621" fmla="*/ 1362530 h 4232411"/>
                <a:gd name="connsiteX1622" fmla="*/ 359665 w 5248218"/>
                <a:gd name="connsiteY1622" fmla="*/ 1371396 h 4232411"/>
                <a:gd name="connsiteX1623" fmla="*/ 368530 w 5248218"/>
                <a:gd name="connsiteY1623" fmla="*/ 1362530 h 4232411"/>
                <a:gd name="connsiteX1624" fmla="*/ 359665 w 5248218"/>
                <a:gd name="connsiteY1624" fmla="*/ 1353662 h 4232411"/>
                <a:gd name="connsiteX1625" fmla="*/ 350797 w 5248218"/>
                <a:gd name="connsiteY1625" fmla="*/ 1362530 h 4232411"/>
                <a:gd name="connsiteX1626" fmla="*/ 341931 w 5248218"/>
                <a:gd name="connsiteY1626" fmla="*/ 3295489 h 4232411"/>
                <a:gd name="connsiteX1627" fmla="*/ 406955 w 5248218"/>
                <a:gd name="connsiteY1627" fmla="*/ 3360512 h 4232411"/>
                <a:gd name="connsiteX1628" fmla="*/ 471978 w 5248218"/>
                <a:gd name="connsiteY1628" fmla="*/ 3295489 h 4232411"/>
                <a:gd name="connsiteX1629" fmla="*/ 406955 w 5248218"/>
                <a:gd name="connsiteY1629" fmla="*/ 3230466 h 4232411"/>
                <a:gd name="connsiteX1630" fmla="*/ 341931 w 5248218"/>
                <a:gd name="connsiteY1630" fmla="*/ 3295489 h 4232411"/>
                <a:gd name="connsiteX1631" fmla="*/ 330109 w 5248218"/>
                <a:gd name="connsiteY1631" fmla="*/ 2618656 h 4232411"/>
                <a:gd name="connsiteX1632" fmla="*/ 383310 w 5248218"/>
                <a:gd name="connsiteY1632" fmla="*/ 2671857 h 4232411"/>
                <a:gd name="connsiteX1633" fmla="*/ 433556 w 5248218"/>
                <a:gd name="connsiteY1633" fmla="*/ 2618656 h 4232411"/>
                <a:gd name="connsiteX1634" fmla="*/ 383310 w 5248218"/>
                <a:gd name="connsiteY1634" fmla="*/ 2565456 h 4232411"/>
                <a:gd name="connsiteX1635" fmla="*/ 330109 w 5248218"/>
                <a:gd name="connsiteY1635" fmla="*/ 2618656 h 4232411"/>
                <a:gd name="connsiteX1636" fmla="*/ 291685 w 5248218"/>
                <a:gd name="connsiteY1636" fmla="*/ 3493512 h 4232411"/>
                <a:gd name="connsiteX1637" fmla="*/ 359665 w 5248218"/>
                <a:gd name="connsiteY1637" fmla="*/ 3561492 h 4232411"/>
                <a:gd name="connsiteX1638" fmla="*/ 427642 w 5248218"/>
                <a:gd name="connsiteY1638" fmla="*/ 3493512 h 4232411"/>
                <a:gd name="connsiteX1639" fmla="*/ 359665 w 5248218"/>
                <a:gd name="connsiteY1639" fmla="*/ 3425536 h 4232411"/>
                <a:gd name="connsiteX1640" fmla="*/ 291685 w 5248218"/>
                <a:gd name="connsiteY1640" fmla="*/ 3493512 h 4232411"/>
                <a:gd name="connsiteX1641" fmla="*/ 288728 w 5248218"/>
                <a:gd name="connsiteY1641" fmla="*/ 2116206 h 4232411"/>
                <a:gd name="connsiteX1642" fmla="*/ 330106 w 5248218"/>
                <a:gd name="connsiteY1642" fmla="*/ 2157584 h 4232411"/>
                <a:gd name="connsiteX1643" fmla="*/ 371484 w 5248218"/>
                <a:gd name="connsiteY1643" fmla="*/ 2116206 h 4232411"/>
                <a:gd name="connsiteX1644" fmla="*/ 330106 w 5248218"/>
                <a:gd name="connsiteY1644" fmla="*/ 2074827 h 4232411"/>
                <a:gd name="connsiteX1645" fmla="*/ 288728 w 5248218"/>
                <a:gd name="connsiteY1645" fmla="*/ 2116206 h 4232411"/>
                <a:gd name="connsiteX1646" fmla="*/ 288728 w 5248218"/>
                <a:gd name="connsiteY1646" fmla="*/ 1581244 h 4232411"/>
                <a:gd name="connsiteX1647" fmla="*/ 300550 w 5248218"/>
                <a:gd name="connsiteY1647" fmla="*/ 1593067 h 4232411"/>
                <a:gd name="connsiteX1648" fmla="*/ 312372 w 5248218"/>
                <a:gd name="connsiteY1648" fmla="*/ 1581244 h 4232411"/>
                <a:gd name="connsiteX1649" fmla="*/ 300550 w 5248218"/>
                <a:gd name="connsiteY1649" fmla="*/ 1569422 h 4232411"/>
                <a:gd name="connsiteX1650" fmla="*/ 288728 w 5248218"/>
                <a:gd name="connsiteY1650" fmla="*/ 1581244 h 4232411"/>
                <a:gd name="connsiteX1651" fmla="*/ 279862 w 5248218"/>
                <a:gd name="connsiteY1651" fmla="*/ 2819637 h 4232411"/>
                <a:gd name="connsiteX1652" fmla="*/ 336017 w 5248218"/>
                <a:gd name="connsiteY1652" fmla="*/ 2875795 h 4232411"/>
                <a:gd name="connsiteX1653" fmla="*/ 392175 w 5248218"/>
                <a:gd name="connsiteY1653" fmla="*/ 2819637 h 4232411"/>
                <a:gd name="connsiteX1654" fmla="*/ 336017 w 5248218"/>
                <a:gd name="connsiteY1654" fmla="*/ 2763482 h 4232411"/>
                <a:gd name="connsiteX1655" fmla="*/ 279862 w 5248218"/>
                <a:gd name="connsiteY1655" fmla="*/ 2819637 h 4232411"/>
                <a:gd name="connsiteX1656" fmla="*/ 247349 w 5248218"/>
                <a:gd name="connsiteY1656" fmla="*/ 3691536 h 4232411"/>
                <a:gd name="connsiteX1657" fmla="*/ 315330 w 5248218"/>
                <a:gd name="connsiteY1657" fmla="*/ 3759516 h 4232411"/>
                <a:gd name="connsiteX1658" fmla="*/ 383307 w 5248218"/>
                <a:gd name="connsiteY1658" fmla="*/ 3691536 h 4232411"/>
                <a:gd name="connsiteX1659" fmla="*/ 315330 w 5248218"/>
                <a:gd name="connsiteY1659" fmla="*/ 3623558 h 4232411"/>
                <a:gd name="connsiteX1660" fmla="*/ 247349 w 5248218"/>
                <a:gd name="connsiteY1660" fmla="*/ 3691536 h 4232411"/>
                <a:gd name="connsiteX1661" fmla="*/ 244395 w 5248218"/>
                <a:gd name="connsiteY1661" fmla="*/ 3886605 h 4232411"/>
                <a:gd name="connsiteX1662" fmla="*/ 270997 w 5248218"/>
                <a:gd name="connsiteY1662" fmla="*/ 3913207 h 4232411"/>
                <a:gd name="connsiteX1663" fmla="*/ 297596 w 5248218"/>
                <a:gd name="connsiteY1663" fmla="*/ 3886605 h 4232411"/>
                <a:gd name="connsiteX1664" fmla="*/ 270997 w 5248218"/>
                <a:gd name="connsiteY1664" fmla="*/ 3860006 h 4232411"/>
                <a:gd name="connsiteX1665" fmla="*/ 244395 w 5248218"/>
                <a:gd name="connsiteY1665" fmla="*/ 3886605 h 4232411"/>
                <a:gd name="connsiteX1666" fmla="*/ 235530 w 5248218"/>
                <a:gd name="connsiteY1666" fmla="*/ 1229527 h 4232411"/>
                <a:gd name="connsiteX1667" fmla="*/ 241441 w 5248218"/>
                <a:gd name="connsiteY1667" fmla="*/ 1235438 h 4232411"/>
                <a:gd name="connsiteX1668" fmla="*/ 247352 w 5248218"/>
                <a:gd name="connsiteY1668" fmla="*/ 1229527 h 4232411"/>
                <a:gd name="connsiteX1669" fmla="*/ 241441 w 5248218"/>
                <a:gd name="connsiteY1669" fmla="*/ 1223616 h 4232411"/>
                <a:gd name="connsiteX1670" fmla="*/ 235530 w 5248218"/>
                <a:gd name="connsiteY1670" fmla="*/ 1229527 h 4232411"/>
                <a:gd name="connsiteX1671" fmla="*/ 229616 w 5248218"/>
                <a:gd name="connsiteY1671" fmla="*/ 3020618 h 4232411"/>
                <a:gd name="connsiteX1672" fmla="*/ 291682 w 5248218"/>
                <a:gd name="connsiteY1672" fmla="*/ 3082686 h 4232411"/>
                <a:gd name="connsiteX1673" fmla="*/ 353751 w 5248218"/>
                <a:gd name="connsiteY1673" fmla="*/ 3020618 h 4232411"/>
                <a:gd name="connsiteX1674" fmla="*/ 291682 w 5248218"/>
                <a:gd name="connsiteY1674" fmla="*/ 2958552 h 4232411"/>
                <a:gd name="connsiteX1675" fmla="*/ 229616 w 5248218"/>
                <a:gd name="connsiteY1675" fmla="*/ 3020618 h 4232411"/>
                <a:gd name="connsiteX1676" fmla="*/ 229616 w 5248218"/>
                <a:gd name="connsiteY1676" fmla="*/ 2323097 h 4232411"/>
                <a:gd name="connsiteX1677" fmla="*/ 279862 w 5248218"/>
                <a:gd name="connsiteY1677" fmla="*/ 2373341 h 4232411"/>
                <a:gd name="connsiteX1678" fmla="*/ 330106 w 5248218"/>
                <a:gd name="connsiteY1678" fmla="*/ 2323097 h 4232411"/>
                <a:gd name="connsiteX1679" fmla="*/ 279862 w 5248218"/>
                <a:gd name="connsiteY1679" fmla="*/ 2272850 h 4232411"/>
                <a:gd name="connsiteX1680" fmla="*/ 229616 w 5248218"/>
                <a:gd name="connsiteY1680" fmla="*/ 2323097 h 4232411"/>
                <a:gd name="connsiteX1681" fmla="*/ 223708 w 5248218"/>
                <a:gd name="connsiteY1681" fmla="*/ 1797001 h 4232411"/>
                <a:gd name="connsiteX1682" fmla="*/ 241441 w 5248218"/>
                <a:gd name="connsiteY1682" fmla="*/ 1814735 h 4232411"/>
                <a:gd name="connsiteX1683" fmla="*/ 259175 w 5248218"/>
                <a:gd name="connsiteY1683" fmla="*/ 1797001 h 4232411"/>
                <a:gd name="connsiteX1684" fmla="*/ 241441 w 5248218"/>
                <a:gd name="connsiteY1684" fmla="*/ 1779268 h 4232411"/>
                <a:gd name="connsiteX1685" fmla="*/ 223708 w 5248218"/>
                <a:gd name="connsiteY1685" fmla="*/ 1797001 h 4232411"/>
                <a:gd name="connsiteX1686" fmla="*/ 208928 w 5248218"/>
                <a:gd name="connsiteY1686" fmla="*/ 848257 h 4232411"/>
                <a:gd name="connsiteX1687" fmla="*/ 214839 w 5248218"/>
                <a:gd name="connsiteY1687" fmla="*/ 854168 h 4232411"/>
                <a:gd name="connsiteX1688" fmla="*/ 220751 w 5248218"/>
                <a:gd name="connsiteY1688" fmla="*/ 848257 h 4232411"/>
                <a:gd name="connsiteX1689" fmla="*/ 214839 w 5248218"/>
                <a:gd name="connsiteY1689" fmla="*/ 842346 h 4232411"/>
                <a:gd name="connsiteX1690" fmla="*/ 208928 w 5248218"/>
                <a:gd name="connsiteY1690" fmla="*/ 848257 h 4232411"/>
                <a:gd name="connsiteX1691" fmla="*/ 179372 w 5248218"/>
                <a:gd name="connsiteY1691" fmla="*/ 3218640 h 4232411"/>
                <a:gd name="connsiteX1692" fmla="*/ 244395 w 5248218"/>
                <a:gd name="connsiteY1692" fmla="*/ 3283664 h 4232411"/>
                <a:gd name="connsiteX1693" fmla="*/ 309418 w 5248218"/>
                <a:gd name="connsiteY1693" fmla="*/ 3218640 h 4232411"/>
                <a:gd name="connsiteX1694" fmla="*/ 244395 w 5248218"/>
                <a:gd name="connsiteY1694" fmla="*/ 3153618 h 4232411"/>
                <a:gd name="connsiteX1695" fmla="*/ 179372 w 5248218"/>
                <a:gd name="connsiteY1695" fmla="*/ 3218640 h 4232411"/>
                <a:gd name="connsiteX1696" fmla="*/ 173461 w 5248218"/>
                <a:gd name="connsiteY1696" fmla="*/ 2527032 h 4232411"/>
                <a:gd name="connsiteX1697" fmla="*/ 229619 w 5248218"/>
                <a:gd name="connsiteY1697" fmla="*/ 2583190 h 4232411"/>
                <a:gd name="connsiteX1698" fmla="*/ 285774 w 5248218"/>
                <a:gd name="connsiteY1698" fmla="*/ 2527032 h 4232411"/>
                <a:gd name="connsiteX1699" fmla="*/ 229619 w 5248218"/>
                <a:gd name="connsiteY1699" fmla="*/ 2470877 h 4232411"/>
                <a:gd name="connsiteX1700" fmla="*/ 173461 w 5248218"/>
                <a:gd name="connsiteY1700" fmla="*/ 2527032 h 4232411"/>
                <a:gd name="connsiteX1701" fmla="*/ 161639 w 5248218"/>
                <a:gd name="connsiteY1701" fmla="*/ 1454152 h 4232411"/>
                <a:gd name="connsiteX1702" fmla="*/ 173461 w 5248218"/>
                <a:gd name="connsiteY1702" fmla="*/ 1465975 h 4232411"/>
                <a:gd name="connsiteX1703" fmla="*/ 185283 w 5248218"/>
                <a:gd name="connsiteY1703" fmla="*/ 1454152 h 4232411"/>
                <a:gd name="connsiteX1704" fmla="*/ 173461 w 5248218"/>
                <a:gd name="connsiteY1704" fmla="*/ 1442330 h 4232411"/>
                <a:gd name="connsiteX1705" fmla="*/ 161639 w 5248218"/>
                <a:gd name="connsiteY1705" fmla="*/ 1454152 h 4232411"/>
                <a:gd name="connsiteX1706" fmla="*/ 152770 w 5248218"/>
                <a:gd name="connsiteY1706" fmla="*/ 2009804 h 4232411"/>
                <a:gd name="connsiteX1707" fmla="*/ 188237 w 5248218"/>
                <a:gd name="connsiteY1707" fmla="*/ 2045271 h 4232411"/>
                <a:gd name="connsiteX1708" fmla="*/ 223705 w 5248218"/>
                <a:gd name="connsiteY1708" fmla="*/ 2009804 h 4232411"/>
                <a:gd name="connsiteX1709" fmla="*/ 188237 w 5248218"/>
                <a:gd name="connsiteY1709" fmla="*/ 1974337 h 4232411"/>
                <a:gd name="connsiteX1710" fmla="*/ 152770 w 5248218"/>
                <a:gd name="connsiteY1710" fmla="*/ 2009804 h 4232411"/>
                <a:gd name="connsiteX1711" fmla="*/ 132083 w 5248218"/>
                <a:gd name="connsiteY1711" fmla="*/ 3419624 h 4232411"/>
                <a:gd name="connsiteX1712" fmla="*/ 197106 w 5248218"/>
                <a:gd name="connsiteY1712" fmla="*/ 3484647 h 4232411"/>
                <a:gd name="connsiteX1713" fmla="*/ 262129 w 5248218"/>
                <a:gd name="connsiteY1713" fmla="*/ 3419624 h 4232411"/>
                <a:gd name="connsiteX1714" fmla="*/ 197106 w 5248218"/>
                <a:gd name="connsiteY1714" fmla="*/ 3354601 h 4232411"/>
                <a:gd name="connsiteX1715" fmla="*/ 132083 w 5248218"/>
                <a:gd name="connsiteY1715" fmla="*/ 3419624 h 4232411"/>
                <a:gd name="connsiteX1716" fmla="*/ 126171 w 5248218"/>
                <a:gd name="connsiteY1716" fmla="*/ 1087659 h 4232411"/>
                <a:gd name="connsiteX1717" fmla="*/ 132083 w 5248218"/>
                <a:gd name="connsiteY1717" fmla="*/ 1093570 h 4232411"/>
                <a:gd name="connsiteX1718" fmla="*/ 137994 w 5248218"/>
                <a:gd name="connsiteY1718" fmla="*/ 1087659 h 4232411"/>
                <a:gd name="connsiteX1719" fmla="*/ 132083 w 5248218"/>
                <a:gd name="connsiteY1719" fmla="*/ 1081748 h 4232411"/>
                <a:gd name="connsiteX1720" fmla="*/ 126171 w 5248218"/>
                <a:gd name="connsiteY1720" fmla="*/ 1087659 h 4232411"/>
                <a:gd name="connsiteX1721" fmla="*/ 117306 w 5248218"/>
                <a:gd name="connsiteY1721" fmla="*/ 2730969 h 4232411"/>
                <a:gd name="connsiteX1722" fmla="*/ 182329 w 5248218"/>
                <a:gd name="connsiteY1722" fmla="*/ 2795992 h 4232411"/>
                <a:gd name="connsiteX1723" fmla="*/ 247352 w 5248218"/>
                <a:gd name="connsiteY1723" fmla="*/ 2730969 h 4232411"/>
                <a:gd name="connsiteX1724" fmla="*/ 182329 w 5248218"/>
                <a:gd name="connsiteY1724" fmla="*/ 2665946 h 4232411"/>
                <a:gd name="connsiteX1725" fmla="*/ 117306 w 5248218"/>
                <a:gd name="connsiteY1725" fmla="*/ 2730969 h 4232411"/>
                <a:gd name="connsiteX1726" fmla="*/ 93662 w 5248218"/>
                <a:gd name="connsiteY1726" fmla="*/ 1675824 h 4232411"/>
                <a:gd name="connsiteX1727" fmla="*/ 111395 w 5248218"/>
                <a:gd name="connsiteY1727" fmla="*/ 1693557 h 4232411"/>
                <a:gd name="connsiteX1728" fmla="*/ 129129 w 5248218"/>
                <a:gd name="connsiteY1728" fmla="*/ 1675824 h 4232411"/>
                <a:gd name="connsiteX1729" fmla="*/ 111395 w 5248218"/>
                <a:gd name="connsiteY1729" fmla="*/ 1658090 h 4232411"/>
                <a:gd name="connsiteX1730" fmla="*/ 93662 w 5248218"/>
                <a:gd name="connsiteY1730" fmla="*/ 1675824 h 4232411"/>
                <a:gd name="connsiteX1731" fmla="*/ 90704 w 5248218"/>
                <a:gd name="connsiteY1731" fmla="*/ 2219653 h 4232411"/>
                <a:gd name="connsiteX1732" fmla="*/ 135040 w 5248218"/>
                <a:gd name="connsiteY1732" fmla="*/ 2263985 h 4232411"/>
                <a:gd name="connsiteX1733" fmla="*/ 179372 w 5248218"/>
                <a:gd name="connsiteY1733" fmla="*/ 2219653 h 4232411"/>
                <a:gd name="connsiteX1734" fmla="*/ 135040 w 5248218"/>
                <a:gd name="connsiteY1734" fmla="*/ 2175318 h 4232411"/>
                <a:gd name="connsiteX1735" fmla="*/ 90704 w 5248218"/>
                <a:gd name="connsiteY1735" fmla="*/ 2219653 h 4232411"/>
                <a:gd name="connsiteX1736" fmla="*/ 87750 w 5248218"/>
                <a:gd name="connsiteY1736" fmla="*/ 3617648 h 4232411"/>
                <a:gd name="connsiteX1737" fmla="*/ 152773 w 5248218"/>
                <a:gd name="connsiteY1737" fmla="*/ 3682670 h 4232411"/>
                <a:gd name="connsiteX1738" fmla="*/ 217796 w 5248218"/>
                <a:gd name="connsiteY1738" fmla="*/ 3617648 h 4232411"/>
                <a:gd name="connsiteX1739" fmla="*/ 152773 w 5248218"/>
                <a:gd name="connsiteY1739" fmla="*/ 3552624 h 4232411"/>
                <a:gd name="connsiteX1740" fmla="*/ 87750 w 5248218"/>
                <a:gd name="connsiteY1740" fmla="*/ 3617648 h 4232411"/>
                <a:gd name="connsiteX1741" fmla="*/ 67060 w 5248218"/>
                <a:gd name="connsiteY1741" fmla="*/ 2934906 h 4232411"/>
                <a:gd name="connsiteX1742" fmla="*/ 132083 w 5248218"/>
                <a:gd name="connsiteY1742" fmla="*/ 2999930 h 4232411"/>
                <a:gd name="connsiteX1743" fmla="*/ 197106 w 5248218"/>
                <a:gd name="connsiteY1743" fmla="*/ 2934906 h 4232411"/>
                <a:gd name="connsiteX1744" fmla="*/ 132083 w 5248218"/>
                <a:gd name="connsiteY1744" fmla="*/ 2869884 h 4232411"/>
                <a:gd name="connsiteX1745" fmla="*/ 67060 w 5248218"/>
                <a:gd name="connsiteY1745" fmla="*/ 2934906 h 4232411"/>
                <a:gd name="connsiteX1746" fmla="*/ 58194 w 5248218"/>
                <a:gd name="connsiteY1746" fmla="*/ 529050 h 4232411"/>
                <a:gd name="connsiteX1747" fmla="*/ 61148 w 5248218"/>
                <a:gd name="connsiteY1747" fmla="*/ 532007 h 4232411"/>
                <a:gd name="connsiteX1748" fmla="*/ 64106 w 5248218"/>
                <a:gd name="connsiteY1748" fmla="*/ 529050 h 4232411"/>
                <a:gd name="connsiteX1749" fmla="*/ 61148 w 5248218"/>
                <a:gd name="connsiteY1749" fmla="*/ 526096 h 4232411"/>
                <a:gd name="connsiteX1750" fmla="*/ 58194 w 5248218"/>
                <a:gd name="connsiteY1750" fmla="*/ 529050 h 4232411"/>
                <a:gd name="connsiteX1751" fmla="*/ 55237 w 5248218"/>
                <a:gd name="connsiteY1751" fmla="*/ 4013697 h 4232411"/>
                <a:gd name="connsiteX1752" fmla="*/ 61148 w 5248218"/>
                <a:gd name="connsiteY1752" fmla="*/ 4019608 h 4232411"/>
                <a:gd name="connsiteX1753" fmla="*/ 67060 w 5248218"/>
                <a:gd name="connsiteY1753" fmla="*/ 4013697 h 4232411"/>
                <a:gd name="connsiteX1754" fmla="*/ 61148 w 5248218"/>
                <a:gd name="connsiteY1754" fmla="*/ 4007786 h 4232411"/>
                <a:gd name="connsiteX1755" fmla="*/ 55237 w 5248218"/>
                <a:gd name="connsiteY1755" fmla="*/ 4013697 h 4232411"/>
                <a:gd name="connsiteX1756" fmla="*/ 51913 w 5248218"/>
                <a:gd name="connsiteY1756" fmla="*/ 1325216 h 4232411"/>
                <a:gd name="connsiteX1757" fmla="*/ 58194 w 5248218"/>
                <a:gd name="connsiteY1757" fmla="*/ 1327063 h 4232411"/>
                <a:gd name="connsiteX1758" fmla="*/ 64106 w 5248218"/>
                <a:gd name="connsiteY1758" fmla="*/ 1321152 h 4232411"/>
                <a:gd name="connsiteX1759" fmla="*/ 58194 w 5248218"/>
                <a:gd name="connsiteY1759" fmla="*/ 1315241 h 4232411"/>
                <a:gd name="connsiteX1760" fmla="*/ 52283 w 5248218"/>
                <a:gd name="connsiteY1760" fmla="*/ 1321152 h 4232411"/>
                <a:gd name="connsiteX1761" fmla="*/ 51913 w 5248218"/>
                <a:gd name="connsiteY1761" fmla="*/ 1325216 h 4232411"/>
                <a:gd name="connsiteX1762" fmla="*/ 34550 w 5248218"/>
                <a:gd name="connsiteY1762" fmla="*/ 3815670 h 4232411"/>
                <a:gd name="connsiteX1763" fmla="*/ 105484 w 5248218"/>
                <a:gd name="connsiteY1763" fmla="*/ 3886605 h 4232411"/>
                <a:gd name="connsiteX1764" fmla="*/ 176418 w 5248218"/>
                <a:gd name="connsiteY1764" fmla="*/ 3815670 h 4232411"/>
                <a:gd name="connsiteX1765" fmla="*/ 105484 w 5248218"/>
                <a:gd name="connsiteY1765" fmla="*/ 3744736 h 4232411"/>
                <a:gd name="connsiteX1766" fmla="*/ 34550 w 5248218"/>
                <a:gd name="connsiteY1766" fmla="*/ 3815670 h 4232411"/>
                <a:gd name="connsiteX1767" fmla="*/ 31592 w 5248218"/>
                <a:gd name="connsiteY1767" fmla="*/ 2426544 h 4232411"/>
                <a:gd name="connsiteX1768" fmla="*/ 81836 w 5248218"/>
                <a:gd name="connsiteY1768" fmla="*/ 2476788 h 4232411"/>
                <a:gd name="connsiteX1769" fmla="*/ 132083 w 5248218"/>
                <a:gd name="connsiteY1769" fmla="*/ 2426544 h 4232411"/>
                <a:gd name="connsiteX1770" fmla="*/ 81836 w 5248218"/>
                <a:gd name="connsiteY1770" fmla="*/ 2376298 h 4232411"/>
                <a:gd name="connsiteX1771" fmla="*/ 31592 w 5248218"/>
                <a:gd name="connsiteY1771" fmla="*/ 2426544 h 4232411"/>
                <a:gd name="connsiteX1772" fmla="*/ 25681 w 5248218"/>
                <a:gd name="connsiteY1772" fmla="*/ 936922 h 4232411"/>
                <a:gd name="connsiteX1773" fmla="*/ 34550 w 5248218"/>
                <a:gd name="connsiteY1773" fmla="*/ 945790 h 4232411"/>
                <a:gd name="connsiteX1774" fmla="*/ 43415 w 5248218"/>
                <a:gd name="connsiteY1774" fmla="*/ 936922 h 4232411"/>
                <a:gd name="connsiteX1775" fmla="*/ 34550 w 5248218"/>
                <a:gd name="connsiteY1775" fmla="*/ 928056 h 4232411"/>
                <a:gd name="connsiteX1776" fmla="*/ 25681 w 5248218"/>
                <a:gd name="connsiteY1776" fmla="*/ 936922 h 4232411"/>
                <a:gd name="connsiteX1777" fmla="*/ 19770 w 5248218"/>
                <a:gd name="connsiteY1777" fmla="*/ 3135884 h 4232411"/>
                <a:gd name="connsiteX1778" fmla="*/ 84793 w 5248218"/>
                <a:gd name="connsiteY1778" fmla="*/ 3200907 h 4232411"/>
                <a:gd name="connsiteX1779" fmla="*/ 149816 w 5248218"/>
                <a:gd name="connsiteY1779" fmla="*/ 3135884 h 4232411"/>
                <a:gd name="connsiteX1780" fmla="*/ 84793 w 5248218"/>
                <a:gd name="connsiteY1780" fmla="*/ 3070861 h 4232411"/>
                <a:gd name="connsiteX1781" fmla="*/ 19770 w 5248218"/>
                <a:gd name="connsiteY1781" fmla="*/ 3135884 h 4232411"/>
                <a:gd name="connsiteX1782" fmla="*/ 13859 w 5248218"/>
                <a:gd name="connsiteY1782" fmla="*/ 1894538 h 4232411"/>
                <a:gd name="connsiteX1783" fmla="*/ 52280 w 5248218"/>
                <a:gd name="connsiteY1783" fmla="*/ 1932959 h 4232411"/>
                <a:gd name="connsiteX1784" fmla="*/ 90704 w 5248218"/>
                <a:gd name="connsiteY1784" fmla="*/ 1894538 h 4232411"/>
                <a:gd name="connsiteX1785" fmla="*/ 52280 w 5248218"/>
                <a:gd name="connsiteY1785" fmla="*/ 1856113 h 4232411"/>
                <a:gd name="connsiteX1786" fmla="*/ 13859 w 5248218"/>
                <a:gd name="connsiteY1786" fmla="*/ 1894538 h 4232411"/>
                <a:gd name="connsiteX1787" fmla="*/ 0 w 5248218"/>
                <a:gd name="connsiteY1787" fmla="*/ 3728807 h 4232411"/>
                <a:gd name="connsiteX1788" fmla="*/ 0 w 5248218"/>
                <a:gd name="connsiteY1788" fmla="*/ 3748849 h 4232411"/>
                <a:gd name="connsiteX1789" fmla="*/ 2037 w 5248218"/>
                <a:gd name="connsiteY1789" fmla="*/ 3738828 h 4232411"/>
                <a:gd name="connsiteX1790" fmla="*/ 0 w 5248218"/>
                <a:gd name="connsiteY1790" fmla="*/ 3477794 h 4232411"/>
                <a:gd name="connsiteX1791" fmla="*/ 0 w 5248218"/>
                <a:gd name="connsiteY1791" fmla="*/ 3603810 h 4232411"/>
                <a:gd name="connsiteX1792" fmla="*/ 15337 w 5248218"/>
                <a:gd name="connsiteY1792" fmla="*/ 3600653 h 4232411"/>
                <a:gd name="connsiteX1793" fmla="*/ 55237 w 5248218"/>
                <a:gd name="connsiteY1793" fmla="*/ 3540802 h 4232411"/>
                <a:gd name="connsiteX1794" fmla="*/ 15337 w 5248218"/>
                <a:gd name="connsiteY1794" fmla="*/ 3480951 h 4232411"/>
                <a:gd name="connsiteX1795" fmla="*/ 0 w 5248218"/>
                <a:gd name="connsiteY1795" fmla="*/ 3292249 h 4232411"/>
                <a:gd name="connsiteX1796" fmla="*/ 0 w 5248218"/>
                <a:gd name="connsiteY1796" fmla="*/ 3380812 h 4232411"/>
                <a:gd name="connsiteX1797" fmla="*/ 14968 w 5248218"/>
                <a:gd name="connsiteY1797" fmla="*/ 3391312 h 4232411"/>
                <a:gd name="connsiteX1798" fmla="*/ 37504 w 5248218"/>
                <a:gd name="connsiteY1798" fmla="*/ 3395976 h 4232411"/>
                <a:gd name="connsiteX1799" fmla="*/ 96616 w 5248218"/>
                <a:gd name="connsiteY1799" fmla="*/ 3336864 h 4232411"/>
                <a:gd name="connsiteX1800" fmla="*/ 37504 w 5248218"/>
                <a:gd name="connsiteY1800" fmla="*/ 3277752 h 4232411"/>
                <a:gd name="connsiteX1801" fmla="*/ 14552 w 5248218"/>
                <a:gd name="connsiteY1801" fmla="*/ 3282417 h 4232411"/>
                <a:gd name="connsiteX1802" fmla="*/ 0 w 5248218"/>
                <a:gd name="connsiteY1802" fmla="*/ 2782098 h 4232411"/>
                <a:gd name="connsiteX1803" fmla="*/ 0 w 5248218"/>
                <a:gd name="connsiteY1803" fmla="*/ 2904465 h 4232411"/>
                <a:gd name="connsiteX1804" fmla="*/ 6472 w 5248218"/>
                <a:gd name="connsiteY1804" fmla="*/ 2903133 h 4232411"/>
                <a:gd name="connsiteX1805" fmla="*/ 46372 w 5248218"/>
                <a:gd name="connsiteY1805" fmla="*/ 2843282 h 4232411"/>
                <a:gd name="connsiteX1806" fmla="*/ 6472 w 5248218"/>
                <a:gd name="connsiteY1806" fmla="*/ 2783430 h 4232411"/>
                <a:gd name="connsiteX1807" fmla="*/ 0 w 5248218"/>
                <a:gd name="connsiteY1807" fmla="*/ 2587781 h 4232411"/>
                <a:gd name="connsiteX1808" fmla="*/ 0 w 5248218"/>
                <a:gd name="connsiteY1808" fmla="*/ 2685000 h 4232411"/>
                <a:gd name="connsiteX1809" fmla="*/ 8641 w 5248218"/>
                <a:gd name="connsiteY1809" fmla="*/ 2690838 h 4232411"/>
                <a:gd name="connsiteX1810" fmla="*/ 31592 w 5248218"/>
                <a:gd name="connsiteY1810" fmla="*/ 2695502 h 4232411"/>
                <a:gd name="connsiteX1811" fmla="*/ 90704 w 5248218"/>
                <a:gd name="connsiteY1811" fmla="*/ 2636390 h 4232411"/>
                <a:gd name="connsiteX1812" fmla="*/ 31592 w 5248218"/>
                <a:gd name="connsiteY1812" fmla="*/ 2577278 h 4232411"/>
                <a:gd name="connsiteX1813" fmla="*/ 8641 w 5248218"/>
                <a:gd name="connsiteY1813" fmla="*/ 2581943 h 4232411"/>
                <a:gd name="connsiteX1814" fmla="*/ 0 w 5248218"/>
                <a:gd name="connsiteY1814" fmla="*/ 2058460 h 4232411"/>
                <a:gd name="connsiteX1815" fmla="*/ 0 w 5248218"/>
                <a:gd name="connsiteY1815" fmla="*/ 2162129 h 4232411"/>
                <a:gd name="connsiteX1816" fmla="*/ 13953 w 5248218"/>
                <a:gd name="connsiteY1816" fmla="*/ 2159339 h 4232411"/>
                <a:gd name="connsiteX1817" fmla="*/ 46372 w 5248218"/>
                <a:gd name="connsiteY1817" fmla="*/ 2110294 h 4232411"/>
                <a:gd name="connsiteX1818" fmla="*/ 13953 w 5248218"/>
                <a:gd name="connsiteY1818" fmla="*/ 2061250 h 4232411"/>
                <a:gd name="connsiteX1819" fmla="*/ 0 w 5248218"/>
                <a:gd name="connsiteY1819" fmla="*/ 1540407 h 4232411"/>
                <a:gd name="connsiteX1820" fmla="*/ 0 w 5248218"/>
                <a:gd name="connsiteY1820" fmla="*/ 1551146 h 4232411"/>
                <a:gd name="connsiteX1821" fmla="*/ 2037 w 5248218"/>
                <a:gd name="connsiteY1821" fmla="*/ 1545777 h 423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Lst>
              <a:rect l="l" t="t" r="r" b="b"/>
              <a:pathLst>
                <a:path w="5248218" h="4232411">
                  <a:moveTo>
                    <a:pt x="5236026" y="541982"/>
                  </a:moveTo>
                  <a:cubicBezTo>
                    <a:pt x="5237134" y="543090"/>
                    <a:pt x="5239352" y="543829"/>
                    <a:pt x="5242307" y="543829"/>
                  </a:cubicBezTo>
                  <a:cubicBezTo>
                    <a:pt x="5245261" y="543829"/>
                    <a:pt x="5248218" y="540875"/>
                    <a:pt x="5248218" y="537918"/>
                  </a:cubicBezTo>
                  <a:cubicBezTo>
                    <a:pt x="5248218" y="534961"/>
                    <a:pt x="5245261" y="532007"/>
                    <a:pt x="5242307" y="532007"/>
                  </a:cubicBezTo>
                  <a:cubicBezTo>
                    <a:pt x="5239350" y="532007"/>
                    <a:pt x="5236396" y="534961"/>
                    <a:pt x="5236396" y="537918"/>
                  </a:cubicBezTo>
                  <a:cubicBezTo>
                    <a:pt x="5234917" y="539396"/>
                    <a:pt x="5234917" y="540874"/>
                    <a:pt x="5236026" y="541982"/>
                  </a:cubicBezTo>
                  <a:close/>
                  <a:moveTo>
                    <a:pt x="5230482" y="1223616"/>
                  </a:moveTo>
                  <a:cubicBezTo>
                    <a:pt x="5230482" y="1223616"/>
                    <a:pt x="5230482" y="1226573"/>
                    <a:pt x="5233439" y="1226573"/>
                  </a:cubicBezTo>
                  <a:cubicBezTo>
                    <a:pt x="5236393" y="1226573"/>
                    <a:pt x="5236393" y="1223616"/>
                    <a:pt x="5236393" y="1223616"/>
                  </a:cubicBezTo>
                  <a:cubicBezTo>
                    <a:pt x="5236393" y="1220662"/>
                    <a:pt x="5233439" y="1220662"/>
                    <a:pt x="5233439" y="1220662"/>
                  </a:cubicBezTo>
                  <a:cubicBezTo>
                    <a:pt x="5230482" y="1220662"/>
                    <a:pt x="5230482" y="1223616"/>
                    <a:pt x="5230482" y="1223616"/>
                  </a:cubicBezTo>
                  <a:close/>
                  <a:moveTo>
                    <a:pt x="5192060" y="712300"/>
                  </a:moveTo>
                  <a:cubicBezTo>
                    <a:pt x="5192060" y="715254"/>
                    <a:pt x="5195018" y="718211"/>
                    <a:pt x="5197972" y="718211"/>
                  </a:cubicBezTo>
                  <a:cubicBezTo>
                    <a:pt x="5200926" y="718211"/>
                    <a:pt x="5203883" y="715254"/>
                    <a:pt x="5203883" y="712300"/>
                  </a:cubicBezTo>
                  <a:cubicBezTo>
                    <a:pt x="5203883" y="709343"/>
                    <a:pt x="5200926" y="706389"/>
                    <a:pt x="5197972" y="706389"/>
                  </a:cubicBezTo>
                  <a:cubicBezTo>
                    <a:pt x="5195018" y="706389"/>
                    <a:pt x="5192060" y="709343"/>
                    <a:pt x="5192060" y="712300"/>
                  </a:cubicBezTo>
                  <a:close/>
                  <a:moveTo>
                    <a:pt x="5153636" y="1383218"/>
                  </a:moveTo>
                  <a:cubicBezTo>
                    <a:pt x="5153636" y="1386172"/>
                    <a:pt x="5156593" y="1389129"/>
                    <a:pt x="5159547" y="1389129"/>
                  </a:cubicBezTo>
                  <a:cubicBezTo>
                    <a:pt x="5162504" y="1389129"/>
                    <a:pt x="5165459" y="1386172"/>
                    <a:pt x="5165459" y="1383218"/>
                  </a:cubicBezTo>
                  <a:cubicBezTo>
                    <a:pt x="5165459" y="1380261"/>
                    <a:pt x="5162504" y="1377307"/>
                    <a:pt x="5159547" y="1377307"/>
                  </a:cubicBezTo>
                  <a:cubicBezTo>
                    <a:pt x="5156593" y="1377307"/>
                    <a:pt x="5153636" y="1380261"/>
                    <a:pt x="5153636" y="1383218"/>
                  </a:cubicBezTo>
                  <a:close/>
                  <a:moveTo>
                    <a:pt x="5144771" y="883721"/>
                  </a:moveTo>
                  <a:cubicBezTo>
                    <a:pt x="5144771" y="886678"/>
                    <a:pt x="5144771" y="886678"/>
                    <a:pt x="5147728" y="886678"/>
                  </a:cubicBezTo>
                  <a:cubicBezTo>
                    <a:pt x="5150682" y="886678"/>
                    <a:pt x="5150682" y="883721"/>
                    <a:pt x="5150682" y="883721"/>
                  </a:cubicBezTo>
                  <a:cubicBezTo>
                    <a:pt x="5150682" y="880767"/>
                    <a:pt x="5147728" y="880767"/>
                    <a:pt x="5147728" y="880767"/>
                  </a:cubicBezTo>
                  <a:cubicBezTo>
                    <a:pt x="5144771" y="880767"/>
                    <a:pt x="5144771" y="883721"/>
                    <a:pt x="5144771" y="883721"/>
                  </a:cubicBezTo>
                  <a:close/>
                  <a:moveTo>
                    <a:pt x="5093786" y="187681"/>
                  </a:moveTo>
                  <a:cubicBezTo>
                    <a:pt x="5094525" y="188419"/>
                    <a:pt x="5096003" y="189158"/>
                    <a:pt x="5097481" y="189158"/>
                  </a:cubicBezTo>
                  <a:cubicBezTo>
                    <a:pt x="5100435" y="189158"/>
                    <a:pt x="5100435" y="186204"/>
                    <a:pt x="5100435" y="186204"/>
                  </a:cubicBezTo>
                  <a:cubicBezTo>
                    <a:pt x="5100435" y="183247"/>
                    <a:pt x="5097481" y="183247"/>
                    <a:pt x="5097481" y="183247"/>
                  </a:cubicBezTo>
                  <a:cubicBezTo>
                    <a:pt x="5097481" y="183247"/>
                    <a:pt x="5094524" y="186204"/>
                    <a:pt x="5094524" y="186204"/>
                  </a:cubicBezTo>
                  <a:cubicBezTo>
                    <a:pt x="5093047" y="186204"/>
                    <a:pt x="5093047" y="186942"/>
                    <a:pt x="5093786" y="187681"/>
                  </a:cubicBezTo>
                  <a:close/>
                  <a:moveTo>
                    <a:pt x="5084918" y="1054779"/>
                  </a:moveTo>
                  <a:cubicBezTo>
                    <a:pt x="5085657" y="1055149"/>
                    <a:pt x="5087134" y="1055149"/>
                    <a:pt x="5088613" y="1055149"/>
                  </a:cubicBezTo>
                  <a:cubicBezTo>
                    <a:pt x="5091570" y="1055149"/>
                    <a:pt x="5091570" y="1052192"/>
                    <a:pt x="5091570" y="1052192"/>
                  </a:cubicBezTo>
                  <a:cubicBezTo>
                    <a:pt x="5091570" y="1049238"/>
                    <a:pt x="5088613" y="1049238"/>
                    <a:pt x="5088613" y="1049238"/>
                  </a:cubicBezTo>
                  <a:cubicBezTo>
                    <a:pt x="5085656" y="1049238"/>
                    <a:pt x="5085656" y="1052192"/>
                    <a:pt x="5085656" y="1052192"/>
                  </a:cubicBezTo>
                  <a:cubicBezTo>
                    <a:pt x="5084179" y="1053670"/>
                    <a:pt x="5084179" y="1054410"/>
                    <a:pt x="5084918" y="1054779"/>
                  </a:cubicBezTo>
                  <a:close/>
                  <a:moveTo>
                    <a:pt x="5064968" y="360582"/>
                  </a:moveTo>
                  <a:cubicBezTo>
                    <a:pt x="5064968" y="366494"/>
                    <a:pt x="5067925" y="366494"/>
                    <a:pt x="5070879" y="366494"/>
                  </a:cubicBezTo>
                  <a:cubicBezTo>
                    <a:pt x="5073837" y="366494"/>
                    <a:pt x="5076791" y="363540"/>
                    <a:pt x="5076791" y="360582"/>
                  </a:cubicBezTo>
                  <a:cubicBezTo>
                    <a:pt x="5076791" y="357625"/>
                    <a:pt x="5073837" y="354671"/>
                    <a:pt x="5070879" y="354671"/>
                  </a:cubicBezTo>
                  <a:cubicBezTo>
                    <a:pt x="5067925" y="354671"/>
                    <a:pt x="5064968" y="357625"/>
                    <a:pt x="5064968" y="360582"/>
                  </a:cubicBezTo>
                  <a:close/>
                  <a:moveTo>
                    <a:pt x="5032458" y="534964"/>
                  </a:moveTo>
                  <a:cubicBezTo>
                    <a:pt x="5032458" y="540875"/>
                    <a:pt x="5035412" y="540875"/>
                    <a:pt x="5038369" y="540875"/>
                  </a:cubicBezTo>
                  <a:cubicBezTo>
                    <a:pt x="5041324" y="540875"/>
                    <a:pt x="5044281" y="537918"/>
                    <a:pt x="5044281" y="534964"/>
                  </a:cubicBezTo>
                  <a:cubicBezTo>
                    <a:pt x="5044281" y="532007"/>
                    <a:pt x="5041324" y="529053"/>
                    <a:pt x="5038369" y="529053"/>
                  </a:cubicBezTo>
                  <a:cubicBezTo>
                    <a:pt x="5035412" y="529053"/>
                    <a:pt x="5032458" y="532007"/>
                    <a:pt x="5032458" y="534964"/>
                  </a:cubicBezTo>
                  <a:close/>
                  <a:moveTo>
                    <a:pt x="5014725" y="2009804"/>
                  </a:moveTo>
                  <a:cubicBezTo>
                    <a:pt x="5014725" y="2015715"/>
                    <a:pt x="5017682" y="2018669"/>
                    <a:pt x="5023593" y="2018669"/>
                  </a:cubicBezTo>
                  <a:cubicBezTo>
                    <a:pt x="5026547" y="2018669"/>
                    <a:pt x="5032458" y="2015715"/>
                    <a:pt x="5032458" y="2009804"/>
                  </a:cubicBezTo>
                  <a:cubicBezTo>
                    <a:pt x="5032458" y="2006847"/>
                    <a:pt x="5029504" y="2000936"/>
                    <a:pt x="5023593" y="2000936"/>
                  </a:cubicBezTo>
                  <a:cubicBezTo>
                    <a:pt x="5020636" y="2000936"/>
                    <a:pt x="5014725" y="2003893"/>
                    <a:pt x="5014725" y="2009804"/>
                  </a:cubicBezTo>
                  <a:close/>
                  <a:moveTo>
                    <a:pt x="4994037" y="1217705"/>
                  </a:moveTo>
                  <a:cubicBezTo>
                    <a:pt x="4994037" y="1229527"/>
                    <a:pt x="5005860" y="1241350"/>
                    <a:pt x="5017682" y="1241350"/>
                  </a:cubicBezTo>
                  <a:cubicBezTo>
                    <a:pt x="5029504" y="1241350"/>
                    <a:pt x="5041327" y="1229527"/>
                    <a:pt x="5041327" y="1217705"/>
                  </a:cubicBezTo>
                  <a:cubicBezTo>
                    <a:pt x="5041327" y="1205883"/>
                    <a:pt x="5029504" y="1194060"/>
                    <a:pt x="5017682" y="1194060"/>
                  </a:cubicBezTo>
                  <a:cubicBezTo>
                    <a:pt x="5005860" y="1194060"/>
                    <a:pt x="4994037" y="1205883"/>
                    <a:pt x="4994037" y="1217705"/>
                  </a:cubicBezTo>
                  <a:close/>
                  <a:moveTo>
                    <a:pt x="4982212" y="709343"/>
                  </a:moveTo>
                  <a:cubicBezTo>
                    <a:pt x="4982212" y="715254"/>
                    <a:pt x="4988123" y="718208"/>
                    <a:pt x="4991080" y="718208"/>
                  </a:cubicBezTo>
                  <a:cubicBezTo>
                    <a:pt x="4994034" y="718208"/>
                    <a:pt x="4999945" y="715254"/>
                    <a:pt x="4999945" y="709343"/>
                  </a:cubicBezTo>
                  <a:cubicBezTo>
                    <a:pt x="4999945" y="703432"/>
                    <a:pt x="4996991" y="700474"/>
                    <a:pt x="4991080" y="700474"/>
                  </a:cubicBezTo>
                  <a:cubicBezTo>
                    <a:pt x="4988123" y="700474"/>
                    <a:pt x="4982212" y="703432"/>
                    <a:pt x="4982212" y="709343"/>
                  </a:cubicBezTo>
                  <a:close/>
                  <a:moveTo>
                    <a:pt x="4967435" y="1696508"/>
                  </a:moveTo>
                  <a:cubicBezTo>
                    <a:pt x="4970392" y="1708334"/>
                    <a:pt x="4979258" y="1717199"/>
                    <a:pt x="4988126" y="1717199"/>
                  </a:cubicBezTo>
                  <a:cubicBezTo>
                    <a:pt x="4999948" y="1717199"/>
                    <a:pt x="5008814" y="1708334"/>
                    <a:pt x="5008814" y="1696508"/>
                  </a:cubicBezTo>
                  <a:cubicBezTo>
                    <a:pt x="5008814" y="1684689"/>
                    <a:pt x="4999948" y="1675821"/>
                    <a:pt x="4988126" y="1675821"/>
                  </a:cubicBezTo>
                  <a:cubicBezTo>
                    <a:pt x="4976304" y="1675821"/>
                    <a:pt x="4967435" y="1684689"/>
                    <a:pt x="4967435" y="1696508"/>
                  </a:cubicBezTo>
                  <a:close/>
                  <a:moveTo>
                    <a:pt x="4923100" y="880770"/>
                  </a:moveTo>
                  <a:cubicBezTo>
                    <a:pt x="4923100" y="889636"/>
                    <a:pt x="4929011" y="895547"/>
                    <a:pt x="4937879" y="895547"/>
                  </a:cubicBezTo>
                  <a:cubicBezTo>
                    <a:pt x="4946745" y="895547"/>
                    <a:pt x="4952656" y="889636"/>
                    <a:pt x="4952656" y="880770"/>
                  </a:cubicBezTo>
                  <a:cubicBezTo>
                    <a:pt x="4952656" y="871902"/>
                    <a:pt x="4946745" y="865991"/>
                    <a:pt x="4937879" y="865991"/>
                  </a:cubicBezTo>
                  <a:cubicBezTo>
                    <a:pt x="4929011" y="865991"/>
                    <a:pt x="4923100" y="871902"/>
                    <a:pt x="4923100" y="880770"/>
                  </a:cubicBezTo>
                  <a:close/>
                  <a:moveTo>
                    <a:pt x="4911280" y="2151673"/>
                  </a:moveTo>
                  <a:cubicBezTo>
                    <a:pt x="4911280" y="2157584"/>
                    <a:pt x="4914238" y="2157584"/>
                    <a:pt x="4917192" y="2157584"/>
                  </a:cubicBezTo>
                  <a:cubicBezTo>
                    <a:pt x="4920149" y="2157584"/>
                    <a:pt x="4923103" y="2154627"/>
                    <a:pt x="4923103" y="2151673"/>
                  </a:cubicBezTo>
                  <a:cubicBezTo>
                    <a:pt x="4923103" y="2148716"/>
                    <a:pt x="4920149" y="2145762"/>
                    <a:pt x="4917192" y="2145762"/>
                  </a:cubicBezTo>
                  <a:cubicBezTo>
                    <a:pt x="4914238" y="2145762"/>
                    <a:pt x="4911280" y="2148716"/>
                    <a:pt x="4911280" y="2151673"/>
                  </a:cubicBezTo>
                  <a:close/>
                  <a:moveTo>
                    <a:pt x="4905369" y="5911"/>
                  </a:moveTo>
                  <a:cubicBezTo>
                    <a:pt x="4905369" y="8868"/>
                    <a:pt x="4908323" y="11822"/>
                    <a:pt x="4911280" y="11822"/>
                  </a:cubicBezTo>
                  <a:cubicBezTo>
                    <a:pt x="4914238" y="11822"/>
                    <a:pt x="4917192" y="8868"/>
                    <a:pt x="4917192" y="5911"/>
                  </a:cubicBezTo>
                  <a:cubicBezTo>
                    <a:pt x="4917192" y="2954"/>
                    <a:pt x="4914238" y="0"/>
                    <a:pt x="4911280" y="0"/>
                  </a:cubicBezTo>
                  <a:cubicBezTo>
                    <a:pt x="4908323" y="0"/>
                    <a:pt x="4905369" y="2954"/>
                    <a:pt x="4905369" y="5911"/>
                  </a:cubicBezTo>
                  <a:close/>
                  <a:moveTo>
                    <a:pt x="4902412" y="1377310"/>
                  </a:moveTo>
                  <a:cubicBezTo>
                    <a:pt x="4902412" y="1397998"/>
                    <a:pt x="4920146" y="1415731"/>
                    <a:pt x="4940836" y="1415731"/>
                  </a:cubicBezTo>
                  <a:cubicBezTo>
                    <a:pt x="4961524" y="1415731"/>
                    <a:pt x="4979258" y="1397998"/>
                    <a:pt x="4979258" y="1377310"/>
                  </a:cubicBezTo>
                  <a:cubicBezTo>
                    <a:pt x="4979258" y="1356619"/>
                    <a:pt x="4961524" y="1338886"/>
                    <a:pt x="4940836" y="1338886"/>
                  </a:cubicBezTo>
                  <a:cubicBezTo>
                    <a:pt x="4920146" y="1338886"/>
                    <a:pt x="4902412" y="1356619"/>
                    <a:pt x="4902412" y="1377310"/>
                  </a:cubicBezTo>
                  <a:close/>
                  <a:moveTo>
                    <a:pt x="4890590" y="183247"/>
                  </a:moveTo>
                  <a:cubicBezTo>
                    <a:pt x="4890590" y="186204"/>
                    <a:pt x="4893544" y="189158"/>
                    <a:pt x="4896501" y="189158"/>
                  </a:cubicBezTo>
                  <a:cubicBezTo>
                    <a:pt x="4899458" y="189158"/>
                    <a:pt x="4902412" y="186204"/>
                    <a:pt x="4902412" y="183247"/>
                  </a:cubicBezTo>
                  <a:cubicBezTo>
                    <a:pt x="4902412" y="180290"/>
                    <a:pt x="4899458" y="177335"/>
                    <a:pt x="4896501" y="177335"/>
                  </a:cubicBezTo>
                  <a:cubicBezTo>
                    <a:pt x="4893544" y="177335"/>
                    <a:pt x="4890590" y="180290"/>
                    <a:pt x="4890590" y="183247"/>
                  </a:cubicBezTo>
                  <a:close/>
                  <a:moveTo>
                    <a:pt x="4884679" y="1847248"/>
                  </a:moveTo>
                  <a:cubicBezTo>
                    <a:pt x="4884679" y="1853159"/>
                    <a:pt x="4887633" y="1856113"/>
                    <a:pt x="4893544" y="1856113"/>
                  </a:cubicBezTo>
                  <a:cubicBezTo>
                    <a:pt x="4896501" y="1856113"/>
                    <a:pt x="4902412" y="1853159"/>
                    <a:pt x="4902412" y="1847248"/>
                  </a:cubicBezTo>
                  <a:cubicBezTo>
                    <a:pt x="4902412" y="1844291"/>
                    <a:pt x="4899458" y="1838380"/>
                    <a:pt x="4893544" y="1838380"/>
                  </a:cubicBezTo>
                  <a:cubicBezTo>
                    <a:pt x="4890590" y="1838380"/>
                    <a:pt x="4884679" y="1841337"/>
                    <a:pt x="4884679" y="1847248"/>
                  </a:cubicBezTo>
                  <a:close/>
                  <a:moveTo>
                    <a:pt x="4863988" y="360582"/>
                  </a:moveTo>
                  <a:cubicBezTo>
                    <a:pt x="4863988" y="363540"/>
                    <a:pt x="4866945" y="366494"/>
                    <a:pt x="4869899" y="366494"/>
                  </a:cubicBezTo>
                  <a:cubicBezTo>
                    <a:pt x="4872856" y="366494"/>
                    <a:pt x="4875810" y="363540"/>
                    <a:pt x="4875810" y="360582"/>
                  </a:cubicBezTo>
                  <a:cubicBezTo>
                    <a:pt x="4875810" y="357625"/>
                    <a:pt x="4872856" y="354671"/>
                    <a:pt x="4869899" y="354671"/>
                  </a:cubicBezTo>
                  <a:cubicBezTo>
                    <a:pt x="4866945" y="354671"/>
                    <a:pt x="4863988" y="357625"/>
                    <a:pt x="4863988" y="360582"/>
                  </a:cubicBezTo>
                  <a:close/>
                  <a:moveTo>
                    <a:pt x="4849211" y="1049235"/>
                  </a:moveTo>
                  <a:cubicBezTo>
                    <a:pt x="4852169" y="1061057"/>
                    <a:pt x="4861034" y="1072879"/>
                    <a:pt x="4872856" y="1072879"/>
                  </a:cubicBezTo>
                  <a:cubicBezTo>
                    <a:pt x="4884679" y="1072879"/>
                    <a:pt x="4896501" y="1061057"/>
                    <a:pt x="4896501" y="1049235"/>
                  </a:cubicBezTo>
                  <a:cubicBezTo>
                    <a:pt x="4896501" y="1037412"/>
                    <a:pt x="4884679" y="1025590"/>
                    <a:pt x="4872856" y="1025590"/>
                  </a:cubicBezTo>
                  <a:cubicBezTo>
                    <a:pt x="4861034" y="1025590"/>
                    <a:pt x="4849211" y="1037412"/>
                    <a:pt x="4849211" y="1049235"/>
                  </a:cubicBezTo>
                  <a:close/>
                  <a:moveTo>
                    <a:pt x="4828521" y="537915"/>
                  </a:moveTo>
                  <a:cubicBezTo>
                    <a:pt x="4828521" y="537915"/>
                    <a:pt x="4831478" y="540872"/>
                    <a:pt x="4831478" y="540872"/>
                  </a:cubicBezTo>
                  <a:cubicBezTo>
                    <a:pt x="4834432" y="540872"/>
                    <a:pt x="4834432" y="537915"/>
                    <a:pt x="4834432" y="537915"/>
                  </a:cubicBezTo>
                  <a:cubicBezTo>
                    <a:pt x="4834432" y="534961"/>
                    <a:pt x="4831478" y="534961"/>
                    <a:pt x="4831478" y="534961"/>
                  </a:cubicBezTo>
                  <a:cubicBezTo>
                    <a:pt x="4828521" y="534961"/>
                    <a:pt x="4828521" y="537915"/>
                    <a:pt x="4828521" y="537915"/>
                  </a:cubicBezTo>
                  <a:close/>
                  <a:moveTo>
                    <a:pt x="4825567" y="1536909"/>
                  </a:moveTo>
                  <a:cubicBezTo>
                    <a:pt x="4825567" y="1551689"/>
                    <a:pt x="4837389" y="1566465"/>
                    <a:pt x="4855123" y="1566465"/>
                  </a:cubicBezTo>
                  <a:cubicBezTo>
                    <a:pt x="4872856" y="1566465"/>
                    <a:pt x="4884679" y="1551689"/>
                    <a:pt x="4884679" y="1536909"/>
                  </a:cubicBezTo>
                  <a:cubicBezTo>
                    <a:pt x="4884679" y="1519176"/>
                    <a:pt x="4869902" y="1507353"/>
                    <a:pt x="4855123" y="1507353"/>
                  </a:cubicBezTo>
                  <a:cubicBezTo>
                    <a:pt x="4837389" y="1507353"/>
                    <a:pt x="4825567" y="1522133"/>
                    <a:pt x="4825567" y="1536909"/>
                  </a:cubicBezTo>
                  <a:close/>
                  <a:moveTo>
                    <a:pt x="4801922" y="2580236"/>
                  </a:moveTo>
                  <a:cubicBezTo>
                    <a:pt x="4804876" y="2586146"/>
                    <a:pt x="4807833" y="2586146"/>
                    <a:pt x="4807833" y="2586146"/>
                  </a:cubicBezTo>
                  <a:cubicBezTo>
                    <a:pt x="4810790" y="2586146"/>
                    <a:pt x="4813744" y="2583190"/>
                    <a:pt x="4813744" y="2580236"/>
                  </a:cubicBezTo>
                  <a:cubicBezTo>
                    <a:pt x="4813744" y="2577278"/>
                    <a:pt x="4810790" y="2574324"/>
                    <a:pt x="4807833" y="2574324"/>
                  </a:cubicBezTo>
                  <a:cubicBezTo>
                    <a:pt x="4804876" y="2574324"/>
                    <a:pt x="4801922" y="2577278"/>
                    <a:pt x="4801922" y="2580236"/>
                  </a:cubicBezTo>
                  <a:close/>
                  <a:moveTo>
                    <a:pt x="4790100" y="2293541"/>
                  </a:moveTo>
                  <a:cubicBezTo>
                    <a:pt x="4790100" y="2300070"/>
                    <a:pt x="4795393" y="2305364"/>
                    <a:pt x="4801922" y="2305364"/>
                  </a:cubicBezTo>
                  <a:cubicBezTo>
                    <a:pt x="4808451" y="2305364"/>
                    <a:pt x="4813744" y="2300070"/>
                    <a:pt x="4813744" y="2293541"/>
                  </a:cubicBezTo>
                  <a:cubicBezTo>
                    <a:pt x="4813744" y="2287013"/>
                    <a:pt x="4808451" y="2281719"/>
                    <a:pt x="4801922" y="2281719"/>
                  </a:cubicBezTo>
                  <a:cubicBezTo>
                    <a:pt x="4795393" y="2281719"/>
                    <a:pt x="4790100" y="2287013"/>
                    <a:pt x="4790100" y="2293541"/>
                  </a:cubicBezTo>
                  <a:close/>
                  <a:moveTo>
                    <a:pt x="4775320" y="1211794"/>
                  </a:moveTo>
                  <a:cubicBezTo>
                    <a:pt x="4775320" y="1226570"/>
                    <a:pt x="4787142" y="1238393"/>
                    <a:pt x="4801922" y="1238393"/>
                  </a:cubicBezTo>
                  <a:cubicBezTo>
                    <a:pt x="4816698" y="1238393"/>
                    <a:pt x="4828521" y="1226570"/>
                    <a:pt x="4828521" y="1211794"/>
                  </a:cubicBezTo>
                  <a:cubicBezTo>
                    <a:pt x="4828521" y="1197014"/>
                    <a:pt x="4816698" y="1185192"/>
                    <a:pt x="4801922" y="1185192"/>
                  </a:cubicBezTo>
                  <a:cubicBezTo>
                    <a:pt x="4787142" y="1185192"/>
                    <a:pt x="4775320" y="1197014"/>
                    <a:pt x="4775320" y="1211794"/>
                  </a:cubicBezTo>
                  <a:close/>
                  <a:moveTo>
                    <a:pt x="4772366" y="709343"/>
                  </a:moveTo>
                  <a:cubicBezTo>
                    <a:pt x="4772366" y="715254"/>
                    <a:pt x="4778277" y="721165"/>
                    <a:pt x="4784188" y="721165"/>
                  </a:cubicBezTo>
                  <a:cubicBezTo>
                    <a:pt x="4790100" y="721165"/>
                    <a:pt x="4796011" y="715254"/>
                    <a:pt x="4796011" y="709343"/>
                  </a:cubicBezTo>
                  <a:cubicBezTo>
                    <a:pt x="4796011" y="703432"/>
                    <a:pt x="4790100" y="697520"/>
                    <a:pt x="4784188" y="697520"/>
                  </a:cubicBezTo>
                  <a:cubicBezTo>
                    <a:pt x="4778277" y="697520"/>
                    <a:pt x="4772366" y="703432"/>
                    <a:pt x="4772366" y="709343"/>
                  </a:cubicBezTo>
                  <a:close/>
                  <a:moveTo>
                    <a:pt x="4751678" y="1992071"/>
                  </a:moveTo>
                  <a:cubicBezTo>
                    <a:pt x="4754632" y="2012761"/>
                    <a:pt x="4769412" y="2027538"/>
                    <a:pt x="4787146" y="2027538"/>
                  </a:cubicBezTo>
                  <a:cubicBezTo>
                    <a:pt x="4804879" y="2027538"/>
                    <a:pt x="4822613" y="2012761"/>
                    <a:pt x="4822613" y="1992071"/>
                  </a:cubicBezTo>
                  <a:cubicBezTo>
                    <a:pt x="4822613" y="1974337"/>
                    <a:pt x="4807833" y="1956604"/>
                    <a:pt x="4787146" y="1956604"/>
                  </a:cubicBezTo>
                  <a:cubicBezTo>
                    <a:pt x="4769412" y="1956604"/>
                    <a:pt x="4751678" y="1971383"/>
                    <a:pt x="4751678" y="1992071"/>
                  </a:cubicBezTo>
                  <a:close/>
                  <a:moveTo>
                    <a:pt x="4730988" y="1687646"/>
                  </a:moveTo>
                  <a:cubicBezTo>
                    <a:pt x="4730988" y="1705380"/>
                    <a:pt x="4742810" y="1717202"/>
                    <a:pt x="4760544" y="1717202"/>
                  </a:cubicBezTo>
                  <a:cubicBezTo>
                    <a:pt x="4778277" y="1717202"/>
                    <a:pt x="4790100" y="1702426"/>
                    <a:pt x="4790100" y="1687646"/>
                  </a:cubicBezTo>
                  <a:cubicBezTo>
                    <a:pt x="4790100" y="1669912"/>
                    <a:pt x="4775323" y="1658090"/>
                    <a:pt x="4760544" y="1658090"/>
                  </a:cubicBezTo>
                  <a:cubicBezTo>
                    <a:pt x="4742810" y="1658090"/>
                    <a:pt x="4730988" y="1672870"/>
                    <a:pt x="4730988" y="1687646"/>
                  </a:cubicBezTo>
                  <a:close/>
                  <a:moveTo>
                    <a:pt x="4707343" y="880767"/>
                  </a:moveTo>
                  <a:cubicBezTo>
                    <a:pt x="4704386" y="889632"/>
                    <a:pt x="4716208" y="901455"/>
                    <a:pt x="4728034" y="901455"/>
                  </a:cubicBezTo>
                  <a:cubicBezTo>
                    <a:pt x="4739853" y="901455"/>
                    <a:pt x="4748721" y="892586"/>
                    <a:pt x="4748721" y="880767"/>
                  </a:cubicBezTo>
                  <a:cubicBezTo>
                    <a:pt x="4748721" y="868945"/>
                    <a:pt x="4739853" y="860076"/>
                    <a:pt x="4728034" y="860076"/>
                  </a:cubicBezTo>
                  <a:cubicBezTo>
                    <a:pt x="4716208" y="860076"/>
                    <a:pt x="4707343" y="868945"/>
                    <a:pt x="4707343" y="880767"/>
                  </a:cubicBezTo>
                  <a:close/>
                  <a:moveTo>
                    <a:pt x="4692567" y="183247"/>
                  </a:moveTo>
                  <a:cubicBezTo>
                    <a:pt x="4692567" y="184882"/>
                    <a:pt x="4693888" y="186204"/>
                    <a:pt x="4695521" y="186204"/>
                  </a:cubicBezTo>
                  <a:cubicBezTo>
                    <a:pt x="4697156" y="186204"/>
                    <a:pt x="4698478" y="184882"/>
                    <a:pt x="4698478" y="183247"/>
                  </a:cubicBezTo>
                  <a:cubicBezTo>
                    <a:pt x="4698478" y="181614"/>
                    <a:pt x="4697153" y="180293"/>
                    <a:pt x="4695521" y="180293"/>
                  </a:cubicBezTo>
                  <a:cubicBezTo>
                    <a:pt x="4693888" y="180293"/>
                    <a:pt x="4692567" y="181614"/>
                    <a:pt x="4692567" y="183247"/>
                  </a:cubicBezTo>
                  <a:close/>
                  <a:moveTo>
                    <a:pt x="4683698" y="1371396"/>
                  </a:moveTo>
                  <a:cubicBezTo>
                    <a:pt x="4683698" y="1389129"/>
                    <a:pt x="4698478" y="1406863"/>
                    <a:pt x="4719165" y="1406863"/>
                  </a:cubicBezTo>
                  <a:cubicBezTo>
                    <a:pt x="4739853" y="1406863"/>
                    <a:pt x="4754632" y="1389129"/>
                    <a:pt x="4754632" y="1371396"/>
                  </a:cubicBezTo>
                  <a:cubicBezTo>
                    <a:pt x="4754632" y="1350708"/>
                    <a:pt x="4736899" y="1335929"/>
                    <a:pt x="4719165" y="1335929"/>
                  </a:cubicBezTo>
                  <a:cubicBezTo>
                    <a:pt x="4698478" y="1335929"/>
                    <a:pt x="4683698" y="1353662"/>
                    <a:pt x="4683698" y="1371396"/>
                  </a:cubicBezTo>
                  <a:close/>
                  <a:moveTo>
                    <a:pt x="4671876" y="2426542"/>
                  </a:moveTo>
                  <a:cubicBezTo>
                    <a:pt x="4671876" y="2432452"/>
                    <a:pt x="4677787" y="2438364"/>
                    <a:pt x="4683698" y="2438364"/>
                  </a:cubicBezTo>
                  <a:cubicBezTo>
                    <a:pt x="4689609" y="2438364"/>
                    <a:pt x="4695521" y="2432452"/>
                    <a:pt x="4695521" y="2426542"/>
                  </a:cubicBezTo>
                  <a:cubicBezTo>
                    <a:pt x="4695521" y="2420630"/>
                    <a:pt x="4689609" y="2414719"/>
                    <a:pt x="4683698" y="2414719"/>
                  </a:cubicBezTo>
                  <a:cubicBezTo>
                    <a:pt x="4677787" y="2414719"/>
                    <a:pt x="4671876" y="2420630"/>
                    <a:pt x="4671876" y="2426542"/>
                  </a:cubicBezTo>
                  <a:close/>
                  <a:moveTo>
                    <a:pt x="4651185" y="1043326"/>
                  </a:moveTo>
                  <a:cubicBezTo>
                    <a:pt x="4651185" y="1049238"/>
                    <a:pt x="4654142" y="1052192"/>
                    <a:pt x="4660053" y="1052192"/>
                  </a:cubicBezTo>
                  <a:cubicBezTo>
                    <a:pt x="4663007" y="1052192"/>
                    <a:pt x="4668919" y="1049238"/>
                    <a:pt x="4668919" y="1043326"/>
                  </a:cubicBezTo>
                  <a:cubicBezTo>
                    <a:pt x="4668919" y="1040369"/>
                    <a:pt x="4665965" y="1034458"/>
                    <a:pt x="4660053" y="1034458"/>
                  </a:cubicBezTo>
                  <a:cubicBezTo>
                    <a:pt x="4657096" y="1034458"/>
                    <a:pt x="4651185" y="1037412"/>
                    <a:pt x="4651185" y="1043326"/>
                  </a:cubicBezTo>
                  <a:close/>
                  <a:moveTo>
                    <a:pt x="4648231" y="2133939"/>
                  </a:moveTo>
                  <a:cubicBezTo>
                    <a:pt x="4648231" y="2148719"/>
                    <a:pt x="4660053" y="2160541"/>
                    <a:pt x="4674830" y="2160541"/>
                  </a:cubicBezTo>
                  <a:cubicBezTo>
                    <a:pt x="4689609" y="2160541"/>
                    <a:pt x="4701432" y="2148719"/>
                    <a:pt x="4701432" y="2133939"/>
                  </a:cubicBezTo>
                  <a:cubicBezTo>
                    <a:pt x="4701432" y="2119163"/>
                    <a:pt x="4689609" y="2107340"/>
                    <a:pt x="4674830" y="2107340"/>
                  </a:cubicBezTo>
                  <a:cubicBezTo>
                    <a:pt x="4660053" y="2107340"/>
                    <a:pt x="4648231" y="2119163"/>
                    <a:pt x="4648231" y="2133939"/>
                  </a:cubicBezTo>
                  <a:close/>
                  <a:moveTo>
                    <a:pt x="4639366" y="1832469"/>
                  </a:moveTo>
                  <a:cubicBezTo>
                    <a:pt x="4642320" y="1844291"/>
                    <a:pt x="4648234" y="1850202"/>
                    <a:pt x="4657099" y="1850202"/>
                  </a:cubicBezTo>
                  <a:cubicBezTo>
                    <a:pt x="4665965" y="1850202"/>
                    <a:pt x="4674833" y="1841337"/>
                    <a:pt x="4674833" y="1832469"/>
                  </a:cubicBezTo>
                  <a:cubicBezTo>
                    <a:pt x="4674833" y="1823603"/>
                    <a:pt x="4665965" y="1814735"/>
                    <a:pt x="4657099" y="1814735"/>
                  </a:cubicBezTo>
                  <a:cubicBezTo>
                    <a:pt x="4648234" y="1814735"/>
                    <a:pt x="4639366" y="1823603"/>
                    <a:pt x="4639366" y="1832469"/>
                  </a:cubicBezTo>
                  <a:close/>
                  <a:moveTo>
                    <a:pt x="4612764" y="1525090"/>
                  </a:moveTo>
                  <a:cubicBezTo>
                    <a:pt x="4612764" y="1533955"/>
                    <a:pt x="4618675" y="1539866"/>
                    <a:pt x="4627543" y="1539866"/>
                  </a:cubicBezTo>
                  <a:cubicBezTo>
                    <a:pt x="4636409" y="1539866"/>
                    <a:pt x="4642320" y="1533955"/>
                    <a:pt x="4642320" y="1525090"/>
                  </a:cubicBezTo>
                  <a:cubicBezTo>
                    <a:pt x="4642320" y="1516222"/>
                    <a:pt x="4636409" y="1510310"/>
                    <a:pt x="4627543" y="1510310"/>
                  </a:cubicBezTo>
                  <a:cubicBezTo>
                    <a:pt x="4618675" y="1510310"/>
                    <a:pt x="4612764" y="1516222"/>
                    <a:pt x="4612764" y="1525090"/>
                  </a:cubicBezTo>
                  <a:close/>
                  <a:moveTo>
                    <a:pt x="4571386" y="706386"/>
                  </a:moveTo>
                  <a:cubicBezTo>
                    <a:pt x="4571386" y="709343"/>
                    <a:pt x="4571386" y="712297"/>
                    <a:pt x="4577297" y="712297"/>
                  </a:cubicBezTo>
                  <a:cubicBezTo>
                    <a:pt x="4580254" y="712297"/>
                    <a:pt x="4583208" y="709343"/>
                    <a:pt x="4583208" y="706386"/>
                  </a:cubicBezTo>
                  <a:cubicBezTo>
                    <a:pt x="4583208" y="703432"/>
                    <a:pt x="4580254" y="700474"/>
                    <a:pt x="4577297" y="700474"/>
                  </a:cubicBezTo>
                  <a:cubicBezTo>
                    <a:pt x="4574343" y="700474"/>
                    <a:pt x="4571386" y="703432"/>
                    <a:pt x="4571386" y="706386"/>
                  </a:cubicBezTo>
                  <a:close/>
                  <a:moveTo>
                    <a:pt x="4562517" y="1205883"/>
                  </a:moveTo>
                  <a:cubicBezTo>
                    <a:pt x="4565474" y="1214751"/>
                    <a:pt x="4571386" y="1223616"/>
                    <a:pt x="4580251" y="1223616"/>
                  </a:cubicBezTo>
                  <a:cubicBezTo>
                    <a:pt x="4589119" y="1223616"/>
                    <a:pt x="4597984" y="1214751"/>
                    <a:pt x="4597984" y="1205883"/>
                  </a:cubicBezTo>
                  <a:cubicBezTo>
                    <a:pt x="4597984" y="1197017"/>
                    <a:pt x="4589119" y="1188149"/>
                    <a:pt x="4580251" y="1188149"/>
                  </a:cubicBezTo>
                  <a:cubicBezTo>
                    <a:pt x="4571386" y="1188149"/>
                    <a:pt x="4562517" y="1197017"/>
                    <a:pt x="4562517" y="1205883"/>
                  </a:cubicBezTo>
                  <a:close/>
                  <a:moveTo>
                    <a:pt x="4538872" y="2828506"/>
                  </a:moveTo>
                  <a:cubicBezTo>
                    <a:pt x="4538872" y="2837370"/>
                    <a:pt x="4544784" y="2840328"/>
                    <a:pt x="4550695" y="2840328"/>
                  </a:cubicBezTo>
                  <a:cubicBezTo>
                    <a:pt x="4556606" y="2840328"/>
                    <a:pt x="4562517" y="2834416"/>
                    <a:pt x="4562517" y="2828506"/>
                  </a:cubicBezTo>
                  <a:cubicBezTo>
                    <a:pt x="4562517" y="2822594"/>
                    <a:pt x="4556606" y="2816683"/>
                    <a:pt x="4550695" y="2816683"/>
                  </a:cubicBezTo>
                  <a:cubicBezTo>
                    <a:pt x="4544784" y="2816683"/>
                    <a:pt x="4538872" y="2822594"/>
                    <a:pt x="4538872" y="2828506"/>
                  </a:cubicBezTo>
                  <a:close/>
                  <a:moveTo>
                    <a:pt x="4532961" y="2553634"/>
                  </a:moveTo>
                  <a:cubicBezTo>
                    <a:pt x="4532961" y="2565456"/>
                    <a:pt x="4544784" y="2577278"/>
                    <a:pt x="4556606" y="2577278"/>
                  </a:cubicBezTo>
                  <a:cubicBezTo>
                    <a:pt x="4568428" y="2577278"/>
                    <a:pt x="4580251" y="2565456"/>
                    <a:pt x="4580251" y="2553634"/>
                  </a:cubicBezTo>
                  <a:cubicBezTo>
                    <a:pt x="4580251" y="2541811"/>
                    <a:pt x="4568428" y="2529988"/>
                    <a:pt x="4556606" y="2529988"/>
                  </a:cubicBezTo>
                  <a:cubicBezTo>
                    <a:pt x="4544784" y="2529988"/>
                    <a:pt x="4532961" y="2541811"/>
                    <a:pt x="4532961" y="2553634"/>
                  </a:cubicBezTo>
                  <a:close/>
                  <a:moveTo>
                    <a:pt x="4521142" y="2269897"/>
                  </a:moveTo>
                  <a:cubicBezTo>
                    <a:pt x="4521142" y="2287630"/>
                    <a:pt x="4538876" y="2305364"/>
                    <a:pt x="4556609" y="2305364"/>
                  </a:cubicBezTo>
                  <a:cubicBezTo>
                    <a:pt x="4577297" y="2305364"/>
                    <a:pt x="4592076" y="2287630"/>
                    <a:pt x="4592076" y="2269897"/>
                  </a:cubicBezTo>
                  <a:cubicBezTo>
                    <a:pt x="4592076" y="2249209"/>
                    <a:pt x="4574343" y="2234429"/>
                    <a:pt x="4556609" y="2234429"/>
                  </a:cubicBezTo>
                  <a:cubicBezTo>
                    <a:pt x="4535922" y="2234429"/>
                    <a:pt x="4521142" y="2252163"/>
                    <a:pt x="4521142" y="2269897"/>
                  </a:cubicBezTo>
                  <a:close/>
                  <a:moveTo>
                    <a:pt x="4521142" y="1974337"/>
                  </a:moveTo>
                  <a:cubicBezTo>
                    <a:pt x="4521142" y="1989114"/>
                    <a:pt x="4532964" y="2000936"/>
                    <a:pt x="4547741" y="2000936"/>
                  </a:cubicBezTo>
                  <a:cubicBezTo>
                    <a:pt x="4562520" y="2000936"/>
                    <a:pt x="4574343" y="1989114"/>
                    <a:pt x="4574343" y="1974337"/>
                  </a:cubicBezTo>
                  <a:cubicBezTo>
                    <a:pt x="4574343" y="1959558"/>
                    <a:pt x="4562520" y="1947735"/>
                    <a:pt x="4547741" y="1947735"/>
                  </a:cubicBezTo>
                  <a:cubicBezTo>
                    <a:pt x="4532964" y="1947735"/>
                    <a:pt x="4521142" y="1959558"/>
                    <a:pt x="4521142" y="1974337"/>
                  </a:cubicBezTo>
                  <a:close/>
                  <a:moveTo>
                    <a:pt x="4512274" y="1672866"/>
                  </a:moveTo>
                  <a:cubicBezTo>
                    <a:pt x="4512274" y="1681732"/>
                    <a:pt x="4518185" y="1690600"/>
                    <a:pt x="4530007" y="1690600"/>
                  </a:cubicBezTo>
                  <a:cubicBezTo>
                    <a:pt x="4538872" y="1690600"/>
                    <a:pt x="4547741" y="1681732"/>
                    <a:pt x="4547741" y="1672866"/>
                  </a:cubicBezTo>
                  <a:cubicBezTo>
                    <a:pt x="4547741" y="1664001"/>
                    <a:pt x="4538872" y="1655133"/>
                    <a:pt x="4530007" y="1655133"/>
                  </a:cubicBezTo>
                  <a:cubicBezTo>
                    <a:pt x="4521142" y="1655133"/>
                    <a:pt x="4512274" y="1664001"/>
                    <a:pt x="4512274" y="1672866"/>
                  </a:cubicBezTo>
                  <a:close/>
                  <a:moveTo>
                    <a:pt x="4506363" y="874856"/>
                  </a:moveTo>
                  <a:cubicBezTo>
                    <a:pt x="4506363" y="880770"/>
                    <a:pt x="4509317" y="883724"/>
                    <a:pt x="4515231" y="883724"/>
                  </a:cubicBezTo>
                  <a:cubicBezTo>
                    <a:pt x="4518185" y="883724"/>
                    <a:pt x="4524096" y="880770"/>
                    <a:pt x="4524096" y="874856"/>
                  </a:cubicBezTo>
                  <a:cubicBezTo>
                    <a:pt x="4524096" y="871902"/>
                    <a:pt x="4521142" y="865991"/>
                    <a:pt x="4515231" y="865991"/>
                  </a:cubicBezTo>
                  <a:cubicBezTo>
                    <a:pt x="4509317" y="865991"/>
                    <a:pt x="4506363" y="868945"/>
                    <a:pt x="4506363" y="874856"/>
                  </a:cubicBezTo>
                  <a:close/>
                  <a:moveTo>
                    <a:pt x="4479761" y="1359577"/>
                  </a:moveTo>
                  <a:cubicBezTo>
                    <a:pt x="4479761" y="1368442"/>
                    <a:pt x="4485672" y="1374353"/>
                    <a:pt x="4494540" y="1374353"/>
                  </a:cubicBezTo>
                  <a:cubicBezTo>
                    <a:pt x="4503405" y="1374353"/>
                    <a:pt x="4509317" y="1368442"/>
                    <a:pt x="4509317" y="1359577"/>
                  </a:cubicBezTo>
                  <a:cubicBezTo>
                    <a:pt x="4509317" y="1350708"/>
                    <a:pt x="4503405" y="1344797"/>
                    <a:pt x="4494540" y="1344797"/>
                  </a:cubicBezTo>
                  <a:cubicBezTo>
                    <a:pt x="4485672" y="1344797"/>
                    <a:pt x="4479761" y="1350708"/>
                    <a:pt x="4479761" y="1359577"/>
                  </a:cubicBezTo>
                  <a:close/>
                  <a:moveTo>
                    <a:pt x="4408829" y="1814735"/>
                  </a:moveTo>
                  <a:cubicBezTo>
                    <a:pt x="4411787" y="1823600"/>
                    <a:pt x="4414741" y="1826557"/>
                    <a:pt x="4420652" y="1826557"/>
                  </a:cubicBezTo>
                  <a:cubicBezTo>
                    <a:pt x="4426563" y="1826557"/>
                    <a:pt x="4432474" y="1820646"/>
                    <a:pt x="4432474" y="1814735"/>
                  </a:cubicBezTo>
                  <a:cubicBezTo>
                    <a:pt x="4432474" y="1808824"/>
                    <a:pt x="4426563" y="1802913"/>
                    <a:pt x="4420652" y="1802913"/>
                  </a:cubicBezTo>
                  <a:cubicBezTo>
                    <a:pt x="4414741" y="1802913"/>
                    <a:pt x="4408829" y="1808824"/>
                    <a:pt x="4408829" y="1814735"/>
                  </a:cubicBezTo>
                  <a:close/>
                  <a:moveTo>
                    <a:pt x="4405872" y="2110294"/>
                  </a:moveTo>
                  <a:cubicBezTo>
                    <a:pt x="4405872" y="2125074"/>
                    <a:pt x="4417695" y="2136896"/>
                    <a:pt x="4432474" y="2136896"/>
                  </a:cubicBezTo>
                  <a:cubicBezTo>
                    <a:pt x="4447251" y="2136896"/>
                    <a:pt x="4459073" y="2125074"/>
                    <a:pt x="4459073" y="2110294"/>
                  </a:cubicBezTo>
                  <a:cubicBezTo>
                    <a:pt x="4459073" y="2095518"/>
                    <a:pt x="4447251" y="2083696"/>
                    <a:pt x="4432474" y="2083696"/>
                  </a:cubicBezTo>
                  <a:cubicBezTo>
                    <a:pt x="4417695" y="2083696"/>
                    <a:pt x="4405872" y="2095518"/>
                    <a:pt x="4405872" y="2110294"/>
                  </a:cubicBezTo>
                  <a:close/>
                  <a:moveTo>
                    <a:pt x="4394050" y="2943772"/>
                  </a:moveTo>
                  <a:cubicBezTo>
                    <a:pt x="4397007" y="2955594"/>
                    <a:pt x="4402918" y="2961506"/>
                    <a:pt x="4411783" y="2961506"/>
                  </a:cubicBezTo>
                  <a:cubicBezTo>
                    <a:pt x="4420649" y="2961506"/>
                    <a:pt x="4429517" y="2952637"/>
                    <a:pt x="4429517" y="2943772"/>
                  </a:cubicBezTo>
                  <a:cubicBezTo>
                    <a:pt x="4429517" y="2934906"/>
                    <a:pt x="4420649" y="2926038"/>
                    <a:pt x="4411783" y="2926038"/>
                  </a:cubicBezTo>
                  <a:cubicBezTo>
                    <a:pt x="4402918" y="2926038"/>
                    <a:pt x="4394050" y="2934906"/>
                    <a:pt x="4394050" y="2943772"/>
                  </a:cubicBezTo>
                  <a:close/>
                  <a:moveTo>
                    <a:pt x="4394050" y="2671857"/>
                  </a:moveTo>
                  <a:cubicBezTo>
                    <a:pt x="4394050" y="2692548"/>
                    <a:pt x="4408829" y="2704370"/>
                    <a:pt x="4426563" y="2704370"/>
                  </a:cubicBezTo>
                  <a:cubicBezTo>
                    <a:pt x="4444293" y="2704370"/>
                    <a:pt x="4459073" y="2689591"/>
                    <a:pt x="4459073" y="2671857"/>
                  </a:cubicBezTo>
                  <a:cubicBezTo>
                    <a:pt x="4459073" y="2654127"/>
                    <a:pt x="4444293" y="2639347"/>
                    <a:pt x="4426563" y="2639347"/>
                  </a:cubicBezTo>
                  <a:cubicBezTo>
                    <a:pt x="4408829" y="2639347"/>
                    <a:pt x="4394050" y="2654127"/>
                    <a:pt x="4394050" y="2671857"/>
                  </a:cubicBezTo>
                  <a:close/>
                  <a:moveTo>
                    <a:pt x="4394050" y="2394031"/>
                  </a:moveTo>
                  <a:cubicBezTo>
                    <a:pt x="4397007" y="2417676"/>
                    <a:pt x="4411783" y="2432452"/>
                    <a:pt x="4432474" y="2432452"/>
                  </a:cubicBezTo>
                  <a:cubicBezTo>
                    <a:pt x="4453162" y="2432452"/>
                    <a:pt x="4470895" y="2414719"/>
                    <a:pt x="4470895" y="2394031"/>
                  </a:cubicBezTo>
                  <a:cubicBezTo>
                    <a:pt x="4470895" y="2373341"/>
                    <a:pt x="4453162" y="2355607"/>
                    <a:pt x="4432474" y="2355607"/>
                  </a:cubicBezTo>
                  <a:cubicBezTo>
                    <a:pt x="4411783" y="2355607"/>
                    <a:pt x="4394050" y="2373341"/>
                    <a:pt x="4394050" y="2394031"/>
                  </a:cubicBezTo>
                  <a:close/>
                  <a:moveTo>
                    <a:pt x="4391093" y="1513264"/>
                  </a:moveTo>
                  <a:cubicBezTo>
                    <a:pt x="4391093" y="1516222"/>
                    <a:pt x="4394050" y="1519176"/>
                    <a:pt x="4397004" y="1519176"/>
                  </a:cubicBezTo>
                  <a:cubicBezTo>
                    <a:pt x="4399961" y="1519176"/>
                    <a:pt x="4402915" y="1516222"/>
                    <a:pt x="4402915" y="1513264"/>
                  </a:cubicBezTo>
                  <a:cubicBezTo>
                    <a:pt x="4402915" y="1510310"/>
                    <a:pt x="4399961" y="1507353"/>
                    <a:pt x="4397004" y="1507353"/>
                  </a:cubicBezTo>
                  <a:cubicBezTo>
                    <a:pt x="4394050" y="1507353"/>
                    <a:pt x="4391093" y="1510310"/>
                    <a:pt x="4391093" y="1513264"/>
                  </a:cubicBezTo>
                  <a:close/>
                  <a:moveTo>
                    <a:pt x="4388139" y="3209776"/>
                  </a:moveTo>
                  <a:cubicBezTo>
                    <a:pt x="4388139" y="3212732"/>
                    <a:pt x="4391093" y="3215686"/>
                    <a:pt x="4394050" y="3215686"/>
                  </a:cubicBezTo>
                  <a:cubicBezTo>
                    <a:pt x="4397007" y="3215686"/>
                    <a:pt x="4399961" y="3212732"/>
                    <a:pt x="4399961" y="3209776"/>
                  </a:cubicBezTo>
                  <a:cubicBezTo>
                    <a:pt x="4399961" y="3206822"/>
                    <a:pt x="4397007" y="3203864"/>
                    <a:pt x="4394050" y="3203864"/>
                  </a:cubicBezTo>
                  <a:cubicBezTo>
                    <a:pt x="4391093" y="3203864"/>
                    <a:pt x="4388139" y="3206822"/>
                    <a:pt x="4388139" y="3209776"/>
                  </a:cubicBezTo>
                  <a:close/>
                  <a:moveTo>
                    <a:pt x="4287649" y="1953649"/>
                  </a:moveTo>
                  <a:cubicBezTo>
                    <a:pt x="4287649" y="1962515"/>
                    <a:pt x="4296517" y="1971383"/>
                    <a:pt x="4305382" y="1971383"/>
                  </a:cubicBezTo>
                  <a:cubicBezTo>
                    <a:pt x="4314250" y="1971383"/>
                    <a:pt x="4323116" y="1962515"/>
                    <a:pt x="4323116" y="1953649"/>
                  </a:cubicBezTo>
                  <a:cubicBezTo>
                    <a:pt x="4323116" y="1944784"/>
                    <a:pt x="4314250" y="1935916"/>
                    <a:pt x="4305382" y="1935916"/>
                  </a:cubicBezTo>
                  <a:cubicBezTo>
                    <a:pt x="4296517" y="1935916"/>
                    <a:pt x="4287649" y="1944784"/>
                    <a:pt x="4287649" y="1953649"/>
                  </a:cubicBezTo>
                  <a:close/>
                  <a:moveTo>
                    <a:pt x="4281737" y="2240341"/>
                  </a:moveTo>
                  <a:cubicBezTo>
                    <a:pt x="4281737" y="2255117"/>
                    <a:pt x="4293560" y="2266939"/>
                    <a:pt x="4308339" y="2266939"/>
                  </a:cubicBezTo>
                  <a:cubicBezTo>
                    <a:pt x="4323116" y="2266939"/>
                    <a:pt x="4334938" y="2255117"/>
                    <a:pt x="4334938" y="2240341"/>
                  </a:cubicBezTo>
                  <a:cubicBezTo>
                    <a:pt x="4334938" y="2225561"/>
                    <a:pt x="4323116" y="2213739"/>
                    <a:pt x="4308339" y="2213739"/>
                  </a:cubicBezTo>
                  <a:cubicBezTo>
                    <a:pt x="4293560" y="2213739"/>
                    <a:pt x="4281737" y="2225561"/>
                    <a:pt x="4281737" y="2240341"/>
                  </a:cubicBezTo>
                  <a:close/>
                  <a:moveTo>
                    <a:pt x="4281737" y="1655133"/>
                  </a:moveTo>
                  <a:cubicBezTo>
                    <a:pt x="4281737" y="1663998"/>
                    <a:pt x="4287649" y="1666955"/>
                    <a:pt x="4293560" y="1666955"/>
                  </a:cubicBezTo>
                  <a:cubicBezTo>
                    <a:pt x="4299471" y="1666955"/>
                    <a:pt x="4305382" y="1661044"/>
                    <a:pt x="4305382" y="1655133"/>
                  </a:cubicBezTo>
                  <a:cubicBezTo>
                    <a:pt x="4305382" y="1649222"/>
                    <a:pt x="4299471" y="1643311"/>
                    <a:pt x="4293560" y="1643311"/>
                  </a:cubicBezTo>
                  <a:cubicBezTo>
                    <a:pt x="4287649" y="1643311"/>
                    <a:pt x="4281737" y="1649222"/>
                    <a:pt x="4281737" y="1655133"/>
                  </a:cubicBezTo>
                  <a:close/>
                  <a:moveTo>
                    <a:pt x="4264004" y="3053130"/>
                  </a:moveTo>
                  <a:cubicBezTo>
                    <a:pt x="4264004" y="3056084"/>
                    <a:pt x="4266958" y="3059042"/>
                    <a:pt x="4269915" y="3059042"/>
                  </a:cubicBezTo>
                  <a:cubicBezTo>
                    <a:pt x="4272869" y="3059042"/>
                    <a:pt x="4275826" y="3056084"/>
                    <a:pt x="4275826" y="3053130"/>
                  </a:cubicBezTo>
                  <a:cubicBezTo>
                    <a:pt x="4275826" y="3050174"/>
                    <a:pt x="4272869" y="3047219"/>
                    <a:pt x="4269915" y="3047219"/>
                  </a:cubicBezTo>
                  <a:cubicBezTo>
                    <a:pt x="4266958" y="3047219"/>
                    <a:pt x="4264004" y="3050174"/>
                    <a:pt x="4264004" y="3053130"/>
                  </a:cubicBezTo>
                  <a:close/>
                  <a:moveTo>
                    <a:pt x="4263264" y="1353292"/>
                  </a:moveTo>
                  <a:cubicBezTo>
                    <a:pt x="4264003" y="1353662"/>
                    <a:pt x="4265481" y="1353662"/>
                    <a:pt x="4266958" y="1353662"/>
                  </a:cubicBezTo>
                  <a:cubicBezTo>
                    <a:pt x="4269915" y="1353662"/>
                    <a:pt x="4269915" y="1350705"/>
                    <a:pt x="4269915" y="1350705"/>
                  </a:cubicBezTo>
                  <a:cubicBezTo>
                    <a:pt x="4269915" y="1347751"/>
                    <a:pt x="4266958" y="1347751"/>
                    <a:pt x="4266958" y="1347751"/>
                  </a:cubicBezTo>
                  <a:cubicBezTo>
                    <a:pt x="4266958" y="1347751"/>
                    <a:pt x="4264004" y="1350705"/>
                    <a:pt x="4264004" y="1350705"/>
                  </a:cubicBezTo>
                  <a:cubicBezTo>
                    <a:pt x="4262525" y="1352184"/>
                    <a:pt x="4262525" y="1352923"/>
                    <a:pt x="4263264" y="1353292"/>
                  </a:cubicBezTo>
                  <a:close/>
                  <a:moveTo>
                    <a:pt x="4258093" y="2518166"/>
                  </a:moveTo>
                  <a:cubicBezTo>
                    <a:pt x="4258093" y="2541811"/>
                    <a:pt x="4278783" y="2562498"/>
                    <a:pt x="4302428" y="2562498"/>
                  </a:cubicBezTo>
                  <a:cubicBezTo>
                    <a:pt x="4326073" y="2562498"/>
                    <a:pt x="4346760" y="2541811"/>
                    <a:pt x="4346760" y="2518166"/>
                  </a:cubicBezTo>
                  <a:cubicBezTo>
                    <a:pt x="4346760" y="2494518"/>
                    <a:pt x="4326073" y="2473831"/>
                    <a:pt x="4302428" y="2473831"/>
                  </a:cubicBezTo>
                  <a:cubicBezTo>
                    <a:pt x="4278783" y="2473831"/>
                    <a:pt x="4258093" y="2494518"/>
                    <a:pt x="4258093" y="2518166"/>
                  </a:cubicBezTo>
                  <a:close/>
                  <a:moveTo>
                    <a:pt x="4255139" y="2787127"/>
                  </a:moveTo>
                  <a:cubicBezTo>
                    <a:pt x="4258093" y="2804858"/>
                    <a:pt x="4272872" y="2819637"/>
                    <a:pt x="4287649" y="2819637"/>
                  </a:cubicBezTo>
                  <a:cubicBezTo>
                    <a:pt x="4305382" y="2819637"/>
                    <a:pt x="4320162" y="2804858"/>
                    <a:pt x="4320162" y="2787127"/>
                  </a:cubicBezTo>
                  <a:cubicBezTo>
                    <a:pt x="4320162" y="2769394"/>
                    <a:pt x="4305382" y="2754614"/>
                    <a:pt x="4287649" y="2754614"/>
                  </a:cubicBezTo>
                  <a:cubicBezTo>
                    <a:pt x="4269918" y="2754614"/>
                    <a:pt x="4255139" y="2769394"/>
                    <a:pt x="4255139" y="2787127"/>
                  </a:cubicBezTo>
                  <a:close/>
                  <a:moveTo>
                    <a:pt x="4237405" y="3310266"/>
                  </a:moveTo>
                  <a:cubicBezTo>
                    <a:pt x="4237405" y="3316794"/>
                    <a:pt x="4242699" y="3322088"/>
                    <a:pt x="4249227" y="3322088"/>
                  </a:cubicBezTo>
                  <a:cubicBezTo>
                    <a:pt x="4255756" y="3322088"/>
                    <a:pt x="4261050" y="3316794"/>
                    <a:pt x="4261050" y="3310266"/>
                  </a:cubicBezTo>
                  <a:cubicBezTo>
                    <a:pt x="4261050" y="3303737"/>
                    <a:pt x="4255756" y="3298443"/>
                    <a:pt x="4249227" y="3298443"/>
                  </a:cubicBezTo>
                  <a:cubicBezTo>
                    <a:pt x="4242699" y="3298443"/>
                    <a:pt x="4237405" y="3303737"/>
                    <a:pt x="4237405" y="3310266"/>
                  </a:cubicBezTo>
                  <a:close/>
                  <a:moveTo>
                    <a:pt x="4169425" y="1797004"/>
                  </a:moveTo>
                  <a:cubicBezTo>
                    <a:pt x="4169425" y="1799958"/>
                    <a:pt x="4172382" y="1805870"/>
                    <a:pt x="4178293" y="1805870"/>
                  </a:cubicBezTo>
                  <a:cubicBezTo>
                    <a:pt x="4184204" y="1805870"/>
                    <a:pt x="4187158" y="1799958"/>
                    <a:pt x="4187158" y="1797004"/>
                  </a:cubicBezTo>
                  <a:cubicBezTo>
                    <a:pt x="4187158" y="1791093"/>
                    <a:pt x="4181247" y="1788136"/>
                    <a:pt x="4178293" y="1788136"/>
                  </a:cubicBezTo>
                  <a:cubicBezTo>
                    <a:pt x="4172382" y="1788136"/>
                    <a:pt x="4169425" y="1794047"/>
                    <a:pt x="4169425" y="1797004"/>
                  </a:cubicBezTo>
                  <a:close/>
                  <a:moveTo>
                    <a:pt x="4160560" y="2083696"/>
                  </a:moveTo>
                  <a:cubicBezTo>
                    <a:pt x="4160560" y="2095121"/>
                    <a:pt x="4169822" y="2104383"/>
                    <a:pt x="4181250" y="2104383"/>
                  </a:cubicBezTo>
                  <a:cubicBezTo>
                    <a:pt x="4192675" y="2104383"/>
                    <a:pt x="4201938" y="2095121"/>
                    <a:pt x="4201938" y="2083696"/>
                  </a:cubicBezTo>
                  <a:cubicBezTo>
                    <a:pt x="4201938" y="2072267"/>
                    <a:pt x="4192675" y="2063005"/>
                    <a:pt x="4181250" y="2063005"/>
                  </a:cubicBezTo>
                  <a:cubicBezTo>
                    <a:pt x="4169822" y="2063005"/>
                    <a:pt x="4160560" y="2072267"/>
                    <a:pt x="4160560" y="2083696"/>
                  </a:cubicBezTo>
                  <a:close/>
                  <a:moveTo>
                    <a:pt x="4145780" y="2361518"/>
                  </a:moveTo>
                  <a:cubicBezTo>
                    <a:pt x="4142826" y="2379252"/>
                    <a:pt x="4157602" y="2394031"/>
                    <a:pt x="4178293" y="2394031"/>
                  </a:cubicBezTo>
                  <a:cubicBezTo>
                    <a:pt x="4196027" y="2394031"/>
                    <a:pt x="4210803" y="2379252"/>
                    <a:pt x="4210803" y="2361518"/>
                  </a:cubicBezTo>
                  <a:cubicBezTo>
                    <a:pt x="4210803" y="2343788"/>
                    <a:pt x="4196027" y="2329008"/>
                    <a:pt x="4178293" y="2329008"/>
                  </a:cubicBezTo>
                  <a:cubicBezTo>
                    <a:pt x="4160560" y="2329008"/>
                    <a:pt x="4145780" y="2343788"/>
                    <a:pt x="4145780" y="2361518"/>
                  </a:cubicBezTo>
                  <a:close/>
                  <a:moveTo>
                    <a:pt x="4125089" y="2630479"/>
                  </a:moveTo>
                  <a:cubicBezTo>
                    <a:pt x="4128046" y="2654124"/>
                    <a:pt x="4142823" y="2668900"/>
                    <a:pt x="4163514" y="2668900"/>
                  </a:cubicBezTo>
                  <a:cubicBezTo>
                    <a:pt x="4184201" y="2668900"/>
                    <a:pt x="4201935" y="2651166"/>
                    <a:pt x="4201935" y="2630479"/>
                  </a:cubicBezTo>
                  <a:cubicBezTo>
                    <a:pt x="4201935" y="2609788"/>
                    <a:pt x="4184201" y="2592054"/>
                    <a:pt x="4163514" y="2592054"/>
                  </a:cubicBezTo>
                  <a:cubicBezTo>
                    <a:pt x="4142823" y="2592054"/>
                    <a:pt x="4125089" y="2609788"/>
                    <a:pt x="4125089" y="2630479"/>
                  </a:cubicBezTo>
                  <a:close/>
                  <a:moveTo>
                    <a:pt x="4101448" y="2896486"/>
                  </a:moveTo>
                  <a:cubicBezTo>
                    <a:pt x="4101448" y="2923084"/>
                    <a:pt x="4122135" y="2940818"/>
                    <a:pt x="4145783" y="2940818"/>
                  </a:cubicBezTo>
                  <a:cubicBezTo>
                    <a:pt x="4169425" y="2940818"/>
                    <a:pt x="4190115" y="2920130"/>
                    <a:pt x="4190115" y="2896486"/>
                  </a:cubicBezTo>
                  <a:cubicBezTo>
                    <a:pt x="4190115" y="2872838"/>
                    <a:pt x="4169425" y="2852150"/>
                    <a:pt x="4145783" y="2852150"/>
                  </a:cubicBezTo>
                  <a:cubicBezTo>
                    <a:pt x="4122135" y="2852150"/>
                    <a:pt x="4101448" y="2872838"/>
                    <a:pt x="4101448" y="2896486"/>
                  </a:cubicBezTo>
                  <a:close/>
                  <a:moveTo>
                    <a:pt x="4098490" y="3153618"/>
                  </a:moveTo>
                  <a:cubicBezTo>
                    <a:pt x="4098490" y="3168397"/>
                    <a:pt x="4110313" y="3180220"/>
                    <a:pt x="4125089" y="3180220"/>
                  </a:cubicBezTo>
                  <a:cubicBezTo>
                    <a:pt x="4139869" y="3180220"/>
                    <a:pt x="4151691" y="3168397"/>
                    <a:pt x="4151691" y="3153618"/>
                  </a:cubicBezTo>
                  <a:cubicBezTo>
                    <a:pt x="4151691" y="3138841"/>
                    <a:pt x="4139869" y="3127018"/>
                    <a:pt x="4125089" y="3127018"/>
                  </a:cubicBezTo>
                  <a:cubicBezTo>
                    <a:pt x="4110313" y="3127018"/>
                    <a:pt x="4098490" y="3138841"/>
                    <a:pt x="4098490" y="3153618"/>
                  </a:cubicBezTo>
                  <a:close/>
                  <a:moveTo>
                    <a:pt x="4086668" y="3407798"/>
                  </a:moveTo>
                  <a:cubicBezTo>
                    <a:pt x="4086668" y="3413710"/>
                    <a:pt x="4089622" y="3419621"/>
                    <a:pt x="4098490" y="3419621"/>
                  </a:cubicBezTo>
                  <a:cubicBezTo>
                    <a:pt x="4104402" y="3419621"/>
                    <a:pt x="4110313" y="3413710"/>
                    <a:pt x="4110313" y="3407798"/>
                  </a:cubicBezTo>
                  <a:cubicBezTo>
                    <a:pt x="4110313" y="3401888"/>
                    <a:pt x="4104402" y="3395976"/>
                    <a:pt x="4098490" y="3395976"/>
                  </a:cubicBezTo>
                  <a:cubicBezTo>
                    <a:pt x="4092579" y="3395976"/>
                    <a:pt x="4086668" y="3401888"/>
                    <a:pt x="4086668" y="3407798"/>
                  </a:cubicBezTo>
                  <a:close/>
                  <a:moveTo>
                    <a:pt x="4048247" y="1927048"/>
                  </a:moveTo>
                  <a:cubicBezTo>
                    <a:pt x="4048247" y="1932959"/>
                    <a:pt x="4051201" y="1935913"/>
                    <a:pt x="4057115" y="1935913"/>
                  </a:cubicBezTo>
                  <a:cubicBezTo>
                    <a:pt x="4063026" y="1935913"/>
                    <a:pt x="4065980" y="1930002"/>
                    <a:pt x="4065980" y="1927048"/>
                  </a:cubicBezTo>
                  <a:cubicBezTo>
                    <a:pt x="4065980" y="1921136"/>
                    <a:pt x="4060069" y="1918179"/>
                    <a:pt x="4057115" y="1918179"/>
                  </a:cubicBezTo>
                  <a:cubicBezTo>
                    <a:pt x="4051201" y="1918179"/>
                    <a:pt x="4048247" y="1924090"/>
                    <a:pt x="4048247" y="1927048"/>
                  </a:cubicBezTo>
                  <a:close/>
                  <a:moveTo>
                    <a:pt x="4048247" y="1637399"/>
                  </a:moveTo>
                  <a:cubicBezTo>
                    <a:pt x="4048247" y="1640356"/>
                    <a:pt x="4051201" y="1640356"/>
                    <a:pt x="4051201" y="1640356"/>
                  </a:cubicBezTo>
                  <a:cubicBezTo>
                    <a:pt x="4054158" y="1640356"/>
                    <a:pt x="4054158" y="1637399"/>
                    <a:pt x="4054158" y="1637399"/>
                  </a:cubicBezTo>
                  <a:cubicBezTo>
                    <a:pt x="4054158" y="1634445"/>
                    <a:pt x="4051201" y="1634445"/>
                    <a:pt x="4051201" y="1634445"/>
                  </a:cubicBezTo>
                  <a:cubicBezTo>
                    <a:pt x="4048247" y="1634445"/>
                    <a:pt x="4048247" y="1637399"/>
                    <a:pt x="4048247" y="1637399"/>
                  </a:cubicBezTo>
                  <a:close/>
                  <a:moveTo>
                    <a:pt x="4036421" y="2204873"/>
                  </a:moveTo>
                  <a:cubicBezTo>
                    <a:pt x="4036421" y="2213738"/>
                    <a:pt x="4042333" y="2222607"/>
                    <a:pt x="4054155" y="2222607"/>
                  </a:cubicBezTo>
                  <a:cubicBezTo>
                    <a:pt x="4063023" y="2222607"/>
                    <a:pt x="4071889" y="2216696"/>
                    <a:pt x="4071889" y="2204873"/>
                  </a:cubicBezTo>
                  <a:cubicBezTo>
                    <a:pt x="4071889" y="2196008"/>
                    <a:pt x="4063023" y="2187140"/>
                    <a:pt x="4054155" y="2187140"/>
                  </a:cubicBezTo>
                  <a:cubicBezTo>
                    <a:pt x="4045290" y="2187140"/>
                    <a:pt x="4036421" y="2196008"/>
                    <a:pt x="4036421" y="2204873"/>
                  </a:cubicBezTo>
                  <a:close/>
                  <a:moveTo>
                    <a:pt x="4030510" y="1335928"/>
                  </a:moveTo>
                  <a:cubicBezTo>
                    <a:pt x="4030510" y="1338886"/>
                    <a:pt x="4033467" y="1338886"/>
                    <a:pt x="4033467" y="1338886"/>
                  </a:cubicBezTo>
                  <a:cubicBezTo>
                    <a:pt x="4036421" y="1338886"/>
                    <a:pt x="4036421" y="1335928"/>
                    <a:pt x="4036421" y="1335928"/>
                  </a:cubicBezTo>
                  <a:cubicBezTo>
                    <a:pt x="4036421" y="1332974"/>
                    <a:pt x="4033467" y="1332974"/>
                    <a:pt x="4033467" y="1332974"/>
                  </a:cubicBezTo>
                  <a:cubicBezTo>
                    <a:pt x="4033467" y="1332974"/>
                    <a:pt x="4030510" y="1335928"/>
                    <a:pt x="4030510" y="1335928"/>
                  </a:cubicBezTo>
                  <a:close/>
                  <a:moveTo>
                    <a:pt x="3995046" y="2476791"/>
                  </a:moveTo>
                  <a:cubicBezTo>
                    <a:pt x="3995046" y="2500436"/>
                    <a:pt x="4015734" y="2521124"/>
                    <a:pt x="4039382" y="2521124"/>
                  </a:cubicBezTo>
                  <a:cubicBezTo>
                    <a:pt x="4063026" y="2521124"/>
                    <a:pt x="4083714" y="2500436"/>
                    <a:pt x="4083714" y="2476791"/>
                  </a:cubicBezTo>
                  <a:cubicBezTo>
                    <a:pt x="4083714" y="2453143"/>
                    <a:pt x="4063026" y="2432456"/>
                    <a:pt x="4039382" y="2432456"/>
                  </a:cubicBezTo>
                  <a:cubicBezTo>
                    <a:pt x="4015734" y="2432456"/>
                    <a:pt x="3995046" y="2453143"/>
                    <a:pt x="3995046" y="2476791"/>
                  </a:cubicBezTo>
                  <a:close/>
                  <a:moveTo>
                    <a:pt x="3968444" y="2742792"/>
                  </a:moveTo>
                  <a:cubicBezTo>
                    <a:pt x="3968444" y="2772348"/>
                    <a:pt x="3992089" y="2795992"/>
                    <a:pt x="4021645" y="2795992"/>
                  </a:cubicBezTo>
                  <a:cubicBezTo>
                    <a:pt x="4051201" y="2795992"/>
                    <a:pt x="4074846" y="2772348"/>
                    <a:pt x="4074846" y="2742792"/>
                  </a:cubicBezTo>
                  <a:cubicBezTo>
                    <a:pt x="4074846" y="2713236"/>
                    <a:pt x="4051201" y="2689591"/>
                    <a:pt x="4021645" y="2689591"/>
                  </a:cubicBezTo>
                  <a:cubicBezTo>
                    <a:pt x="3992089" y="2689591"/>
                    <a:pt x="3968444" y="2713236"/>
                    <a:pt x="3968444" y="2742792"/>
                  </a:cubicBezTo>
                  <a:close/>
                  <a:moveTo>
                    <a:pt x="3953668" y="2999930"/>
                  </a:moveTo>
                  <a:cubicBezTo>
                    <a:pt x="3953668" y="3023574"/>
                    <a:pt x="3974356" y="3044262"/>
                    <a:pt x="3998003" y="3044262"/>
                  </a:cubicBezTo>
                  <a:cubicBezTo>
                    <a:pt x="4024602" y="3044262"/>
                    <a:pt x="4042336" y="3023574"/>
                    <a:pt x="4042336" y="2999930"/>
                  </a:cubicBezTo>
                  <a:cubicBezTo>
                    <a:pt x="4042336" y="2976282"/>
                    <a:pt x="4021645" y="2955594"/>
                    <a:pt x="3998003" y="2955594"/>
                  </a:cubicBezTo>
                  <a:cubicBezTo>
                    <a:pt x="3971401" y="2955594"/>
                    <a:pt x="3953668" y="2976282"/>
                    <a:pt x="3953668" y="2999930"/>
                  </a:cubicBezTo>
                  <a:close/>
                  <a:moveTo>
                    <a:pt x="3932977" y="3248196"/>
                  </a:moveTo>
                  <a:cubicBezTo>
                    <a:pt x="3935934" y="3271842"/>
                    <a:pt x="3950711" y="3286621"/>
                    <a:pt x="3971401" y="3286621"/>
                  </a:cubicBezTo>
                  <a:cubicBezTo>
                    <a:pt x="3992089" y="3286621"/>
                    <a:pt x="4009823" y="3268888"/>
                    <a:pt x="4009823" y="3248196"/>
                  </a:cubicBezTo>
                  <a:cubicBezTo>
                    <a:pt x="4009823" y="3227509"/>
                    <a:pt x="3992089" y="3209776"/>
                    <a:pt x="3971401" y="3209776"/>
                  </a:cubicBezTo>
                  <a:cubicBezTo>
                    <a:pt x="3950711" y="3209776"/>
                    <a:pt x="3932977" y="3227509"/>
                    <a:pt x="3932977" y="3248196"/>
                  </a:cubicBezTo>
                  <a:close/>
                  <a:moveTo>
                    <a:pt x="3930023" y="3496466"/>
                  </a:moveTo>
                  <a:cubicBezTo>
                    <a:pt x="3932977" y="3502378"/>
                    <a:pt x="3935934" y="3508289"/>
                    <a:pt x="3941846" y="3508289"/>
                  </a:cubicBezTo>
                  <a:cubicBezTo>
                    <a:pt x="3947757" y="3508289"/>
                    <a:pt x="3953668" y="3502378"/>
                    <a:pt x="3953668" y="3496466"/>
                  </a:cubicBezTo>
                  <a:cubicBezTo>
                    <a:pt x="3953668" y="3490556"/>
                    <a:pt x="3947757" y="3484644"/>
                    <a:pt x="3941846" y="3484644"/>
                  </a:cubicBezTo>
                  <a:cubicBezTo>
                    <a:pt x="3935934" y="3484644"/>
                    <a:pt x="3930023" y="3490556"/>
                    <a:pt x="3930023" y="3496466"/>
                  </a:cubicBezTo>
                  <a:close/>
                  <a:moveTo>
                    <a:pt x="3924112" y="1767448"/>
                  </a:moveTo>
                  <a:cubicBezTo>
                    <a:pt x="3924112" y="1773360"/>
                    <a:pt x="3927066" y="1776314"/>
                    <a:pt x="3932977" y="1776314"/>
                  </a:cubicBezTo>
                  <a:cubicBezTo>
                    <a:pt x="3938891" y="1776314"/>
                    <a:pt x="3941846" y="1773360"/>
                    <a:pt x="3941846" y="1767448"/>
                  </a:cubicBezTo>
                  <a:cubicBezTo>
                    <a:pt x="3941846" y="1761537"/>
                    <a:pt x="3938891" y="1758580"/>
                    <a:pt x="3932977" y="1758580"/>
                  </a:cubicBezTo>
                  <a:cubicBezTo>
                    <a:pt x="3927066" y="1758580"/>
                    <a:pt x="3924112" y="1761537"/>
                    <a:pt x="3924112" y="1767448"/>
                  </a:cubicBezTo>
                  <a:close/>
                  <a:moveTo>
                    <a:pt x="3921155" y="1477797"/>
                  </a:moveTo>
                  <a:cubicBezTo>
                    <a:pt x="3921155" y="1480751"/>
                    <a:pt x="3924112" y="1480751"/>
                    <a:pt x="3924112" y="1480751"/>
                  </a:cubicBezTo>
                  <a:cubicBezTo>
                    <a:pt x="3927066" y="1480751"/>
                    <a:pt x="3927066" y="1477797"/>
                    <a:pt x="3927066" y="1477797"/>
                  </a:cubicBezTo>
                  <a:cubicBezTo>
                    <a:pt x="3927066" y="1474840"/>
                    <a:pt x="3924112" y="1474840"/>
                    <a:pt x="3924112" y="1474840"/>
                  </a:cubicBezTo>
                  <a:cubicBezTo>
                    <a:pt x="3921155" y="1474840"/>
                    <a:pt x="3921155" y="1477797"/>
                    <a:pt x="3921155" y="1477797"/>
                  </a:cubicBezTo>
                  <a:close/>
                  <a:moveTo>
                    <a:pt x="3909332" y="2048225"/>
                  </a:moveTo>
                  <a:cubicBezTo>
                    <a:pt x="3912286" y="2060048"/>
                    <a:pt x="3918198" y="2065959"/>
                    <a:pt x="3927066" y="2065959"/>
                  </a:cubicBezTo>
                  <a:cubicBezTo>
                    <a:pt x="3935931" y="2065959"/>
                    <a:pt x="3944800" y="2057094"/>
                    <a:pt x="3944800" y="2048225"/>
                  </a:cubicBezTo>
                  <a:cubicBezTo>
                    <a:pt x="3944800" y="2039360"/>
                    <a:pt x="3935931" y="2030492"/>
                    <a:pt x="3927066" y="2030492"/>
                  </a:cubicBezTo>
                  <a:cubicBezTo>
                    <a:pt x="3918198" y="2030492"/>
                    <a:pt x="3909332" y="2039360"/>
                    <a:pt x="3909332" y="2048225"/>
                  </a:cubicBezTo>
                  <a:close/>
                  <a:moveTo>
                    <a:pt x="3882731" y="2323100"/>
                  </a:moveTo>
                  <a:cubicBezTo>
                    <a:pt x="3882731" y="2340831"/>
                    <a:pt x="3897510" y="2355610"/>
                    <a:pt x="3915244" y="2355610"/>
                  </a:cubicBezTo>
                  <a:cubicBezTo>
                    <a:pt x="3932974" y="2355610"/>
                    <a:pt x="3947754" y="2340831"/>
                    <a:pt x="3947754" y="2323100"/>
                  </a:cubicBezTo>
                  <a:cubicBezTo>
                    <a:pt x="3947754" y="2305367"/>
                    <a:pt x="3932974" y="2290587"/>
                    <a:pt x="3915244" y="2290587"/>
                  </a:cubicBezTo>
                  <a:cubicBezTo>
                    <a:pt x="3897510" y="2290587"/>
                    <a:pt x="3882731" y="2305367"/>
                    <a:pt x="3882731" y="2323100"/>
                  </a:cubicBezTo>
                  <a:close/>
                  <a:moveTo>
                    <a:pt x="3853175" y="2583190"/>
                  </a:moveTo>
                  <a:cubicBezTo>
                    <a:pt x="3853175" y="2609788"/>
                    <a:pt x="3873862" y="2627522"/>
                    <a:pt x="3897510" y="2627522"/>
                  </a:cubicBezTo>
                  <a:cubicBezTo>
                    <a:pt x="3921155" y="2627522"/>
                    <a:pt x="3941842" y="2606834"/>
                    <a:pt x="3941842" y="2583190"/>
                  </a:cubicBezTo>
                  <a:cubicBezTo>
                    <a:pt x="3941842" y="2559544"/>
                    <a:pt x="3921155" y="2538854"/>
                    <a:pt x="3897510" y="2538854"/>
                  </a:cubicBezTo>
                  <a:cubicBezTo>
                    <a:pt x="3873862" y="2538854"/>
                    <a:pt x="3853175" y="2559544"/>
                    <a:pt x="3853175" y="2583190"/>
                  </a:cubicBezTo>
                  <a:close/>
                  <a:moveTo>
                    <a:pt x="3829530" y="2843282"/>
                  </a:moveTo>
                  <a:cubicBezTo>
                    <a:pt x="3829530" y="2866926"/>
                    <a:pt x="3850221" y="2887614"/>
                    <a:pt x="3873865" y="2887614"/>
                  </a:cubicBezTo>
                  <a:cubicBezTo>
                    <a:pt x="3900464" y="2887614"/>
                    <a:pt x="3918198" y="2866926"/>
                    <a:pt x="3918198" y="2843282"/>
                  </a:cubicBezTo>
                  <a:cubicBezTo>
                    <a:pt x="3918198" y="2816680"/>
                    <a:pt x="3897510" y="2798946"/>
                    <a:pt x="3873865" y="2798946"/>
                  </a:cubicBezTo>
                  <a:cubicBezTo>
                    <a:pt x="3847263" y="2798946"/>
                    <a:pt x="3829530" y="2819634"/>
                    <a:pt x="3829530" y="2843282"/>
                  </a:cubicBezTo>
                  <a:close/>
                  <a:moveTo>
                    <a:pt x="3805888" y="3094509"/>
                  </a:moveTo>
                  <a:cubicBezTo>
                    <a:pt x="3805888" y="3115196"/>
                    <a:pt x="3823622" y="3135887"/>
                    <a:pt x="3847267" y="3135887"/>
                  </a:cubicBezTo>
                  <a:cubicBezTo>
                    <a:pt x="3870911" y="3135887"/>
                    <a:pt x="3888645" y="3118154"/>
                    <a:pt x="3888645" y="3094509"/>
                  </a:cubicBezTo>
                  <a:cubicBezTo>
                    <a:pt x="3888645" y="3070864"/>
                    <a:pt x="3870911" y="3053130"/>
                    <a:pt x="3847267" y="3053130"/>
                  </a:cubicBezTo>
                  <a:cubicBezTo>
                    <a:pt x="3823622" y="3053130"/>
                    <a:pt x="3805888" y="3070864"/>
                    <a:pt x="3805888" y="3094509"/>
                  </a:cubicBezTo>
                  <a:close/>
                  <a:moveTo>
                    <a:pt x="3799974" y="1610800"/>
                  </a:moveTo>
                  <a:cubicBezTo>
                    <a:pt x="3802931" y="1613758"/>
                    <a:pt x="3802931" y="1616712"/>
                    <a:pt x="3805885" y="1616712"/>
                  </a:cubicBezTo>
                  <a:cubicBezTo>
                    <a:pt x="3808842" y="1616712"/>
                    <a:pt x="3811796" y="1613758"/>
                    <a:pt x="3811796" y="1610800"/>
                  </a:cubicBezTo>
                  <a:cubicBezTo>
                    <a:pt x="3811796" y="1607843"/>
                    <a:pt x="3808842" y="1604889"/>
                    <a:pt x="3805885" y="1604889"/>
                  </a:cubicBezTo>
                  <a:cubicBezTo>
                    <a:pt x="3802931" y="1604889"/>
                    <a:pt x="3799974" y="1607843"/>
                    <a:pt x="3799974" y="1610800"/>
                  </a:cubicBezTo>
                  <a:close/>
                  <a:moveTo>
                    <a:pt x="3791109" y="1894534"/>
                  </a:moveTo>
                  <a:cubicBezTo>
                    <a:pt x="3791109" y="1900446"/>
                    <a:pt x="3797020" y="1906357"/>
                    <a:pt x="3802931" y="1906357"/>
                  </a:cubicBezTo>
                  <a:cubicBezTo>
                    <a:pt x="3808842" y="1906357"/>
                    <a:pt x="3814753" y="1900446"/>
                    <a:pt x="3814753" y="1894534"/>
                  </a:cubicBezTo>
                  <a:cubicBezTo>
                    <a:pt x="3814753" y="1888623"/>
                    <a:pt x="3808842" y="1882712"/>
                    <a:pt x="3802931" y="1882712"/>
                  </a:cubicBezTo>
                  <a:cubicBezTo>
                    <a:pt x="3797020" y="1882712"/>
                    <a:pt x="3791109" y="1888623"/>
                    <a:pt x="3791109" y="1894534"/>
                  </a:cubicBezTo>
                  <a:close/>
                  <a:moveTo>
                    <a:pt x="3782243" y="3336864"/>
                  </a:moveTo>
                  <a:cubicBezTo>
                    <a:pt x="3782243" y="3357555"/>
                    <a:pt x="3797023" y="3372332"/>
                    <a:pt x="3817711" y="3372332"/>
                  </a:cubicBezTo>
                  <a:cubicBezTo>
                    <a:pt x="3835444" y="3372332"/>
                    <a:pt x="3853178" y="3357555"/>
                    <a:pt x="3853178" y="3336864"/>
                  </a:cubicBezTo>
                  <a:cubicBezTo>
                    <a:pt x="3853178" y="3319131"/>
                    <a:pt x="3838398" y="3301397"/>
                    <a:pt x="3817711" y="3301397"/>
                  </a:cubicBezTo>
                  <a:cubicBezTo>
                    <a:pt x="3799977" y="3301397"/>
                    <a:pt x="3782243" y="3316177"/>
                    <a:pt x="3782243" y="3336864"/>
                  </a:cubicBezTo>
                  <a:close/>
                  <a:moveTo>
                    <a:pt x="3773375" y="2166449"/>
                  </a:moveTo>
                  <a:cubicBezTo>
                    <a:pt x="3773375" y="2175318"/>
                    <a:pt x="3782243" y="2184182"/>
                    <a:pt x="3791109" y="2184182"/>
                  </a:cubicBezTo>
                  <a:cubicBezTo>
                    <a:pt x="3799974" y="2184182"/>
                    <a:pt x="3808842" y="2175318"/>
                    <a:pt x="3808842" y="2166449"/>
                  </a:cubicBezTo>
                  <a:cubicBezTo>
                    <a:pt x="3808842" y="2157584"/>
                    <a:pt x="3799974" y="2148716"/>
                    <a:pt x="3791109" y="2148716"/>
                  </a:cubicBezTo>
                  <a:cubicBezTo>
                    <a:pt x="3782243" y="2148716"/>
                    <a:pt x="3773375" y="2157584"/>
                    <a:pt x="3773375" y="2166449"/>
                  </a:cubicBezTo>
                  <a:close/>
                  <a:moveTo>
                    <a:pt x="3755642" y="3579226"/>
                  </a:moveTo>
                  <a:cubicBezTo>
                    <a:pt x="3755642" y="3594006"/>
                    <a:pt x="3767464" y="3608782"/>
                    <a:pt x="3785197" y="3608782"/>
                  </a:cubicBezTo>
                  <a:cubicBezTo>
                    <a:pt x="3802931" y="3608782"/>
                    <a:pt x="3814753" y="3594006"/>
                    <a:pt x="3814753" y="3579226"/>
                  </a:cubicBezTo>
                  <a:cubicBezTo>
                    <a:pt x="3814753" y="3564450"/>
                    <a:pt x="3799977" y="3549670"/>
                    <a:pt x="3785197" y="3549670"/>
                  </a:cubicBezTo>
                  <a:cubicBezTo>
                    <a:pt x="3767464" y="3549670"/>
                    <a:pt x="3755642" y="3564450"/>
                    <a:pt x="3755642" y="3579226"/>
                  </a:cubicBezTo>
                  <a:close/>
                  <a:moveTo>
                    <a:pt x="3740862" y="2429498"/>
                  </a:moveTo>
                  <a:cubicBezTo>
                    <a:pt x="3740862" y="2447232"/>
                    <a:pt x="3755642" y="2462012"/>
                    <a:pt x="3773375" y="2462012"/>
                  </a:cubicBezTo>
                  <a:cubicBezTo>
                    <a:pt x="3791109" y="2462012"/>
                    <a:pt x="3805885" y="2447232"/>
                    <a:pt x="3805885" y="2429498"/>
                  </a:cubicBezTo>
                  <a:cubicBezTo>
                    <a:pt x="3805885" y="2411768"/>
                    <a:pt x="3791109" y="2396988"/>
                    <a:pt x="3773375" y="2396988"/>
                  </a:cubicBezTo>
                  <a:cubicBezTo>
                    <a:pt x="3755642" y="2396988"/>
                    <a:pt x="3740862" y="2411768"/>
                    <a:pt x="3740862" y="2429498"/>
                  </a:cubicBezTo>
                  <a:close/>
                  <a:moveTo>
                    <a:pt x="3702441" y="2686636"/>
                  </a:moveTo>
                  <a:cubicBezTo>
                    <a:pt x="3699484" y="2713238"/>
                    <a:pt x="3723128" y="2733926"/>
                    <a:pt x="3749730" y="2733926"/>
                  </a:cubicBezTo>
                  <a:cubicBezTo>
                    <a:pt x="3776329" y="2733926"/>
                    <a:pt x="3797020" y="2713238"/>
                    <a:pt x="3797020" y="2686636"/>
                  </a:cubicBezTo>
                  <a:cubicBezTo>
                    <a:pt x="3797020" y="2660035"/>
                    <a:pt x="3776329" y="2639347"/>
                    <a:pt x="3749730" y="2639347"/>
                  </a:cubicBezTo>
                  <a:cubicBezTo>
                    <a:pt x="3723128" y="2639347"/>
                    <a:pt x="3702441" y="2660035"/>
                    <a:pt x="3702441" y="2686636"/>
                  </a:cubicBezTo>
                  <a:close/>
                  <a:moveTo>
                    <a:pt x="3675839" y="1737890"/>
                  </a:moveTo>
                  <a:cubicBezTo>
                    <a:pt x="3675839" y="1740844"/>
                    <a:pt x="3675839" y="1740844"/>
                    <a:pt x="3678796" y="1740844"/>
                  </a:cubicBezTo>
                  <a:cubicBezTo>
                    <a:pt x="3681750" y="1740844"/>
                    <a:pt x="3681750" y="1737890"/>
                    <a:pt x="3681750" y="1737890"/>
                  </a:cubicBezTo>
                  <a:cubicBezTo>
                    <a:pt x="3681750" y="1734932"/>
                    <a:pt x="3678796" y="1734932"/>
                    <a:pt x="3678796" y="1734932"/>
                  </a:cubicBezTo>
                  <a:cubicBezTo>
                    <a:pt x="3675839" y="1734932"/>
                    <a:pt x="3675839" y="1737890"/>
                    <a:pt x="3675839" y="1737890"/>
                  </a:cubicBezTo>
                  <a:close/>
                  <a:moveTo>
                    <a:pt x="3675839" y="1454152"/>
                  </a:moveTo>
                  <a:cubicBezTo>
                    <a:pt x="3675839" y="1457110"/>
                    <a:pt x="3678796" y="1460064"/>
                    <a:pt x="3681750" y="1460064"/>
                  </a:cubicBezTo>
                  <a:cubicBezTo>
                    <a:pt x="3684707" y="1460064"/>
                    <a:pt x="3687661" y="1457110"/>
                    <a:pt x="3687661" y="1454152"/>
                  </a:cubicBezTo>
                  <a:cubicBezTo>
                    <a:pt x="3687661" y="1451198"/>
                    <a:pt x="3684707" y="1448241"/>
                    <a:pt x="3681750" y="1448241"/>
                  </a:cubicBezTo>
                  <a:cubicBezTo>
                    <a:pt x="3678796" y="1448241"/>
                    <a:pt x="3675839" y="1451198"/>
                    <a:pt x="3675839" y="1454152"/>
                  </a:cubicBezTo>
                  <a:close/>
                  <a:moveTo>
                    <a:pt x="3666974" y="2934906"/>
                  </a:moveTo>
                  <a:cubicBezTo>
                    <a:pt x="3666974" y="2964462"/>
                    <a:pt x="3693576" y="2988108"/>
                    <a:pt x="3720174" y="2988108"/>
                  </a:cubicBezTo>
                  <a:cubicBezTo>
                    <a:pt x="3749730" y="2988108"/>
                    <a:pt x="3773375" y="2964462"/>
                    <a:pt x="3773375" y="2934906"/>
                  </a:cubicBezTo>
                  <a:cubicBezTo>
                    <a:pt x="3773375" y="2905350"/>
                    <a:pt x="3749730" y="2881706"/>
                    <a:pt x="3720174" y="2881706"/>
                  </a:cubicBezTo>
                  <a:cubicBezTo>
                    <a:pt x="3690618" y="2881706"/>
                    <a:pt x="3666974" y="2905350"/>
                    <a:pt x="3666974" y="2934906"/>
                  </a:cubicBezTo>
                  <a:close/>
                  <a:moveTo>
                    <a:pt x="3658108" y="2009804"/>
                  </a:moveTo>
                  <a:cubicBezTo>
                    <a:pt x="3658108" y="2015715"/>
                    <a:pt x="3664020" y="2018669"/>
                    <a:pt x="3666974" y="2018669"/>
                  </a:cubicBezTo>
                  <a:cubicBezTo>
                    <a:pt x="3672888" y="2018669"/>
                    <a:pt x="3675842" y="2015715"/>
                    <a:pt x="3675842" y="2009804"/>
                  </a:cubicBezTo>
                  <a:cubicBezTo>
                    <a:pt x="3675842" y="2003893"/>
                    <a:pt x="3672888" y="2000936"/>
                    <a:pt x="3666974" y="2000936"/>
                  </a:cubicBezTo>
                  <a:cubicBezTo>
                    <a:pt x="3661063" y="2000936"/>
                    <a:pt x="3658108" y="2003893"/>
                    <a:pt x="3658108" y="2009804"/>
                  </a:cubicBezTo>
                  <a:close/>
                  <a:moveTo>
                    <a:pt x="3649240" y="3180220"/>
                  </a:moveTo>
                  <a:cubicBezTo>
                    <a:pt x="3649240" y="3203864"/>
                    <a:pt x="3666974" y="3221598"/>
                    <a:pt x="3690618" y="3221598"/>
                  </a:cubicBezTo>
                  <a:cubicBezTo>
                    <a:pt x="3714263" y="3221598"/>
                    <a:pt x="3731997" y="3203864"/>
                    <a:pt x="3731997" y="3180220"/>
                  </a:cubicBezTo>
                  <a:cubicBezTo>
                    <a:pt x="3731997" y="3156574"/>
                    <a:pt x="3714263" y="3138841"/>
                    <a:pt x="3690618" y="3138841"/>
                  </a:cubicBezTo>
                  <a:cubicBezTo>
                    <a:pt x="3666974" y="3138841"/>
                    <a:pt x="3649240" y="3156574"/>
                    <a:pt x="3649240" y="3180220"/>
                  </a:cubicBezTo>
                  <a:close/>
                  <a:moveTo>
                    <a:pt x="3622638" y="2269896"/>
                  </a:moveTo>
                  <a:cubicBezTo>
                    <a:pt x="3622638" y="2287630"/>
                    <a:pt x="3634461" y="2296495"/>
                    <a:pt x="3649240" y="2296495"/>
                  </a:cubicBezTo>
                  <a:cubicBezTo>
                    <a:pt x="3664017" y="2296495"/>
                    <a:pt x="3675839" y="2284673"/>
                    <a:pt x="3675839" y="2269896"/>
                  </a:cubicBezTo>
                  <a:cubicBezTo>
                    <a:pt x="3675839" y="2255117"/>
                    <a:pt x="3664017" y="2243294"/>
                    <a:pt x="3649240" y="2243294"/>
                  </a:cubicBezTo>
                  <a:cubicBezTo>
                    <a:pt x="3634461" y="2243294"/>
                    <a:pt x="3622638" y="2255117"/>
                    <a:pt x="3622638" y="2269896"/>
                  </a:cubicBezTo>
                  <a:close/>
                  <a:moveTo>
                    <a:pt x="3613773" y="3656072"/>
                  </a:moveTo>
                  <a:cubicBezTo>
                    <a:pt x="3610819" y="3661983"/>
                    <a:pt x="3616730" y="3664937"/>
                    <a:pt x="3622641" y="3664937"/>
                  </a:cubicBezTo>
                  <a:cubicBezTo>
                    <a:pt x="3628553" y="3664937"/>
                    <a:pt x="3631507" y="3659026"/>
                    <a:pt x="3631507" y="3656072"/>
                  </a:cubicBezTo>
                  <a:cubicBezTo>
                    <a:pt x="3631507" y="3650160"/>
                    <a:pt x="3625595" y="3647204"/>
                    <a:pt x="3622641" y="3647204"/>
                  </a:cubicBezTo>
                  <a:cubicBezTo>
                    <a:pt x="3619684" y="3647204"/>
                    <a:pt x="3613773" y="3653114"/>
                    <a:pt x="3613773" y="3656072"/>
                  </a:cubicBezTo>
                  <a:close/>
                  <a:moveTo>
                    <a:pt x="3610819" y="3419624"/>
                  </a:moveTo>
                  <a:cubicBezTo>
                    <a:pt x="3610819" y="3446226"/>
                    <a:pt x="3631507" y="3466914"/>
                    <a:pt x="3658108" y="3466914"/>
                  </a:cubicBezTo>
                  <a:cubicBezTo>
                    <a:pt x="3684710" y="3466914"/>
                    <a:pt x="3705398" y="3446226"/>
                    <a:pt x="3705398" y="3419624"/>
                  </a:cubicBezTo>
                  <a:cubicBezTo>
                    <a:pt x="3705398" y="3393022"/>
                    <a:pt x="3684710" y="3372334"/>
                    <a:pt x="3658108" y="3372334"/>
                  </a:cubicBezTo>
                  <a:cubicBezTo>
                    <a:pt x="3631507" y="3372334"/>
                    <a:pt x="3610819" y="3393022"/>
                    <a:pt x="3610819" y="3419624"/>
                  </a:cubicBezTo>
                  <a:close/>
                  <a:moveTo>
                    <a:pt x="3593082" y="2529992"/>
                  </a:moveTo>
                  <a:cubicBezTo>
                    <a:pt x="3590128" y="2547722"/>
                    <a:pt x="3604905" y="2562502"/>
                    <a:pt x="3625595" y="2562502"/>
                  </a:cubicBezTo>
                  <a:cubicBezTo>
                    <a:pt x="3643329" y="2562502"/>
                    <a:pt x="3658105" y="2547722"/>
                    <a:pt x="3658105" y="2529992"/>
                  </a:cubicBezTo>
                  <a:cubicBezTo>
                    <a:pt x="3658105" y="2512258"/>
                    <a:pt x="3643329" y="2497478"/>
                    <a:pt x="3625595" y="2497478"/>
                  </a:cubicBezTo>
                  <a:cubicBezTo>
                    <a:pt x="3607862" y="2497478"/>
                    <a:pt x="3593082" y="2512258"/>
                    <a:pt x="3593082" y="2529992"/>
                  </a:cubicBezTo>
                  <a:close/>
                  <a:moveTo>
                    <a:pt x="3551707" y="1297504"/>
                  </a:moveTo>
                  <a:cubicBezTo>
                    <a:pt x="3551707" y="1300462"/>
                    <a:pt x="3551707" y="1300462"/>
                    <a:pt x="3554664" y="1300462"/>
                  </a:cubicBezTo>
                  <a:cubicBezTo>
                    <a:pt x="3557618" y="1300462"/>
                    <a:pt x="3557618" y="1297504"/>
                    <a:pt x="3557618" y="1297504"/>
                  </a:cubicBezTo>
                  <a:cubicBezTo>
                    <a:pt x="3557618" y="1294550"/>
                    <a:pt x="3554664" y="1294550"/>
                    <a:pt x="3554664" y="1294550"/>
                  </a:cubicBezTo>
                  <a:cubicBezTo>
                    <a:pt x="3551707" y="1294550"/>
                    <a:pt x="3551707" y="1297504"/>
                    <a:pt x="3551707" y="1297504"/>
                  </a:cubicBezTo>
                  <a:close/>
                  <a:moveTo>
                    <a:pt x="3548750" y="1581244"/>
                  </a:moveTo>
                  <a:cubicBezTo>
                    <a:pt x="3548750" y="1584202"/>
                    <a:pt x="3551707" y="1587156"/>
                    <a:pt x="3554661" y="1587156"/>
                  </a:cubicBezTo>
                  <a:cubicBezTo>
                    <a:pt x="3557618" y="1587156"/>
                    <a:pt x="3560572" y="1584202"/>
                    <a:pt x="3560572" y="1581244"/>
                  </a:cubicBezTo>
                  <a:cubicBezTo>
                    <a:pt x="3560572" y="1578287"/>
                    <a:pt x="3557618" y="1575333"/>
                    <a:pt x="3554661" y="1575333"/>
                  </a:cubicBezTo>
                  <a:cubicBezTo>
                    <a:pt x="3551707" y="1575333"/>
                    <a:pt x="3548750" y="1578287"/>
                    <a:pt x="3548750" y="1581244"/>
                  </a:cubicBezTo>
                  <a:close/>
                  <a:moveTo>
                    <a:pt x="3545796" y="2775302"/>
                  </a:moveTo>
                  <a:cubicBezTo>
                    <a:pt x="3545796" y="2804858"/>
                    <a:pt x="3569441" y="2825548"/>
                    <a:pt x="3596039" y="2825548"/>
                  </a:cubicBezTo>
                  <a:cubicBezTo>
                    <a:pt x="3622641" y="2825548"/>
                    <a:pt x="3646286" y="2804858"/>
                    <a:pt x="3646286" y="2775302"/>
                  </a:cubicBezTo>
                  <a:cubicBezTo>
                    <a:pt x="3646286" y="2748702"/>
                    <a:pt x="3625595" y="2725058"/>
                    <a:pt x="3596039" y="2725058"/>
                  </a:cubicBezTo>
                  <a:cubicBezTo>
                    <a:pt x="3566483" y="2725058"/>
                    <a:pt x="3545796" y="2745746"/>
                    <a:pt x="3545796" y="2775302"/>
                  </a:cubicBezTo>
                  <a:close/>
                  <a:moveTo>
                    <a:pt x="3533970" y="1853159"/>
                  </a:moveTo>
                  <a:cubicBezTo>
                    <a:pt x="3533970" y="1859070"/>
                    <a:pt x="3539882" y="1862024"/>
                    <a:pt x="3542839" y="1862024"/>
                  </a:cubicBezTo>
                  <a:cubicBezTo>
                    <a:pt x="3548750" y="1862024"/>
                    <a:pt x="3551704" y="1859070"/>
                    <a:pt x="3551704" y="1853159"/>
                  </a:cubicBezTo>
                  <a:cubicBezTo>
                    <a:pt x="3551704" y="1847248"/>
                    <a:pt x="3548750" y="1844291"/>
                    <a:pt x="3542839" y="1844291"/>
                  </a:cubicBezTo>
                  <a:cubicBezTo>
                    <a:pt x="3536928" y="1844291"/>
                    <a:pt x="3533970" y="1847248"/>
                    <a:pt x="3533970" y="1853159"/>
                  </a:cubicBezTo>
                  <a:close/>
                  <a:moveTo>
                    <a:pt x="3510329" y="3020618"/>
                  </a:moveTo>
                  <a:cubicBezTo>
                    <a:pt x="3510329" y="3050174"/>
                    <a:pt x="3536928" y="3073818"/>
                    <a:pt x="3563529" y="3073818"/>
                  </a:cubicBezTo>
                  <a:cubicBezTo>
                    <a:pt x="3593085" y="3073818"/>
                    <a:pt x="3616730" y="3050174"/>
                    <a:pt x="3616730" y="3020618"/>
                  </a:cubicBezTo>
                  <a:cubicBezTo>
                    <a:pt x="3616730" y="2991062"/>
                    <a:pt x="3593085" y="2967416"/>
                    <a:pt x="3563529" y="2967416"/>
                  </a:cubicBezTo>
                  <a:cubicBezTo>
                    <a:pt x="3533974" y="2967416"/>
                    <a:pt x="3510329" y="2991062"/>
                    <a:pt x="3510329" y="3020618"/>
                  </a:cubicBezTo>
                  <a:close/>
                  <a:moveTo>
                    <a:pt x="3510329" y="2116208"/>
                  </a:moveTo>
                  <a:cubicBezTo>
                    <a:pt x="3510329" y="2125074"/>
                    <a:pt x="3516240" y="2130985"/>
                    <a:pt x="3525108" y="2130985"/>
                  </a:cubicBezTo>
                  <a:cubicBezTo>
                    <a:pt x="3533974" y="2130985"/>
                    <a:pt x="3539885" y="2125074"/>
                    <a:pt x="3539885" y="2116208"/>
                  </a:cubicBezTo>
                  <a:cubicBezTo>
                    <a:pt x="3539885" y="2107340"/>
                    <a:pt x="3533974" y="2101429"/>
                    <a:pt x="3525108" y="2101429"/>
                  </a:cubicBezTo>
                  <a:cubicBezTo>
                    <a:pt x="3516240" y="2101429"/>
                    <a:pt x="3510329" y="2107340"/>
                    <a:pt x="3510329" y="2116208"/>
                  </a:cubicBezTo>
                  <a:close/>
                  <a:moveTo>
                    <a:pt x="3483727" y="3260019"/>
                  </a:moveTo>
                  <a:cubicBezTo>
                    <a:pt x="3483727" y="3286621"/>
                    <a:pt x="3504414" y="3307308"/>
                    <a:pt x="3531016" y="3307308"/>
                  </a:cubicBezTo>
                  <a:cubicBezTo>
                    <a:pt x="3557618" y="3307308"/>
                    <a:pt x="3578306" y="3286621"/>
                    <a:pt x="3578306" y="3260019"/>
                  </a:cubicBezTo>
                  <a:cubicBezTo>
                    <a:pt x="3578306" y="3233417"/>
                    <a:pt x="3557618" y="3212730"/>
                    <a:pt x="3531016" y="3212730"/>
                  </a:cubicBezTo>
                  <a:cubicBezTo>
                    <a:pt x="3504414" y="3212730"/>
                    <a:pt x="3483727" y="3233417"/>
                    <a:pt x="3483727" y="3260019"/>
                  </a:cubicBezTo>
                  <a:close/>
                  <a:moveTo>
                    <a:pt x="3471904" y="2370386"/>
                  </a:moveTo>
                  <a:cubicBezTo>
                    <a:pt x="3471904" y="2385166"/>
                    <a:pt x="3486684" y="2396988"/>
                    <a:pt x="3498503" y="2396988"/>
                  </a:cubicBezTo>
                  <a:cubicBezTo>
                    <a:pt x="3513283" y="2396988"/>
                    <a:pt x="3525105" y="2385166"/>
                    <a:pt x="3525105" y="2370386"/>
                  </a:cubicBezTo>
                  <a:cubicBezTo>
                    <a:pt x="3525105" y="2355610"/>
                    <a:pt x="3513283" y="2343788"/>
                    <a:pt x="3498503" y="2343788"/>
                  </a:cubicBezTo>
                  <a:cubicBezTo>
                    <a:pt x="3483727" y="2343788"/>
                    <a:pt x="3471904" y="2355610"/>
                    <a:pt x="3471904" y="2370386"/>
                  </a:cubicBezTo>
                  <a:close/>
                  <a:moveTo>
                    <a:pt x="3454171" y="3493512"/>
                  </a:moveTo>
                  <a:cubicBezTo>
                    <a:pt x="3454171" y="3516366"/>
                    <a:pt x="3472696" y="3534890"/>
                    <a:pt x="3495549" y="3534890"/>
                  </a:cubicBezTo>
                  <a:cubicBezTo>
                    <a:pt x="3518403" y="3534890"/>
                    <a:pt x="3536928" y="3516366"/>
                    <a:pt x="3536928" y="3493512"/>
                  </a:cubicBezTo>
                  <a:cubicBezTo>
                    <a:pt x="3536928" y="3470659"/>
                    <a:pt x="3518403" y="3452134"/>
                    <a:pt x="3495549" y="3452134"/>
                  </a:cubicBezTo>
                  <a:cubicBezTo>
                    <a:pt x="3472696" y="3452134"/>
                    <a:pt x="3454171" y="3470659"/>
                    <a:pt x="3454171" y="3493512"/>
                  </a:cubicBezTo>
                  <a:close/>
                  <a:moveTo>
                    <a:pt x="3430526" y="2618660"/>
                  </a:moveTo>
                  <a:cubicBezTo>
                    <a:pt x="3433483" y="2639347"/>
                    <a:pt x="3448260" y="2657081"/>
                    <a:pt x="3468950" y="2657081"/>
                  </a:cubicBezTo>
                  <a:cubicBezTo>
                    <a:pt x="3489638" y="2657081"/>
                    <a:pt x="3507372" y="2639347"/>
                    <a:pt x="3507372" y="2618660"/>
                  </a:cubicBezTo>
                  <a:cubicBezTo>
                    <a:pt x="3507372" y="2597969"/>
                    <a:pt x="3489638" y="2580236"/>
                    <a:pt x="3468950" y="2580236"/>
                  </a:cubicBezTo>
                  <a:cubicBezTo>
                    <a:pt x="3448260" y="2580236"/>
                    <a:pt x="3430526" y="2597969"/>
                    <a:pt x="3430526" y="2618660"/>
                  </a:cubicBezTo>
                  <a:close/>
                  <a:moveTo>
                    <a:pt x="3424615" y="3724049"/>
                  </a:moveTo>
                  <a:cubicBezTo>
                    <a:pt x="3424615" y="3741782"/>
                    <a:pt x="3439394" y="3756559"/>
                    <a:pt x="3457128" y="3756559"/>
                  </a:cubicBezTo>
                  <a:cubicBezTo>
                    <a:pt x="3474859" y="3756559"/>
                    <a:pt x="3489638" y="3741782"/>
                    <a:pt x="3489638" y="3724049"/>
                  </a:cubicBezTo>
                  <a:cubicBezTo>
                    <a:pt x="3489638" y="3706315"/>
                    <a:pt x="3474859" y="3691536"/>
                    <a:pt x="3457128" y="3691536"/>
                  </a:cubicBezTo>
                  <a:cubicBezTo>
                    <a:pt x="3439394" y="3691536"/>
                    <a:pt x="3424615" y="3706315"/>
                    <a:pt x="3424615" y="3724049"/>
                  </a:cubicBezTo>
                  <a:close/>
                  <a:moveTo>
                    <a:pt x="3415747" y="1699468"/>
                  </a:moveTo>
                  <a:cubicBezTo>
                    <a:pt x="3415747" y="1699468"/>
                    <a:pt x="3415747" y="1702422"/>
                    <a:pt x="3418704" y="1702422"/>
                  </a:cubicBezTo>
                  <a:cubicBezTo>
                    <a:pt x="3421658" y="1702422"/>
                    <a:pt x="3421658" y="1699468"/>
                    <a:pt x="3421658" y="1699468"/>
                  </a:cubicBezTo>
                  <a:cubicBezTo>
                    <a:pt x="3421658" y="1696511"/>
                    <a:pt x="3418704" y="1696511"/>
                    <a:pt x="3418704" y="1696511"/>
                  </a:cubicBezTo>
                  <a:cubicBezTo>
                    <a:pt x="3415747" y="1696511"/>
                    <a:pt x="3415747" y="1699468"/>
                    <a:pt x="3415747" y="1699468"/>
                  </a:cubicBezTo>
                  <a:close/>
                  <a:moveTo>
                    <a:pt x="3389148" y="1962514"/>
                  </a:moveTo>
                  <a:cubicBezTo>
                    <a:pt x="3386191" y="1968426"/>
                    <a:pt x="3392102" y="1974337"/>
                    <a:pt x="3400970" y="1974337"/>
                  </a:cubicBezTo>
                  <a:cubicBezTo>
                    <a:pt x="3406881" y="1974337"/>
                    <a:pt x="3412793" y="1968426"/>
                    <a:pt x="3412793" y="1962514"/>
                  </a:cubicBezTo>
                  <a:cubicBezTo>
                    <a:pt x="3412793" y="1956604"/>
                    <a:pt x="3406881" y="1950692"/>
                    <a:pt x="3400970" y="1950692"/>
                  </a:cubicBezTo>
                  <a:cubicBezTo>
                    <a:pt x="3395059" y="1950692"/>
                    <a:pt x="3389148" y="1956604"/>
                    <a:pt x="3389148" y="1962514"/>
                  </a:cubicBezTo>
                  <a:close/>
                  <a:moveTo>
                    <a:pt x="3386191" y="2861016"/>
                  </a:moveTo>
                  <a:cubicBezTo>
                    <a:pt x="3386191" y="2890571"/>
                    <a:pt x="3409835" y="2914216"/>
                    <a:pt x="3439391" y="2914216"/>
                  </a:cubicBezTo>
                  <a:cubicBezTo>
                    <a:pt x="3468947" y="2914216"/>
                    <a:pt x="3492592" y="2890571"/>
                    <a:pt x="3492592" y="2861016"/>
                  </a:cubicBezTo>
                  <a:cubicBezTo>
                    <a:pt x="3492592" y="2831460"/>
                    <a:pt x="3468947" y="2807814"/>
                    <a:pt x="3439391" y="2807814"/>
                  </a:cubicBezTo>
                  <a:cubicBezTo>
                    <a:pt x="3409835" y="2807814"/>
                    <a:pt x="3386191" y="2831460"/>
                    <a:pt x="3386191" y="2861016"/>
                  </a:cubicBezTo>
                  <a:close/>
                  <a:moveTo>
                    <a:pt x="3353681" y="2213738"/>
                  </a:moveTo>
                  <a:cubicBezTo>
                    <a:pt x="3353681" y="2225167"/>
                    <a:pt x="3362943" y="2234429"/>
                    <a:pt x="3374371" y="2234429"/>
                  </a:cubicBezTo>
                  <a:cubicBezTo>
                    <a:pt x="3385797" y="2234429"/>
                    <a:pt x="3395059" y="2225167"/>
                    <a:pt x="3395059" y="2213738"/>
                  </a:cubicBezTo>
                  <a:cubicBezTo>
                    <a:pt x="3395059" y="2202313"/>
                    <a:pt x="3385797" y="2193051"/>
                    <a:pt x="3374371" y="2193051"/>
                  </a:cubicBezTo>
                  <a:cubicBezTo>
                    <a:pt x="3362943" y="2193051"/>
                    <a:pt x="3353681" y="2202313"/>
                    <a:pt x="3353681" y="2213738"/>
                  </a:cubicBezTo>
                  <a:close/>
                  <a:moveTo>
                    <a:pt x="3350724" y="3097463"/>
                  </a:moveTo>
                  <a:cubicBezTo>
                    <a:pt x="3350724" y="3127018"/>
                    <a:pt x="3374368" y="3150664"/>
                    <a:pt x="3403924" y="3150664"/>
                  </a:cubicBezTo>
                  <a:cubicBezTo>
                    <a:pt x="3433480" y="3150664"/>
                    <a:pt x="3457125" y="3127018"/>
                    <a:pt x="3457125" y="3097463"/>
                  </a:cubicBezTo>
                  <a:cubicBezTo>
                    <a:pt x="3457125" y="3067907"/>
                    <a:pt x="3433480" y="3044262"/>
                    <a:pt x="3403924" y="3044262"/>
                  </a:cubicBezTo>
                  <a:cubicBezTo>
                    <a:pt x="3374368" y="3044262"/>
                    <a:pt x="3350724" y="3067907"/>
                    <a:pt x="3350724" y="3097463"/>
                  </a:cubicBezTo>
                  <a:close/>
                  <a:moveTo>
                    <a:pt x="3318214" y="3330956"/>
                  </a:moveTo>
                  <a:cubicBezTo>
                    <a:pt x="3321168" y="3357558"/>
                    <a:pt x="3341858" y="3378246"/>
                    <a:pt x="3365503" y="3378246"/>
                  </a:cubicBezTo>
                  <a:cubicBezTo>
                    <a:pt x="3392105" y="3378246"/>
                    <a:pt x="3412793" y="3357558"/>
                    <a:pt x="3412793" y="3330956"/>
                  </a:cubicBezTo>
                  <a:cubicBezTo>
                    <a:pt x="3412793" y="3304354"/>
                    <a:pt x="3392105" y="3283667"/>
                    <a:pt x="3365503" y="3283667"/>
                  </a:cubicBezTo>
                  <a:cubicBezTo>
                    <a:pt x="3338901" y="3283667"/>
                    <a:pt x="3318214" y="3304354"/>
                    <a:pt x="3318214" y="3330956"/>
                  </a:cubicBezTo>
                  <a:close/>
                  <a:moveTo>
                    <a:pt x="3306391" y="2459054"/>
                  </a:moveTo>
                  <a:cubicBezTo>
                    <a:pt x="3306391" y="2482699"/>
                    <a:pt x="3324125" y="2497476"/>
                    <a:pt x="3344815" y="2497476"/>
                  </a:cubicBezTo>
                  <a:cubicBezTo>
                    <a:pt x="3365503" y="2497476"/>
                    <a:pt x="3383237" y="2479742"/>
                    <a:pt x="3383237" y="2459054"/>
                  </a:cubicBezTo>
                  <a:cubicBezTo>
                    <a:pt x="3383237" y="2438364"/>
                    <a:pt x="3365503" y="2420630"/>
                    <a:pt x="3344815" y="2420630"/>
                  </a:cubicBezTo>
                  <a:cubicBezTo>
                    <a:pt x="3324125" y="2420630"/>
                    <a:pt x="3306391" y="2438364"/>
                    <a:pt x="3306391" y="2459054"/>
                  </a:cubicBezTo>
                  <a:close/>
                  <a:moveTo>
                    <a:pt x="3279792" y="3561490"/>
                  </a:moveTo>
                  <a:cubicBezTo>
                    <a:pt x="3279792" y="3588092"/>
                    <a:pt x="3300480" y="3608779"/>
                    <a:pt x="3327082" y="3608779"/>
                  </a:cubicBezTo>
                  <a:cubicBezTo>
                    <a:pt x="3353684" y="3608779"/>
                    <a:pt x="3374371" y="3588092"/>
                    <a:pt x="3374371" y="3561490"/>
                  </a:cubicBezTo>
                  <a:cubicBezTo>
                    <a:pt x="3374371" y="3534890"/>
                    <a:pt x="3353684" y="3514200"/>
                    <a:pt x="3327082" y="3514200"/>
                  </a:cubicBezTo>
                  <a:cubicBezTo>
                    <a:pt x="3300480" y="3514200"/>
                    <a:pt x="3279792" y="3534890"/>
                    <a:pt x="3279792" y="3561490"/>
                  </a:cubicBezTo>
                  <a:close/>
                  <a:moveTo>
                    <a:pt x="3270924" y="1805870"/>
                  </a:moveTo>
                  <a:cubicBezTo>
                    <a:pt x="3270924" y="1805870"/>
                    <a:pt x="3273881" y="1808824"/>
                    <a:pt x="3273881" y="1808824"/>
                  </a:cubicBezTo>
                  <a:cubicBezTo>
                    <a:pt x="3276835" y="1808824"/>
                    <a:pt x="3276835" y="1805870"/>
                    <a:pt x="3276835" y="1805870"/>
                  </a:cubicBezTo>
                  <a:cubicBezTo>
                    <a:pt x="3276835" y="1802912"/>
                    <a:pt x="3273881" y="1802912"/>
                    <a:pt x="3273881" y="1802912"/>
                  </a:cubicBezTo>
                  <a:cubicBezTo>
                    <a:pt x="3270924" y="1802912"/>
                    <a:pt x="3270924" y="1805870"/>
                    <a:pt x="3270924" y="1805870"/>
                  </a:cubicBezTo>
                  <a:close/>
                  <a:moveTo>
                    <a:pt x="3265013" y="2701413"/>
                  </a:moveTo>
                  <a:cubicBezTo>
                    <a:pt x="3265013" y="2728015"/>
                    <a:pt x="3285700" y="2748702"/>
                    <a:pt x="3312302" y="2748702"/>
                  </a:cubicBezTo>
                  <a:cubicBezTo>
                    <a:pt x="3338904" y="2748702"/>
                    <a:pt x="3359592" y="2728015"/>
                    <a:pt x="3359592" y="2701413"/>
                  </a:cubicBezTo>
                  <a:cubicBezTo>
                    <a:pt x="3359592" y="2674812"/>
                    <a:pt x="3338904" y="2654124"/>
                    <a:pt x="3312302" y="2654124"/>
                  </a:cubicBezTo>
                  <a:cubicBezTo>
                    <a:pt x="3285700" y="2654124"/>
                    <a:pt x="3265013" y="2674812"/>
                    <a:pt x="3265013" y="2701413"/>
                  </a:cubicBezTo>
                  <a:close/>
                  <a:moveTo>
                    <a:pt x="3256148" y="3786118"/>
                  </a:moveTo>
                  <a:cubicBezTo>
                    <a:pt x="3259105" y="3803848"/>
                    <a:pt x="3270927" y="3818628"/>
                    <a:pt x="3288661" y="3818628"/>
                  </a:cubicBezTo>
                  <a:cubicBezTo>
                    <a:pt x="3306391" y="3818628"/>
                    <a:pt x="3321171" y="3803848"/>
                    <a:pt x="3321171" y="3786118"/>
                  </a:cubicBezTo>
                  <a:cubicBezTo>
                    <a:pt x="3321171" y="3768384"/>
                    <a:pt x="3306391" y="3753604"/>
                    <a:pt x="3288661" y="3753604"/>
                  </a:cubicBezTo>
                  <a:cubicBezTo>
                    <a:pt x="3270927" y="3753604"/>
                    <a:pt x="3256148" y="3768384"/>
                    <a:pt x="3256148" y="3786118"/>
                  </a:cubicBezTo>
                  <a:close/>
                  <a:moveTo>
                    <a:pt x="3244325" y="4010740"/>
                  </a:moveTo>
                  <a:cubicBezTo>
                    <a:pt x="3244325" y="4010740"/>
                    <a:pt x="3247279" y="4013697"/>
                    <a:pt x="3247279" y="4013697"/>
                  </a:cubicBezTo>
                  <a:cubicBezTo>
                    <a:pt x="3250236" y="4013697"/>
                    <a:pt x="3250236" y="4010740"/>
                    <a:pt x="3250236" y="4010740"/>
                  </a:cubicBezTo>
                  <a:cubicBezTo>
                    <a:pt x="3250236" y="4007786"/>
                    <a:pt x="3247279" y="4007786"/>
                    <a:pt x="3247279" y="4007786"/>
                  </a:cubicBezTo>
                  <a:cubicBezTo>
                    <a:pt x="3244325" y="4007786"/>
                    <a:pt x="3244325" y="4010740"/>
                    <a:pt x="3244325" y="4010740"/>
                  </a:cubicBezTo>
                  <a:close/>
                  <a:moveTo>
                    <a:pt x="3229549" y="2057094"/>
                  </a:moveTo>
                  <a:cubicBezTo>
                    <a:pt x="3226592" y="2068916"/>
                    <a:pt x="3235457" y="2077781"/>
                    <a:pt x="3250236" y="2077781"/>
                  </a:cubicBezTo>
                  <a:cubicBezTo>
                    <a:pt x="3262059" y="2077781"/>
                    <a:pt x="3270924" y="2068916"/>
                    <a:pt x="3270924" y="2057094"/>
                  </a:cubicBezTo>
                  <a:cubicBezTo>
                    <a:pt x="3270924" y="2045271"/>
                    <a:pt x="3262059" y="2036403"/>
                    <a:pt x="3250236" y="2036403"/>
                  </a:cubicBezTo>
                  <a:cubicBezTo>
                    <a:pt x="3238414" y="2036403"/>
                    <a:pt x="3229549" y="2045271"/>
                    <a:pt x="3229549" y="2057094"/>
                  </a:cubicBezTo>
                  <a:close/>
                  <a:moveTo>
                    <a:pt x="3223635" y="2934906"/>
                  </a:moveTo>
                  <a:cubicBezTo>
                    <a:pt x="3223635" y="2964462"/>
                    <a:pt x="3247279" y="2988108"/>
                    <a:pt x="3276835" y="2988108"/>
                  </a:cubicBezTo>
                  <a:cubicBezTo>
                    <a:pt x="3306391" y="2988108"/>
                    <a:pt x="3330036" y="2964462"/>
                    <a:pt x="3330036" y="2934906"/>
                  </a:cubicBezTo>
                  <a:cubicBezTo>
                    <a:pt x="3330036" y="2905350"/>
                    <a:pt x="3306391" y="2881706"/>
                    <a:pt x="3276835" y="2881706"/>
                  </a:cubicBezTo>
                  <a:cubicBezTo>
                    <a:pt x="3247279" y="2881706"/>
                    <a:pt x="3223635" y="2905350"/>
                    <a:pt x="3223635" y="2934906"/>
                  </a:cubicBezTo>
                  <a:close/>
                  <a:moveTo>
                    <a:pt x="3191125" y="2302406"/>
                  </a:moveTo>
                  <a:cubicBezTo>
                    <a:pt x="3191125" y="2317186"/>
                    <a:pt x="3202947" y="2329008"/>
                    <a:pt x="3217723" y="2329008"/>
                  </a:cubicBezTo>
                  <a:cubicBezTo>
                    <a:pt x="3232503" y="2329008"/>
                    <a:pt x="3244325" y="2317186"/>
                    <a:pt x="3244325" y="2302406"/>
                  </a:cubicBezTo>
                  <a:cubicBezTo>
                    <a:pt x="3244325" y="2287630"/>
                    <a:pt x="3232503" y="2275808"/>
                    <a:pt x="3217723" y="2275808"/>
                  </a:cubicBezTo>
                  <a:cubicBezTo>
                    <a:pt x="3202947" y="2275808"/>
                    <a:pt x="3191125" y="2287630"/>
                    <a:pt x="3191125" y="2302406"/>
                  </a:cubicBezTo>
                  <a:close/>
                  <a:moveTo>
                    <a:pt x="3182256" y="3168397"/>
                  </a:moveTo>
                  <a:cubicBezTo>
                    <a:pt x="3182256" y="3197953"/>
                    <a:pt x="3205901" y="3224555"/>
                    <a:pt x="3238411" y="3224555"/>
                  </a:cubicBezTo>
                  <a:cubicBezTo>
                    <a:pt x="3270924" y="3224555"/>
                    <a:pt x="3294569" y="3197953"/>
                    <a:pt x="3294569" y="3168397"/>
                  </a:cubicBezTo>
                  <a:cubicBezTo>
                    <a:pt x="3294569" y="3135887"/>
                    <a:pt x="3267967" y="3112242"/>
                    <a:pt x="3238411" y="3112242"/>
                  </a:cubicBezTo>
                  <a:cubicBezTo>
                    <a:pt x="3208855" y="3112242"/>
                    <a:pt x="3182256" y="3138841"/>
                    <a:pt x="3182256" y="3168397"/>
                  </a:cubicBezTo>
                  <a:close/>
                  <a:moveTo>
                    <a:pt x="3152700" y="2541814"/>
                  </a:moveTo>
                  <a:cubicBezTo>
                    <a:pt x="3152700" y="2559768"/>
                    <a:pt x="3167256" y="2574324"/>
                    <a:pt x="3185210" y="2574324"/>
                  </a:cubicBezTo>
                  <a:cubicBezTo>
                    <a:pt x="3203167" y="2574324"/>
                    <a:pt x="3217723" y="2559768"/>
                    <a:pt x="3217723" y="2541814"/>
                  </a:cubicBezTo>
                  <a:cubicBezTo>
                    <a:pt x="3217723" y="2523857"/>
                    <a:pt x="3203167" y="2509301"/>
                    <a:pt x="3185210" y="2509301"/>
                  </a:cubicBezTo>
                  <a:cubicBezTo>
                    <a:pt x="3167256" y="2509301"/>
                    <a:pt x="3152700" y="2523857"/>
                    <a:pt x="3152700" y="2541814"/>
                  </a:cubicBezTo>
                  <a:close/>
                  <a:moveTo>
                    <a:pt x="3146789" y="1649222"/>
                  </a:moveTo>
                  <a:cubicBezTo>
                    <a:pt x="3146789" y="1649222"/>
                    <a:pt x="3146789" y="1652176"/>
                    <a:pt x="3149743" y="1652176"/>
                  </a:cubicBezTo>
                  <a:cubicBezTo>
                    <a:pt x="3152700" y="1652176"/>
                    <a:pt x="3152700" y="1649222"/>
                    <a:pt x="3152700" y="1649222"/>
                  </a:cubicBezTo>
                  <a:cubicBezTo>
                    <a:pt x="3152700" y="1646264"/>
                    <a:pt x="3149743" y="1646264"/>
                    <a:pt x="3149743" y="1646264"/>
                  </a:cubicBezTo>
                  <a:cubicBezTo>
                    <a:pt x="3146789" y="1646264"/>
                    <a:pt x="3146789" y="1649222"/>
                    <a:pt x="3146789" y="1649222"/>
                  </a:cubicBezTo>
                  <a:close/>
                  <a:moveTo>
                    <a:pt x="3143835" y="3395976"/>
                  </a:moveTo>
                  <a:cubicBezTo>
                    <a:pt x="3143835" y="3426990"/>
                    <a:pt x="3168979" y="3452134"/>
                    <a:pt x="3199993" y="3452134"/>
                  </a:cubicBezTo>
                  <a:cubicBezTo>
                    <a:pt x="3231004" y="3452134"/>
                    <a:pt x="3256148" y="3426990"/>
                    <a:pt x="3256148" y="3395976"/>
                  </a:cubicBezTo>
                  <a:cubicBezTo>
                    <a:pt x="3256148" y="3364965"/>
                    <a:pt x="3231007" y="3339822"/>
                    <a:pt x="3199993" y="3339822"/>
                  </a:cubicBezTo>
                  <a:cubicBezTo>
                    <a:pt x="3168979" y="3339822"/>
                    <a:pt x="3143835" y="3364962"/>
                    <a:pt x="3143835" y="3395976"/>
                  </a:cubicBezTo>
                  <a:close/>
                  <a:moveTo>
                    <a:pt x="3114276" y="3842272"/>
                  </a:moveTo>
                  <a:cubicBezTo>
                    <a:pt x="3114276" y="3842272"/>
                    <a:pt x="3117233" y="3845226"/>
                    <a:pt x="3117233" y="3845226"/>
                  </a:cubicBezTo>
                  <a:cubicBezTo>
                    <a:pt x="3120187" y="3845226"/>
                    <a:pt x="3120187" y="3842272"/>
                    <a:pt x="3120187" y="3842272"/>
                  </a:cubicBezTo>
                  <a:cubicBezTo>
                    <a:pt x="3120187" y="3839316"/>
                    <a:pt x="3117233" y="3839316"/>
                    <a:pt x="3117233" y="3839316"/>
                  </a:cubicBezTo>
                  <a:cubicBezTo>
                    <a:pt x="3114276" y="3839316"/>
                    <a:pt x="3114276" y="3842272"/>
                    <a:pt x="3114276" y="3842272"/>
                  </a:cubicBezTo>
                  <a:close/>
                  <a:moveTo>
                    <a:pt x="3108368" y="3620602"/>
                  </a:moveTo>
                  <a:cubicBezTo>
                    <a:pt x="3108368" y="3647204"/>
                    <a:pt x="3132013" y="3670848"/>
                    <a:pt x="3158611" y="3670848"/>
                  </a:cubicBezTo>
                  <a:cubicBezTo>
                    <a:pt x="3185213" y="3670848"/>
                    <a:pt x="3208858" y="3647204"/>
                    <a:pt x="3208858" y="3620602"/>
                  </a:cubicBezTo>
                  <a:cubicBezTo>
                    <a:pt x="3208858" y="3594002"/>
                    <a:pt x="3185213" y="3570358"/>
                    <a:pt x="3158611" y="3570358"/>
                  </a:cubicBezTo>
                  <a:cubicBezTo>
                    <a:pt x="3132013" y="3570358"/>
                    <a:pt x="3108368" y="3594002"/>
                    <a:pt x="3108368" y="3620602"/>
                  </a:cubicBezTo>
                  <a:close/>
                  <a:moveTo>
                    <a:pt x="3108368" y="2775302"/>
                  </a:moveTo>
                  <a:cubicBezTo>
                    <a:pt x="3108368" y="2795992"/>
                    <a:pt x="3126101" y="2813726"/>
                    <a:pt x="3146792" y="2813726"/>
                  </a:cubicBezTo>
                  <a:cubicBezTo>
                    <a:pt x="3167480" y="2813726"/>
                    <a:pt x="3185213" y="2795992"/>
                    <a:pt x="3185213" y="2775302"/>
                  </a:cubicBezTo>
                  <a:cubicBezTo>
                    <a:pt x="3185213" y="2754614"/>
                    <a:pt x="3167480" y="2736880"/>
                    <a:pt x="3146792" y="2736880"/>
                  </a:cubicBezTo>
                  <a:cubicBezTo>
                    <a:pt x="3126101" y="2736880"/>
                    <a:pt x="3108368" y="2754614"/>
                    <a:pt x="3108368" y="2775302"/>
                  </a:cubicBezTo>
                  <a:close/>
                  <a:moveTo>
                    <a:pt x="3108368" y="1897492"/>
                  </a:moveTo>
                  <a:cubicBezTo>
                    <a:pt x="3108368" y="1906357"/>
                    <a:pt x="3114279" y="1912268"/>
                    <a:pt x="3123147" y="1912268"/>
                  </a:cubicBezTo>
                  <a:cubicBezTo>
                    <a:pt x="3132013" y="1912268"/>
                    <a:pt x="3137924" y="1906357"/>
                    <a:pt x="3137924" y="1897492"/>
                  </a:cubicBezTo>
                  <a:cubicBezTo>
                    <a:pt x="3137924" y="1888623"/>
                    <a:pt x="3132013" y="1882712"/>
                    <a:pt x="3123147" y="1882712"/>
                  </a:cubicBezTo>
                  <a:cubicBezTo>
                    <a:pt x="3114279" y="1882712"/>
                    <a:pt x="3108368" y="1888623"/>
                    <a:pt x="3108368" y="1897492"/>
                  </a:cubicBezTo>
                  <a:close/>
                  <a:moveTo>
                    <a:pt x="3069944" y="2142804"/>
                  </a:moveTo>
                  <a:cubicBezTo>
                    <a:pt x="3069944" y="2154627"/>
                    <a:pt x="3078812" y="2163495"/>
                    <a:pt x="3090631" y="2163495"/>
                  </a:cubicBezTo>
                  <a:cubicBezTo>
                    <a:pt x="3102457" y="2163495"/>
                    <a:pt x="3111322" y="2154627"/>
                    <a:pt x="3111322" y="2142804"/>
                  </a:cubicBezTo>
                  <a:cubicBezTo>
                    <a:pt x="3111322" y="2130985"/>
                    <a:pt x="3102457" y="2122117"/>
                    <a:pt x="3090631" y="2122117"/>
                  </a:cubicBezTo>
                  <a:cubicBezTo>
                    <a:pt x="3078812" y="2122117"/>
                    <a:pt x="3069944" y="2130985"/>
                    <a:pt x="3069944" y="2142804"/>
                  </a:cubicBezTo>
                  <a:close/>
                  <a:moveTo>
                    <a:pt x="3055164" y="3002884"/>
                  </a:moveTo>
                  <a:cubicBezTo>
                    <a:pt x="3058121" y="3032440"/>
                    <a:pt x="3081766" y="3056084"/>
                    <a:pt x="3108365" y="3056084"/>
                  </a:cubicBezTo>
                  <a:cubicBezTo>
                    <a:pt x="3137921" y="3056084"/>
                    <a:pt x="3161566" y="3032440"/>
                    <a:pt x="3161566" y="3002884"/>
                  </a:cubicBezTo>
                  <a:cubicBezTo>
                    <a:pt x="3161566" y="2973328"/>
                    <a:pt x="3137921" y="2949683"/>
                    <a:pt x="3108365" y="2949683"/>
                  </a:cubicBezTo>
                  <a:cubicBezTo>
                    <a:pt x="3078809" y="2949683"/>
                    <a:pt x="3055164" y="2973328"/>
                    <a:pt x="3055164" y="3002884"/>
                  </a:cubicBezTo>
                  <a:close/>
                  <a:moveTo>
                    <a:pt x="3037434" y="2379252"/>
                  </a:moveTo>
                  <a:cubicBezTo>
                    <a:pt x="3037434" y="2391074"/>
                    <a:pt x="3046299" y="2399942"/>
                    <a:pt x="3058121" y="2399942"/>
                  </a:cubicBezTo>
                  <a:cubicBezTo>
                    <a:pt x="3069944" y="2399942"/>
                    <a:pt x="3078812" y="2391074"/>
                    <a:pt x="3078812" y="2379252"/>
                  </a:cubicBezTo>
                  <a:cubicBezTo>
                    <a:pt x="3078812" y="2367432"/>
                    <a:pt x="3069944" y="2358564"/>
                    <a:pt x="3058121" y="2358564"/>
                  </a:cubicBezTo>
                  <a:cubicBezTo>
                    <a:pt x="3046299" y="2358564"/>
                    <a:pt x="3037434" y="2367432"/>
                    <a:pt x="3037434" y="2379252"/>
                  </a:cubicBezTo>
                  <a:close/>
                  <a:moveTo>
                    <a:pt x="3010832" y="3230466"/>
                  </a:moveTo>
                  <a:cubicBezTo>
                    <a:pt x="3010832" y="3262976"/>
                    <a:pt x="3037434" y="3289578"/>
                    <a:pt x="3069944" y="3289578"/>
                  </a:cubicBezTo>
                  <a:cubicBezTo>
                    <a:pt x="3102457" y="3289578"/>
                    <a:pt x="3129056" y="3262976"/>
                    <a:pt x="3129056" y="3230466"/>
                  </a:cubicBezTo>
                  <a:cubicBezTo>
                    <a:pt x="3129056" y="3197953"/>
                    <a:pt x="3102457" y="3171354"/>
                    <a:pt x="3069944" y="3171354"/>
                  </a:cubicBezTo>
                  <a:cubicBezTo>
                    <a:pt x="3037434" y="3171354"/>
                    <a:pt x="3010832" y="3197953"/>
                    <a:pt x="3010832" y="3230466"/>
                  </a:cubicBezTo>
                  <a:close/>
                  <a:moveTo>
                    <a:pt x="2996052" y="1743800"/>
                  </a:moveTo>
                  <a:cubicBezTo>
                    <a:pt x="2996052" y="1743800"/>
                    <a:pt x="2996052" y="1746755"/>
                    <a:pt x="2999009" y="1746755"/>
                  </a:cubicBezTo>
                  <a:cubicBezTo>
                    <a:pt x="3001963" y="1746755"/>
                    <a:pt x="3001963" y="1743800"/>
                    <a:pt x="3001963" y="1743800"/>
                  </a:cubicBezTo>
                  <a:cubicBezTo>
                    <a:pt x="3001963" y="1743800"/>
                    <a:pt x="2999009" y="1740844"/>
                    <a:pt x="2999009" y="1740844"/>
                  </a:cubicBezTo>
                  <a:cubicBezTo>
                    <a:pt x="2996052" y="1740844"/>
                    <a:pt x="2996052" y="1743800"/>
                    <a:pt x="2996052" y="1743800"/>
                  </a:cubicBezTo>
                  <a:close/>
                  <a:moveTo>
                    <a:pt x="2990144" y="2609792"/>
                  </a:moveTo>
                  <a:cubicBezTo>
                    <a:pt x="2990144" y="2627525"/>
                    <a:pt x="3004924" y="2639347"/>
                    <a:pt x="3019700" y="2639347"/>
                  </a:cubicBezTo>
                  <a:cubicBezTo>
                    <a:pt x="3034480" y="2639347"/>
                    <a:pt x="3049256" y="2627525"/>
                    <a:pt x="3049256" y="2609792"/>
                  </a:cubicBezTo>
                  <a:cubicBezTo>
                    <a:pt x="3049256" y="2592058"/>
                    <a:pt x="3037434" y="2580236"/>
                    <a:pt x="3019700" y="2580236"/>
                  </a:cubicBezTo>
                  <a:cubicBezTo>
                    <a:pt x="3004924" y="2580236"/>
                    <a:pt x="2990144" y="2592058"/>
                    <a:pt x="2990144" y="2609792"/>
                  </a:cubicBezTo>
                  <a:close/>
                  <a:moveTo>
                    <a:pt x="2972407" y="3449177"/>
                  </a:moveTo>
                  <a:cubicBezTo>
                    <a:pt x="2975365" y="3481690"/>
                    <a:pt x="2999009" y="3505335"/>
                    <a:pt x="3028565" y="3505335"/>
                  </a:cubicBezTo>
                  <a:cubicBezTo>
                    <a:pt x="3058121" y="3505335"/>
                    <a:pt x="3084720" y="3481690"/>
                    <a:pt x="3084720" y="3449177"/>
                  </a:cubicBezTo>
                  <a:cubicBezTo>
                    <a:pt x="3084720" y="3419621"/>
                    <a:pt x="3061075" y="3393022"/>
                    <a:pt x="3028565" y="3393022"/>
                  </a:cubicBezTo>
                  <a:cubicBezTo>
                    <a:pt x="2999009" y="3393022"/>
                    <a:pt x="2972407" y="3416667"/>
                    <a:pt x="2972407" y="3449177"/>
                  </a:cubicBezTo>
                  <a:close/>
                  <a:moveTo>
                    <a:pt x="2957631" y="1983205"/>
                  </a:moveTo>
                  <a:cubicBezTo>
                    <a:pt x="2954677" y="1989116"/>
                    <a:pt x="2960588" y="1992070"/>
                    <a:pt x="2966499" y="1992070"/>
                  </a:cubicBezTo>
                  <a:cubicBezTo>
                    <a:pt x="2972411" y="1992070"/>
                    <a:pt x="2975365" y="1986159"/>
                    <a:pt x="2975365" y="1983205"/>
                  </a:cubicBezTo>
                  <a:cubicBezTo>
                    <a:pt x="2975365" y="1977291"/>
                    <a:pt x="2969453" y="1974337"/>
                    <a:pt x="2966499" y="1974337"/>
                  </a:cubicBezTo>
                  <a:cubicBezTo>
                    <a:pt x="2960588" y="1974337"/>
                    <a:pt x="2957631" y="1980248"/>
                    <a:pt x="2957631" y="1983205"/>
                  </a:cubicBezTo>
                  <a:close/>
                  <a:moveTo>
                    <a:pt x="2945809" y="2837370"/>
                  </a:moveTo>
                  <a:cubicBezTo>
                    <a:pt x="2945809" y="2858058"/>
                    <a:pt x="2960588" y="2872838"/>
                    <a:pt x="2981276" y="2872838"/>
                  </a:cubicBezTo>
                  <a:cubicBezTo>
                    <a:pt x="3001963" y="2872838"/>
                    <a:pt x="3016743" y="2858058"/>
                    <a:pt x="3016743" y="2837370"/>
                  </a:cubicBezTo>
                  <a:cubicBezTo>
                    <a:pt x="3016743" y="2816683"/>
                    <a:pt x="3001963" y="2801904"/>
                    <a:pt x="2981276" y="2801904"/>
                  </a:cubicBezTo>
                  <a:cubicBezTo>
                    <a:pt x="2960588" y="2801904"/>
                    <a:pt x="2945809" y="2816683"/>
                    <a:pt x="2945809" y="2837370"/>
                  </a:cubicBezTo>
                  <a:close/>
                  <a:moveTo>
                    <a:pt x="2936943" y="3670848"/>
                  </a:moveTo>
                  <a:cubicBezTo>
                    <a:pt x="2936943" y="3698598"/>
                    <a:pt x="2959440" y="3721094"/>
                    <a:pt x="2987190" y="3721094"/>
                  </a:cubicBezTo>
                  <a:cubicBezTo>
                    <a:pt x="3014940" y="3721094"/>
                    <a:pt x="3037434" y="3698598"/>
                    <a:pt x="3037434" y="3670848"/>
                  </a:cubicBezTo>
                  <a:cubicBezTo>
                    <a:pt x="3037434" y="3643101"/>
                    <a:pt x="3014940" y="3620604"/>
                    <a:pt x="2987190" y="3620604"/>
                  </a:cubicBezTo>
                  <a:cubicBezTo>
                    <a:pt x="2959440" y="3620604"/>
                    <a:pt x="2936943" y="3643101"/>
                    <a:pt x="2936943" y="3670848"/>
                  </a:cubicBezTo>
                  <a:close/>
                  <a:moveTo>
                    <a:pt x="2928075" y="3886605"/>
                  </a:moveTo>
                  <a:cubicBezTo>
                    <a:pt x="2928075" y="3898428"/>
                    <a:pt x="2936943" y="3904338"/>
                    <a:pt x="2945809" y="3904338"/>
                  </a:cubicBezTo>
                  <a:cubicBezTo>
                    <a:pt x="2954677" y="3904338"/>
                    <a:pt x="2963542" y="3895474"/>
                    <a:pt x="2963542" y="3886605"/>
                  </a:cubicBezTo>
                  <a:cubicBezTo>
                    <a:pt x="2963542" y="3877740"/>
                    <a:pt x="2957631" y="3868872"/>
                    <a:pt x="2945809" y="3868872"/>
                  </a:cubicBezTo>
                  <a:cubicBezTo>
                    <a:pt x="2936943" y="3868872"/>
                    <a:pt x="2928075" y="3877740"/>
                    <a:pt x="2928075" y="3886605"/>
                  </a:cubicBezTo>
                  <a:close/>
                  <a:moveTo>
                    <a:pt x="2913296" y="2216699"/>
                  </a:moveTo>
                  <a:cubicBezTo>
                    <a:pt x="2916253" y="2225564"/>
                    <a:pt x="2922164" y="2231475"/>
                    <a:pt x="2928075" y="2231475"/>
                  </a:cubicBezTo>
                  <a:cubicBezTo>
                    <a:pt x="2936940" y="2231475"/>
                    <a:pt x="2942852" y="2225564"/>
                    <a:pt x="2942852" y="2216699"/>
                  </a:cubicBezTo>
                  <a:cubicBezTo>
                    <a:pt x="2942852" y="2207830"/>
                    <a:pt x="2936940" y="2201919"/>
                    <a:pt x="2928075" y="2201919"/>
                  </a:cubicBezTo>
                  <a:cubicBezTo>
                    <a:pt x="2919207" y="2201919"/>
                    <a:pt x="2913296" y="2207830"/>
                    <a:pt x="2913296" y="2216699"/>
                  </a:cubicBezTo>
                  <a:close/>
                  <a:moveTo>
                    <a:pt x="2880786" y="3061996"/>
                  </a:moveTo>
                  <a:cubicBezTo>
                    <a:pt x="2880786" y="3094506"/>
                    <a:pt x="2907384" y="3121108"/>
                    <a:pt x="2939897" y="3121108"/>
                  </a:cubicBezTo>
                  <a:cubicBezTo>
                    <a:pt x="2972407" y="3121108"/>
                    <a:pt x="2999009" y="3094506"/>
                    <a:pt x="2999009" y="3061996"/>
                  </a:cubicBezTo>
                  <a:cubicBezTo>
                    <a:pt x="2999009" y="3029482"/>
                    <a:pt x="2972407" y="3002884"/>
                    <a:pt x="2939897" y="3002884"/>
                  </a:cubicBezTo>
                  <a:cubicBezTo>
                    <a:pt x="2907384" y="3002884"/>
                    <a:pt x="2880786" y="3029482"/>
                    <a:pt x="2880786" y="3061996"/>
                  </a:cubicBezTo>
                  <a:close/>
                  <a:moveTo>
                    <a:pt x="2863052" y="2444275"/>
                  </a:moveTo>
                  <a:cubicBezTo>
                    <a:pt x="2863052" y="2462008"/>
                    <a:pt x="2874874" y="2473831"/>
                    <a:pt x="2892608" y="2473831"/>
                  </a:cubicBezTo>
                  <a:cubicBezTo>
                    <a:pt x="2907387" y="2473831"/>
                    <a:pt x="2922164" y="2462008"/>
                    <a:pt x="2922164" y="2444275"/>
                  </a:cubicBezTo>
                  <a:cubicBezTo>
                    <a:pt x="2922164" y="2429498"/>
                    <a:pt x="2910342" y="2414719"/>
                    <a:pt x="2892608" y="2414719"/>
                  </a:cubicBezTo>
                  <a:cubicBezTo>
                    <a:pt x="2874874" y="2414719"/>
                    <a:pt x="2863052" y="2426542"/>
                    <a:pt x="2863052" y="2444275"/>
                  </a:cubicBezTo>
                  <a:close/>
                  <a:moveTo>
                    <a:pt x="2836453" y="3283667"/>
                  </a:moveTo>
                  <a:cubicBezTo>
                    <a:pt x="2836453" y="3316177"/>
                    <a:pt x="2863052" y="3345732"/>
                    <a:pt x="2898519" y="3345732"/>
                  </a:cubicBezTo>
                  <a:cubicBezTo>
                    <a:pt x="2933989" y="3345732"/>
                    <a:pt x="2960588" y="3316177"/>
                    <a:pt x="2960588" y="3283667"/>
                  </a:cubicBezTo>
                  <a:cubicBezTo>
                    <a:pt x="2960588" y="3248196"/>
                    <a:pt x="2931032" y="3221598"/>
                    <a:pt x="2898519" y="3221598"/>
                  </a:cubicBezTo>
                  <a:cubicBezTo>
                    <a:pt x="2863052" y="3221598"/>
                    <a:pt x="2836453" y="3251154"/>
                    <a:pt x="2836453" y="3283667"/>
                  </a:cubicBezTo>
                  <a:close/>
                  <a:moveTo>
                    <a:pt x="2821674" y="2671857"/>
                  </a:moveTo>
                  <a:cubicBezTo>
                    <a:pt x="2821674" y="2686636"/>
                    <a:pt x="2836453" y="2701413"/>
                    <a:pt x="2851230" y="2701413"/>
                  </a:cubicBezTo>
                  <a:cubicBezTo>
                    <a:pt x="2866009" y="2701413"/>
                    <a:pt x="2880786" y="2689591"/>
                    <a:pt x="2880786" y="2671857"/>
                  </a:cubicBezTo>
                  <a:cubicBezTo>
                    <a:pt x="2880786" y="2657081"/>
                    <a:pt x="2868963" y="2642302"/>
                    <a:pt x="2851230" y="2642302"/>
                  </a:cubicBezTo>
                  <a:cubicBezTo>
                    <a:pt x="2836453" y="2642302"/>
                    <a:pt x="2821674" y="2654124"/>
                    <a:pt x="2821674" y="2671857"/>
                  </a:cubicBezTo>
                  <a:close/>
                  <a:moveTo>
                    <a:pt x="2800986" y="3499424"/>
                  </a:moveTo>
                  <a:cubicBezTo>
                    <a:pt x="2800986" y="3528980"/>
                    <a:pt x="2824631" y="3555582"/>
                    <a:pt x="2857141" y="3555582"/>
                  </a:cubicBezTo>
                  <a:cubicBezTo>
                    <a:pt x="2889654" y="3555582"/>
                    <a:pt x="2913299" y="3528980"/>
                    <a:pt x="2913299" y="3499424"/>
                  </a:cubicBezTo>
                  <a:cubicBezTo>
                    <a:pt x="2913299" y="3469868"/>
                    <a:pt x="2886697" y="3443269"/>
                    <a:pt x="2857141" y="3443269"/>
                  </a:cubicBezTo>
                  <a:cubicBezTo>
                    <a:pt x="2824631" y="3443269"/>
                    <a:pt x="2800986" y="3469868"/>
                    <a:pt x="2800986" y="3499424"/>
                  </a:cubicBezTo>
                  <a:close/>
                  <a:moveTo>
                    <a:pt x="2795072" y="2054140"/>
                  </a:moveTo>
                  <a:cubicBezTo>
                    <a:pt x="2795072" y="2057097"/>
                    <a:pt x="2798029" y="2060051"/>
                    <a:pt x="2800983" y="2060051"/>
                  </a:cubicBezTo>
                  <a:cubicBezTo>
                    <a:pt x="2803940" y="2060051"/>
                    <a:pt x="2806894" y="2057097"/>
                    <a:pt x="2806894" y="2054140"/>
                  </a:cubicBezTo>
                  <a:cubicBezTo>
                    <a:pt x="2806894" y="2051182"/>
                    <a:pt x="2803940" y="2048228"/>
                    <a:pt x="2800983" y="2048228"/>
                  </a:cubicBezTo>
                  <a:cubicBezTo>
                    <a:pt x="2798029" y="2048228"/>
                    <a:pt x="2795072" y="2051182"/>
                    <a:pt x="2795072" y="2054140"/>
                  </a:cubicBezTo>
                  <a:close/>
                  <a:moveTo>
                    <a:pt x="2771430" y="2890574"/>
                  </a:moveTo>
                  <a:cubicBezTo>
                    <a:pt x="2771430" y="2914219"/>
                    <a:pt x="2789164" y="2928996"/>
                    <a:pt x="2809851" y="2928996"/>
                  </a:cubicBezTo>
                  <a:cubicBezTo>
                    <a:pt x="2830542" y="2928996"/>
                    <a:pt x="2848276" y="2911262"/>
                    <a:pt x="2848276" y="2890574"/>
                  </a:cubicBezTo>
                  <a:cubicBezTo>
                    <a:pt x="2848276" y="2869884"/>
                    <a:pt x="2830542" y="2852150"/>
                    <a:pt x="2809851" y="2852150"/>
                  </a:cubicBezTo>
                  <a:cubicBezTo>
                    <a:pt x="2789164" y="2852150"/>
                    <a:pt x="2771430" y="2869884"/>
                    <a:pt x="2771430" y="2890574"/>
                  </a:cubicBezTo>
                  <a:close/>
                  <a:moveTo>
                    <a:pt x="2762562" y="3715180"/>
                  </a:moveTo>
                  <a:cubicBezTo>
                    <a:pt x="2759605" y="3744736"/>
                    <a:pt x="2786207" y="3768381"/>
                    <a:pt x="2815763" y="3768381"/>
                  </a:cubicBezTo>
                  <a:cubicBezTo>
                    <a:pt x="2845318" y="3768381"/>
                    <a:pt x="2868960" y="3744736"/>
                    <a:pt x="2868960" y="3715180"/>
                  </a:cubicBezTo>
                  <a:cubicBezTo>
                    <a:pt x="2868960" y="3685624"/>
                    <a:pt x="2845318" y="3661980"/>
                    <a:pt x="2815763" y="3661980"/>
                  </a:cubicBezTo>
                  <a:cubicBezTo>
                    <a:pt x="2786207" y="3661980"/>
                    <a:pt x="2762562" y="3685624"/>
                    <a:pt x="2762562" y="3715180"/>
                  </a:cubicBezTo>
                  <a:close/>
                  <a:moveTo>
                    <a:pt x="2747785" y="2281719"/>
                  </a:moveTo>
                  <a:cubicBezTo>
                    <a:pt x="2747785" y="2290584"/>
                    <a:pt x="2753697" y="2296495"/>
                    <a:pt x="2762565" y="2296495"/>
                  </a:cubicBezTo>
                  <a:cubicBezTo>
                    <a:pt x="2771430" y="2296495"/>
                    <a:pt x="2777341" y="2290584"/>
                    <a:pt x="2777341" y="2281719"/>
                  </a:cubicBezTo>
                  <a:cubicBezTo>
                    <a:pt x="2777341" y="2272850"/>
                    <a:pt x="2771430" y="2266939"/>
                    <a:pt x="2762565" y="2266939"/>
                  </a:cubicBezTo>
                  <a:cubicBezTo>
                    <a:pt x="2753697" y="2266939"/>
                    <a:pt x="2747785" y="2272850"/>
                    <a:pt x="2747785" y="2281719"/>
                  </a:cubicBezTo>
                  <a:close/>
                  <a:moveTo>
                    <a:pt x="2738917" y="3927983"/>
                  </a:moveTo>
                  <a:cubicBezTo>
                    <a:pt x="2738917" y="3945717"/>
                    <a:pt x="2753697" y="3960496"/>
                    <a:pt x="2771430" y="3960496"/>
                  </a:cubicBezTo>
                  <a:cubicBezTo>
                    <a:pt x="2789161" y="3960496"/>
                    <a:pt x="2803940" y="3945717"/>
                    <a:pt x="2803940" y="3927983"/>
                  </a:cubicBezTo>
                  <a:cubicBezTo>
                    <a:pt x="2803940" y="3910253"/>
                    <a:pt x="2789161" y="3895474"/>
                    <a:pt x="2771430" y="3895474"/>
                  </a:cubicBezTo>
                  <a:cubicBezTo>
                    <a:pt x="2753697" y="3895474"/>
                    <a:pt x="2738917" y="3910253"/>
                    <a:pt x="2738917" y="3927983"/>
                  </a:cubicBezTo>
                  <a:close/>
                  <a:moveTo>
                    <a:pt x="2712318" y="3109285"/>
                  </a:moveTo>
                  <a:cubicBezTo>
                    <a:pt x="2712318" y="3141798"/>
                    <a:pt x="2735963" y="3165443"/>
                    <a:pt x="2768473" y="3165443"/>
                  </a:cubicBezTo>
                  <a:cubicBezTo>
                    <a:pt x="2800986" y="3165443"/>
                    <a:pt x="2824631" y="3138841"/>
                    <a:pt x="2824631" y="3109285"/>
                  </a:cubicBezTo>
                  <a:cubicBezTo>
                    <a:pt x="2824631" y="3076775"/>
                    <a:pt x="2798029" y="3053130"/>
                    <a:pt x="2768473" y="3053130"/>
                  </a:cubicBezTo>
                  <a:cubicBezTo>
                    <a:pt x="2735963" y="3053130"/>
                    <a:pt x="2712318" y="3079729"/>
                    <a:pt x="2712318" y="3109285"/>
                  </a:cubicBezTo>
                  <a:close/>
                  <a:moveTo>
                    <a:pt x="2691628" y="2503387"/>
                  </a:moveTo>
                  <a:cubicBezTo>
                    <a:pt x="2691628" y="2521120"/>
                    <a:pt x="2706407" y="2532942"/>
                    <a:pt x="2721183" y="2532942"/>
                  </a:cubicBezTo>
                  <a:cubicBezTo>
                    <a:pt x="2735963" y="2532942"/>
                    <a:pt x="2750739" y="2521120"/>
                    <a:pt x="2750739" y="2503387"/>
                  </a:cubicBezTo>
                  <a:cubicBezTo>
                    <a:pt x="2750739" y="2485653"/>
                    <a:pt x="2738917" y="2473831"/>
                    <a:pt x="2721183" y="2473831"/>
                  </a:cubicBezTo>
                  <a:cubicBezTo>
                    <a:pt x="2706407" y="2473831"/>
                    <a:pt x="2691628" y="2485653"/>
                    <a:pt x="2691628" y="2503387"/>
                  </a:cubicBezTo>
                  <a:close/>
                  <a:moveTo>
                    <a:pt x="2667613" y="1895645"/>
                  </a:moveTo>
                  <a:cubicBezTo>
                    <a:pt x="2668721" y="1896753"/>
                    <a:pt x="2670938" y="1897492"/>
                    <a:pt x="2673894" y="1897492"/>
                  </a:cubicBezTo>
                  <a:cubicBezTo>
                    <a:pt x="2676848" y="1897492"/>
                    <a:pt x="2679805" y="1894538"/>
                    <a:pt x="2679805" y="1891580"/>
                  </a:cubicBezTo>
                  <a:cubicBezTo>
                    <a:pt x="2679805" y="1888623"/>
                    <a:pt x="2676848" y="1885669"/>
                    <a:pt x="2673894" y="1885669"/>
                  </a:cubicBezTo>
                  <a:cubicBezTo>
                    <a:pt x="2670937" y="1885669"/>
                    <a:pt x="2667983" y="1888623"/>
                    <a:pt x="2667983" y="1891580"/>
                  </a:cubicBezTo>
                  <a:cubicBezTo>
                    <a:pt x="2666504" y="1893059"/>
                    <a:pt x="2666504" y="1894537"/>
                    <a:pt x="2667613" y="1895645"/>
                  </a:cubicBezTo>
                  <a:close/>
                  <a:moveTo>
                    <a:pt x="2662072" y="3325045"/>
                  </a:moveTo>
                  <a:cubicBezTo>
                    <a:pt x="2662072" y="3360512"/>
                    <a:pt x="2691628" y="3390068"/>
                    <a:pt x="2727095" y="3390068"/>
                  </a:cubicBezTo>
                  <a:cubicBezTo>
                    <a:pt x="2762562" y="3390068"/>
                    <a:pt x="2792118" y="3360512"/>
                    <a:pt x="2792118" y="3325045"/>
                  </a:cubicBezTo>
                  <a:cubicBezTo>
                    <a:pt x="2792118" y="3289578"/>
                    <a:pt x="2762562" y="3260022"/>
                    <a:pt x="2727095" y="3260022"/>
                  </a:cubicBezTo>
                  <a:cubicBezTo>
                    <a:pt x="2691628" y="3260022"/>
                    <a:pt x="2662072" y="3289578"/>
                    <a:pt x="2662072" y="3325045"/>
                  </a:cubicBezTo>
                  <a:close/>
                  <a:moveTo>
                    <a:pt x="2650249" y="2719146"/>
                  </a:moveTo>
                  <a:cubicBezTo>
                    <a:pt x="2650249" y="2736880"/>
                    <a:pt x="2665029" y="2748702"/>
                    <a:pt x="2679805" y="2748702"/>
                  </a:cubicBezTo>
                  <a:cubicBezTo>
                    <a:pt x="2694585" y="2748702"/>
                    <a:pt x="2709361" y="2736880"/>
                    <a:pt x="2709361" y="2719146"/>
                  </a:cubicBezTo>
                  <a:cubicBezTo>
                    <a:pt x="2709361" y="2704370"/>
                    <a:pt x="2697539" y="2689591"/>
                    <a:pt x="2679805" y="2689591"/>
                  </a:cubicBezTo>
                  <a:cubicBezTo>
                    <a:pt x="2665029" y="2689591"/>
                    <a:pt x="2650249" y="2701413"/>
                    <a:pt x="2650249" y="2719146"/>
                  </a:cubicBezTo>
                  <a:close/>
                  <a:moveTo>
                    <a:pt x="2626604" y="3540802"/>
                  </a:moveTo>
                  <a:cubicBezTo>
                    <a:pt x="2626604" y="3570358"/>
                    <a:pt x="2650249" y="3596956"/>
                    <a:pt x="2682762" y="3596956"/>
                  </a:cubicBezTo>
                  <a:cubicBezTo>
                    <a:pt x="2715272" y="3596956"/>
                    <a:pt x="2738917" y="3570358"/>
                    <a:pt x="2738917" y="3540802"/>
                  </a:cubicBezTo>
                  <a:cubicBezTo>
                    <a:pt x="2738917" y="3508289"/>
                    <a:pt x="2712318" y="3484644"/>
                    <a:pt x="2682762" y="3484644"/>
                  </a:cubicBezTo>
                  <a:cubicBezTo>
                    <a:pt x="2650249" y="3484644"/>
                    <a:pt x="2626604" y="3511246"/>
                    <a:pt x="2626604" y="3540802"/>
                  </a:cubicBezTo>
                  <a:close/>
                  <a:moveTo>
                    <a:pt x="2623650" y="2113252"/>
                  </a:moveTo>
                  <a:cubicBezTo>
                    <a:pt x="2623650" y="2119163"/>
                    <a:pt x="2626604" y="2122117"/>
                    <a:pt x="2632516" y="2122117"/>
                  </a:cubicBezTo>
                  <a:cubicBezTo>
                    <a:pt x="2638430" y="2122117"/>
                    <a:pt x="2641384" y="2119163"/>
                    <a:pt x="2641384" y="2113252"/>
                  </a:cubicBezTo>
                  <a:cubicBezTo>
                    <a:pt x="2641384" y="2107340"/>
                    <a:pt x="2638430" y="2104383"/>
                    <a:pt x="2632516" y="2104383"/>
                  </a:cubicBezTo>
                  <a:cubicBezTo>
                    <a:pt x="2626604" y="2104383"/>
                    <a:pt x="2623650" y="2107340"/>
                    <a:pt x="2623650" y="2113252"/>
                  </a:cubicBezTo>
                  <a:close/>
                  <a:moveTo>
                    <a:pt x="2597049" y="2937860"/>
                  </a:moveTo>
                  <a:cubicBezTo>
                    <a:pt x="2597049" y="2958552"/>
                    <a:pt x="2614782" y="2979239"/>
                    <a:pt x="2638427" y="2979239"/>
                  </a:cubicBezTo>
                  <a:cubicBezTo>
                    <a:pt x="2662072" y="2979239"/>
                    <a:pt x="2679805" y="2961506"/>
                    <a:pt x="2679805" y="2937860"/>
                  </a:cubicBezTo>
                  <a:cubicBezTo>
                    <a:pt x="2679805" y="2914216"/>
                    <a:pt x="2662072" y="2896482"/>
                    <a:pt x="2638427" y="2896482"/>
                  </a:cubicBezTo>
                  <a:cubicBezTo>
                    <a:pt x="2614782" y="2896482"/>
                    <a:pt x="2597049" y="2914216"/>
                    <a:pt x="2597049" y="2937860"/>
                  </a:cubicBezTo>
                  <a:close/>
                  <a:moveTo>
                    <a:pt x="2591137" y="3750650"/>
                  </a:moveTo>
                  <a:cubicBezTo>
                    <a:pt x="2591137" y="3777252"/>
                    <a:pt x="2611825" y="3797940"/>
                    <a:pt x="2638427" y="3797940"/>
                  </a:cubicBezTo>
                  <a:cubicBezTo>
                    <a:pt x="2665029" y="3797940"/>
                    <a:pt x="2685716" y="3777252"/>
                    <a:pt x="2685716" y="3750650"/>
                  </a:cubicBezTo>
                  <a:cubicBezTo>
                    <a:pt x="2685716" y="3724049"/>
                    <a:pt x="2665029" y="3703361"/>
                    <a:pt x="2638427" y="3703361"/>
                  </a:cubicBezTo>
                  <a:cubicBezTo>
                    <a:pt x="2611825" y="3703361"/>
                    <a:pt x="2591137" y="3724049"/>
                    <a:pt x="2591137" y="3750650"/>
                  </a:cubicBezTo>
                  <a:close/>
                  <a:moveTo>
                    <a:pt x="2579315" y="2334920"/>
                  </a:moveTo>
                  <a:cubicBezTo>
                    <a:pt x="2579315" y="2340831"/>
                    <a:pt x="2585226" y="2346742"/>
                    <a:pt x="2591137" y="2346742"/>
                  </a:cubicBezTo>
                  <a:cubicBezTo>
                    <a:pt x="2597049" y="2346742"/>
                    <a:pt x="2602960" y="2340831"/>
                    <a:pt x="2602960" y="2334920"/>
                  </a:cubicBezTo>
                  <a:cubicBezTo>
                    <a:pt x="2602960" y="2329008"/>
                    <a:pt x="2597049" y="2323097"/>
                    <a:pt x="2591137" y="2323097"/>
                  </a:cubicBezTo>
                  <a:cubicBezTo>
                    <a:pt x="2585226" y="2323097"/>
                    <a:pt x="2579315" y="2329008"/>
                    <a:pt x="2579315" y="2334920"/>
                  </a:cubicBezTo>
                  <a:close/>
                  <a:moveTo>
                    <a:pt x="2546805" y="3960496"/>
                  </a:moveTo>
                  <a:cubicBezTo>
                    <a:pt x="2546805" y="3987098"/>
                    <a:pt x="2570450" y="4007786"/>
                    <a:pt x="2594094" y="4007786"/>
                  </a:cubicBezTo>
                  <a:cubicBezTo>
                    <a:pt x="2620696" y="4007786"/>
                    <a:pt x="2641384" y="3987098"/>
                    <a:pt x="2641384" y="3960496"/>
                  </a:cubicBezTo>
                  <a:cubicBezTo>
                    <a:pt x="2641384" y="3933898"/>
                    <a:pt x="2620696" y="3913207"/>
                    <a:pt x="2594094" y="3913207"/>
                  </a:cubicBezTo>
                  <a:cubicBezTo>
                    <a:pt x="2567493" y="3913207"/>
                    <a:pt x="2546805" y="3933898"/>
                    <a:pt x="2546805" y="3960496"/>
                  </a:cubicBezTo>
                  <a:close/>
                  <a:moveTo>
                    <a:pt x="2540894" y="3150664"/>
                  </a:moveTo>
                  <a:cubicBezTo>
                    <a:pt x="2540894" y="3180220"/>
                    <a:pt x="2564539" y="3203864"/>
                    <a:pt x="2594094" y="3203864"/>
                  </a:cubicBezTo>
                  <a:cubicBezTo>
                    <a:pt x="2623650" y="3203864"/>
                    <a:pt x="2647295" y="3180220"/>
                    <a:pt x="2647295" y="3150664"/>
                  </a:cubicBezTo>
                  <a:cubicBezTo>
                    <a:pt x="2647295" y="3121108"/>
                    <a:pt x="2623650" y="3097463"/>
                    <a:pt x="2594094" y="3097463"/>
                  </a:cubicBezTo>
                  <a:cubicBezTo>
                    <a:pt x="2564539" y="3097463"/>
                    <a:pt x="2540894" y="3121108"/>
                    <a:pt x="2540894" y="3150664"/>
                  </a:cubicBezTo>
                  <a:close/>
                  <a:moveTo>
                    <a:pt x="2532025" y="2547722"/>
                  </a:moveTo>
                  <a:cubicBezTo>
                    <a:pt x="2532025" y="2556588"/>
                    <a:pt x="2537937" y="2565456"/>
                    <a:pt x="2549759" y="2565456"/>
                  </a:cubicBezTo>
                  <a:cubicBezTo>
                    <a:pt x="2558624" y="2565456"/>
                    <a:pt x="2567493" y="2556588"/>
                    <a:pt x="2567493" y="2547722"/>
                  </a:cubicBezTo>
                  <a:cubicBezTo>
                    <a:pt x="2567493" y="2538854"/>
                    <a:pt x="2558624" y="2529988"/>
                    <a:pt x="2549759" y="2529988"/>
                  </a:cubicBezTo>
                  <a:cubicBezTo>
                    <a:pt x="2540894" y="2529988"/>
                    <a:pt x="2532025" y="2538854"/>
                    <a:pt x="2532025" y="2547722"/>
                  </a:cubicBezTo>
                  <a:close/>
                  <a:moveTo>
                    <a:pt x="2496558" y="1944781"/>
                  </a:moveTo>
                  <a:cubicBezTo>
                    <a:pt x="2496558" y="1947735"/>
                    <a:pt x="2499512" y="1950692"/>
                    <a:pt x="2502470" y="1950692"/>
                  </a:cubicBezTo>
                  <a:cubicBezTo>
                    <a:pt x="2505427" y="1950692"/>
                    <a:pt x="2508381" y="1947735"/>
                    <a:pt x="2508381" y="1944781"/>
                  </a:cubicBezTo>
                  <a:cubicBezTo>
                    <a:pt x="2508381" y="1941824"/>
                    <a:pt x="2505427" y="1938870"/>
                    <a:pt x="2502470" y="1938870"/>
                  </a:cubicBezTo>
                  <a:cubicBezTo>
                    <a:pt x="2499512" y="1938870"/>
                    <a:pt x="2496558" y="1941824"/>
                    <a:pt x="2496558" y="1944781"/>
                  </a:cubicBezTo>
                  <a:close/>
                  <a:moveTo>
                    <a:pt x="2490647" y="3360509"/>
                  </a:moveTo>
                  <a:cubicBezTo>
                    <a:pt x="2493601" y="3393022"/>
                    <a:pt x="2517246" y="3419621"/>
                    <a:pt x="2549759" y="3419621"/>
                  </a:cubicBezTo>
                  <a:cubicBezTo>
                    <a:pt x="2582269" y="3419621"/>
                    <a:pt x="2608871" y="3393022"/>
                    <a:pt x="2608871" y="3360509"/>
                  </a:cubicBezTo>
                  <a:cubicBezTo>
                    <a:pt x="2608871" y="3327999"/>
                    <a:pt x="2582269" y="3301397"/>
                    <a:pt x="2549759" y="3301397"/>
                  </a:cubicBezTo>
                  <a:cubicBezTo>
                    <a:pt x="2517246" y="3301397"/>
                    <a:pt x="2490647" y="3327999"/>
                    <a:pt x="2490647" y="3360509"/>
                  </a:cubicBezTo>
                  <a:close/>
                  <a:moveTo>
                    <a:pt x="2481782" y="2760525"/>
                  </a:moveTo>
                  <a:cubicBezTo>
                    <a:pt x="2481782" y="2775302"/>
                    <a:pt x="2493604" y="2784170"/>
                    <a:pt x="2505427" y="2784170"/>
                  </a:cubicBezTo>
                  <a:cubicBezTo>
                    <a:pt x="2517249" y="2784170"/>
                    <a:pt x="2529071" y="2772348"/>
                    <a:pt x="2529071" y="2760525"/>
                  </a:cubicBezTo>
                  <a:cubicBezTo>
                    <a:pt x="2529071" y="2748702"/>
                    <a:pt x="2520206" y="2736880"/>
                    <a:pt x="2505427" y="2736880"/>
                  </a:cubicBezTo>
                  <a:cubicBezTo>
                    <a:pt x="2493604" y="2736880"/>
                    <a:pt x="2481782" y="2748702"/>
                    <a:pt x="2481782" y="2760525"/>
                  </a:cubicBezTo>
                  <a:close/>
                  <a:moveTo>
                    <a:pt x="2449269" y="2157584"/>
                  </a:moveTo>
                  <a:cubicBezTo>
                    <a:pt x="2449269" y="2166449"/>
                    <a:pt x="2455180" y="2169406"/>
                    <a:pt x="2461091" y="2169406"/>
                  </a:cubicBezTo>
                  <a:cubicBezTo>
                    <a:pt x="2467002" y="2169406"/>
                    <a:pt x="2472914" y="2163495"/>
                    <a:pt x="2472914" y="2157584"/>
                  </a:cubicBezTo>
                  <a:cubicBezTo>
                    <a:pt x="2472914" y="2151673"/>
                    <a:pt x="2467002" y="2145762"/>
                    <a:pt x="2461091" y="2145762"/>
                  </a:cubicBezTo>
                  <a:cubicBezTo>
                    <a:pt x="2455180" y="2145762"/>
                    <a:pt x="2449269" y="2151673"/>
                    <a:pt x="2449269" y="2157584"/>
                  </a:cubicBezTo>
                  <a:close/>
                  <a:moveTo>
                    <a:pt x="2446315" y="3570358"/>
                  </a:moveTo>
                  <a:cubicBezTo>
                    <a:pt x="2449269" y="3602868"/>
                    <a:pt x="2475871" y="3629470"/>
                    <a:pt x="2505427" y="3629470"/>
                  </a:cubicBezTo>
                  <a:cubicBezTo>
                    <a:pt x="2537937" y="3629470"/>
                    <a:pt x="2564539" y="3602868"/>
                    <a:pt x="2564539" y="3570358"/>
                  </a:cubicBezTo>
                  <a:cubicBezTo>
                    <a:pt x="2564539" y="3537845"/>
                    <a:pt x="2537937" y="3511246"/>
                    <a:pt x="2505427" y="3511246"/>
                  </a:cubicBezTo>
                  <a:cubicBezTo>
                    <a:pt x="2472914" y="3511246"/>
                    <a:pt x="2446315" y="3537845"/>
                    <a:pt x="2446315" y="3570358"/>
                  </a:cubicBezTo>
                  <a:close/>
                  <a:moveTo>
                    <a:pt x="2422670" y="2973331"/>
                  </a:moveTo>
                  <a:cubicBezTo>
                    <a:pt x="2422670" y="2994018"/>
                    <a:pt x="2440404" y="3011752"/>
                    <a:pt x="2461094" y="3011752"/>
                  </a:cubicBezTo>
                  <a:cubicBezTo>
                    <a:pt x="2481782" y="3011752"/>
                    <a:pt x="2499515" y="2994018"/>
                    <a:pt x="2499515" y="2973331"/>
                  </a:cubicBezTo>
                  <a:cubicBezTo>
                    <a:pt x="2499515" y="2952640"/>
                    <a:pt x="2481782" y="2934906"/>
                    <a:pt x="2461094" y="2934906"/>
                  </a:cubicBezTo>
                  <a:cubicBezTo>
                    <a:pt x="2440404" y="2934906"/>
                    <a:pt x="2422670" y="2952640"/>
                    <a:pt x="2422670" y="2973331"/>
                  </a:cubicBezTo>
                  <a:close/>
                  <a:moveTo>
                    <a:pt x="2407890" y="2373344"/>
                  </a:moveTo>
                  <a:cubicBezTo>
                    <a:pt x="2407890" y="2376298"/>
                    <a:pt x="2410845" y="2382209"/>
                    <a:pt x="2416759" y="2382209"/>
                  </a:cubicBezTo>
                  <a:cubicBezTo>
                    <a:pt x="2422670" y="2382209"/>
                    <a:pt x="2425624" y="2379255"/>
                    <a:pt x="2425624" y="2373344"/>
                  </a:cubicBezTo>
                  <a:cubicBezTo>
                    <a:pt x="2425624" y="2367432"/>
                    <a:pt x="2422670" y="2364476"/>
                    <a:pt x="2416759" y="2364476"/>
                  </a:cubicBezTo>
                  <a:cubicBezTo>
                    <a:pt x="2410845" y="2364476"/>
                    <a:pt x="2407890" y="2367432"/>
                    <a:pt x="2407890" y="2373344"/>
                  </a:cubicBezTo>
                  <a:close/>
                  <a:moveTo>
                    <a:pt x="2404933" y="3780204"/>
                  </a:moveTo>
                  <a:cubicBezTo>
                    <a:pt x="2404933" y="3809760"/>
                    <a:pt x="2431535" y="3836362"/>
                    <a:pt x="2461091" y="3836362"/>
                  </a:cubicBezTo>
                  <a:cubicBezTo>
                    <a:pt x="2493601" y="3836362"/>
                    <a:pt x="2517246" y="3809760"/>
                    <a:pt x="2517246" y="3780204"/>
                  </a:cubicBezTo>
                  <a:cubicBezTo>
                    <a:pt x="2517246" y="3747694"/>
                    <a:pt x="2490647" y="3724049"/>
                    <a:pt x="2461091" y="3724049"/>
                  </a:cubicBezTo>
                  <a:cubicBezTo>
                    <a:pt x="2428578" y="3724049"/>
                    <a:pt x="2404933" y="3750648"/>
                    <a:pt x="2404933" y="3780204"/>
                  </a:cubicBezTo>
                  <a:close/>
                  <a:moveTo>
                    <a:pt x="2369469" y="3180220"/>
                  </a:moveTo>
                  <a:cubicBezTo>
                    <a:pt x="2372426" y="3206822"/>
                    <a:pt x="2393114" y="3227509"/>
                    <a:pt x="2416759" y="3227509"/>
                  </a:cubicBezTo>
                  <a:cubicBezTo>
                    <a:pt x="2443361" y="3227509"/>
                    <a:pt x="2464048" y="3206822"/>
                    <a:pt x="2464048" y="3180220"/>
                  </a:cubicBezTo>
                  <a:cubicBezTo>
                    <a:pt x="2464048" y="3153618"/>
                    <a:pt x="2443361" y="3132930"/>
                    <a:pt x="2416759" y="3132930"/>
                  </a:cubicBezTo>
                  <a:cubicBezTo>
                    <a:pt x="2390157" y="3132930"/>
                    <a:pt x="2369469" y="3153618"/>
                    <a:pt x="2369469" y="3180220"/>
                  </a:cubicBezTo>
                  <a:close/>
                  <a:moveTo>
                    <a:pt x="2360601" y="3984141"/>
                  </a:moveTo>
                  <a:cubicBezTo>
                    <a:pt x="2360601" y="4016651"/>
                    <a:pt x="2384246" y="4043253"/>
                    <a:pt x="2419713" y="4043253"/>
                  </a:cubicBezTo>
                  <a:cubicBezTo>
                    <a:pt x="2452226" y="4043253"/>
                    <a:pt x="2478825" y="4016651"/>
                    <a:pt x="2478825" y="3984141"/>
                  </a:cubicBezTo>
                  <a:cubicBezTo>
                    <a:pt x="2478825" y="3951628"/>
                    <a:pt x="2452226" y="3925029"/>
                    <a:pt x="2419713" y="3925029"/>
                  </a:cubicBezTo>
                  <a:cubicBezTo>
                    <a:pt x="2387203" y="3925029"/>
                    <a:pt x="2360601" y="3951628"/>
                    <a:pt x="2360601" y="3984141"/>
                  </a:cubicBezTo>
                  <a:close/>
                  <a:moveTo>
                    <a:pt x="2354690" y="2583190"/>
                  </a:moveTo>
                  <a:cubicBezTo>
                    <a:pt x="2354690" y="2592054"/>
                    <a:pt x="2363558" y="2600923"/>
                    <a:pt x="2372423" y="2600923"/>
                  </a:cubicBezTo>
                  <a:cubicBezTo>
                    <a:pt x="2381289" y="2600923"/>
                    <a:pt x="2390157" y="2592054"/>
                    <a:pt x="2390157" y="2583190"/>
                  </a:cubicBezTo>
                  <a:cubicBezTo>
                    <a:pt x="2390157" y="2574324"/>
                    <a:pt x="2381289" y="2565456"/>
                    <a:pt x="2372423" y="2565456"/>
                  </a:cubicBezTo>
                  <a:cubicBezTo>
                    <a:pt x="2363558" y="2565456"/>
                    <a:pt x="2354690" y="2574324"/>
                    <a:pt x="2354690" y="2583190"/>
                  </a:cubicBezTo>
                  <a:close/>
                  <a:moveTo>
                    <a:pt x="2319223" y="1983205"/>
                  </a:moveTo>
                  <a:cubicBezTo>
                    <a:pt x="2319223" y="1988102"/>
                    <a:pt x="2323191" y="1992070"/>
                    <a:pt x="2328088" y="1992070"/>
                  </a:cubicBezTo>
                  <a:cubicBezTo>
                    <a:pt x="2332988" y="1992070"/>
                    <a:pt x="2336956" y="1988102"/>
                    <a:pt x="2336956" y="1983205"/>
                  </a:cubicBezTo>
                  <a:cubicBezTo>
                    <a:pt x="2336956" y="1978306"/>
                    <a:pt x="2332988" y="1974337"/>
                    <a:pt x="2328088" y="1974337"/>
                  </a:cubicBezTo>
                  <a:cubicBezTo>
                    <a:pt x="2323191" y="1974337"/>
                    <a:pt x="2319223" y="1978306"/>
                    <a:pt x="2319223" y="1983205"/>
                  </a:cubicBezTo>
                  <a:close/>
                  <a:moveTo>
                    <a:pt x="2313311" y="3387111"/>
                  </a:moveTo>
                  <a:cubicBezTo>
                    <a:pt x="2316266" y="3419621"/>
                    <a:pt x="2339910" y="3446223"/>
                    <a:pt x="2372423" y="3446223"/>
                  </a:cubicBezTo>
                  <a:cubicBezTo>
                    <a:pt x="2404933" y="3446223"/>
                    <a:pt x="2431535" y="3419621"/>
                    <a:pt x="2431535" y="3387111"/>
                  </a:cubicBezTo>
                  <a:cubicBezTo>
                    <a:pt x="2431535" y="3354598"/>
                    <a:pt x="2404933" y="3327999"/>
                    <a:pt x="2372423" y="3327999"/>
                  </a:cubicBezTo>
                  <a:cubicBezTo>
                    <a:pt x="2339910" y="3327999"/>
                    <a:pt x="2313311" y="3354598"/>
                    <a:pt x="2313311" y="3387111"/>
                  </a:cubicBezTo>
                  <a:close/>
                  <a:moveTo>
                    <a:pt x="2307400" y="2793035"/>
                  </a:moveTo>
                  <a:cubicBezTo>
                    <a:pt x="2307400" y="2801904"/>
                    <a:pt x="2316269" y="2813726"/>
                    <a:pt x="2328091" y="2813726"/>
                  </a:cubicBezTo>
                  <a:cubicBezTo>
                    <a:pt x="2339913" y="2813726"/>
                    <a:pt x="2348779" y="2804858"/>
                    <a:pt x="2348779" y="2793035"/>
                  </a:cubicBezTo>
                  <a:cubicBezTo>
                    <a:pt x="2348779" y="2781216"/>
                    <a:pt x="2339913" y="2772348"/>
                    <a:pt x="2328091" y="2772348"/>
                  </a:cubicBezTo>
                  <a:cubicBezTo>
                    <a:pt x="2316269" y="2772348"/>
                    <a:pt x="2307400" y="2781216"/>
                    <a:pt x="2307400" y="2793035"/>
                  </a:cubicBezTo>
                  <a:close/>
                  <a:moveTo>
                    <a:pt x="2271933" y="2193051"/>
                  </a:moveTo>
                  <a:cubicBezTo>
                    <a:pt x="2271933" y="2198962"/>
                    <a:pt x="2277844" y="2204873"/>
                    <a:pt x="2283756" y="2204873"/>
                  </a:cubicBezTo>
                  <a:cubicBezTo>
                    <a:pt x="2289667" y="2204873"/>
                    <a:pt x="2295578" y="2198962"/>
                    <a:pt x="2295578" y="2193051"/>
                  </a:cubicBezTo>
                  <a:cubicBezTo>
                    <a:pt x="2295578" y="2187140"/>
                    <a:pt x="2289667" y="2181228"/>
                    <a:pt x="2283756" y="2181228"/>
                  </a:cubicBezTo>
                  <a:cubicBezTo>
                    <a:pt x="2277844" y="2181228"/>
                    <a:pt x="2271933" y="2187140"/>
                    <a:pt x="2271933" y="2193051"/>
                  </a:cubicBezTo>
                  <a:close/>
                  <a:moveTo>
                    <a:pt x="2266022" y="3594006"/>
                  </a:moveTo>
                  <a:cubicBezTo>
                    <a:pt x="2268979" y="3626516"/>
                    <a:pt x="2295578" y="3656072"/>
                    <a:pt x="2328091" y="3656072"/>
                  </a:cubicBezTo>
                  <a:cubicBezTo>
                    <a:pt x="2363558" y="3656072"/>
                    <a:pt x="2390157" y="3629473"/>
                    <a:pt x="2390157" y="3594006"/>
                  </a:cubicBezTo>
                  <a:cubicBezTo>
                    <a:pt x="2390157" y="3558536"/>
                    <a:pt x="2363558" y="3531936"/>
                    <a:pt x="2328091" y="3531936"/>
                  </a:cubicBezTo>
                  <a:cubicBezTo>
                    <a:pt x="2292621" y="3531936"/>
                    <a:pt x="2266022" y="3558536"/>
                    <a:pt x="2266022" y="3594006"/>
                  </a:cubicBezTo>
                  <a:close/>
                  <a:moveTo>
                    <a:pt x="2245334" y="2996972"/>
                  </a:moveTo>
                  <a:cubicBezTo>
                    <a:pt x="2245334" y="3018194"/>
                    <a:pt x="2262537" y="3035397"/>
                    <a:pt x="2283756" y="3035397"/>
                  </a:cubicBezTo>
                  <a:cubicBezTo>
                    <a:pt x="2304977" y="3035397"/>
                    <a:pt x="2322180" y="3018194"/>
                    <a:pt x="2322180" y="2996972"/>
                  </a:cubicBezTo>
                  <a:cubicBezTo>
                    <a:pt x="2322180" y="2975754"/>
                    <a:pt x="2304977" y="2958552"/>
                    <a:pt x="2283756" y="2958552"/>
                  </a:cubicBezTo>
                  <a:cubicBezTo>
                    <a:pt x="2262537" y="2958552"/>
                    <a:pt x="2245334" y="2975754"/>
                    <a:pt x="2245334" y="2996972"/>
                  </a:cubicBezTo>
                  <a:close/>
                  <a:moveTo>
                    <a:pt x="2227598" y="3797937"/>
                  </a:moveTo>
                  <a:cubicBezTo>
                    <a:pt x="2227598" y="3830450"/>
                    <a:pt x="2254200" y="3854095"/>
                    <a:pt x="2283756" y="3854095"/>
                  </a:cubicBezTo>
                  <a:cubicBezTo>
                    <a:pt x="2316266" y="3854095"/>
                    <a:pt x="2339910" y="3827493"/>
                    <a:pt x="2339910" y="3797937"/>
                  </a:cubicBezTo>
                  <a:cubicBezTo>
                    <a:pt x="2339910" y="3765427"/>
                    <a:pt x="2313311" y="3741782"/>
                    <a:pt x="2283756" y="3741782"/>
                  </a:cubicBezTo>
                  <a:cubicBezTo>
                    <a:pt x="2251242" y="3741782"/>
                    <a:pt x="2227598" y="3768381"/>
                    <a:pt x="2227598" y="3797937"/>
                  </a:cubicBezTo>
                  <a:close/>
                  <a:moveTo>
                    <a:pt x="2224644" y="2399942"/>
                  </a:moveTo>
                  <a:cubicBezTo>
                    <a:pt x="2224644" y="2408808"/>
                    <a:pt x="2230555" y="2414719"/>
                    <a:pt x="2239423" y="2414719"/>
                  </a:cubicBezTo>
                  <a:cubicBezTo>
                    <a:pt x="2248288" y="2414719"/>
                    <a:pt x="2254200" y="2408808"/>
                    <a:pt x="2254200" y="2399942"/>
                  </a:cubicBezTo>
                  <a:cubicBezTo>
                    <a:pt x="2254200" y="2391074"/>
                    <a:pt x="2248288" y="2385163"/>
                    <a:pt x="2239423" y="2385163"/>
                  </a:cubicBezTo>
                  <a:cubicBezTo>
                    <a:pt x="2230555" y="2385163"/>
                    <a:pt x="2224644" y="2391074"/>
                    <a:pt x="2224644" y="2399942"/>
                  </a:cubicBezTo>
                  <a:close/>
                  <a:moveTo>
                    <a:pt x="2192134" y="1802916"/>
                  </a:moveTo>
                  <a:cubicBezTo>
                    <a:pt x="2192134" y="1804548"/>
                    <a:pt x="2193456" y="1805870"/>
                    <a:pt x="2195088" y="1805870"/>
                  </a:cubicBezTo>
                  <a:cubicBezTo>
                    <a:pt x="2196723" y="1805870"/>
                    <a:pt x="2198045" y="1804545"/>
                    <a:pt x="2198045" y="1802916"/>
                  </a:cubicBezTo>
                  <a:cubicBezTo>
                    <a:pt x="2198045" y="1801280"/>
                    <a:pt x="2196720" y="1799958"/>
                    <a:pt x="2195088" y="1799958"/>
                  </a:cubicBezTo>
                  <a:cubicBezTo>
                    <a:pt x="2193456" y="1799958"/>
                    <a:pt x="2192134" y="1801284"/>
                    <a:pt x="2192134" y="1802916"/>
                  </a:cubicBezTo>
                  <a:close/>
                  <a:moveTo>
                    <a:pt x="2189176" y="4205812"/>
                  </a:moveTo>
                  <a:cubicBezTo>
                    <a:pt x="2189176" y="4209076"/>
                    <a:pt x="2191823" y="4211724"/>
                    <a:pt x="2195088" y="4211724"/>
                  </a:cubicBezTo>
                  <a:cubicBezTo>
                    <a:pt x="2198352" y="4211724"/>
                    <a:pt x="2200999" y="4209076"/>
                    <a:pt x="2200999" y="4205812"/>
                  </a:cubicBezTo>
                  <a:cubicBezTo>
                    <a:pt x="2200999" y="4202548"/>
                    <a:pt x="2198352" y="4199901"/>
                    <a:pt x="2195088" y="4199901"/>
                  </a:cubicBezTo>
                  <a:cubicBezTo>
                    <a:pt x="2191823" y="4199901"/>
                    <a:pt x="2189176" y="4202548"/>
                    <a:pt x="2189176" y="4205812"/>
                  </a:cubicBezTo>
                  <a:close/>
                  <a:moveTo>
                    <a:pt x="2186222" y="3200910"/>
                  </a:moveTo>
                  <a:cubicBezTo>
                    <a:pt x="2186222" y="3230466"/>
                    <a:pt x="2209867" y="3254111"/>
                    <a:pt x="2239423" y="3254111"/>
                  </a:cubicBezTo>
                  <a:cubicBezTo>
                    <a:pt x="2268979" y="3254111"/>
                    <a:pt x="2292624" y="3230466"/>
                    <a:pt x="2292624" y="3200910"/>
                  </a:cubicBezTo>
                  <a:cubicBezTo>
                    <a:pt x="2292624" y="3171354"/>
                    <a:pt x="2268979" y="3147710"/>
                    <a:pt x="2239423" y="3147710"/>
                  </a:cubicBezTo>
                  <a:cubicBezTo>
                    <a:pt x="2209867" y="3147710"/>
                    <a:pt x="2186222" y="3171354"/>
                    <a:pt x="2186222" y="3200910"/>
                  </a:cubicBezTo>
                  <a:close/>
                  <a:moveTo>
                    <a:pt x="2180311" y="4004832"/>
                  </a:moveTo>
                  <a:cubicBezTo>
                    <a:pt x="2180311" y="4034388"/>
                    <a:pt x="2206910" y="4063944"/>
                    <a:pt x="2239423" y="4063944"/>
                  </a:cubicBezTo>
                  <a:cubicBezTo>
                    <a:pt x="2271933" y="4063944"/>
                    <a:pt x="2298535" y="4037345"/>
                    <a:pt x="2298535" y="4004832"/>
                  </a:cubicBezTo>
                  <a:cubicBezTo>
                    <a:pt x="2298535" y="3972318"/>
                    <a:pt x="2271933" y="3945720"/>
                    <a:pt x="2239423" y="3945720"/>
                  </a:cubicBezTo>
                  <a:cubicBezTo>
                    <a:pt x="2206910" y="3945720"/>
                    <a:pt x="2180311" y="3972318"/>
                    <a:pt x="2180311" y="4004832"/>
                  </a:cubicBezTo>
                  <a:close/>
                  <a:moveTo>
                    <a:pt x="2174397" y="2606834"/>
                  </a:moveTo>
                  <a:cubicBezTo>
                    <a:pt x="2174397" y="2618660"/>
                    <a:pt x="2183265" y="2627525"/>
                    <a:pt x="2195088" y="2627525"/>
                  </a:cubicBezTo>
                  <a:cubicBezTo>
                    <a:pt x="2206910" y="2627525"/>
                    <a:pt x="2215775" y="2618660"/>
                    <a:pt x="2215775" y="2606834"/>
                  </a:cubicBezTo>
                  <a:cubicBezTo>
                    <a:pt x="2215775" y="2595015"/>
                    <a:pt x="2206910" y="2586146"/>
                    <a:pt x="2195088" y="2586146"/>
                  </a:cubicBezTo>
                  <a:cubicBezTo>
                    <a:pt x="2183265" y="2586146"/>
                    <a:pt x="2174397" y="2595015"/>
                    <a:pt x="2174397" y="2606834"/>
                  </a:cubicBezTo>
                  <a:close/>
                  <a:moveTo>
                    <a:pt x="2144841" y="2009804"/>
                  </a:moveTo>
                  <a:cubicBezTo>
                    <a:pt x="2144841" y="2012761"/>
                    <a:pt x="2147798" y="2015715"/>
                    <a:pt x="2150752" y="2015715"/>
                  </a:cubicBezTo>
                  <a:cubicBezTo>
                    <a:pt x="2153709" y="2015715"/>
                    <a:pt x="2156663" y="2012761"/>
                    <a:pt x="2156663" y="2009804"/>
                  </a:cubicBezTo>
                  <a:cubicBezTo>
                    <a:pt x="2156663" y="2006847"/>
                    <a:pt x="2153709" y="2003893"/>
                    <a:pt x="2150752" y="2003893"/>
                  </a:cubicBezTo>
                  <a:cubicBezTo>
                    <a:pt x="2147798" y="2003893"/>
                    <a:pt x="2144841" y="2006847"/>
                    <a:pt x="2144841" y="2009804"/>
                  </a:cubicBezTo>
                  <a:close/>
                  <a:moveTo>
                    <a:pt x="2135976" y="3407802"/>
                  </a:moveTo>
                  <a:cubicBezTo>
                    <a:pt x="2135976" y="3440312"/>
                    <a:pt x="2162575" y="3466914"/>
                    <a:pt x="2195088" y="3466914"/>
                  </a:cubicBezTo>
                  <a:cubicBezTo>
                    <a:pt x="2227598" y="3466914"/>
                    <a:pt x="2254200" y="3440312"/>
                    <a:pt x="2254200" y="3407802"/>
                  </a:cubicBezTo>
                  <a:cubicBezTo>
                    <a:pt x="2254200" y="3375288"/>
                    <a:pt x="2227598" y="3348690"/>
                    <a:pt x="2195088" y="3348690"/>
                  </a:cubicBezTo>
                  <a:cubicBezTo>
                    <a:pt x="2162575" y="3348690"/>
                    <a:pt x="2135976" y="3375288"/>
                    <a:pt x="2135976" y="3407802"/>
                  </a:cubicBezTo>
                  <a:close/>
                  <a:moveTo>
                    <a:pt x="2127111" y="2810772"/>
                  </a:moveTo>
                  <a:cubicBezTo>
                    <a:pt x="2127111" y="2822594"/>
                    <a:pt x="2138933" y="2834416"/>
                    <a:pt x="2150755" y="2834416"/>
                  </a:cubicBezTo>
                  <a:cubicBezTo>
                    <a:pt x="2162578" y="2834416"/>
                    <a:pt x="2174400" y="2822594"/>
                    <a:pt x="2174400" y="2810772"/>
                  </a:cubicBezTo>
                  <a:cubicBezTo>
                    <a:pt x="2174400" y="2798950"/>
                    <a:pt x="2162578" y="2787127"/>
                    <a:pt x="2150755" y="2787127"/>
                  </a:cubicBezTo>
                  <a:cubicBezTo>
                    <a:pt x="2138933" y="2787127"/>
                    <a:pt x="2127111" y="2798950"/>
                    <a:pt x="2127111" y="2810772"/>
                  </a:cubicBezTo>
                  <a:close/>
                  <a:moveTo>
                    <a:pt x="2097555" y="2210788"/>
                  </a:moveTo>
                  <a:cubicBezTo>
                    <a:pt x="2097555" y="2216699"/>
                    <a:pt x="2100509" y="2219653"/>
                    <a:pt x="2106423" y="2219653"/>
                  </a:cubicBezTo>
                  <a:cubicBezTo>
                    <a:pt x="2112334" y="2219653"/>
                    <a:pt x="2115288" y="2216699"/>
                    <a:pt x="2115288" y="2210788"/>
                  </a:cubicBezTo>
                  <a:cubicBezTo>
                    <a:pt x="2115288" y="2207830"/>
                    <a:pt x="2112334" y="2201919"/>
                    <a:pt x="2106423" y="2201919"/>
                  </a:cubicBezTo>
                  <a:cubicBezTo>
                    <a:pt x="2103466" y="2201919"/>
                    <a:pt x="2097555" y="2204876"/>
                    <a:pt x="2097555" y="2210788"/>
                  </a:cubicBezTo>
                  <a:close/>
                  <a:moveTo>
                    <a:pt x="2082775" y="3608782"/>
                  </a:moveTo>
                  <a:cubicBezTo>
                    <a:pt x="2082775" y="3647204"/>
                    <a:pt x="2112331" y="3676760"/>
                    <a:pt x="2150755" y="3676760"/>
                  </a:cubicBezTo>
                  <a:cubicBezTo>
                    <a:pt x="2189176" y="3676760"/>
                    <a:pt x="2218732" y="3647204"/>
                    <a:pt x="2218732" y="3608782"/>
                  </a:cubicBezTo>
                  <a:cubicBezTo>
                    <a:pt x="2218732" y="3570358"/>
                    <a:pt x="2189176" y="3540802"/>
                    <a:pt x="2150755" y="3540802"/>
                  </a:cubicBezTo>
                  <a:cubicBezTo>
                    <a:pt x="2112331" y="3540802"/>
                    <a:pt x="2082775" y="3570358"/>
                    <a:pt x="2082775" y="3608782"/>
                  </a:cubicBezTo>
                  <a:close/>
                  <a:moveTo>
                    <a:pt x="2062087" y="3011752"/>
                  </a:moveTo>
                  <a:cubicBezTo>
                    <a:pt x="2062087" y="3035397"/>
                    <a:pt x="2082775" y="3056084"/>
                    <a:pt x="2106423" y="3056084"/>
                  </a:cubicBezTo>
                  <a:cubicBezTo>
                    <a:pt x="2130065" y="3056084"/>
                    <a:pt x="2150755" y="3035397"/>
                    <a:pt x="2150755" y="3011752"/>
                  </a:cubicBezTo>
                  <a:cubicBezTo>
                    <a:pt x="2150755" y="2988108"/>
                    <a:pt x="2130065" y="2967416"/>
                    <a:pt x="2106423" y="2967416"/>
                  </a:cubicBezTo>
                  <a:cubicBezTo>
                    <a:pt x="2082775" y="2967416"/>
                    <a:pt x="2062087" y="2988108"/>
                    <a:pt x="2062087" y="3011752"/>
                  </a:cubicBezTo>
                  <a:close/>
                  <a:moveTo>
                    <a:pt x="2050262" y="2414722"/>
                  </a:moveTo>
                  <a:cubicBezTo>
                    <a:pt x="2050262" y="2420634"/>
                    <a:pt x="2056173" y="2426544"/>
                    <a:pt x="2062084" y="2426544"/>
                  </a:cubicBezTo>
                  <a:cubicBezTo>
                    <a:pt x="2067995" y="2426544"/>
                    <a:pt x="2073907" y="2420634"/>
                    <a:pt x="2073907" y="2414722"/>
                  </a:cubicBezTo>
                  <a:cubicBezTo>
                    <a:pt x="2073907" y="2408811"/>
                    <a:pt x="2067995" y="2402900"/>
                    <a:pt x="2062084" y="2402900"/>
                  </a:cubicBezTo>
                  <a:cubicBezTo>
                    <a:pt x="2056173" y="2402900"/>
                    <a:pt x="2050262" y="2408811"/>
                    <a:pt x="2050262" y="2414722"/>
                  </a:cubicBezTo>
                  <a:close/>
                  <a:moveTo>
                    <a:pt x="2047308" y="3812716"/>
                  </a:moveTo>
                  <a:cubicBezTo>
                    <a:pt x="2047308" y="3845230"/>
                    <a:pt x="2073907" y="3871828"/>
                    <a:pt x="2106420" y="3871828"/>
                  </a:cubicBezTo>
                  <a:cubicBezTo>
                    <a:pt x="2138930" y="3871828"/>
                    <a:pt x="2165532" y="3845230"/>
                    <a:pt x="2165532" y="3812716"/>
                  </a:cubicBezTo>
                  <a:cubicBezTo>
                    <a:pt x="2165532" y="3780204"/>
                    <a:pt x="2138930" y="3753604"/>
                    <a:pt x="2106420" y="3753604"/>
                  </a:cubicBezTo>
                  <a:cubicBezTo>
                    <a:pt x="2073907" y="3753604"/>
                    <a:pt x="2047308" y="3780204"/>
                    <a:pt x="2047308" y="3812716"/>
                  </a:cubicBezTo>
                  <a:close/>
                  <a:moveTo>
                    <a:pt x="2008887" y="3215686"/>
                  </a:moveTo>
                  <a:cubicBezTo>
                    <a:pt x="2008887" y="3245242"/>
                    <a:pt x="2032531" y="3268888"/>
                    <a:pt x="2062087" y="3268888"/>
                  </a:cubicBezTo>
                  <a:cubicBezTo>
                    <a:pt x="2091643" y="3268888"/>
                    <a:pt x="2115288" y="3245242"/>
                    <a:pt x="2115288" y="3215686"/>
                  </a:cubicBezTo>
                  <a:cubicBezTo>
                    <a:pt x="2115288" y="3186130"/>
                    <a:pt x="2091643" y="3162486"/>
                    <a:pt x="2062087" y="3162486"/>
                  </a:cubicBezTo>
                  <a:cubicBezTo>
                    <a:pt x="2032531" y="3162486"/>
                    <a:pt x="2008887" y="3186130"/>
                    <a:pt x="2008887" y="3215686"/>
                  </a:cubicBezTo>
                  <a:close/>
                  <a:moveTo>
                    <a:pt x="2005929" y="4010740"/>
                  </a:moveTo>
                  <a:cubicBezTo>
                    <a:pt x="2005929" y="4043253"/>
                    <a:pt x="2029574" y="4066898"/>
                    <a:pt x="2062087" y="4066898"/>
                  </a:cubicBezTo>
                  <a:cubicBezTo>
                    <a:pt x="2094597" y="4066898"/>
                    <a:pt x="2118242" y="4040296"/>
                    <a:pt x="2118242" y="4010740"/>
                  </a:cubicBezTo>
                  <a:cubicBezTo>
                    <a:pt x="2118242" y="3978230"/>
                    <a:pt x="2091643" y="3954585"/>
                    <a:pt x="2062087" y="3954585"/>
                  </a:cubicBezTo>
                  <a:cubicBezTo>
                    <a:pt x="2029574" y="3954585"/>
                    <a:pt x="2005929" y="3981184"/>
                    <a:pt x="2005929" y="4010740"/>
                  </a:cubicBezTo>
                  <a:close/>
                  <a:moveTo>
                    <a:pt x="2002975" y="2618660"/>
                  </a:moveTo>
                  <a:cubicBezTo>
                    <a:pt x="2002975" y="2624568"/>
                    <a:pt x="2008887" y="2633436"/>
                    <a:pt x="2017755" y="2633436"/>
                  </a:cubicBezTo>
                  <a:cubicBezTo>
                    <a:pt x="2026620" y="2633436"/>
                    <a:pt x="2032531" y="2627525"/>
                    <a:pt x="2032531" y="2618660"/>
                  </a:cubicBezTo>
                  <a:cubicBezTo>
                    <a:pt x="2032531" y="2609792"/>
                    <a:pt x="2026620" y="2603880"/>
                    <a:pt x="2017755" y="2603880"/>
                  </a:cubicBezTo>
                  <a:cubicBezTo>
                    <a:pt x="2008887" y="2603880"/>
                    <a:pt x="2002975" y="2609792"/>
                    <a:pt x="2002975" y="2618660"/>
                  </a:cubicBezTo>
                  <a:close/>
                  <a:moveTo>
                    <a:pt x="1997061" y="4211720"/>
                  </a:moveTo>
                  <a:cubicBezTo>
                    <a:pt x="1997061" y="4223542"/>
                    <a:pt x="2005929" y="4232411"/>
                    <a:pt x="2017752" y="4232411"/>
                  </a:cubicBezTo>
                  <a:cubicBezTo>
                    <a:pt x="2029574" y="4232411"/>
                    <a:pt x="2038440" y="4223542"/>
                    <a:pt x="2038440" y="4211720"/>
                  </a:cubicBezTo>
                  <a:cubicBezTo>
                    <a:pt x="2038440" y="4199901"/>
                    <a:pt x="2029574" y="4191032"/>
                    <a:pt x="2017752" y="4191032"/>
                  </a:cubicBezTo>
                  <a:cubicBezTo>
                    <a:pt x="2005929" y="4191032"/>
                    <a:pt x="1997061" y="4199901"/>
                    <a:pt x="1997061" y="4211720"/>
                  </a:cubicBezTo>
                  <a:close/>
                  <a:moveTo>
                    <a:pt x="1967138" y="2025691"/>
                  </a:moveTo>
                  <a:cubicBezTo>
                    <a:pt x="1968247" y="2026800"/>
                    <a:pt x="1970464" y="2027538"/>
                    <a:pt x="1973420" y="2027538"/>
                  </a:cubicBezTo>
                  <a:cubicBezTo>
                    <a:pt x="1976374" y="2027538"/>
                    <a:pt x="1979331" y="2024584"/>
                    <a:pt x="1979331" y="2021626"/>
                  </a:cubicBezTo>
                  <a:cubicBezTo>
                    <a:pt x="1979331" y="2018672"/>
                    <a:pt x="1976374" y="2015715"/>
                    <a:pt x="1973420" y="2015715"/>
                  </a:cubicBezTo>
                  <a:cubicBezTo>
                    <a:pt x="1970462" y="2015715"/>
                    <a:pt x="1967508" y="2018672"/>
                    <a:pt x="1967508" y="2021626"/>
                  </a:cubicBezTo>
                  <a:cubicBezTo>
                    <a:pt x="1966030" y="2023105"/>
                    <a:pt x="1966030" y="2024583"/>
                    <a:pt x="1967138" y="2025691"/>
                  </a:cubicBezTo>
                  <a:close/>
                  <a:moveTo>
                    <a:pt x="1961594" y="3416667"/>
                  </a:moveTo>
                  <a:cubicBezTo>
                    <a:pt x="1958640" y="3446223"/>
                    <a:pt x="1985239" y="3472822"/>
                    <a:pt x="2017752" y="3472822"/>
                  </a:cubicBezTo>
                  <a:cubicBezTo>
                    <a:pt x="2050262" y="3472822"/>
                    <a:pt x="2073907" y="3446223"/>
                    <a:pt x="2073907" y="3416667"/>
                  </a:cubicBezTo>
                  <a:cubicBezTo>
                    <a:pt x="2073907" y="3384154"/>
                    <a:pt x="2047308" y="3360509"/>
                    <a:pt x="2017752" y="3360509"/>
                  </a:cubicBezTo>
                  <a:cubicBezTo>
                    <a:pt x="1985239" y="3360509"/>
                    <a:pt x="1961594" y="3387111"/>
                    <a:pt x="1961594" y="3416667"/>
                  </a:cubicBezTo>
                  <a:close/>
                  <a:moveTo>
                    <a:pt x="1946818" y="2816683"/>
                  </a:moveTo>
                  <a:cubicBezTo>
                    <a:pt x="1946818" y="2831460"/>
                    <a:pt x="1958640" y="2843282"/>
                    <a:pt x="1973420" y="2843282"/>
                  </a:cubicBezTo>
                  <a:cubicBezTo>
                    <a:pt x="1988196" y="2843282"/>
                    <a:pt x="2000018" y="2831460"/>
                    <a:pt x="2000018" y="2816683"/>
                  </a:cubicBezTo>
                  <a:cubicBezTo>
                    <a:pt x="2000018" y="2801904"/>
                    <a:pt x="1988196" y="2790081"/>
                    <a:pt x="1973420" y="2790081"/>
                  </a:cubicBezTo>
                  <a:cubicBezTo>
                    <a:pt x="1958640" y="2790081"/>
                    <a:pt x="1946818" y="2801904"/>
                    <a:pt x="1946818" y="2816683"/>
                  </a:cubicBezTo>
                  <a:close/>
                  <a:moveTo>
                    <a:pt x="1917262" y="2219653"/>
                  </a:moveTo>
                  <a:cubicBezTo>
                    <a:pt x="1920219" y="2225564"/>
                    <a:pt x="1923173" y="2228518"/>
                    <a:pt x="1926130" y="2228518"/>
                  </a:cubicBezTo>
                  <a:cubicBezTo>
                    <a:pt x="1929084" y="2228518"/>
                    <a:pt x="1934995" y="2225564"/>
                    <a:pt x="1934995" y="2219653"/>
                  </a:cubicBezTo>
                  <a:cubicBezTo>
                    <a:pt x="1934995" y="2216696"/>
                    <a:pt x="1932041" y="2210784"/>
                    <a:pt x="1926130" y="2210784"/>
                  </a:cubicBezTo>
                  <a:cubicBezTo>
                    <a:pt x="1920219" y="2210784"/>
                    <a:pt x="1917262" y="2213738"/>
                    <a:pt x="1917262" y="2219653"/>
                  </a:cubicBezTo>
                  <a:close/>
                  <a:moveTo>
                    <a:pt x="1905439" y="3614694"/>
                  </a:moveTo>
                  <a:cubicBezTo>
                    <a:pt x="1905439" y="3653114"/>
                    <a:pt x="1934995" y="3682670"/>
                    <a:pt x="1973420" y="3682670"/>
                  </a:cubicBezTo>
                  <a:cubicBezTo>
                    <a:pt x="2011841" y="3682670"/>
                    <a:pt x="2041397" y="3653114"/>
                    <a:pt x="2041397" y="3614694"/>
                  </a:cubicBezTo>
                  <a:cubicBezTo>
                    <a:pt x="2041397" y="3576269"/>
                    <a:pt x="2011841" y="3546713"/>
                    <a:pt x="1973420" y="3546713"/>
                  </a:cubicBezTo>
                  <a:cubicBezTo>
                    <a:pt x="1934995" y="3546713"/>
                    <a:pt x="1905439" y="3576269"/>
                    <a:pt x="1905439" y="3614694"/>
                  </a:cubicBezTo>
                  <a:close/>
                  <a:moveTo>
                    <a:pt x="1881795" y="3017664"/>
                  </a:moveTo>
                  <a:cubicBezTo>
                    <a:pt x="1881795" y="3041305"/>
                    <a:pt x="1902482" y="3061996"/>
                    <a:pt x="1926130" y="3061996"/>
                  </a:cubicBezTo>
                  <a:cubicBezTo>
                    <a:pt x="1949775" y="3061996"/>
                    <a:pt x="1970462" y="3041305"/>
                    <a:pt x="1970462" y="3017664"/>
                  </a:cubicBezTo>
                  <a:cubicBezTo>
                    <a:pt x="1970462" y="2994016"/>
                    <a:pt x="1949775" y="2973328"/>
                    <a:pt x="1926130" y="2973328"/>
                  </a:cubicBezTo>
                  <a:cubicBezTo>
                    <a:pt x="1902482" y="2973328"/>
                    <a:pt x="1881795" y="2994016"/>
                    <a:pt x="1881795" y="3017664"/>
                  </a:cubicBezTo>
                  <a:close/>
                  <a:moveTo>
                    <a:pt x="1869972" y="2417676"/>
                  </a:moveTo>
                  <a:cubicBezTo>
                    <a:pt x="1872926" y="2423588"/>
                    <a:pt x="1875883" y="2429498"/>
                    <a:pt x="1881795" y="2429498"/>
                  </a:cubicBezTo>
                  <a:cubicBezTo>
                    <a:pt x="1887706" y="2429498"/>
                    <a:pt x="1893617" y="2423588"/>
                    <a:pt x="1893617" y="2417676"/>
                  </a:cubicBezTo>
                  <a:cubicBezTo>
                    <a:pt x="1893617" y="2411765"/>
                    <a:pt x="1887706" y="2405854"/>
                    <a:pt x="1881795" y="2405854"/>
                  </a:cubicBezTo>
                  <a:cubicBezTo>
                    <a:pt x="1875883" y="2405854"/>
                    <a:pt x="1869972" y="2411765"/>
                    <a:pt x="1869972" y="2417676"/>
                  </a:cubicBezTo>
                  <a:close/>
                  <a:moveTo>
                    <a:pt x="1867018" y="3815674"/>
                  </a:moveTo>
                  <a:cubicBezTo>
                    <a:pt x="1867018" y="3848184"/>
                    <a:pt x="1893617" y="3874786"/>
                    <a:pt x="1926130" y="3874786"/>
                  </a:cubicBezTo>
                  <a:cubicBezTo>
                    <a:pt x="1958643" y="3874786"/>
                    <a:pt x="1985242" y="3848184"/>
                    <a:pt x="1985242" y="3815674"/>
                  </a:cubicBezTo>
                  <a:cubicBezTo>
                    <a:pt x="1985242" y="3783160"/>
                    <a:pt x="1958643" y="3756562"/>
                    <a:pt x="1926130" y="3756562"/>
                  </a:cubicBezTo>
                  <a:cubicBezTo>
                    <a:pt x="1893617" y="3756562"/>
                    <a:pt x="1867018" y="3783160"/>
                    <a:pt x="1867018" y="3815674"/>
                  </a:cubicBezTo>
                  <a:close/>
                  <a:moveTo>
                    <a:pt x="1828594" y="3218644"/>
                  </a:moveTo>
                  <a:cubicBezTo>
                    <a:pt x="1828594" y="3245242"/>
                    <a:pt x="1852239" y="3271844"/>
                    <a:pt x="1881795" y="3271844"/>
                  </a:cubicBezTo>
                  <a:cubicBezTo>
                    <a:pt x="1911351" y="3271844"/>
                    <a:pt x="1934995" y="3248200"/>
                    <a:pt x="1934995" y="3218644"/>
                  </a:cubicBezTo>
                  <a:cubicBezTo>
                    <a:pt x="1934995" y="3189088"/>
                    <a:pt x="1911351" y="3165443"/>
                    <a:pt x="1881795" y="3165443"/>
                  </a:cubicBezTo>
                  <a:cubicBezTo>
                    <a:pt x="1852239" y="3165443"/>
                    <a:pt x="1828594" y="3189088"/>
                    <a:pt x="1828594" y="3218644"/>
                  </a:cubicBezTo>
                  <a:close/>
                  <a:moveTo>
                    <a:pt x="1825640" y="4013697"/>
                  </a:moveTo>
                  <a:cubicBezTo>
                    <a:pt x="1825640" y="4043253"/>
                    <a:pt x="1852239" y="4069852"/>
                    <a:pt x="1881795" y="4069852"/>
                  </a:cubicBezTo>
                  <a:cubicBezTo>
                    <a:pt x="1914308" y="4069852"/>
                    <a:pt x="1937952" y="4043253"/>
                    <a:pt x="1937952" y="4013697"/>
                  </a:cubicBezTo>
                  <a:cubicBezTo>
                    <a:pt x="1937952" y="3984141"/>
                    <a:pt x="1911351" y="3957539"/>
                    <a:pt x="1881795" y="3957539"/>
                  </a:cubicBezTo>
                  <a:cubicBezTo>
                    <a:pt x="1849285" y="3957539"/>
                    <a:pt x="1825640" y="3984141"/>
                    <a:pt x="1825640" y="4013697"/>
                  </a:cubicBezTo>
                  <a:close/>
                  <a:moveTo>
                    <a:pt x="1816771" y="4211724"/>
                  </a:moveTo>
                  <a:cubicBezTo>
                    <a:pt x="1816771" y="4223148"/>
                    <a:pt x="1826034" y="4232411"/>
                    <a:pt x="1837462" y="4232411"/>
                  </a:cubicBezTo>
                  <a:cubicBezTo>
                    <a:pt x="1848887" y="4232411"/>
                    <a:pt x="1858150" y="4223148"/>
                    <a:pt x="1858150" y="4211724"/>
                  </a:cubicBezTo>
                  <a:cubicBezTo>
                    <a:pt x="1858150" y="4200295"/>
                    <a:pt x="1848887" y="4191032"/>
                    <a:pt x="1837462" y="4191032"/>
                  </a:cubicBezTo>
                  <a:cubicBezTo>
                    <a:pt x="1826034" y="4191032"/>
                    <a:pt x="1816771" y="4200295"/>
                    <a:pt x="1816771" y="4211724"/>
                  </a:cubicBezTo>
                  <a:close/>
                  <a:moveTo>
                    <a:pt x="1816771" y="2618656"/>
                  </a:moveTo>
                  <a:cubicBezTo>
                    <a:pt x="1816771" y="2627522"/>
                    <a:pt x="1825640" y="2639344"/>
                    <a:pt x="1837459" y="2639344"/>
                  </a:cubicBezTo>
                  <a:cubicBezTo>
                    <a:pt x="1849281" y="2639344"/>
                    <a:pt x="1858150" y="2630479"/>
                    <a:pt x="1858150" y="2618656"/>
                  </a:cubicBezTo>
                  <a:cubicBezTo>
                    <a:pt x="1858150" y="2606834"/>
                    <a:pt x="1849281" y="2597966"/>
                    <a:pt x="1837459" y="2597966"/>
                  </a:cubicBezTo>
                  <a:cubicBezTo>
                    <a:pt x="1825640" y="2597966"/>
                    <a:pt x="1816771" y="2606834"/>
                    <a:pt x="1816771" y="2618656"/>
                  </a:cubicBezTo>
                  <a:close/>
                  <a:moveTo>
                    <a:pt x="1787216" y="2015715"/>
                  </a:moveTo>
                  <a:cubicBezTo>
                    <a:pt x="1787216" y="2018980"/>
                    <a:pt x="1789862" y="2021626"/>
                    <a:pt x="1793127" y="2021626"/>
                  </a:cubicBezTo>
                  <a:cubicBezTo>
                    <a:pt x="1796391" y="2021626"/>
                    <a:pt x="1799038" y="2018980"/>
                    <a:pt x="1799038" y="2015715"/>
                  </a:cubicBezTo>
                  <a:cubicBezTo>
                    <a:pt x="1799038" y="2012451"/>
                    <a:pt x="1796391" y="2009804"/>
                    <a:pt x="1793127" y="2009804"/>
                  </a:cubicBezTo>
                  <a:cubicBezTo>
                    <a:pt x="1789862" y="2009804"/>
                    <a:pt x="1787216" y="2012451"/>
                    <a:pt x="1787216" y="2015715"/>
                  </a:cubicBezTo>
                  <a:close/>
                  <a:moveTo>
                    <a:pt x="1775393" y="3416670"/>
                  </a:moveTo>
                  <a:cubicBezTo>
                    <a:pt x="1775393" y="3449180"/>
                    <a:pt x="1801995" y="3478736"/>
                    <a:pt x="1837462" y="3478736"/>
                  </a:cubicBezTo>
                  <a:cubicBezTo>
                    <a:pt x="1872929" y="3478736"/>
                    <a:pt x="1899528" y="3449180"/>
                    <a:pt x="1899528" y="3416670"/>
                  </a:cubicBezTo>
                  <a:cubicBezTo>
                    <a:pt x="1899528" y="3381200"/>
                    <a:pt x="1869972" y="3354601"/>
                    <a:pt x="1837462" y="3354601"/>
                  </a:cubicBezTo>
                  <a:cubicBezTo>
                    <a:pt x="1801995" y="3354601"/>
                    <a:pt x="1775393" y="3384157"/>
                    <a:pt x="1775393" y="3416670"/>
                  </a:cubicBezTo>
                  <a:close/>
                  <a:moveTo>
                    <a:pt x="1760614" y="2816683"/>
                  </a:moveTo>
                  <a:cubicBezTo>
                    <a:pt x="1760614" y="2834414"/>
                    <a:pt x="1775393" y="2849193"/>
                    <a:pt x="1793127" y="2849193"/>
                  </a:cubicBezTo>
                  <a:cubicBezTo>
                    <a:pt x="1810860" y="2849193"/>
                    <a:pt x="1825637" y="2834414"/>
                    <a:pt x="1825637" y="2816683"/>
                  </a:cubicBezTo>
                  <a:cubicBezTo>
                    <a:pt x="1825637" y="2798950"/>
                    <a:pt x="1810860" y="2784170"/>
                    <a:pt x="1793127" y="2784170"/>
                  </a:cubicBezTo>
                  <a:cubicBezTo>
                    <a:pt x="1775393" y="2784170"/>
                    <a:pt x="1760614" y="2798950"/>
                    <a:pt x="1760614" y="2816683"/>
                  </a:cubicBezTo>
                  <a:close/>
                  <a:moveTo>
                    <a:pt x="1736972" y="2213742"/>
                  </a:moveTo>
                  <a:cubicBezTo>
                    <a:pt x="1736972" y="2219653"/>
                    <a:pt x="1742883" y="2225564"/>
                    <a:pt x="1748794" y="2225564"/>
                  </a:cubicBezTo>
                  <a:cubicBezTo>
                    <a:pt x="1754706" y="2225564"/>
                    <a:pt x="1760616" y="2219653"/>
                    <a:pt x="1760616" y="2213742"/>
                  </a:cubicBezTo>
                  <a:cubicBezTo>
                    <a:pt x="1760616" y="2207830"/>
                    <a:pt x="1754706" y="2201919"/>
                    <a:pt x="1748794" y="2201919"/>
                  </a:cubicBezTo>
                  <a:cubicBezTo>
                    <a:pt x="1742883" y="2201919"/>
                    <a:pt x="1736972" y="2207830"/>
                    <a:pt x="1736972" y="2213742"/>
                  </a:cubicBezTo>
                  <a:close/>
                  <a:moveTo>
                    <a:pt x="1728104" y="3611736"/>
                  </a:moveTo>
                  <a:cubicBezTo>
                    <a:pt x="1728104" y="3647204"/>
                    <a:pt x="1757660" y="3676760"/>
                    <a:pt x="1793127" y="3676760"/>
                  </a:cubicBezTo>
                  <a:cubicBezTo>
                    <a:pt x="1828594" y="3676760"/>
                    <a:pt x="1858150" y="3647204"/>
                    <a:pt x="1858150" y="3611736"/>
                  </a:cubicBezTo>
                  <a:cubicBezTo>
                    <a:pt x="1858150" y="3576269"/>
                    <a:pt x="1828594" y="3546713"/>
                    <a:pt x="1793127" y="3546713"/>
                  </a:cubicBezTo>
                  <a:cubicBezTo>
                    <a:pt x="1757660" y="3546713"/>
                    <a:pt x="1728104" y="3576269"/>
                    <a:pt x="1728104" y="3611736"/>
                  </a:cubicBezTo>
                  <a:close/>
                  <a:moveTo>
                    <a:pt x="1701502" y="3011752"/>
                  </a:moveTo>
                  <a:cubicBezTo>
                    <a:pt x="1701502" y="3038354"/>
                    <a:pt x="1722192" y="3059042"/>
                    <a:pt x="1748791" y="3059042"/>
                  </a:cubicBezTo>
                  <a:cubicBezTo>
                    <a:pt x="1775393" y="3059042"/>
                    <a:pt x="1796081" y="3038354"/>
                    <a:pt x="1796081" y="3011752"/>
                  </a:cubicBezTo>
                  <a:cubicBezTo>
                    <a:pt x="1796081" y="2985150"/>
                    <a:pt x="1775393" y="2964462"/>
                    <a:pt x="1748791" y="2964462"/>
                  </a:cubicBezTo>
                  <a:cubicBezTo>
                    <a:pt x="1722192" y="2964462"/>
                    <a:pt x="1701502" y="2985150"/>
                    <a:pt x="1701502" y="3011752"/>
                  </a:cubicBezTo>
                  <a:close/>
                  <a:moveTo>
                    <a:pt x="1695590" y="3812716"/>
                  </a:moveTo>
                  <a:cubicBezTo>
                    <a:pt x="1695590" y="3839316"/>
                    <a:pt x="1719235" y="3865918"/>
                    <a:pt x="1748791" y="3865918"/>
                  </a:cubicBezTo>
                  <a:cubicBezTo>
                    <a:pt x="1778347" y="3865918"/>
                    <a:pt x="1801992" y="3842272"/>
                    <a:pt x="1801992" y="3812716"/>
                  </a:cubicBezTo>
                  <a:cubicBezTo>
                    <a:pt x="1801992" y="3783160"/>
                    <a:pt x="1778347" y="3759516"/>
                    <a:pt x="1748791" y="3759516"/>
                  </a:cubicBezTo>
                  <a:cubicBezTo>
                    <a:pt x="1719235" y="3759516"/>
                    <a:pt x="1695590" y="3783160"/>
                    <a:pt x="1695590" y="3812716"/>
                  </a:cubicBezTo>
                  <a:close/>
                  <a:moveTo>
                    <a:pt x="1689682" y="2408811"/>
                  </a:moveTo>
                  <a:cubicBezTo>
                    <a:pt x="1689682" y="2417676"/>
                    <a:pt x="1695594" y="2423588"/>
                    <a:pt x="1704462" y="2423588"/>
                  </a:cubicBezTo>
                  <a:cubicBezTo>
                    <a:pt x="1713327" y="2423588"/>
                    <a:pt x="1719238" y="2417676"/>
                    <a:pt x="1719238" y="2408811"/>
                  </a:cubicBezTo>
                  <a:cubicBezTo>
                    <a:pt x="1719238" y="2399942"/>
                    <a:pt x="1713327" y="2394031"/>
                    <a:pt x="1704462" y="2394031"/>
                  </a:cubicBezTo>
                  <a:cubicBezTo>
                    <a:pt x="1695594" y="2394031"/>
                    <a:pt x="1689682" y="2399942"/>
                    <a:pt x="1689682" y="2408811"/>
                  </a:cubicBezTo>
                  <a:close/>
                  <a:moveTo>
                    <a:pt x="1645347" y="3206822"/>
                  </a:moveTo>
                  <a:cubicBezTo>
                    <a:pt x="1645347" y="3242288"/>
                    <a:pt x="1671946" y="3265933"/>
                    <a:pt x="1704459" y="3265933"/>
                  </a:cubicBezTo>
                  <a:cubicBezTo>
                    <a:pt x="1736972" y="3265933"/>
                    <a:pt x="1763571" y="3239334"/>
                    <a:pt x="1763571" y="3206822"/>
                  </a:cubicBezTo>
                  <a:cubicBezTo>
                    <a:pt x="1763571" y="3174308"/>
                    <a:pt x="1736972" y="3147710"/>
                    <a:pt x="1704459" y="3147710"/>
                  </a:cubicBezTo>
                  <a:cubicBezTo>
                    <a:pt x="1671946" y="3147710"/>
                    <a:pt x="1645347" y="3174308"/>
                    <a:pt x="1645347" y="3206822"/>
                  </a:cubicBezTo>
                  <a:close/>
                  <a:moveTo>
                    <a:pt x="1642390" y="4202855"/>
                  </a:moveTo>
                  <a:cubicBezTo>
                    <a:pt x="1642390" y="4214678"/>
                    <a:pt x="1651258" y="4220588"/>
                    <a:pt x="1660123" y="4220588"/>
                  </a:cubicBezTo>
                  <a:cubicBezTo>
                    <a:pt x="1668992" y="4220588"/>
                    <a:pt x="1677857" y="4211720"/>
                    <a:pt x="1677857" y="4202855"/>
                  </a:cubicBezTo>
                  <a:cubicBezTo>
                    <a:pt x="1677857" y="4193986"/>
                    <a:pt x="1668992" y="4185122"/>
                    <a:pt x="1660123" y="4185122"/>
                  </a:cubicBezTo>
                  <a:cubicBezTo>
                    <a:pt x="1651258" y="4185122"/>
                    <a:pt x="1642390" y="4193986"/>
                    <a:pt x="1642390" y="4202855"/>
                  </a:cubicBezTo>
                  <a:close/>
                  <a:moveTo>
                    <a:pt x="1642390" y="4007789"/>
                  </a:moveTo>
                  <a:cubicBezTo>
                    <a:pt x="1642390" y="4043256"/>
                    <a:pt x="1668992" y="4069855"/>
                    <a:pt x="1704459" y="4069855"/>
                  </a:cubicBezTo>
                  <a:cubicBezTo>
                    <a:pt x="1739926" y="4069855"/>
                    <a:pt x="1766525" y="4043256"/>
                    <a:pt x="1766525" y="4007789"/>
                  </a:cubicBezTo>
                  <a:cubicBezTo>
                    <a:pt x="1766525" y="3972318"/>
                    <a:pt x="1739926" y="3945720"/>
                    <a:pt x="1704459" y="3945720"/>
                  </a:cubicBezTo>
                  <a:cubicBezTo>
                    <a:pt x="1668992" y="3945720"/>
                    <a:pt x="1642390" y="3972318"/>
                    <a:pt x="1642390" y="4007789"/>
                  </a:cubicBezTo>
                  <a:close/>
                  <a:moveTo>
                    <a:pt x="1636479" y="2606834"/>
                  </a:moveTo>
                  <a:cubicBezTo>
                    <a:pt x="1636479" y="2618656"/>
                    <a:pt x="1645347" y="2630479"/>
                    <a:pt x="1660123" y="2630479"/>
                  </a:cubicBezTo>
                  <a:cubicBezTo>
                    <a:pt x="1671946" y="2630479"/>
                    <a:pt x="1683768" y="2618656"/>
                    <a:pt x="1683768" y="2606834"/>
                  </a:cubicBezTo>
                  <a:cubicBezTo>
                    <a:pt x="1683768" y="2595012"/>
                    <a:pt x="1671946" y="2583190"/>
                    <a:pt x="1660123" y="2583190"/>
                  </a:cubicBezTo>
                  <a:cubicBezTo>
                    <a:pt x="1648301" y="2583190"/>
                    <a:pt x="1636479" y="2595012"/>
                    <a:pt x="1636479" y="2606834"/>
                  </a:cubicBezTo>
                  <a:close/>
                  <a:moveTo>
                    <a:pt x="1609880" y="1997982"/>
                  </a:moveTo>
                  <a:cubicBezTo>
                    <a:pt x="1609880" y="2000939"/>
                    <a:pt x="1612834" y="2003893"/>
                    <a:pt x="1615791" y="2003893"/>
                  </a:cubicBezTo>
                  <a:cubicBezTo>
                    <a:pt x="1618748" y="2003893"/>
                    <a:pt x="1621702" y="2000939"/>
                    <a:pt x="1621702" y="1997982"/>
                  </a:cubicBezTo>
                  <a:cubicBezTo>
                    <a:pt x="1621702" y="1995028"/>
                    <a:pt x="1618748" y="1992070"/>
                    <a:pt x="1615791" y="1992070"/>
                  </a:cubicBezTo>
                  <a:cubicBezTo>
                    <a:pt x="1612834" y="1992070"/>
                    <a:pt x="1609880" y="1995028"/>
                    <a:pt x="1609880" y="1997982"/>
                  </a:cubicBezTo>
                  <a:close/>
                  <a:moveTo>
                    <a:pt x="1601015" y="3404844"/>
                  </a:moveTo>
                  <a:cubicBezTo>
                    <a:pt x="1601015" y="3437358"/>
                    <a:pt x="1627613" y="3463956"/>
                    <a:pt x="1660127" y="3463956"/>
                  </a:cubicBezTo>
                  <a:cubicBezTo>
                    <a:pt x="1692640" y="3463956"/>
                    <a:pt x="1719238" y="3437358"/>
                    <a:pt x="1719238" y="3404844"/>
                  </a:cubicBezTo>
                  <a:cubicBezTo>
                    <a:pt x="1719238" y="3372334"/>
                    <a:pt x="1692640" y="3345732"/>
                    <a:pt x="1660127" y="3345732"/>
                  </a:cubicBezTo>
                  <a:cubicBezTo>
                    <a:pt x="1627613" y="3345732"/>
                    <a:pt x="1601015" y="3372334"/>
                    <a:pt x="1601015" y="3404844"/>
                  </a:cubicBezTo>
                  <a:close/>
                  <a:moveTo>
                    <a:pt x="1583278" y="2801904"/>
                  </a:moveTo>
                  <a:cubicBezTo>
                    <a:pt x="1580324" y="2819634"/>
                    <a:pt x="1595100" y="2834414"/>
                    <a:pt x="1615791" y="2834414"/>
                  </a:cubicBezTo>
                  <a:cubicBezTo>
                    <a:pt x="1633525" y="2834414"/>
                    <a:pt x="1648301" y="2819634"/>
                    <a:pt x="1648301" y="2801904"/>
                  </a:cubicBezTo>
                  <a:cubicBezTo>
                    <a:pt x="1648301" y="2784170"/>
                    <a:pt x="1633525" y="2769390"/>
                    <a:pt x="1615791" y="2769390"/>
                  </a:cubicBezTo>
                  <a:cubicBezTo>
                    <a:pt x="1598057" y="2769390"/>
                    <a:pt x="1583278" y="2784170"/>
                    <a:pt x="1583278" y="2801904"/>
                  </a:cubicBezTo>
                  <a:close/>
                  <a:moveTo>
                    <a:pt x="1568502" y="3602871"/>
                  </a:moveTo>
                  <a:cubicBezTo>
                    <a:pt x="1568502" y="3628989"/>
                    <a:pt x="1589673" y="3650160"/>
                    <a:pt x="1615791" y="3650160"/>
                  </a:cubicBezTo>
                  <a:cubicBezTo>
                    <a:pt x="1641909" y="3650160"/>
                    <a:pt x="1663081" y="3628989"/>
                    <a:pt x="1663081" y="3602871"/>
                  </a:cubicBezTo>
                  <a:cubicBezTo>
                    <a:pt x="1663081" y="3576753"/>
                    <a:pt x="1641909" y="3555582"/>
                    <a:pt x="1615791" y="3555582"/>
                  </a:cubicBezTo>
                  <a:cubicBezTo>
                    <a:pt x="1589673" y="3555582"/>
                    <a:pt x="1568502" y="3576753"/>
                    <a:pt x="1568502" y="3602871"/>
                  </a:cubicBezTo>
                  <a:close/>
                  <a:moveTo>
                    <a:pt x="1562590" y="2193051"/>
                  </a:moveTo>
                  <a:cubicBezTo>
                    <a:pt x="1559636" y="2198962"/>
                    <a:pt x="1565548" y="2201916"/>
                    <a:pt x="1571459" y="2201916"/>
                  </a:cubicBezTo>
                  <a:cubicBezTo>
                    <a:pt x="1577370" y="2201916"/>
                    <a:pt x="1580324" y="2196005"/>
                    <a:pt x="1580324" y="2193051"/>
                  </a:cubicBezTo>
                  <a:cubicBezTo>
                    <a:pt x="1580324" y="2187140"/>
                    <a:pt x="1574413" y="2184182"/>
                    <a:pt x="1571459" y="2184182"/>
                  </a:cubicBezTo>
                  <a:cubicBezTo>
                    <a:pt x="1565548" y="2184182"/>
                    <a:pt x="1562590" y="2190094"/>
                    <a:pt x="1562590" y="2193051"/>
                  </a:cubicBezTo>
                  <a:close/>
                  <a:moveTo>
                    <a:pt x="1527123" y="2999930"/>
                  </a:moveTo>
                  <a:cubicBezTo>
                    <a:pt x="1524166" y="3023574"/>
                    <a:pt x="1544857" y="3044262"/>
                    <a:pt x="1571456" y="3044262"/>
                  </a:cubicBezTo>
                  <a:cubicBezTo>
                    <a:pt x="1598057" y="3044262"/>
                    <a:pt x="1615791" y="3023574"/>
                    <a:pt x="1615791" y="2999930"/>
                  </a:cubicBezTo>
                  <a:cubicBezTo>
                    <a:pt x="1615791" y="2973328"/>
                    <a:pt x="1595100" y="2955594"/>
                    <a:pt x="1571456" y="2955594"/>
                  </a:cubicBezTo>
                  <a:cubicBezTo>
                    <a:pt x="1547811" y="2955594"/>
                    <a:pt x="1527123" y="2976282"/>
                    <a:pt x="1527123" y="2999930"/>
                  </a:cubicBezTo>
                  <a:close/>
                  <a:moveTo>
                    <a:pt x="1509390" y="3797940"/>
                  </a:moveTo>
                  <a:cubicBezTo>
                    <a:pt x="1509390" y="3833408"/>
                    <a:pt x="1535992" y="3860006"/>
                    <a:pt x="1571459" y="3860006"/>
                  </a:cubicBezTo>
                  <a:cubicBezTo>
                    <a:pt x="1603969" y="3860006"/>
                    <a:pt x="1633525" y="3833408"/>
                    <a:pt x="1633525" y="3797940"/>
                  </a:cubicBezTo>
                  <a:cubicBezTo>
                    <a:pt x="1633525" y="3765427"/>
                    <a:pt x="1606926" y="3735871"/>
                    <a:pt x="1571459" y="3735871"/>
                  </a:cubicBezTo>
                  <a:cubicBezTo>
                    <a:pt x="1538945" y="3735871"/>
                    <a:pt x="1509390" y="3762473"/>
                    <a:pt x="1509390" y="3797940"/>
                  </a:cubicBezTo>
                  <a:close/>
                  <a:moveTo>
                    <a:pt x="1509390" y="2388120"/>
                  </a:moveTo>
                  <a:cubicBezTo>
                    <a:pt x="1509390" y="2396988"/>
                    <a:pt x="1518258" y="2405854"/>
                    <a:pt x="1527123" y="2405854"/>
                  </a:cubicBezTo>
                  <a:cubicBezTo>
                    <a:pt x="1535992" y="2405854"/>
                    <a:pt x="1544857" y="2396988"/>
                    <a:pt x="1544857" y="2388120"/>
                  </a:cubicBezTo>
                  <a:cubicBezTo>
                    <a:pt x="1544857" y="2379255"/>
                    <a:pt x="1535992" y="2370386"/>
                    <a:pt x="1527123" y="2370386"/>
                  </a:cubicBezTo>
                  <a:cubicBezTo>
                    <a:pt x="1518258" y="2370386"/>
                    <a:pt x="1509390" y="2379255"/>
                    <a:pt x="1509390" y="2388120"/>
                  </a:cubicBezTo>
                  <a:close/>
                  <a:moveTo>
                    <a:pt x="1476880" y="3192042"/>
                  </a:moveTo>
                  <a:cubicBezTo>
                    <a:pt x="1476880" y="3218644"/>
                    <a:pt x="1497567" y="3242288"/>
                    <a:pt x="1527123" y="3242288"/>
                  </a:cubicBezTo>
                  <a:cubicBezTo>
                    <a:pt x="1553725" y="3242288"/>
                    <a:pt x="1577370" y="3218644"/>
                    <a:pt x="1577370" y="3192042"/>
                  </a:cubicBezTo>
                  <a:cubicBezTo>
                    <a:pt x="1577370" y="3165443"/>
                    <a:pt x="1553725" y="3141798"/>
                    <a:pt x="1527123" y="3141798"/>
                  </a:cubicBezTo>
                  <a:cubicBezTo>
                    <a:pt x="1500524" y="3141798"/>
                    <a:pt x="1476880" y="3165443"/>
                    <a:pt x="1476880" y="3192042"/>
                  </a:cubicBezTo>
                  <a:close/>
                  <a:moveTo>
                    <a:pt x="1462100" y="4188078"/>
                  </a:moveTo>
                  <a:cubicBezTo>
                    <a:pt x="1465054" y="4199901"/>
                    <a:pt x="1470968" y="4205812"/>
                    <a:pt x="1479834" y="4205812"/>
                  </a:cubicBezTo>
                  <a:cubicBezTo>
                    <a:pt x="1488699" y="4205812"/>
                    <a:pt x="1497567" y="4196944"/>
                    <a:pt x="1497567" y="4188078"/>
                  </a:cubicBezTo>
                  <a:cubicBezTo>
                    <a:pt x="1497567" y="4179210"/>
                    <a:pt x="1488699" y="4170345"/>
                    <a:pt x="1479834" y="4170345"/>
                  </a:cubicBezTo>
                  <a:cubicBezTo>
                    <a:pt x="1470968" y="4170345"/>
                    <a:pt x="1462100" y="4179210"/>
                    <a:pt x="1462100" y="4188078"/>
                  </a:cubicBezTo>
                  <a:close/>
                  <a:moveTo>
                    <a:pt x="1459143" y="3995964"/>
                  </a:moveTo>
                  <a:cubicBezTo>
                    <a:pt x="1459143" y="4031430"/>
                    <a:pt x="1488699" y="4060986"/>
                    <a:pt x="1524166" y="4060986"/>
                  </a:cubicBezTo>
                  <a:cubicBezTo>
                    <a:pt x="1559633" y="4060986"/>
                    <a:pt x="1589189" y="4031430"/>
                    <a:pt x="1589189" y="3995964"/>
                  </a:cubicBezTo>
                  <a:cubicBezTo>
                    <a:pt x="1589189" y="3960496"/>
                    <a:pt x="1559633" y="3930940"/>
                    <a:pt x="1524166" y="3930940"/>
                  </a:cubicBezTo>
                  <a:cubicBezTo>
                    <a:pt x="1488699" y="3930940"/>
                    <a:pt x="1459143" y="3960496"/>
                    <a:pt x="1459143" y="3995964"/>
                  </a:cubicBezTo>
                  <a:close/>
                  <a:moveTo>
                    <a:pt x="1459143" y="2583190"/>
                  </a:moveTo>
                  <a:cubicBezTo>
                    <a:pt x="1459143" y="2595012"/>
                    <a:pt x="1468011" y="2606834"/>
                    <a:pt x="1482788" y="2606834"/>
                  </a:cubicBezTo>
                  <a:cubicBezTo>
                    <a:pt x="1494610" y="2606834"/>
                    <a:pt x="1506433" y="2595012"/>
                    <a:pt x="1506433" y="2583190"/>
                  </a:cubicBezTo>
                  <a:cubicBezTo>
                    <a:pt x="1506433" y="2571367"/>
                    <a:pt x="1494610" y="2559544"/>
                    <a:pt x="1482788" y="2559544"/>
                  </a:cubicBezTo>
                  <a:cubicBezTo>
                    <a:pt x="1470965" y="2559544"/>
                    <a:pt x="1459143" y="2571367"/>
                    <a:pt x="1459143" y="2583190"/>
                  </a:cubicBezTo>
                  <a:close/>
                  <a:moveTo>
                    <a:pt x="1429587" y="1965472"/>
                  </a:moveTo>
                  <a:cubicBezTo>
                    <a:pt x="1429587" y="1971383"/>
                    <a:pt x="1432544" y="1974337"/>
                    <a:pt x="1438455" y="1974337"/>
                  </a:cubicBezTo>
                  <a:cubicBezTo>
                    <a:pt x="1444367" y="1974337"/>
                    <a:pt x="1447321" y="1968426"/>
                    <a:pt x="1447321" y="1965472"/>
                  </a:cubicBezTo>
                  <a:cubicBezTo>
                    <a:pt x="1447321" y="1959560"/>
                    <a:pt x="1441409" y="1956604"/>
                    <a:pt x="1438455" y="1956604"/>
                  </a:cubicBezTo>
                  <a:cubicBezTo>
                    <a:pt x="1432544" y="1956604"/>
                    <a:pt x="1429587" y="1962514"/>
                    <a:pt x="1429587" y="1965472"/>
                  </a:cubicBezTo>
                  <a:close/>
                  <a:moveTo>
                    <a:pt x="1420722" y="3387111"/>
                  </a:moveTo>
                  <a:cubicBezTo>
                    <a:pt x="1423679" y="3419621"/>
                    <a:pt x="1450278" y="3446223"/>
                    <a:pt x="1479834" y="3446223"/>
                  </a:cubicBezTo>
                  <a:cubicBezTo>
                    <a:pt x="1512347" y="3446223"/>
                    <a:pt x="1538945" y="3419621"/>
                    <a:pt x="1538945" y="3387111"/>
                  </a:cubicBezTo>
                  <a:cubicBezTo>
                    <a:pt x="1538945" y="3354598"/>
                    <a:pt x="1512347" y="3327999"/>
                    <a:pt x="1479834" y="3327999"/>
                  </a:cubicBezTo>
                  <a:cubicBezTo>
                    <a:pt x="1447324" y="3327999"/>
                    <a:pt x="1420722" y="3354598"/>
                    <a:pt x="1420722" y="3387111"/>
                  </a:cubicBezTo>
                  <a:close/>
                  <a:moveTo>
                    <a:pt x="1400031" y="2775302"/>
                  </a:moveTo>
                  <a:cubicBezTo>
                    <a:pt x="1400031" y="2798946"/>
                    <a:pt x="1417765" y="2813726"/>
                    <a:pt x="1438455" y="2813726"/>
                  </a:cubicBezTo>
                  <a:cubicBezTo>
                    <a:pt x="1459143" y="2813726"/>
                    <a:pt x="1476877" y="2795992"/>
                    <a:pt x="1476877" y="2775302"/>
                  </a:cubicBezTo>
                  <a:cubicBezTo>
                    <a:pt x="1476877" y="2754614"/>
                    <a:pt x="1459143" y="2736880"/>
                    <a:pt x="1438455" y="2736880"/>
                  </a:cubicBezTo>
                  <a:cubicBezTo>
                    <a:pt x="1417765" y="2736880"/>
                    <a:pt x="1400031" y="2754614"/>
                    <a:pt x="1400031" y="2775302"/>
                  </a:cubicBezTo>
                  <a:close/>
                  <a:moveTo>
                    <a:pt x="1382298" y="3585138"/>
                  </a:moveTo>
                  <a:cubicBezTo>
                    <a:pt x="1382298" y="3614694"/>
                    <a:pt x="1405942" y="3638338"/>
                    <a:pt x="1435498" y="3638338"/>
                  </a:cubicBezTo>
                  <a:cubicBezTo>
                    <a:pt x="1465054" y="3638338"/>
                    <a:pt x="1488699" y="3614694"/>
                    <a:pt x="1488699" y="3585138"/>
                  </a:cubicBezTo>
                  <a:cubicBezTo>
                    <a:pt x="1488699" y="3555582"/>
                    <a:pt x="1465054" y="3531936"/>
                    <a:pt x="1435498" y="3531936"/>
                  </a:cubicBezTo>
                  <a:cubicBezTo>
                    <a:pt x="1405942" y="3531936"/>
                    <a:pt x="1382298" y="3555582"/>
                    <a:pt x="1382298" y="3585138"/>
                  </a:cubicBezTo>
                  <a:close/>
                  <a:moveTo>
                    <a:pt x="1382298" y="2160538"/>
                  </a:moveTo>
                  <a:cubicBezTo>
                    <a:pt x="1382298" y="2166449"/>
                    <a:pt x="1388209" y="2172360"/>
                    <a:pt x="1394120" y="2172360"/>
                  </a:cubicBezTo>
                  <a:cubicBezTo>
                    <a:pt x="1400031" y="2172360"/>
                    <a:pt x="1405942" y="2166449"/>
                    <a:pt x="1405942" y="2160538"/>
                  </a:cubicBezTo>
                  <a:cubicBezTo>
                    <a:pt x="1405942" y="2154627"/>
                    <a:pt x="1400031" y="2148716"/>
                    <a:pt x="1394120" y="2148716"/>
                  </a:cubicBezTo>
                  <a:cubicBezTo>
                    <a:pt x="1388209" y="2148716"/>
                    <a:pt x="1382298" y="2154627"/>
                    <a:pt x="1382298" y="2160538"/>
                  </a:cubicBezTo>
                  <a:close/>
                  <a:moveTo>
                    <a:pt x="1340919" y="2970370"/>
                  </a:moveTo>
                  <a:cubicBezTo>
                    <a:pt x="1340919" y="2999926"/>
                    <a:pt x="1364564" y="3023572"/>
                    <a:pt x="1394120" y="3023572"/>
                  </a:cubicBezTo>
                  <a:cubicBezTo>
                    <a:pt x="1423676" y="3023572"/>
                    <a:pt x="1447321" y="2999926"/>
                    <a:pt x="1447321" y="2970370"/>
                  </a:cubicBezTo>
                  <a:cubicBezTo>
                    <a:pt x="1447321" y="2940814"/>
                    <a:pt x="1423676" y="2917170"/>
                    <a:pt x="1394120" y="2917170"/>
                  </a:cubicBezTo>
                  <a:cubicBezTo>
                    <a:pt x="1364564" y="2917170"/>
                    <a:pt x="1340919" y="2940814"/>
                    <a:pt x="1340919" y="2970370"/>
                  </a:cubicBezTo>
                  <a:close/>
                  <a:moveTo>
                    <a:pt x="1337965" y="3777250"/>
                  </a:moveTo>
                  <a:cubicBezTo>
                    <a:pt x="1340919" y="3806806"/>
                    <a:pt x="1364567" y="3830450"/>
                    <a:pt x="1391166" y="3830450"/>
                  </a:cubicBezTo>
                  <a:cubicBezTo>
                    <a:pt x="1420722" y="3830450"/>
                    <a:pt x="1444367" y="3806806"/>
                    <a:pt x="1444367" y="3777250"/>
                  </a:cubicBezTo>
                  <a:cubicBezTo>
                    <a:pt x="1444367" y="3747694"/>
                    <a:pt x="1420722" y="3724049"/>
                    <a:pt x="1391166" y="3724049"/>
                  </a:cubicBezTo>
                  <a:cubicBezTo>
                    <a:pt x="1361610" y="3724049"/>
                    <a:pt x="1337965" y="3747694"/>
                    <a:pt x="1337965" y="3777250"/>
                  </a:cubicBezTo>
                  <a:close/>
                  <a:moveTo>
                    <a:pt x="1335011" y="2352656"/>
                  </a:moveTo>
                  <a:cubicBezTo>
                    <a:pt x="1335011" y="2361521"/>
                    <a:pt x="1343879" y="2367432"/>
                    <a:pt x="1349790" y="2367432"/>
                  </a:cubicBezTo>
                  <a:cubicBezTo>
                    <a:pt x="1358656" y="2367432"/>
                    <a:pt x="1364567" y="2361521"/>
                    <a:pt x="1364567" y="2352656"/>
                  </a:cubicBezTo>
                  <a:cubicBezTo>
                    <a:pt x="1364567" y="2343788"/>
                    <a:pt x="1358656" y="2337876"/>
                    <a:pt x="1349790" y="2337876"/>
                  </a:cubicBezTo>
                  <a:cubicBezTo>
                    <a:pt x="1340922" y="2337876"/>
                    <a:pt x="1335011" y="2343788"/>
                    <a:pt x="1335011" y="2352656"/>
                  </a:cubicBezTo>
                  <a:close/>
                  <a:moveTo>
                    <a:pt x="1299544" y="3165443"/>
                  </a:moveTo>
                  <a:cubicBezTo>
                    <a:pt x="1299544" y="3194999"/>
                    <a:pt x="1320232" y="3215686"/>
                    <a:pt x="1349788" y="3215686"/>
                  </a:cubicBezTo>
                  <a:cubicBezTo>
                    <a:pt x="1376389" y="3215686"/>
                    <a:pt x="1400034" y="3192042"/>
                    <a:pt x="1400034" y="3165443"/>
                  </a:cubicBezTo>
                  <a:cubicBezTo>
                    <a:pt x="1400034" y="3138841"/>
                    <a:pt x="1376389" y="3115196"/>
                    <a:pt x="1349788" y="3115196"/>
                  </a:cubicBezTo>
                  <a:cubicBezTo>
                    <a:pt x="1323189" y="3115196"/>
                    <a:pt x="1299544" y="3138841"/>
                    <a:pt x="1299544" y="3165443"/>
                  </a:cubicBezTo>
                  <a:close/>
                  <a:moveTo>
                    <a:pt x="1284764" y="4170345"/>
                  </a:moveTo>
                  <a:cubicBezTo>
                    <a:pt x="1284764" y="4179210"/>
                    <a:pt x="1293630" y="4188078"/>
                    <a:pt x="1302498" y="4188078"/>
                  </a:cubicBezTo>
                  <a:cubicBezTo>
                    <a:pt x="1311363" y="4188078"/>
                    <a:pt x="1320232" y="4179210"/>
                    <a:pt x="1320232" y="4170345"/>
                  </a:cubicBezTo>
                  <a:cubicBezTo>
                    <a:pt x="1320232" y="4161480"/>
                    <a:pt x="1311363" y="4152612"/>
                    <a:pt x="1302498" y="4152612"/>
                  </a:cubicBezTo>
                  <a:cubicBezTo>
                    <a:pt x="1293630" y="4152612"/>
                    <a:pt x="1284764" y="4161480"/>
                    <a:pt x="1284764" y="4170345"/>
                  </a:cubicBezTo>
                  <a:close/>
                  <a:moveTo>
                    <a:pt x="1284764" y="3975276"/>
                  </a:moveTo>
                  <a:cubicBezTo>
                    <a:pt x="1284764" y="4007786"/>
                    <a:pt x="1314320" y="4037342"/>
                    <a:pt x="1346830" y="4037342"/>
                  </a:cubicBezTo>
                  <a:cubicBezTo>
                    <a:pt x="1382298" y="4037342"/>
                    <a:pt x="1408899" y="4007786"/>
                    <a:pt x="1408899" y="3975276"/>
                  </a:cubicBezTo>
                  <a:cubicBezTo>
                    <a:pt x="1408899" y="3939808"/>
                    <a:pt x="1379344" y="3913207"/>
                    <a:pt x="1346830" y="3913207"/>
                  </a:cubicBezTo>
                  <a:cubicBezTo>
                    <a:pt x="1311363" y="3913207"/>
                    <a:pt x="1284764" y="3942763"/>
                    <a:pt x="1284764" y="3975276"/>
                  </a:cubicBezTo>
                  <a:close/>
                  <a:moveTo>
                    <a:pt x="1278853" y="2547722"/>
                  </a:moveTo>
                  <a:cubicBezTo>
                    <a:pt x="1281807" y="2562502"/>
                    <a:pt x="1293633" y="2574324"/>
                    <a:pt x="1305455" y="2574324"/>
                  </a:cubicBezTo>
                  <a:cubicBezTo>
                    <a:pt x="1320232" y="2574324"/>
                    <a:pt x="1332054" y="2562502"/>
                    <a:pt x="1332054" y="2547722"/>
                  </a:cubicBezTo>
                  <a:cubicBezTo>
                    <a:pt x="1332054" y="2532946"/>
                    <a:pt x="1320232" y="2521124"/>
                    <a:pt x="1305455" y="2521124"/>
                  </a:cubicBezTo>
                  <a:cubicBezTo>
                    <a:pt x="1290676" y="2521124"/>
                    <a:pt x="1278853" y="2532946"/>
                    <a:pt x="1278853" y="2547722"/>
                  </a:cubicBezTo>
                  <a:close/>
                  <a:moveTo>
                    <a:pt x="1255209" y="1918182"/>
                  </a:moveTo>
                  <a:cubicBezTo>
                    <a:pt x="1255209" y="1924094"/>
                    <a:pt x="1261120" y="1930004"/>
                    <a:pt x="1267031" y="1930004"/>
                  </a:cubicBezTo>
                  <a:cubicBezTo>
                    <a:pt x="1272942" y="1930004"/>
                    <a:pt x="1278853" y="1924094"/>
                    <a:pt x="1278853" y="1918182"/>
                  </a:cubicBezTo>
                  <a:cubicBezTo>
                    <a:pt x="1278853" y="1912271"/>
                    <a:pt x="1272942" y="1906360"/>
                    <a:pt x="1267031" y="1906360"/>
                  </a:cubicBezTo>
                  <a:cubicBezTo>
                    <a:pt x="1261120" y="1906360"/>
                    <a:pt x="1255209" y="1912271"/>
                    <a:pt x="1255209" y="1918182"/>
                  </a:cubicBezTo>
                  <a:close/>
                  <a:moveTo>
                    <a:pt x="1249297" y="3363466"/>
                  </a:moveTo>
                  <a:cubicBezTo>
                    <a:pt x="1246343" y="3393022"/>
                    <a:pt x="1272942" y="3419621"/>
                    <a:pt x="1305455" y="3419621"/>
                  </a:cubicBezTo>
                  <a:cubicBezTo>
                    <a:pt x="1337965" y="3419621"/>
                    <a:pt x="1361610" y="3393022"/>
                    <a:pt x="1361610" y="3363466"/>
                  </a:cubicBezTo>
                  <a:cubicBezTo>
                    <a:pt x="1361610" y="3330953"/>
                    <a:pt x="1335011" y="3307308"/>
                    <a:pt x="1305455" y="3307308"/>
                  </a:cubicBezTo>
                  <a:cubicBezTo>
                    <a:pt x="1272942" y="3307308"/>
                    <a:pt x="1249297" y="3333910"/>
                    <a:pt x="1249297" y="3363466"/>
                  </a:cubicBezTo>
                  <a:close/>
                  <a:moveTo>
                    <a:pt x="1219741" y="2742792"/>
                  </a:moveTo>
                  <a:cubicBezTo>
                    <a:pt x="1219741" y="2766436"/>
                    <a:pt x="1240432" y="2784170"/>
                    <a:pt x="1261120" y="2784170"/>
                  </a:cubicBezTo>
                  <a:cubicBezTo>
                    <a:pt x="1284764" y="2784170"/>
                    <a:pt x="1302498" y="2766436"/>
                    <a:pt x="1302498" y="2742792"/>
                  </a:cubicBezTo>
                  <a:cubicBezTo>
                    <a:pt x="1302498" y="2719146"/>
                    <a:pt x="1284764" y="2701413"/>
                    <a:pt x="1261120" y="2701413"/>
                  </a:cubicBezTo>
                  <a:cubicBezTo>
                    <a:pt x="1237475" y="2701413"/>
                    <a:pt x="1219741" y="2719146"/>
                    <a:pt x="1219741" y="2742792"/>
                  </a:cubicBezTo>
                  <a:close/>
                  <a:moveTo>
                    <a:pt x="1204962" y="2113248"/>
                  </a:moveTo>
                  <a:cubicBezTo>
                    <a:pt x="1204962" y="2122117"/>
                    <a:pt x="1213830" y="2130982"/>
                    <a:pt x="1222695" y="2130982"/>
                  </a:cubicBezTo>
                  <a:cubicBezTo>
                    <a:pt x="1231564" y="2130982"/>
                    <a:pt x="1240429" y="2122117"/>
                    <a:pt x="1240429" y="2113248"/>
                  </a:cubicBezTo>
                  <a:cubicBezTo>
                    <a:pt x="1240429" y="2104383"/>
                    <a:pt x="1231564" y="2095515"/>
                    <a:pt x="1222695" y="2095515"/>
                  </a:cubicBezTo>
                  <a:cubicBezTo>
                    <a:pt x="1213830" y="2095515"/>
                    <a:pt x="1204962" y="2104383"/>
                    <a:pt x="1204962" y="2113248"/>
                  </a:cubicBezTo>
                  <a:close/>
                  <a:moveTo>
                    <a:pt x="1196097" y="3558536"/>
                  </a:moveTo>
                  <a:cubicBezTo>
                    <a:pt x="1193140" y="3594002"/>
                    <a:pt x="1222695" y="3623558"/>
                    <a:pt x="1261120" y="3623558"/>
                  </a:cubicBezTo>
                  <a:cubicBezTo>
                    <a:pt x="1296587" y="3623558"/>
                    <a:pt x="1326143" y="3594002"/>
                    <a:pt x="1326143" y="3558536"/>
                  </a:cubicBezTo>
                  <a:cubicBezTo>
                    <a:pt x="1326143" y="3523068"/>
                    <a:pt x="1296587" y="3493512"/>
                    <a:pt x="1261120" y="3493512"/>
                  </a:cubicBezTo>
                  <a:cubicBezTo>
                    <a:pt x="1225653" y="3493512"/>
                    <a:pt x="1196097" y="3523068"/>
                    <a:pt x="1196097" y="3558536"/>
                  </a:cubicBezTo>
                  <a:close/>
                  <a:moveTo>
                    <a:pt x="1169498" y="2937860"/>
                  </a:moveTo>
                  <a:cubicBezTo>
                    <a:pt x="1169498" y="2964462"/>
                    <a:pt x="1190185" y="2985150"/>
                    <a:pt x="1216787" y="2985150"/>
                  </a:cubicBezTo>
                  <a:cubicBezTo>
                    <a:pt x="1243389" y="2985150"/>
                    <a:pt x="1264077" y="2964462"/>
                    <a:pt x="1264077" y="2937860"/>
                  </a:cubicBezTo>
                  <a:cubicBezTo>
                    <a:pt x="1264077" y="2911259"/>
                    <a:pt x="1243389" y="2890571"/>
                    <a:pt x="1216787" y="2890571"/>
                  </a:cubicBezTo>
                  <a:cubicBezTo>
                    <a:pt x="1190185" y="2890571"/>
                    <a:pt x="1169498" y="2911259"/>
                    <a:pt x="1169498" y="2937860"/>
                  </a:cubicBezTo>
                  <a:close/>
                  <a:moveTo>
                    <a:pt x="1154718" y="2308321"/>
                  </a:moveTo>
                  <a:cubicBezTo>
                    <a:pt x="1154718" y="2320143"/>
                    <a:pt x="1163584" y="2331966"/>
                    <a:pt x="1178363" y="2331966"/>
                  </a:cubicBezTo>
                  <a:cubicBezTo>
                    <a:pt x="1190185" y="2331966"/>
                    <a:pt x="1202008" y="2320143"/>
                    <a:pt x="1202008" y="2308321"/>
                  </a:cubicBezTo>
                  <a:cubicBezTo>
                    <a:pt x="1202008" y="2296498"/>
                    <a:pt x="1190185" y="2284676"/>
                    <a:pt x="1178363" y="2284676"/>
                  </a:cubicBezTo>
                  <a:cubicBezTo>
                    <a:pt x="1166541" y="2284676"/>
                    <a:pt x="1154718" y="2296498"/>
                    <a:pt x="1154718" y="2308321"/>
                  </a:cubicBezTo>
                  <a:close/>
                  <a:moveTo>
                    <a:pt x="1151764" y="3750648"/>
                  </a:moveTo>
                  <a:cubicBezTo>
                    <a:pt x="1148807" y="3786114"/>
                    <a:pt x="1178363" y="3815670"/>
                    <a:pt x="1216787" y="3815670"/>
                  </a:cubicBezTo>
                  <a:cubicBezTo>
                    <a:pt x="1252255" y="3815670"/>
                    <a:pt x="1281810" y="3786114"/>
                    <a:pt x="1281810" y="3750648"/>
                  </a:cubicBezTo>
                  <a:cubicBezTo>
                    <a:pt x="1281810" y="3715180"/>
                    <a:pt x="1252255" y="3685624"/>
                    <a:pt x="1216787" y="3685624"/>
                  </a:cubicBezTo>
                  <a:cubicBezTo>
                    <a:pt x="1181320" y="3685624"/>
                    <a:pt x="1151764" y="3715180"/>
                    <a:pt x="1151764" y="3750648"/>
                  </a:cubicBezTo>
                  <a:close/>
                  <a:moveTo>
                    <a:pt x="1139942" y="1661044"/>
                  </a:moveTo>
                  <a:cubicBezTo>
                    <a:pt x="1139942" y="1664001"/>
                    <a:pt x="1142896" y="1664001"/>
                    <a:pt x="1142896" y="1664001"/>
                  </a:cubicBezTo>
                  <a:cubicBezTo>
                    <a:pt x="1145853" y="1664001"/>
                    <a:pt x="1145853" y="1661044"/>
                    <a:pt x="1145853" y="1661044"/>
                  </a:cubicBezTo>
                  <a:cubicBezTo>
                    <a:pt x="1145853" y="1658090"/>
                    <a:pt x="1142896" y="1658090"/>
                    <a:pt x="1142896" y="1658090"/>
                  </a:cubicBezTo>
                  <a:cubicBezTo>
                    <a:pt x="1139942" y="1658090"/>
                    <a:pt x="1139942" y="1661044"/>
                    <a:pt x="1139942" y="1661044"/>
                  </a:cubicBezTo>
                  <a:close/>
                  <a:moveTo>
                    <a:pt x="1116294" y="3129973"/>
                  </a:moveTo>
                  <a:cubicBezTo>
                    <a:pt x="1119248" y="3162486"/>
                    <a:pt x="1142896" y="3186130"/>
                    <a:pt x="1172452" y="3186130"/>
                  </a:cubicBezTo>
                  <a:cubicBezTo>
                    <a:pt x="1202008" y="3186130"/>
                    <a:pt x="1228606" y="3162486"/>
                    <a:pt x="1228606" y="3129973"/>
                  </a:cubicBezTo>
                  <a:cubicBezTo>
                    <a:pt x="1228606" y="3100417"/>
                    <a:pt x="1204962" y="3073818"/>
                    <a:pt x="1172452" y="3073818"/>
                  </a:cubicBezTo>
                  <a:cubicBezTo>
                    <a:pt x="1142896" y="3073818"/>
                    <a:pt x="1116294" y="3097463"/>
                    <a:pt x="1116294" y="3129973"/>
                  </a:cubicBezTo>
                  <a:close/>
                  <a:moveTo>
                    <a:pt x="1110386" y="3942763"/>
                  </a:moveTo>
                  <a:cubicBezTo>
                    <a:pt x="1110386" y="3978233"/>
                    <a:pt x="1136988" y="4004832"/>
                    <a:pt x="1172452" y="4004832"/>
                  </a:cubicBezTo>
                  <a:cubicBezTo>
                    <a:pt x="1204965" y="4004832"/>
                    <a:pt x="1234521" y="3978233"/>
                    <a:pt x="1234521" y="3942763"/>
                  </a:cubicBezTo>
                  <a:cubicBezTo>
                    <a:pt x="1234521" y="3910253"/>
                    <a:pt x="1207919" y="3880697"/>
                    <a:pt x="1172452" y="3880697"/>
                  </a:cubicBezTo>
                  <a:cubicBezTo>
                    <a:pt x="1139942" y="3880697"/>
                    <a:pt x="1110386" y="3907296"/>
                    <a:pt x="1110386" y="3942763"/>
                  </a:cubicBezTo>
                  <a:close/>
                  <a:moveTo>
                    <a:pt x="1104475" y="4140789"/>
                  </a:moveTo>
                  <a:cubicBezTo>
                    <a:pt x="1101518" y="4152612"/>
                    <a:pt x="1113340" y="4164434"/>
                    <a:pt x="1128120" y="4164434"/>
                  </a:cubicBezTo>
                  <a:cubicBezTo>
                    <a:pt x="1139942" y="4164434"/>
                    <a:pt x="1151764" y="4152612"/>
                    <a:pt x="1151764" y="4140789"/>
                  </a:cubicBezTo>
                  <a:cubicBezTo>
                    <a:pt x="1151764" y="4128967"/>
                    <a:pt x="1139942" y="4117144"/>
                    <a:pt x="1128120" y="4117144"/>
                  </a:cubicBezTo>
                  <a:cubicBezTo>
                    <a:pt x="1116297" y="4117144"/>
                    <a:pt x="1104475" y="4128967"/>
                    <a:pt x="1104475" y="4140789"/>
                  </a:cubicBezTo>
                  <a:close/>
                  <a:moveTo>
                    <a:pt x="1101518" y="2503387"/>
                  </a:moveTo>
                  <a:cubicBezTo>
                    <a:pt x="1101518" y="2521120"/>
                    <a:pt x="1116297" y="2535900"/>
                    <a:pt x="1134028" y="2535900"/>
                  </a:cubicBezTo>
                  <a:cubicBezTo>
                    <a:pt x="1151764" y="2535900"/>
                    <a:pt x="1166541" y="2521120"/>
                    <a:pt x="1166541" y="2503387"/>
                  </a:cubicBezTo>
                  <a:cubicBezTo>
                    <a:pt x="1166541" y="2485656"/>
                    <a:pt x="1151764" y="2470877"/>
                    <a:pt x="1134028" y="2470877"/>
                  </a:cubicBezTo>
                  <a:cubicBezTo>
                    <a:pt x="1116297" y="2470877"/>
                    <a:pt x="1101518" y="2485656"/>
                    <a:pt x="1101518" y="2503387"/>
                  </a:cubicBezTo>
                  <a:close/>
                  <a:moveTo>
                    <a:pt x="1086738" y="1859070"/>
                  </a:moveTo>
                  <a:cubicBezTo>
                    <a:pt x="1086738" y="1864982"/>
                    <a:pt x="1092649" y="1870893"/>
                    <a:pt x="1098560" y="1870893"/>
                  </a:cubicBezTo>
                  <a:cubicBezTo>
                    <a:pt x="1104472" y="1870893"/>
                    <a:pt x="1110383" y="1864982"/>
                    <a:pt x="1110383" y="1859070"/>
                  </a:cubicBezTo>
                  <a:cubicBezTo>
                    <a:pt x="1110383" y="1853159"/>
                    <a:pt x="1104472" y="1847248"/>
                    <a:pt x="1098560" y="1847248"/>
                  </a:cubicBezTo>
                  <a:cubicBezTo>
                    <a:pt x="1092649" y="1847248"/>
                    <a:pt x="1086738" y="1853159"/>
                    <a:pt x="1086738" y="1859070"/>
                  </a:cubicBezTo>
                  <a:close/>
                  <a:moveTo>
                    <a:pt x="1066051" y="3325045"/>
                  </a:moveTo>
                  <a:cubicBezTo>
                    <a:pt x="1066051" y="3360512"/>
                    <a:pt x="1095606" y="3387111"/>
                    <a:pt x="1128116" y="3387111"/>
                  </a:cubicBezTo>
                  <a:cubicBezTo>
                    <a:pt x="1163584" y="3387111"/>
                    <a:pt x="1190185" y="3360512"/>
                    <a:pt x="1190185" y="3325045"/>
                  </a:cubicBezTo>
                  <a:cubicBezTo>
                    <a:pt x="1190185" y="3289578"/>
                    <a:pt x="1163584" y="3262976"/>
                    <a:pt x="1128116" y="3262976"/>
                  </a:cubicBezTo>
                  <a:cubicBezTo>
                    <a:pt x="1092652" y="3262976"/>
                    <a:pt x="1066051" y="3289578"/>
                    <a:pt x="1066051" y="3325045"/>
                  </a:cubicBezTo>
                  <a:close/>
                  <a:moveTo>
                    <a:pt x="1048317" y="2698456"/>
                  </a:moveTo>
                  <a:cubicBezTo>
                    <a:pt x="1048317" y="2719146"/>
                    <a:pt x="1066051" y="2739834"/>
                    <a:pt x="1089695" y="2739834"/>
                  </a:cubicBezTo>
                  <a:cubicBezTo>
                    <a:pt x="1113340" y="2739834"/>
                    <a:pt x="1131074" y="2722101"/>
                    <a:pt x="1131074" y="2698456"/>
                  </a:cubicBezTo>
                  <a:cubicBezTo>
                    <a:pt x="1131074" y="2674812"/>
                    <a:pt x="1113340" y="2657078"/>
                    <a:pt x="1089695" y="2657078"/>
                  </a:cubicBezTo>
                  <a:cubicBezTo>
                    <a:pt x="1066051" y="2657078"/>
                    <a:pt x="1048317" y="2674812"/>
                    <a:pt x="1048317" y="2698456"/>
                  </a:cubicBezTo>
                  <a:close/>
                  <a:moveTo>
                    <a:pt x="1036494" y="2054136"/>
                  </a:moveTo>
                  <a:cubicBezTo>
                    <a:pt x="1036494" y="2063005"/>
                    <a:pt x="1045360" y="2071870"/>
                    <a:pt x="1054228" y="2071870"/>
                  </a:cubicBezTo>
                  <a:cubicBezTo>
                    <a:pt x="1063096" y="2071870"/>
                    <a:pt x="1071961" y="2063005"/>
                    <a:pt x="1071961" y="2054136"/>
                  </a:cubicBezTo>
                  <a:cubicBezTo>
                    <a:pt x="1071961" y="2045271"/>
                    <a:pt x="1063096" y="2036403"/>
                    <a:pt x="1054228" y="2036403"/>
                  </a:cubicBezTo>
                  <a:cubicBezTo>
                    <a:pt x="1045360" y="2036403"/>
                    <a:pt x="1036494" y="2045271"/>
                    <a:pt x="1036494" y="2054136"/>
                  </a:cubicBezTo>
                  <a:close/>
                  <a:moveTo>
                    <a:pt x="1018761" y="3520111"/>
                  </a:moveTo>
                  <a:cubicBezTo>
                    <a:pt x="1018761" y="3555578"/>
                    <a:pt x="1048317" y="3585134"/>
                    <a:pt x="1083784" y="3585134"/>
                  </a:cubicBezTo>
                  <a:cubicBezTo>
                    <a:pt x="1119251" y="3585134"/>
                    <a:pt x="1148807" y="3555578"/>
                    <a:pt x="1148807" y="3520111"/>
                  </a:cubicBezTo>
                  <a:cubicBezTo>
                    <a:pt x="1148807" y="3484644"/>
                    <a:pt x="1119251" y="3455088"/>
                    <a:pt x="1083784" y="3455088"/>
                  </a:cubicBezTo>
                  <a:cubicBezTo>
                    <a:pt x="1048317" y="3455088"/>
                    <a:pt x="1018761" y="3484644"/>
                    <a:pt x="1018761" y="3520111"/>
                  </a:cubicBezTo>
                  <a:close/>
                  <a:moveTo>
                    <a:pt x="995116" y="2890571"/>
                  </a:moveTo>
                  <a:cubicBezTo>
                    <a:pt x="995116" y="2920127"/>
                    <a:pt x="1015804" y="2940818"/>
                    <a:pt x="1045360" y="2940818"/>
                  </a:cubicBezTo>
                  <a:cubicBezTo>
                    <a:pt x="1071961" y="2940818"/>
                    <a:pt x="1095606" y="2917173"/>
                    <a:pt x="1095606" y="2890571"/>
                  </a:cubicBezTo>
                  <a:cubicBezTo>
                    <a:pt x="1095606" y="2863972"/>
                    <a:pt x="1071961" y="2840328"/>
                    <a:pt x="1045360" y="2840328"/>
                  </a:cubicBezTo>
                  <a:cubicBezTo>
                    <a:pt x="1018761" y="2840328"/>
                    <a:pt x="995116" y="2863972"/>
                    <a:pt x="995116" y="2890571"/>
                  </a:cubicBezTo>
                  <a:close/>
                  <a:moveTo>
                    <a:pt x="977383" y="2249209"/>
                  </a:moveTo>
                  <a:cubicBezTo>
                    <a:pt x="977383" y="2266942"/>
                    <a:pt x="992162" y="2278765"/>
                    <a:pt x="1006939" y="2278765"/>
                  </a:cubicBezTo>
                  <a:cubicBezTo>
                    <a:pt x="1021718" y="2278765"/>
                    <a:pt x="1036494" y="2266942"/>
                    <a:pt x="1036494" y="2249209"/>
                  </a:cubicBezTo>
                  <a:cubicBezTo>
                    <a:pt x="1036494" y="2231475"/>
                    <a:pt x="1024672" y="2219653"/>
                    <a:pt x="1006939" y="2219653"/>
                  </a:cubicBezTo>
                  <a:cubicBezTo>
                    <a:pt x="992162" y="2219653"/>
                    <a:pt x="977383" y="2231475"/>
                    <a:pt x="977383" y="2249209"/>
                  </a:cubicBezTo>
                  <a:close/>
                  <a:moveTo>
                    <a:pt x="965560" y="3715184"/>
                  </a:moveTo>
                  <a:cubicBezTo>
                    <a:pt x="965560" y="3756562"/>
                    <a:pt x="998070" y="3789072"/>
                    <a:pt x="1039452" y="3789072"/>
                  </a:cubicBezTo>
                  <a:cubicBezTo>
                    <a:pt x="1080830" y="3789072"/>
                    <a:pt x="1113340" y="3756562"/>
                    <a:pt x="1113340" y="3715184"/>
                  </a:cubicBezTo>
                  <a:cubicBezTo>
                    <a:pt x="1113340" y="3673805"/>
                    <a:pt x="1080830" y="3641292"/>
                    <a:pt x="1039452" y="3641292"/>
                  </a:cubicBezTo>
                  <a:cubicBezTo>
                    <a:pt x="998070" y="3641292"/>
                    <a:pt x="965560" y="3673805"/>
                    <a:pt x="965560" y="3715184"/>
                  </a:cubicBezTo>
                  <a:close/>
                  <a:moveTo>
                    <a:pt x="938958" y="3085640"/>
                  </a:moveTo>
                  <a:cubicBezTo>
                    <a:pt x="938958" y="3121110"/>
                    <a:pt x="965560" y="3147710"/>
                    <a:pt x="1001024" y="3147710"/>
                  </a:cubicBezTo>
                  <a:cubicBezTo>
                    <a:pt x="1036494" y="3147710"/>
                    <a:pt x="1063093" y="3121110"/>
                    <a:pt x="1063093" y="3085640"/>
                  </a:cubicBezTo>
                  <a:cubicBezTo>
                    <a:pt x="1063093" y="3050174"/>
                    <a:pt x="1036494" y="3023574"/>
                    <a:pt x="1001024" y="3023574"/>
                  </a:cubicBezTo>
                  <a:cubicBezTo>
                    <a:pt x="965560" y="3023574"/>
                    <a:pt x="938958" y="3050174"/>
                    <a:pt x="938958" y="3085640"/>
                  </a:cubicBezTo>
                  <a:close/>
                  <a:moveTo>
                    <a:pt x="930093" y="1785179"/>
                  </a:moveTo>
                  <a:cubicBezTo>
                    <a:pt x="930093" y="1788136"/>
                    <a:pt x="933047" y="1791090"/>
                    <a:pt x="936004" y="1791090"/>
                  </a:cubicBezTo>
                  <a:cubicBezTo>
                    <a:pt x="938958" y="1791090"/>
                    <a:pt x="941916" y="1788136"/>
                    <a:pt x="941916" y="1785179"/>
                  </a:cubicBezTo>
                  <a:cubicBezTo>
                    <a:pt x="941916" y="1782225"/>
                    <a:pt x="938958" y="1779268"/>
                    <a:pt x="936004" y="1779268"/>
                  </a:cubicBezTo>
                  <a:cubicBezTo>
                    <a:pt x="933047" y="1779268"/>
                    <a:pt x="930093" y="1782225"/>
                    <a:pt x="930093" y="1785179"/>
                  </a:cubicBezTo>
                  <a:close/>
                  <a:moveTo>
                    <a:pt x="927136" y="3907296"/>
                  </a:moveTo>
                  <a:cubicBezTo>
                    <a:pt x="927136" y="3945717"/>
                    <a:pt x="959649" y="3975272"/>
                    <a:pt x="995116" y="3975272"/>
                  </a:cubicBezTo>
                  <a:cubicBezTo>
                    <a:pt x="1033537" y="3975272"/>
                    <a:pt x="1063093" y="3945717"/>
                    <a:pt x="1063093" y="3907296"/>
                  </a:cubicBezTo>
                  <a:cubicBezTo>
                    <a:pt x="1063093" y="3868872"/>
                    <a:pt x="1033537" y="3839316"/>
                    <a:pt x="995116" y="3839316"/>
                  </a:cubicBezTo>
                  <a:cubicBezTo>
                    <a:pt x="956692" y="3839316"/>
                    <a:pt x="927136" y="3868872"/>
                    <a:pt x="927136" y="3907296"/>
                  </a:cubicBezTo>
                  <a:close/>
                  <a:moveTo>
                    <a:pt x="924182" y="2447235"/>
                  </a:moveTo>
                  <a:cubicBezTo>
                    <a:pt x="927136" y="2467923"/>
                    <a:pt x="941916" y="2485656"/>
                    <a:pt x="962606" y="2485656"/>
                  </a:cubicBezTo>
                  <a:cubicBezTo>
                    <a:pt x="983294" y="2485656"/>
                    <a:pt x="1001027" y="2467923"/>
                    <a:pt x="1001027" y="2447235"/>
                  </a:cubicBezTo>
                  <a:cubicBezTo>
                    <a:pt x="1001027" y="2426544"/>
                    <a:pt x="983294" y="2408811"/>
                    <a:pt x="962606" y="2408811"/>
                  </a:cubicBezTo>
                  <a:cubicBezTo>
                    <a:pt x="941916" y="2408811"/>
                    <a:pt x="924182" y="2426544"/>
                    <a:pt x="924182" y="2447235"/>
                  </a:cubicBezTo>
                  <a:close/>
                  <a:moveTo>
                    <a:pt x="918271" y="4102365"/>
                  </a:moveTo>
                  <a:cubicBezTo>
                    <a:pt x="918271" y="4120096"/>
                    <a:pt x="933050" y="4134875"/>
                    <a:pt x="950781" y="4134875"/>
                  </a:cubicBezTo>
                  <a:cubicBezTo>
                    <a:pt x="968514" y="4134875"/>
                    <a:pt x="983294" y="4120096"/>
                    <a:pt x="983294" y="4102365"/>
                  </a:cubicBezTo>
                  <a:cubicBezTo>
                    <a:pt x="983294" y="4084632"/>
                    <a:pt x="968514" y="4069852"/>
                    <a:pt x="950781" y="4069852"/>
                  </a:cubicBezTo>
                  <a:cubicBezTo>
                    <a:pt x="933050" y="4069852"/>
                    <a:pt x="918271" y="4084632"/>
                    <a:pt x="918271" y="4102365"/>
                  </a:cubicBezTo>
                  <a:close/>
                  <a:moveTo>
                    <a:pt x="894626" y="3280710"/>
                  </a:moveTo>
                  <a:cubicBezTo>
                    <a:pt x="894626" y="3316177"/>
                    <a:pt x="921228" y="3342776"/>
                    <a:pt x="956692" y="3342776"/>
                  </a:cubicBezTo>
                  <a:cubicBezTo>
                    <a:pt x="989205" y="3342776"/>
                    <a:pt x="1018761" y="3316177"/>
                    <a:pt x="1018761" y="3280710"/>
                  </a:cubicBezTo>
                  <a:cubicBezTo>
                    <a:pt x="1018761" y="3248196"/>
                    <a:pt x="992162" y="3218640"/>
                    <a:pt x="956692" y="3218640"/>
                  </a:cubicBezTo>
                  <a:cubicBezTo>
                    <a:pt x="924182" y="3218640"/>
                    <a:pt x="894626" y="3245242"/>
                    <a:pt x="894626" y="3280710"/>
                  </a:cubicBezTo>
                  <a:close/>
                  <a:moveTo>
                    <a:pt x="876892" y="1983202"/>
                  </a:moveTo>
                  <a:cubicBezTo>
                    <a:pt x="876892" y="1989114"/>
                    <a:pt x="882804" y="1995024"/>
                    <a:pt x="888715" y="1995024"/>
                  </a:cubicBezTo>
                  <a:cubicBezTo>
                    <a:pt x="894626" y="1995024"/>
                    <a:pt x="900537" y="1989114"/>
                    <a:pt x="900537" y="1983202"/>
                  </a:cubicBezTo>
                  <a:cubicBezTo>
                    <a:pt x="900537" y="1977291"/>
                    <a:pt x="894626" y="1971380"/>
                    <a:pt x="888715" y="1971380"/>
                  </a:cubicBezTo>
                  <a:cubicBezTo>
                    <a:pt x="882804" y="1971380"/>
                    <a:pt x="876892" y="1977291"/>
                    <a:pt x="876892" y="1983202"/>
                  </a:cubicBezTo>
                  <a:close/>
                  <a:moveTo>
                    <a:pt x="870981" y="2642302"/>
                  </a:moveTo>
                  <a:cubicBezTo>
                    <a:pt x="870981" y="2668903"/>
                    <a:pt x="891669" y="2689591"/>
                    <a:pt x="918271" y="2689591"/>
                  </a:cubicBezTo>
                  <a:cubicBezTo>
                    <a:pt x="944873" y="2689591"/>
                    <a:pt x="965560" y="2668903"/>
                    <a:pt x="965560" y="2642302"/>
                  </a:cubicBezTo>
                  <a:cubicBezTo>
                    <a:pt x="965560" y="2615700"/>
                    <a:pt x="944873" y="2595012"/>
                    <a:pt x="918271" y="2595012"/>
                  </a:cubicBezTo>
                  <a:cubicBezTo>
                    <a:pt x="891669" y="2595012"/>
                    <a:pt x="870981" y="2615700"/>
                    <a:pt x="870981" y="2642302"/>
                  </a:cubicBezTo>
                  <a:close/>
                  <a:moveTo>
                    <a:pt x="844379" y="3478736"/>
                  </a:moveTo>
                  <a:cubicBezTo>
                    <a:pt x="841425" y="3514203"/>
                    <a:pt x="873935" y="3546713"/>
                    <a:pt x="912359" y="3546713"/>
                  </a:cubicBezTo>
                  <a:cubicBezTo>
                    <a:pt x="950781" y="3546713"/>
                    <a:pt x="980336" y="3517157"/>
                    <a:pt x="980336" y="3478736"/>
                  </a:cubicBezTo>
                  <a:cubicBezTo>
                    <a:pt x="980336" y="3440312"/>
                    <a:pt x="950781" y="3410756"/>
                    <a:pt x="912359" y="3410756"/>
                  </a:cubicBezTo>
                  <a:cubicBezTo>
                    <a:pt x="873935" y="3410756"/>
                    <a:pt x="844379" y="3440312"/>
                    <a:pt x="844379" y="3478736"/>
                  </a:cubicBezTo>
                  <a:close/>
                  <a:moveTo>
                    <a:pt x="826649" y="2840328"/>
                  </a:moveTo>
                  <a:cubicBezTo>
                    <a:pt x="826649" y="2863972"/>
                    <a:pt x="847337" y="2887617"/>
                    <a:pt x="873938" y="2887617"/>
                  </a:cubicBezTo>
                  <a:cubicBezTo>
                    <a:pt x="900540" y="2887617"/>
                    <a:pt x="921228" y="2866930"/>
                    <a:pt x="921228" y="2840328"/>
                  </a:cubicBezTo>
                  <a:cubicBezTo>
                    <a:pt x="921228" y="2813726"/>
                    <a:pt x="900540" y="2793038"/>
                    <a:pt x="873938" y="2793038"/>
                  </a:cubicBezTo>
                  <a:cubicBezTo>
                    <a:pt x="847337" y="2793038"/>
                    <a:pt x="826649" y="2813726"/>
                    <a:pt x="826649" y="2840328"/>
                  </a:cubicBezTo>
                  <a:close/>
                  <a:moveTo>
                    <a:pt x="826649" y="1492577"/>
                  </a:moveTo>
                  <a:cubicBezTo>
                    <a:pt x="826649" y="1492577"/>
                    <a:pt x="826649" y="1495531"/>
                    <a:pt x="829603" y="1495531"/>
                  </a:cubicBezTo>
                  <a:cubicBezTo>
                    <a:pt x="832560" y="1495531"/>
                    <a:pt x="832560" y="1492577"/>
                    <a:pt x="832560" y="1492577"/>
                  </a:cubicBezTo>
                  <a:cubicBezTo>
                    <a:pt x="832560" y="1489620"/>
                    <a:pt x="829603" y="1489620"/>
                    <a:pt x="829603" y="1489620"/>
                  </a:cubicBezTo>
                  <a:cubicBezTo>
                    <a:pt x="826649" y="1489620"/>
                    <a:pt x="826649" y="1492577"/>
                    <a:pt x="826649" y="1492577"/>
                  </a:cubicBezTo>
                  <a:close/>
                  <a:moveTo>
                    <a:pt x="820735" y="2181228"/>
                  </a:moveTo>
                  <a:cubicBezTo>
                    <a:pt x="820735" y="2193051"/>
                    <a:pt x="829603" y="2204873"/>
                    <a:pt x="844379" y="2204873"/>
                  </a:cubicBezTo>
                  <a:cubicBezTo>
                    <a:pt x="856202" y="2204873"/>
                    <a:pt x="868024" y="2193051"/>
                    <a:pt x="868024" y="2181228"/>
                  </a:cubicBezTo>
                  <a:cubicBezTo>
                    <a:pt x="868024" y="2169406"/>
                    <a:pt x="856202" y="2157584"/>
                    <a:pt x="844379" y="2157584"/>
                  </a:cubicBezTo>
                  <a:cubicBezTo>
                    <a:pt x="832557" y="2157584"/>
                    <a:pt x="820735" y="2169406"/>
                    <a:pt x="820735" y="2181228"/>
                  </a:cubicBezTo>
                  <a:close/>
                  <a:moveTo>
                    <a:pt x="797093" y="3670848"/>
                  </a:moveTo>
                  <a:cubicBezTo>
                    <a:pt x="797093" y="3709270"/>
                    <a:pt x="829603" y="3741782"/>
                    <a:pt x="868027" y="3741782"/>
                  </a:cubicBezTo>
                  <a:cubicBezTo>
                    <a:pt x="906448" y="3741782"/>
                    <a:pt x="938961" y="3709270"/>
                    <a:pt x="938961" y="3670848"/>
                  </a:cubicBezTo>
                  <a:cubicBezTo>
                    <a:pt x="938961" y="3632424"/>
                    <a:pt x="906448" y="3599914"/>
                    <a:pt x="868027" y="3599914"/>
                  </a:cubicBezTo>
                  <a:cubicBezTo>
                    <a:pt x="829603" y="3599914"/>
                    <a:pt x="797093" y="3632424"/>
                    <a:pt x="797093" y="3670848"/>
                  </a:cubicBezTo>
                  <a:close/>
                  <a:moveTo>
                    <a:pt x="770491" y="3032440"/>
                  </a:moveTo>
                  <a:cubicBezTo>
                    <a:pt x="770491" y="3064950"/>
                    <a:pt x="797093" y="3091552"/>
                    <a:pt x="829603" y="3091552"/>
                  </a:cubicBezTo>
                  <a:cubicBezTo>
                    <a:pt x="862113" y="3091552"/>
                    <a:pt x="888715" y="3064950"/>
                    <a:pt x="888715" y="3032440"/>
                  </a:cubicBezTo>
                  <a:cubicBezTo>
                    <a:pt x="888715" y="2999926"/>
                    <a:pt x="862113" y="2973328"/>
                    <a:pt x="829603" y="2973328"/>
                  </a:cubicBezTo>
                  <a:cubicBezTo>
                    <a:pt x="797093" y="2973328"/>
                    <a:pt x="770491" y="2999926"/>
                    <a:pt x="770491" y="3032440"/>
                  </a:cubicBezTo>
                  <a:close/>
                  <a:moveTo>
                    <a:pt x="770491" y="1696511"/>
                  </a:moveTo>
                  <a:cubicBezTo>
                    <a:pt x="770491" y="1702426"/>
                    <a:pt x="776402" y="1705380"/>
                    <a:pt x="779356" y="1705380"/>
                  </a:cubicBezTo>
                  <a:cubicBezTo>
                    <a:pt x="785271" y="1705380"/>
                    <a:pt x="788225" y="1702426"/>
                    <a:pt x="788225" y="1696511"/>
                  </a:cubicBezTo>
                  <a:cubicBezTo>
                    <a:pt x="788225" y="1690600"/>
                    <a:pt x="785271" y="1687646"/>
                    <a:pt x="779356" y="1687646"/>
                  </a:cubicBezTo>
                  <a:cubicBezTo>
                    <a:pt x="773445" y="1687646"/>
                    <a:pt x="770491" y="1690600"/>
                    <a:pt x="770491" y="1696511"/>
                  </a:cubicBezTo>
                  <a:close/>
                  <a:moveTo>
                    <a:pt x="764580" y="2379255"/>
                  </a:moveTo>
                  <a:cubicBezTo>
                    <a:pt x="767537" y="2396988"/>
                    <a:pt x="779359" y="2411765"/>
                    <a:pt x="797093" y="2411765"/>
                  </a:cubicBezTo>
                  <a:cubicBezTo>
                    <a:pt x="814827" y="2411765"/>
                    <a:pt x="829603" y="2396988"/>
                    <a:pt x="829603" y="2379255"/>
                  </a:cubicBezTo>
                  <a:cubicBezTo>
                    <a:pt x="829603" y="2361521"/>
                    <a:pt x="814827" y="2346742"/>
                    <a:pt x="797093" y="2346742"/>
                  </a:cubicBezTo>
                  <a:cubicBezTo>
                    <a:pt x="779359" y="2346742"/>
                    <a:pt x="764580" y="2361521"/>
                    <a:pt x="764580" y="2379255"/>
                  </a:cubicBezTo>
                  <a:close/>
                  <a:moveTo>
                    <a:pt x="758669" y="4060984"/>
                  </a:moveTo>
                  <a:cubicBezTo>
                    <a:pt x="755715" y="4072809"/>
                    <a:pt x="767537" y="4081674"/>
                    <a:pt x="779359" y="4081674"/>
                  </a:cubicBezTo>
                  <a:cubicBezTo>
                    <a:pt x="791182" y="4081674"/>
                    <a:pt x="800047" y="4072809"/>
                    <a:pt x="800047" y="4060984"/>
                  </a:cubicBezTo>
                  <a:cubicBezTo>
                    <a:pt x="800047" y="4049164"/>
                    <a:pt x="791182" y="4040296"/>
                    <a:pt x="779359" y="4040296"/>
                  </a:cubicBezTo>
                  <a:cubicBezTo>
                    <a:pt x="767537" y="4040296"/>
                    <a:pt x="758669" y="4049164"/>
                    <a:pt x="758669" y="4060984"/>
                  </a:cubicBezTo>
                  <a:close/>
                  <a:moveTo>
                    <a:pt x="755715" y="3862964"/>
                  </a:moveTo>
                  <a:cubicBezTo>
                    <a:pt x="755715" y="3901384"/>
                    <a:pt x="785271" y="3930940"/>
                    <a:pt x="823692" y="3930940"/>
                  </a:cubicBezTo>
                  <a:cubicBezTo>
                    <a:pt x="862116" y="3930940"/>
                    <a:pt x="891672" y="3901384"/>
                    <a:pt x="891672" y="3862964"/>
                  </a:cubicBezTo>
                  <a:cubicBezTo>
                    <a:pt x="891672" y="3824539"/>
                    <a:pt x="862116" y="3794983"/>
                    <a:pt x="823692" y="3794983"/>
                  </a:cubicBezTo>
                  <a:cubicBezTo>
                    <a:pt x="785271" y="3794983"/>
                    <a:pt x="755715" y="3824539"/>
                    <a:pt x="755715" y="3862964"/>
                  </a:cubicBezTo>
                  <a:close/>
                  <a:moveTo>
                    <a:pt x="723202" y="3230466"/>
                  </a:moveTo>
                  <a:cubicBezTo>
                    <a:pt x="720244" y="3262976"/>
                    <a:pt x="749800" y="3292532"/>
                    <a:pt x="785267" y="3292532"/>
                  </a:cubicBezTo>
                  <a:cubicBezTo>
                    <a:pt x="820735" y="3292532"/>
                    <a:pt x="847337" y="3262976"/>
                    <a:pt x="847337" y="3230466"/>
                  </a:cubicBezTo>
                  <a:cubicBezTo>
                    <a:pt x="847337" y="3194999"/>
                    <a:pt x="817780" y="3168397"/>
                    <a:pt x="785267" y="3168397"/>
                  </a:cubicBezTo>
                  <a:cubicBezTo>
                    <a:pt x="749800" y="3168397"/>
                    <a:pt x="723202" y="3197953"/>
                    <a:pt x="723202" y="3230466"/>
                  </a:cubicBezTo>
                  <a:close/>
                  <a:moveTo>
                    <a:pt x="714336" y="1897492"/>
                  </a:moveTo>
                  <a:cubicBezTo>
                    <a:pt x="714336" y="1909314"/>
                    <a:pt x="723204" y="1915225"/>
                    <a:pt x="732070" y="1915225"/>
                  </a:cubicBezTo>
                  <a:cubicBezTo>
                    <a:pt x="740938" y="1915225"/>
                    <a:pt x="749803" y="1906357"/>
                    <a:pt x="749803" y="1897492"/>
                  </a:cubicBezTo>
                  <a:cubicBezTo>
                    <a:pt x="749803" y="1888623"/>
                    <a:pt x="740938" y="1879758"/>
                    <a:pt x="732070" y="1879758"/>
                  </a:cubicBezTo>
                  <a:cubicBezTo>
                    <a:pt x="723204" y="1879758"/>
                    <a:pt x="714336" y="1888623"/>
                    <a:pt x="714336" y="1897492"/>
                  </a:cubicBezTo>
                  <a:close/>
                  <a:moveTo>
                    <a:pt x="708425" y="2577278"/>
                  </a:moveTo>
                  <a:cubicBezTo>
                    <a:pt x="708425" y="2600923"/>
                    <a:pt x="726159" y="2621610"/>
                    <a:pt x="752761" y="2621610"/>
                  </a:cubicBezTo>
                  <a:cubicBezTo>
                    <a:pt x="776402" y="2621610"/>
                    <a:pt x="797093" y="2600923"/>
                    <a:pt x="797093" y="2577278"/>
                  </a:cubicBezTo>
                  <a:cubicBezTo>
                    <a:pt x="797093" y="2553630"/>
                    <a:pt x="776402" y="2532942"/>
                    <a:pt x="752761" y="2532942"/>
                  </a:cubicBezTo>
                  <a:cubicBezTo>
                    <a:pt x="729113" y="2532942"/>
                    <a:pt x="708425" y="2553630"/>
                    <a:pt x="708425" y="2577278"/>
                  </a:cubicBezTo>
                  <a:close/>
                  <a:moveTo>
                    <a:pt x="678869" y="3425532"/>
                  </a:moveTo>
                  <a:cubicBezTo>
                    <a:pt x="678869" y="3458046"/>
                    <a:pt x="705468" y="3487601"/>
                    <a:pt x="740935" y="3487601"/>
                  </a:cubicBezTo>
                  <a:cubicBezTo>
                    <a:pt x="776402" y="3487601"/>
                    <a:pt x="803004" y="3461002"/>
                    <a:pt x="803004" y="3425532"/>
                  </a:cubicBezTo>
                  <a:cubicBezTo>
                    <a:pt x="803004" y="3390065"/>
                    <a:pt x="776402" y="3363466"/>
                    <a:pt x="740935" y="3363466"/>
                  </a:cubicBezTo>
                  <a:cubicBezTo>
                    <a:pt x="705468" y="3363466"/>
                    <a:pt x="678869" y="3390065"/>
                    <a:pt x="678869" y="3425532"/>
                  </a:cubicBezTo>
                  <a:close/>
                  <a:moveTo>
                    <a:pt x="661133" y="2101429"/>
                  </a:moveTo>
                  <a:cubicBezTo>
                    <a:pt x="661133" y="2113252"/>
                    <a:pt x="670001" y="2125074"/>
                    <a:pt x="684777" y="2125074"/>
                  </a:cubicBezTo>
                  <a:cubicBezTo>
                    <a:pt x="696600" y="2125074"/>
                    <a:pt x="708422" y="2113252"/>
                    <a:pt x="708422" y="2101429"/>
                  </a:cubicBezTo>
                  <a:cubicBezTo>
                    <a:pt x="708422" y="2089607"/>
                    <a:pt x="696600" y="2077784"/>
                    <a:pt x="684777" y="2077784"/>
                  </a:cubicBezTo>
                  <a:cubicBezTo>
                    <a:pt x="672955" y="2077784"/>
                    <a:pt x="661133" y="2089607"/>
                    <a:pt x="661133" y="2101429"/>
                  </a:cubicBezTo>
                  <a:close/>
                  <a:moveTo>
                    <a:pt x="658178" y="2775304"/>
                  </a:moveTo>
                  <a:cubicBezTo>
                    <a:pt x="658178" y="2801906"/>
                    <a:pt x="678869" y="2822594"/>
                    <a:pt x="705468" y="2822594"/>
                  </a:cubicBezTo>
                  <a:cubicBezTo>
                    <a:pt x="732070" y="2822594"/>
                    <a:pt x="752757" y="2801906"/>
                    <a:pt x="752757" y="2775304"/>
                  </a:cubicBezTo>
                  <a:cubicBezTo>
                    <a:pt x="752757" y="2748702"/>
                    <a:pt x="732070" y="2728015"/>
                    <a:pt x="705468" y="2728015"/>
                  </a:cubicBezTo>
                  <a:cubicBezTo>
                    <a:pt x="678869" y="2728015"/>
                    <a:pt x="658178" y="2748702"/>
                    <a:pt x="658178" y="2775304"/>
                  </a:cubicBezTo>
                  <a:close/>
                  <a:moveTo>
                    <a:pt x="625668" y="3620604"/>
                  </a:moveTo>
                  <a:cubicBezTo>
                    <a:pt x="625668" y="3659780"/>
                    <a:pt x="657428" y="3691539"/>
                    <a:pt x="696603" y="3691539"/>
                  </a:cubicBezTo>
                  <a:cubicBezTo>
                    <a:pt x="735778" y="3691539"/>
                    <a:pt x="767537" y="3659780"/>
                    <a:pt x="767537" y="3620604"/>
                  </a:cubicBezTo>
                  <a:cubicBezTo>
                    <a:pt x="767537" y="3581430"/>
                    <a:pt x="735778" y="3549670"/>
                    <a:pt x="696603" y="3549670"/>
                  </a:cubicBezTo>
                  <a:cubicBezTo>
                    <a:pt x="657428" y="3549670"/>
                    <a:pt x="625668" y="3581430"/>
                    <a:pt x="625668" y="3620604"/>
                  </a:cubicBezTo>
                  <a:close/>
                  <a:moveTo>
                    <a:pt x="622711" y="1596021"/>
                  </a:moveTo>
                  <a:cubicBezTo>
                    <a:pt x="622711" y="1601932"/>
                    <a:pt x="625665" y="1604886"/>
                    <a:pt x="631577" y="1604886"/>
                  </a:cubicBezTo>
                  <a:cubicBezTo>
                    <a:pt x="637491" y="1604886"/>
                    <a:pt x="640445" y="1601932"/>
                    <a:pt x="640445" y="1596021"/>
                  </a:cubicBezTo>
                  <a:cubicBezTo>
                    <a:pt x="640445" y="1593064"/>
                    <a:pt x="637491" y="1587152"/>
                    <a:pt x="631577" y="1587152"/>
                  </a:cubicBezTo>
                  <a:cubicBezTo>
                    <a:pt x="628623" y="1587152"/>
                    <a:pt x="622711" y="1590110"/>
                    <a:pt x="622711" y="1596021"/>
                  </a:cubicBezTo>
                  <a:close/>
                  <a:moveTo>
                    <a:pt x="604978" y="2970370"/>
                  </a:moveTo>
                  <a:cubicBezTo>
                    <a:pt x="604978" y="2999926"/>
                    <a:pt x="631577" y="3026528"/>
                    <a:pt x="661133" y="3026528"/>
                  </a:cubicBezTo>
                  <a:cubicBezTo>
                    <a:pt x="693645" y="3026528"/>
                    <a:pt x="717290" y="2999926"/>
                    <a:pt x="717290" y="2970370"/>
                  </a:cubicBezTo>
                  <a:cubicBezTo>
                    <a:pt x="717290" y="2940814"/>
                    <a:pt x="690688" y="2914216"/>
                    <a:pt x="661133" y="2914216"/>
                  </a:cubicBezTo>
                  <a:cubicBezTo>
                    <a:pt x="628623" y="2914216"/>
                    <a:pt x="604978" y="2940814"/>
                    <a:pt x="604978" y="2970370"/>
                  </a:cubicBezTo>
                  <a:close/>
                  <a:moveTo>
                    <a:pt x="593155" y="2302410"/>
                  </a:moveTo>
                  <a:cubicBezTo>
                    <a:pt x="590198" y="2326054"/>
                    <a:pt x="610889" y="2346742"/>
                    <a:pt x="637488" y="2346742"/>
                  </a:cubicBezTo>
                  <a:cubicBezTo>
                    <a:pt x="664090" y="2346742"/>
                    <a:pt x="681823" y="2326054"/>
                    <a:pt x="681823" y="2302410"/>
                  </a:cubicBezTo>
                  <a:cubicBezTo>
                    <a:pt x="681823" y="2275808"/>
                    <a:pt x="661133" y="2258074"/>
                    <a:pt x="637488" y="2258074"/>
                  </a:cubicBezTo>
                  <a:cubicBezTo>
                    <a:pt x="610889" y="2258074"/>
                    <a:pt x="593155" y="2278765"/>
                    <a:pt x="593155" y="2302410"/>
                  </a:cubicBezTo>
                  <a:close/>
                  <a:moveTo>
                    <a:pt x="587244" y="3815674"/>
                  </a:moveTo>
                  <a:cubicBezTo>
                    <a:pt x="587244" y="3848184"/>
                    <a:pt x="616800" y="3877740"/>
                    <a:pt x="649313" y="3877740"/>
                  </a:cubicBezTo>
                  <a:cubicBezTo>
                    <a:pt x="684780" y="3877740"/>
                    <a:pt x="711379" y="3848184"/>
                    <a:pt x="711379" y="3815674"/>
                  </a:cubicBezTo>
                  <a:cubicBezTo>
                    <a:pt x="711379" y="3780204"/>
                    <a:pt x="681823" y="3753604"/>
                    <a:pt x="649313" y="3753604"/>
                  </a:cubicBezTo>
                  <a:cubicBezTo>
                    <a:pt x="613846" y="3753604"/>
                    <a:pt x="587244" y="3783160"/>
                    <a:pt x="587244" y="3815674"/>
                  </a:cubicBezTo>
                  <a:close/>
                  <a:moveTo>
                    <a:pt x="566557" y="1802912"/>
                  </a:moveTo>
                  <a:cubicBezTo>
                    <a:pt x="566557" y="1809441"/>
                    <a:pt x="571850" y="1814735"/>
                    <a:pt x="578379" y="1814735"/>
                  </a:cubicBezTo>
                  <a:cubicBezTo>
                    <a:pt x="584908" y="1814735"/>
                    <a:pt x="590201" y="1809441"/>
                    <a:pt x="590201" y="1802912"/>
                  </a:cubicBezTo>
                  <a:cubicBezTo>
                    <a:pt x="590201" y="1796384"/>
                    <a:pt x="584908" y="1791090"/>
                    <a:pt x="578379" y="1791090"/>
                  </a:cubicBezTo>
                  <a:cubicBezTo>
                    <a:pt x="571850" y="1791090"/>
                    <a:pt x="566557" y="1796384"/>
                    <a:pt x="566557" y="1802912"/>
                  </a:cubicBezTo>
                  <a:close/>
                  <a:moveTo>
                    <a:pt x="554731" y="4205812"/>
                  </a:moveTo>
                  <a:cubicBezTo>
                    <a:pt x="554731" y="4208766"/>
                    <a:pt x="557685" y="4211724"/>
                    <a:pt x="560642" y="4211724"/>
                  </a:cubicBezTo>
                  <a:cubicBezTo>
                    <a:pt x="563599" y="4211724"/>
                    <a:pt x="566554" y="4208766"/>
                    <a:pt x="566554" y="4205812"/>
                  </a:cubicBezTo>
                  <a:cubicBezTo>
                    <a:pt x="566554" y="4202855"/>
                    <a:pt x="563599" y="4199901"/>
                    <a:pt x="560642" y="4199901"/>
                  </a:cubicBezTo>
                  <a:cubicBezTo>
                    <a:pt x="557685" y="4199901"/>
                    <a:pt x="554731" y="4202855"/>
                    <a:pt x="554731" y="4205812"/>
                  </a:cubicBezTo>
                  <a:close/>
                  <a:moveTo>
                    <a:pt x="554731" y="3168397"/>
                  </a:moveTo>
                  <a:cubicBezTo>
                    <a:pt x="554731" y="3203864"/>
                    <a:pt x="581333" y="3230466"/>
                    <a:pt x="616797" y="3230466"/>
                  </a:cubicBezTo>
                  <a:cubicBezTo>
                    <a:pt x="652267" y="3230466"/>
                    <a:pt x="678866" y="3200910"/>
                    <a:pt x="678866" y="3168397"/>
                  </a:cubicBezTo>
                  <a:cubicBezTo>
                    <a:pt x="678866" y="3132930"/>
                    <a:pt x="649310" y="3106331"/>
                    <a:pt x="616797" y="3106331"/>
                  </a:cubicBezTo>
                  <a:cubicBezTo>
                    <a:pt x="584287" y="3106331"/>
                    <a:pt x="554731" y="3135887"/>
                    <a:pt x="554731" y="3168397"/>
                  </a:cubicBezTo>
                  <a:close/>
                  <a:moveTo>
                    <a:pt x="542909" y="1267948"/>
                  </a:moveTo>
                  <a:cubicBezTo>
                    <a:pt x="542909" y="1270906"/>
                    <a:pt x="545866" y="1273860"/>
                    <a:pt x="548820" y="1273860"/>
                  </a:cubicBezTo>
                  <a:cubicBezTo>
                    <a:pt x="551777" y="1273860"/>
                    <a:pt x="554731" y="1270906"/>
                    <a:pt x="554731" y="1267948"/>
                  </a:cubicBezTo>
                  <a:cubicBezTo>
                    <a:pt x="554731" y="1264994"/>
                    <a:pt x="551777" y="1262037"/>
                    <a:pt x="548820" y="1262037"/>
                  </a:cubicBezTo>
                  <a:cubicBezTo>
                    <a:pt x="545866" y="1262037"/>
                    <a:pt x="542909" y="1264994"/>
                    <a:pt x="542909" y="1267948"/>
                  </a:cubicBezTo>
                  <a:close/>
                  <a:moveTo>
                    <a:pt x="537001" y="4010740"/>
                  </a:moveTo>
                  <a:cubicBezTo>
                    <a:pt x="537001" y="4048286"/>
                    <a:pt x="567435" y="4078720"/>
                    <a:pt x="604978" y="4078720"/>
                  </a:cubicBezTo>
                  <a:cubicBezTo>
                    <a:pt x="642524" y="4078720"/>
                    <a:pt x="672958" y="4048286"/>
                    <a:pt x="672958" y="4010740"/>
                  </a:cubicBezTo>
                  <a:cubicBezTo>
                    <a:pt x="672958" y="3973197"/>
                    <a:pt x="642524" y="3942763"/>
                    <a:pt x="604978" y="3942763"/>
                  </a:cubicBezTo>
                  <a:cubicBezTo>
                    <a:pt x="567435" y="3942763"/>
                    <a:pt x="537001" y="3973197"/>
                    <a:pt x="537001" y="4010740"/>
                  </a:cubicBezTo>
                  <a:close/>
                  <a:moveTo>
                    <a:pt x="537001" y="2500433"/>
                  </a:moveTo>
                  <a:cubicBezTo>
                    <a:pt x="537001" y="2529988"/>
                    <a:pt x="560645" y="2553634"/>
                    <a:pt x="590201" y="2553634"/>
                  </a:cubicBezTo>
                  <a:cubicBezTo>
                    <a:pt x="619757" y="2553634"/>
                    <a:pt x="643402" y="2529988"/>
                    <a:pt x="643402" y="2500433"/>
                  </a:cubicBezTo>
                  <a:cubicBezTo>
                    <a:pt x="643402" y="2470877"/>
                    <a:pt x="619757" y="2447232"/>
                    <a:pt x="590201" y="2447232"/>
                  </a:cubicBezTo>
                  <a:cubicBezTo>
                    <a:pt x="560645" y="2447232"/>
                    <a:pt x="537001" y="2470877"/>
                    <a:pt x="537001" y="2500433"/>
                  </a:cubicBezTo>
                  <a:close/>
                  <a:moveTo>
                    <a:pt x="507445" y="3363466"/>
                  </a:moveTo>
                  <a:cubicBezTo>
                    <a:pt x="507445" y="3398934"/>
                    <a:pt x="537001" y="3428490"/>
                    <a:pt x="572468" y="3428490"/>
                  </a:cubicBezTo>
                  <a:cubicBezTo>
                    <a:pt x="607935" y="3428490"/>
                    <a:pt x="637491" y="3398934"/>
                    <a:pt x="637491" y="3363466"/>
                  </a:cubicBezTo>
                  <a:cubicBezTo>
                    <a:pt x="637491" y="3327999"/>
                    <a:pt x="607935" y="3298443"/>
                    <a:pt x="572468" y="3298443"/>
                  </a:cubicBezTo>
                  <a:cubicBezTo>
                    <a:pt x="537001" y="3298443"/>
                    <a:pt x="507445" y="3327999"/>
                    <a:pt x="507445" y="3363466"/>
                  </a:cubicBezTo>
                  <a:close/>
                  <a:moveTo>
                    <a:pt x="504488" y="2009804"/>
                  </a:moveTo>
                  <a:cubicBezTo>
                    <a:pt x="504488" y="2024584"/>
                    <a:pt x="516310" y="2036406"/>
                    <a:pt x="531089" y="2036406"/>
                  </a:cubicBezTo>
                  <a:cubicBezTo>
                    <a:pt x="545866" y="2036406"/>
                    <a:pt x="557688" y="2024584"/>
                    <a:pt x="557688" y="2009804"/>
                  </a:cubicBezTo>
                  <a:cubicBezTo>
                    <a:pt x="557688" y="1995028"/>
                    <a:pt x="545866" y="1983205"/>
                    <a:pt x="531089" y="1983205"/>
                  </a:cubicBezTo>
                  <a:cubicBezTo>
                    <a:pt x="516310" y="1983205"/>
                    <a:pt x="504488" y="1995028"/>
                    <a:pt x="504488" y="2009804"/>
                  </a:cubicBezTo>
                  <a:close/>
                  <a:moveTo>
                    <a:pt x="489711" y="2698459"/>
                  </a:moveTo>
                  <a:cubicBezTo>
                    <a:pt x="492665" y="2730969"/>
                    <a:pt x="516313" y="2751660"/>
                    <a:pt x="542912" y="2751660"/>
                  </a:cubicBezTo>
                  <a:cubicBezTo>
                    <a:pt x="572468" y="2751660"/>
                    <a:pt x="596113" y="2728015"/>
                    <a:pt x="596113" y="2698459"/>
                  </a:cubicBezTo>
                  <a:cubicBezTo>
                    <a:pt x="596113" y="2668903"/>
                    <a:pt x="572468" y="2645258"/>
                    <a:pt x="542912" y="2645258"/>
                  </a:cubicBezTo>
                  <a:cubicBezTo>
                    <a:pt x="513356" y="2645258"/>
                    <a:pt x="489711" y="2668903"/>
                    <a:pt x="489711" y="2698459"/>
                  </a:cubicBezTo>
                  <a:close/>
                  <a:moveTo>
                    <a:pt x="483797" y="1483708"/>
                  </a:moveTo>
                  <a:cubicBezTo>
                    <a:pt x="483797" y="1489620"/>
                    <a:pt x="486754" y="1492574"/>
                    <a:pt x="492665" y="1492574"/>
                  </a:cubicBezTo>
                  <a:cubicBezTo>
                    <a:pt x="495619" y="1492574"/>
                    <a:pt x="501530" y="1489620"/>
                    <a:pt x="501530" y="1483708"/>
                  </a:cubicBezTo>
                  <a:cubicBezTo>
                    <a:pt x="501530" y="1480751"/>
                    <a:pt x="498576" y="1474840"/>
                    <a:pt x="492665" y="1474840"/>
                  </a:cubicBezTo>
                  <a:cubicBezTo>
                    <a:pt x="486754" y="1474840"/>
                    <a:pt x="483797" y="1477797"/>
                    <a:pt x="483797" y="1483708"/>
                  </a:cubicBezTo>
                  <a:close/>
                  <a:moveTo>
                    <a:pt x="466063" y="3561492"/>
                  </a:moveTo>
                  <a:cubicBezTo>
                    <a:pt x="466063" y="3594006"/>
                    <a:pt x="492665" y="3620604"/>
                    <a:pt x="525175" y="3620604"/>
                  </a:cubicBezTo>
                  <a:cubicBezTo>
                    <a:pt x="557685" y="3620604"/>
                    <a:pt x="584287" y="3594006"/>
                    <a:pt x="584287" y="3561492"/>
                  </a:cubicBezTo>
                  <a:cubicBezTo>
                    <a:pt x="584287" y="3528980"/>
                    <a:pt x="557685" y="3502381"/>
                    <a:pt x="525175" y="3502381"/>
                  </a:cubicBezTo>
                  <a:cubicBezTo>
                    <a:pt x="492665" y="3502381"/>
                    <a:pt x="466063" y="3528980"/>
                    <a:pt x="466063" y="3561492"/>
                  </a:cubicBezTo>
                  <a:close/>
                  <a:moveTo>
                    <a:pt x="442422" y="2899440"/>
                  </a:moveTo>
                  <a:cubicBezTo>
                    <a:pt x="442422" y="2931950"/>
                    <a:pt x="466066" y="2955594"/>
                    <a:pt x="498576" y="2955594"/>
                  </a:cubicBezTo>
                  <a:cubicBezTo>
                    <a:pt x="531089" y="2955594"/>
                    <a:pt x="554734" y="2928996"/>
                    <a:pt x="554734" y="2899440"/>
                  </a:cubicBezTo>
                  <a:cubicBezTo>
                    <a:pt x="554734" y="2866926"/>
                    <a:pt x="528132" y="2843282"/>
                    <a:pt x="498576" y="2843282"/>
                  </a:cubicBezTo>
                  <a:cubicBezTo>
                    <a:pt x="466066" y="2843282"/>
                    <a:pt x="442422" y="2869884"/>
                    <a:pt x="442422" y="2899440"/>
                  </a:cubicBezTo>
                  <a:close/>
                  <a:moveTo>
                    <a:pt x="442422" y="2216696"/>
                  </a:moveTo>
                  <a:cubicBezTo>
                    <a:pt x="439464" y="2237383"/>
                    <a:pt x="457198" y="2255117"/>
                    <a:pt x="480843" y="2255117"/>
                  </a:cubicBezTo>
                  <a:cubicBezTo>
                    <a:pt x="501534" y="2255117"/>
                    <a:pt x="519267" y="2237383"/>
                    <a:pt x="519267" y="2216696"/>
                  </a:cubicBezTo>
                  <a:cubicBezTo>
                    <a:pt x="519267" y="2196005"/>
                    <a:pt x="501534" y="2178272"/>
                    <a:pt x="480843" y="2178272"/>
                  </a:cubicBezTo>
                  <a:cubicBezTo>
                    <a:pt x="460155" y="2178272"/>
                    <a:pt x="442422" y="2196005"/>
                    <a:pt x="442422" y="2216696"/>
                  </a:cubicBezTo>
                  <a:close/>
                  <a:moveTo>
                    <a:pt x="421731" y="1696511"/>
                  </a:moveTo>
                  <a:cubicBezTo>
                    <a:pt x="421731" y="1705376"/>
                    <a:pt x="427642" y="1711288"/>
                    <a:pt x="436510" y="1711288"/>
                  </a:cubicBezTo>
                  <a:cubicBezTo>
                    <a:pt x="445376" y="1711288"/>
                    <a:pt x="451287" y="1705376"/>
                    <a:pt x="451287" y="1696511"/>
                  </a:cubicBezTo>
                  <a:cubicBezTo>
                    <a:pt x="451287" y="1687643"/>
                    <a:pt x="445376" y="1681732"/>
                    <a:pt x="436510" y="1681732"/>
                  </a:cubicBezTo>
                  <a:cubicBezTo>
                    <a:pt x="427642" y="1681732"/>
                    <a:pt x="421731" y="1687643"/>
                    <a:pt x="421731" y="1696511"/>
                  </a:cubicBezTo>
                  <a:close/>
                  <a:moveTo>
                    <a:pt x="418777" y="3756562"/>
                  </a:moveTo>
                  <a:cubicBezTo>
                    <a:pt x="418777" y="3789072"/>
                    <a:pt x="445379" y="3818628"/>
                    <a:pt x="480843" y="3818628"/>
                  </a:cubicBezTo>
                  <a:cubicBezTo>
                    <a:pt x="516313" y="3818628"/>
                    <a:pt x="542912" y="3789072"/>
                    <a:pt x="542912" y="3756562"/>
                  </a:cubicBezTo>
                  <a:cubicBezTo>
                    <a:pt x="542912" y="3724049"/>
                    <a:pt x="513356" y="3694493"/>
                    <a:pt x="480843" y="3694493"/>
                  </a:cubicBezTo>
                  <a:cubicBezTo>
                    <a:pt x="448333" y="3694493"/>
                    <a:pt x="418777" y="3724049"/>
                    <a:pt x="418777" y="3756562"/>
                  </a:cubicBezTo>
                  <a:close/>
                  <a:moveTo>
                    <a:pt x="418777" y="1137905"/>
                  </a:moveTo>
                  <a:cubicBezTo>
                    <a:pt x="418777" y="1140860"/>
                    <a:pt x="424688" y="1143816"/>
                    <a:pt x="424688" y="1143816"/>
                  </a:cubicBezTo>
                  <a:cubicBezTo>
                    <a:pt x="427645" y="1143816"/>
                    <a:pt x="430599" y="1140860"/>
                    <a:pt x="430599" y="1137905"/>
                  </a:cubicBezTo>
                  <a:cubicBezTo>
                    <a:pt x="430599" y="1134948"/>
                    <a:pt x="427645" y="1131994"/>
                    <a:pt x="424688" y="1131994"/>
                  </a:cubicBezTo>
                  <a:cubicBezTo>
                    <a:pt x="421731" y="1131994"/>
                    <a:pt x="418777" y="1134948"/>
                    <a:pt x="418777" y="1137905"/>
                  </a:cubicBezTo>
                  <a:close/>
                  <a:moveTo>
                    <a:pt x="386264" y="3097463"/>
                  </a:moveTo>
                  <a:cubicBezTo>
                    <a:pt x="386264" y="3132930"/>
                    <a:pt x="415820" y="3162486"/>
                    <a:pt x="451287" y="3162486"/>
                  </a:cubicBezTo>
                  <a:cubicBezTo>
                    <a:pt x="486754" y="3162486"/>
                    <a:pt x="516310" y="3132930"/>
                    <a:pt x="516310" y="3097463"/>
                  </a:cubicBezTo>
                  <a:cubicBezTo>
                    <a:pt x="516310" y="3061996"/>
                    <a:pt x="486754" y="3032440"/>
                    <a:pt x="451287" y="3032440"/>
                  </a:cubicBezTo>
                  <a:cubicBezTo>
                    <a:pt x="415820" y="3032440"/>
                    <a:pt x="386264" y="3061996"/>
                    <a:pt x="386264" y="3097463"/>
                  </a:cubicBezTo>
                  <a:close/>
                  <a:moveTo>
                    <a:pt x="386264" y="2417676"/>
                  </a:moveTo>
                  <a:cubicBezTo>
                    <a:pt x="386264" y="2444278"/>
                    <a:pt x="406951" y="2464966"/>
                    <a:pt x="433553" y="2464966"/>
                  </a:cubicBezTo>
                  <a:cubicBezTo>
                    <a:pt x="460155" y="2464966"/>
                    <a:pt x="480843" y="2444278"/>
                    <a:pt x="480843" y="2417676"/>
                  </a:cubicBezTo>
                  <a:cubicBezTo>
                    <a:pt x="480843" y="2391074"/>
                    <a:pt x="460155" y="2370386"/>
                    <a:pt x="433553" y="2370386"/>
                  </a:cubicBezTo>
                  <a:cubicBezTo>
                    <a:pt x="406951" y="2370386"/>
                    <a:pt x="386264" y="2391074"/>
                    <a:pt x="386264" y="2417676"/>
                  </a:cubicBezTo>
                  <a:close/>
                  <a:moveTo>
                    <a:pt x="383310" y="3951628"/>
                  </a:moveTo>
                  <a:cubicBezTo>
                    <a:pt x="383310" y="3981184"/>
                    <a:pt x="406955" y="4004828"/>
                    <a:pt x="436510" y="4004828"/>
                  </a:cubicBezTo>
                  <a:cubicBezTo>
                    <a:pt x="466066" y="4004828"/>
                    <a:pt x="489711" y="3981184"/>
                    <a:pt x="489711" y="3951628"/>
                  </a:cubicBezTo>
                  <a:cubicBezTo>
                    <a:pt x="489711" y="3922072"/>
                    <a:pt x="466066" y="3898428"/>
                    <a:pt x="436510" y="3898428"/>
                  </a:cubicBezTo>
                  <a:cubicBezTo>
                    <a:pt x="406955" y="3898428"/>
                    <a:pt x="383310" y="3922072"/>
                    <a:pt x="383310" y="3951628"/>
                  </a:cubicBezTo>
                  <a:close/>
                  <a:moveTo>
                    <a:pt x="350797" y="1906360"/>
                  </a:moveTo>
                  <a:cubicBezTo>
                    <a:pt x="350797" y="1927048"/>
                    <a:pt x="365576" y="1938870"/>
                    <a:pt x="383310" y="1938870"/>
                  </a:cubicBezTo>
                  <a:cubicBezTo>
                    <a:pt x="401043" y="1938870"/>
                    <a:pt x="415820" y="1924094"/>
                    <a:pt x="415820" y="1906360"/>
                  </a:cubicBezTo>
                  <a:cubicBezTo>
                    <a:pt x="415820" y="1888626"/>
                    <a:pt x="401043" y="1873847"/>
                    <a:pt x="383310" y="1873847"/>
                  </a:cubicBezTo>
                  <a:cubicBezTo>
                    <a:pt x="365576" y="1873847"/>
                    <a:pt x="350797" y="1888626"/>
                    <a:pt x="350797" y="1906360"/>
                  </a:cubicBezTo>
                  <a:close/>
                  <a:moveTo>
                    <a:pt x="350797" y="1362530"/>
                  </a:moveTo>
                  <a:cubicBezTo>
                    <a:pt x="353754" y="1368442"/>
                    <a:pt x="356708" y="1371396"/>
                    <a:pt x="359665" y="1371396"/>
                  </a:cubicBezTo>
                  <a:cubicBezTo>
                    <a:pt x="365576" y="1371396"/>
                    <a:pt x="368530" y="1368442"/>
                    <a:pt x="368530" y="1362530"/>
                  </a:cubicBezTo>
                  <a:cubicBezTo>
                    <a:pt x="368530" y="1356616"/>
                    <a:pt x="365576" y="1353662"/>
                    <a:pt x="359665" y="1353662"/>
                  </a:cubicBezTo>
                  <a:cubicBezTo>
                    <a:pt x="353754" y="1353662"/>
                    <a:pt x="350797" y="1356616"/>
                    <a:pt x="350797" y="1362530"/>
                  </a:cubicBezTo>
                  <a:close/>
                  <a:moveTo>
                    <a:pt x="341931" y="3295489"/>
                  </a:moveTo>
                  <a:cubicBezTo>
                    <a:pt x="338974" y="3333914"/>
                    <a:pt x="368530" y="3360512"/>
                    <a:pt x="406955" y="3360512"/>
                  </a:cubicBezTo>
                  <a:cubicBezTo>
                    <a:pt x="442422" y="3360512"/>
                    <a:pt x="471978" y="3330956"/>
                    <a:pt x="471978" y="3295489"/>
                  </a:cubicBezTo>
                  <a:cubicBezTo>
                    <a:pt x="471978" y="3260022"/>
                    <a:pt x="442422" y="3230466"/>
                    <a:pt x="406955" y="3230466"/>
                  </a:cubicBezTo>
                  <a:cubicBezTo>
                    <a:pt x="371487" y="3230466"/>
                    <a:pt x="341931" y="3260022"/>
                    <a:pt x="341931" y="3295489"/>
                  </a:cubicBezTo>
                  <a:close/>
                  <a:moveTo>
                    <a:pt x="330109" y="2618656"/>
                  </a:moveTo>
                  <a:cubicBezTo>
                    <a:pt x="333063" y="2648212"/>
                    <a:pt x="356711" y="2671857"/>
                    <a:pt x="383310" y="2671857"/>
                  </a:cubicBezTo>
                  <a:cubicBezTo>
                    <a:pt x="412866" y="2671857"/>
                    <a:pt x="433556" y="2648212"/>
                    <a:pt x="433556" y="2618656"/>
                  </a:cubicBezTo>
                  <a:cubicBezTo>
                    <a:pt x="433556" y="2589100"/>
                    <a:pt x="409909" y="2565456"/>
                    <a:pt x="383310" y="2565456"/>
                  </a:cubicBezTo>
                  <a:cubicBezTo>
                    <a:pt x="353754" y="2565456"/>
                    <a:pt x="330109" y="2589100"/>
                    <a:pt x="330109" y="2618656"/>
                  </a:cubicBezTo>
                  <a:close/>
                  <a:moveTo>
                    <a:pt x="291685" y="3493512"/>
                  </a:moveTo>
                  <a:cubicBezTo>
                    <a:pt x="291685" y="3531058"/>
                    <a:pt x="322119" y="3561492"/>
                    <a:pt x="359665" y="3561492"/>
                  </a:cubicBezTo>
                  <a:cubicBezTo>
                    <a:pt x="397208" y="3561492"/>
                    <a:pt x="427642" y="3531058"/>
                    <a:pt x="427642" y="3493512"/>
                  </a:cubicBezTo>
                  <a:cubicBezTo>
                    <a:pt x="427642" y="3455970"/>
                    <a:pt x="397208" y="3425536"/>
                    <a:pt x="359665" y="3425536"/>
                  </a:cubicBezTo>
                  <a:cubicBezTo>
                    <a:pt x="322119" y="3425536"/>
                    <a:pt x="291685" y="3455970"/>
                    <a:pt x="291685" y="3493512"/>
                  </a:cubicBezTo>
                  <a:close/>
                  <a:moveTo>
                    <a:pt x="288728" y="2116206"/>
                  </a:moveTo>
                  <a:cubicBezTo>
                    <a:pt x="288728" y="2139850"/>
                    <a:pt x="306461" y="2157584"/>
                    <a:pt x="330106" y="2157584"/>
                  </a:cubicBezTo>
                  <a:cubicBezTo>
                    <a:pt x="353751" y="2157584"/>
                    <a:pt x="371484" y="2139850"/>
                    <a:pt x="371484" y="2116206"/>
                  </a:cubicBezTo>
                  <a:cubicBezTo>
                    <a:pt x="371484" y="2092561"/>
                    <a:pt x="353751" y="2074827"/>
                    <a:pt x="330106" y="2074827"/>
                  </a:cubicBezTo>
                  <a:cubicBezTo>
                    <a:pt x="306461" y="2074827"/>
                    <a:pt x="288728" y="2092561"/>
                    <a:pt x="288728" y="2116206"/>
                  </a:cubicBezTo>
                  <a:close/>
                  <a:moveTo>
                    <a:pt x="288728" y="1581244"/>
                  </a:moveTo>
                  <a:cubicBezTo>
                    <a:pt x="288728" y="1587156"/>
                    <a:pt x="294639" y="1593067"/>
                    <a:pt x="300550" y="1593067"/>
                  </a:cubicBezTo>
                  <a:cubicBezTo>
                    <a:pt x="306461" y="1593067"/>
                    <a:pt x="312372" y="1587156"/>
                    <a:pt x="312372" y="1581244"/>
                  </a:cubicBezTo>
                  <a:cubicBezTo>
                    <a:pt x="312372" y="1575333"/>
                    <a:pt x="306461" y="1569422"/>
                    <a:pt x="300550" y="1569422"/>
                  </a:cubicBezTo>
                  <a:cubicBezTo>
                    <a:pt x="294639" y="1569422"/>
                    <a:pt x="288728" y="1575333"/>
                    <a:pt x="288728" y="1581244"/>
                  </a:cubicBezTo>
                  <a:close/>
                  <a:moveTo>
                    <a:pt x="279862" y="2819637"/>
                  </a:moveTo>
                  <a:cubicBezTo>
                    <a:pt x="282816" y="2852150"/>
                    <a:pt x="306461" y="2875795"/>
                    <a:pt x="336017" y="2875795"/>
                  </a:cubicBezTo>
                  <a:cubicBezTo>
                    <a:pt x="365573" y="2875795"/>
                    <a:pt x="392175" y="2852150"/>
                    <a:pt x="392175" y="2819637"/>
                  </a:cubicBezTo>
                  <a:cubicBezTo>
                    <a:pt x="392175" y="2790081"/>
                    <a:pt x="368530" y="2763482"/>
                    <a:pt x="336017" y="2763482"/>
                  </a:cubicBezTo>
                  <a:cubicBezTo>
                    <a:pt x="306461" y="2763482"/>
                    <a:pt x="279862" y="2787127"/>
                    <a:pt x="279862" y="2819637"/>
                  </a:cubicBezTo>
                  <a:close/>
                  <a:moveTo>
                    <a:pt x="247349" y="3691536"/>
                  </a:moveTo>
                  <a:cubicBezTo>
                    <a:pt x="247349" y="3729960"/>
                    <a:pt x="276905" y="3759516"/>
                    <a:pt x="315330" y="3759516"/>
                  </a:cubicBezTo>
                  <a:cubicBezTo>
                    <a:pt x="353751" y="3759516"/>
                    <a:pt x="383307" y="3729960"/>
                    <a:pt x="383307" y="3691536"/>
                  </a:cubicBezTo>
                  <a:cubicBezTo>
                    <a:pt x="383307" y="3653114"/>
                    <a:pt x="353751" y="3623558"/>
                    <a:pt x="315330" y="3623558"/>
                  </a:cubicBezTo>
                  <a:cubicBezTo>
                    <a:pt x="276905" y="3623558"/>
                    <a:pt x="247349" y="3653114"/>
                    <a:pt x="247349" y="3691536"/>
                  </a:cubicBezTo>
                  <a:close/>
                  <a:moveTo>
                    <a:pt x="244395" y="3886605"/>
                  </a:moveTo>
                  <a:cubicBezTo>
                    <a:pt x="244395" y="3901384"/>
                    <a:pt x="256218" y="3913207"/>
                    <a:pt x="270997" y="3913207"/>
                  </a:cubicBezTo>
                  <a:cubicBezTo>
                    <a:pt x="285774" y="3913207"/>
                    <a:pt x="297596" y="3901384"/>
                    <a:pt x="297596" y="3886605"/>
                  </a:cubicBezTo>
                  <a:cubicBezTo>
                    <a:pt x="297596" y="3871828"/>
                    <a:pt x="285774" y="3860006"/>
                    <a:pt x="270997" y="3860006"/>
                  </a:cubicBezTo>
                  <a:cubicBezTo>
                    <a:pt x="256218" y="3860006"/>
                    <a:pt x="244395" y="3871828"/>
                    <a:pt x="244395" y="3886605"/>
                  </a:cubicBezTo>
                  <a:close/>
                  <a:moveTo>
                    <a:pt x="235530" y="1229527"/>
                  </a:moveTo>
                  <a:cubicBezTo>
                    <a:pt x="235530" y="1232481"/>
                    <a:pt x="238484" y="1235438"/>
                    <a:pt x="241441" y="1235438"/>
                  </a:cubicBezTo>
                  <a:cubicBezTo>
                    <a:pt x="244395" y="1235438"/>
                    <a:pt x="247352" y="1232481"/>
                    <a:pt x="247352" y="1229527"/>
                  </a:cubicBezTo>
                  <a:cubicBezTo>
                    <a:pt x="247352" y="1226570"/>
                    <a:pt x="244395" y="1223616"/>
                    <a:pt x="241441" y="1223616"/>
                  </a:cubicBezTo>
                  <a:cubicBezTo>
                    <a:pt x="238484" y="1223616"/>
                    <a:pt x="235530" y="1226570"/>
                    <a:pt x="235530" y="1229527"/>
                  </a:cubicBezTo>
                  <a:close/>
                  <a:moveTo>
                    <a:pt x="229616" y="3020618"/>
                  </a:moveTo>
                  <a:cubicBezTo>
                    <a:pt x="229616" y="3053130"/>
                    <a:pt x="256218" y="3082686"/>
                    <a:pt x="291682" y="3082686"/>
                  </a:cubicBezTo>
                  <a:cubicBezTo>
                    <a:pt x="324195" y="3082686"/>
                    <a:pt x="353751" y="3056084"/>
                    <a:pt x="353751" y="3020618"/>
                  </a:cubicBezTo>
                  <a:cubicBezTo>
                    <a:pt x="353751" y="2988108"/>
                    <a:pt x="327152" y="2958552"/>
                    <a:pt x="291682" y="2958552"/>
                  </a:cubicBezTo>
                  <a:cubicBezTo>
                    <a:pt x="259172" y="2958552"/>
                    <a:pt x="229616" y="2985150"/>
                    <a:pt x="229616" y="3020618"/>
                  </a:cubicBezTo>
                  <a:close/>
                  <a:moveTo>
                    <a:pt x="229616" y="2323097"/>
                  </a:moveTo>
                  <a:cubicBezTo>
                    <a:pt x="229616" y="2349696"/>
                    <a:pt x="253260" y="2373341"/>
                    <a:pt x="279862" y="2373341"/>
                  </a:cubicBezTo>
                  <a:cubicBezTo>
                    <a:pt x="306461" y="2373341"/>
                    <a:pt x="330106" y="2352653"/>
                    <a:pt x="330106" y="2323097"/>
                  </a:cubicBezTo>
                  <a:cubicBezTo>
                    <a:pt x="330106" y="2296495"/>
                    <a:pt x="309418" y="2272850"/>
                    <a:pt x="279862" y="2272850"/>
                  </a:cubicBezTo>
                  <a:cubicBezTo>
                    <a:pt x="253260" y="2272850"/>
                    <a:pt x="229616" y="2293541"/>
                    <a:pt x="229616" y="2323097"/>
                  </a:cubicBezTo>
                  <a:close/>
                  <a:moveTo>
                    <a:pt x="223708" y="1797001"/>
                  </a:moveTo>
                  <a:cubicBezTo>
                    <a:pt x="226662" y="1805870"/>
                    <a:pt x="232573" y="1814735"/>
                    <a:pt x="241441" y="1814735"/>
                  </a:cubicBezTo>
                  <a:cubicBezTo>
                    <a:pt x="250310" y="1814735"/>
                    <a:pt x="259175" y="1805870"/>
                    <a:pt x="259175" y="1797001"/>
                  </a:cubicBezTo>
                  <a:cubicBezTo>
                    <a:pt x="259175" y="1788136"/>
                    <a:pt x="250310" y="1779268"/>
                    <a:pt x="241441" y="1779268"/>
                  </a:cubicBezTo>
                  <a:cubicBezTo>
                    <a:pt x="232573" y="1779268"/>
                    <a:pt x="223708" y="1788136"/>
                    <a:pt x="223708" y="1797001"/>
                  </a:cubicBezTo>
                  <a:close/>
                  <a:moveTo>
                    <a:pt x="208928" y="848257"/>
                  </a:moveTo>
                  <a:cubicBezTo>
                    <a:pt x="211882" y="851214"/>
                    <a:pt x="214839" y="854168"/>
                    <a:pt x="214839" y="854168"/>
                  </a:cubicBezTo>
                  <a:cubicBezTo>
                    <a:pt x="217793" y="854168"/>
                    <a:pt x="220751" y="851214"/>
                    <a:pt x="220751" y="848257"/>
                  </a:cubicBezTo>
                  <a:cubicBezTo>
                    <a:pt x="220751" y="845300"/>
                    <a:pt x="217793" y="842346"/>
                    <a:pt x="214839" y="842346"/>
                  </a:cubicBezTo>
                  <a:cubicBezTo>
                    <a:pt x="211882" y="842346"/>
                    <a:pt x="208928" y="845300"/>
                    <a:pt x="208928" y="848257"/>
                  </a:cubicBezTo>
                  <a:close/>
                  <a:moveTo>
                    <a:pt x="179372" y="3218640"/>
                  </a:moveTo>
                  <a:cubicBezTo>
                    <a:pt x="179372" y="3254108"/>
                    <a:pt x="208928" y="3283664"/>
                    <a:pt x="244395" y="3283664"/>
                  </a:cubicBezTo>
                  <a:cubicBezTo>
                    <a:pt x="279862" y="3283664"/>
                    <a:pt x="309418" y="3254108"/>
                    <a:pt x="309418" y="3218640"/>
                  </a:cubicBezTo>
                  <a:cubicBezTo>
                    <a:pt x="309418" y="3183174"/>
                    <a:pt x="279862" y="3153618"/>
                    <a:pt x="244395" y="3153618"/>
                  </a:cubicBezTo>
                  <a:cubicBezTo>
                    <a:pt x="208928" y="3153618"/>
                    <a:pt x="179372" y="3183174"/>
                    <a:pt x="179372" y="3218640"/>
                  </a:cubicBezTo>
                  <a:close/>
                  <a:moveTo>
                    <a:pt x="173461" y="2527032"/>
                  </a:moveTo>
                  <a:cubicBezTo>
                    <a:pt x="173461" y="2559544"/>
                    <a:pt x="200063" y="2583190"/>
                    <a:pt x="229619" y="2583190"/>
                  </a:cubicBezTo>
                  <a:cubicBezTo>
                    <a:pt x="259175" y="2583190"/>
                    <a:pt x="285774" y="2559544"/>
                    <a:pt x="285774" y="2527032"/>
                  </a:cubicBezTo>
                  <a:cubicBezTo>
                    <a:pt x="285774" y="2497476"/>
                    <a:pt x="262129" y="2470877"/>
                    <a:pt x="229619" y="2470877"/>
                  </a:cubicBezTo>
                  <a:cubicBezTo>
                    <a:pt x="200063" y="2470877"/>
                    <a:pt x="173461" y="2494522"/>
                    <a:pt x="173461" y="2527032"/>
                  </a:cubicBezTo>
                  <a:close/>
                  <a:moveTo>
                    <a:pt x="161639" y="1454152"/>
                  </a:moveTo>
                  <a:cubicBezTo>
                    <a:pt x="164593" y="1460064"/>
                    <a:pt x="167550" y="1465975"/>
                    <a:pt x="173461" y="1465975"/>
                  </a:cubicBezTo>
                  <a:cubicBezTo>
                    <a:pt x="179372" y="1465975"/>
                    <a:pt x="185283" y="1460064"/>
                    <a:pt x="185283" y="1454152"/>
                  </a:cubicBezTo>
                  <a:cubicBezTo>
                    <a:pt x="185283" y="1448241"/>
                    <a:pt x="179372" y="1442330"/>
                    <a:pt x="173461" y="1442330"/>
                  </a:cubicBezTo>
                  <a:cubicBezTo>
                    <a:pt x="167550" y="1442330"/>
                    <a:pt x="161639" y="1448241"/>
                    <a:pt x="161639" y="1454152"/>
                  </a:cubicBezTo>
                  <a:close/>
                  <a:moveTo>
                    <a:pt x="152770" y="2009804"/>
                  </a:moveTo>
                  <a:cubicBezTo>
                    <a:pt x="149816" y="2030492"/>
                    <a:pt x="167550" y="2045271"/>
                    <a:pt x="188237" y="2045271"/>
                  </a:cubicBezTo>
                  <a:cubicBezTo>
                    <a:pt x="208928" y="2045271"/>
                    <a:pt x="223705" y="2027538"/>
                    <a:pt x="223705" y="2009804"/>
                  </a:cubicBezTo>
                  <a:cubicBezTo>
                    <a:pt x="223705" y="1989116"/>
                    <a:pt x="205971" y="1974337"/>
                    <a:pt x="188237" y="1974337"/>
                  </a:cubicBezTo>
                  <a:cubicBezTo>
                    <a:pt x="167550" y="1974337"/>
                    <a:pt x="152770" y="1992070"/>
                    <a:pt x="152770" y="2009804"/>
                  </a:cubicBezTo>
                  <a:close/>
                  <a:moveTo>
                    <a:pt x="132083" y="3419624"/>
                  </a:moveTo>
                  <a:cubicBezTo>
                    <a:pt x="132083" y="3455092"/>
                    <a:pt x="161639" y="3484647"/>
                    <a:pt x="197106" y="3484647"/>
                  </a:cubicBezTo>
                  <a:cubicBezTo>
                    <a:pt x="232573" y="3484647"/>
                    <a:pt x="262129" y="3455092"/>
                    <a:pt x="262129" y="3419624"/>
                  </a:cubicBezTo>
                  <a:cubicBezTo>
                    <a:pt x="262129" y="3384157"/>
                    <a:pt x="232573" y="3354601"/>
                    <a:pt x="197106" y="3354601"/>
                  </a:cubicBezTo>
                  <a:cubicBezTo>
                    <a:pt x="161639" y="3354601"/>
                    <a:pt x="132083" y="3384157"/>
                    <a:pt x="132083" y="3419624"/>
                  </a:cubicBezTo>
                  <a:close/>
                  <a:moveTo>
                    <a:pt x="126171" y="1087659"/>
                  </a:moveTo>
                  <a:cubicBezTo>
                    <a:pt x="126171" y="1090616"/>
                    <a:pt x="129126" y="1093570"/>
                    <a:pt x="132083" y="1093570"/>
                  </a:cubicBezTo>
                  <a:cubicBezTo>
                    <a:pt x="135040" y="1093570"/>
                    <a:pt x="137994" y="1090616"/>
                    <a:pt x="137994" y="1087659"/>
                  </a:cubicBezTo>
                  <a:cubicBezTo>
                    <a:pt x="137994" y="1084702"/>
                    <a:pt x="135040" y="1081748"/>
                    <a:pt x="132083" y="1081748"/>
                  </a:cubicBezTo>
                  <a:cubicBezTo>
                    <a:pt x="129126" y="1081748"/>
                    <a:pt x="126171" y="1084702"/>
                    <a:pt x="126171" y="1087659"/>
                  </a:cubicBezTo>
                  <a:close/>
                  <a:moveTo>
                    <a:pt x="117306" y="2730969"/>
                  </a:moveTo>
                  <a:cubicBezTo>
                    <a:pt x="117306" y="2766436"/>
                    <a:pt x="146862" y="2795992"/>
                    <a:pt x="182329" y="2795992"/>
                  </a:cubicBezTo>
                  <a:cubicBezTo>
                    <a:pt x="217796" y="2795992"/>
                    <a:pt x="247352" y="2766436"/>
                    <a:pt x="247352" y="2730969"/>
                  </a:cubicBezTo>
                  <a:cubicBezTo>
                    <a:pt x="247352" y="2695502"/>
                    <a:pt x="217796" y="2665946"/>
                    <a:pt x="182329" y="2665946"/>
                  </a:cubicBezTo>
                  <a:cubicBezTo>
                    <a:pt x="146862" y="2665946"/>
                    <a:pt x="117306" y="2695502"/>
                    <a:pt x="117306" y="2730969"/>
                  </a:cubicBezTo>
                  <a:close/>
                  <a:moveTo>
                    <a:pt x="93662" y="1675824"/>
                  </a:moveTo>
                  <a:cubicBezTo>
                    <a:pt x="93662" y="1684689"/>
                    <a:pt x="102530" y="1693557"/>
                    <a:pt x="111395" y="1693557"/>
                  </a:cubicBezTo>
                  <a:cubicBezTo>
                    <a:pt x="120263" y="1693557"/>
                    <a:pt x="129129" y="1684689"/>
                    <a:pt x="129129" y="1675824"/>
                  </a:cubicBezTo>
                  <a:cubicBezTo>
                    <a:pt x="129129" y="1666955"/>
                    <a:pt x="120263" y="1658090"/>
                    <a:pt x="111395" y="1658090"/>
                  </a:cubicBezTo>
                  <a:cubicBezTo>
                    <a:pt x="102530" y="1658090"/>
                    <a:pt x="93662" y="1666955"/>
                    <a:pt x="93662" y="1675824"/>
                  </a:cubicBezTo>
                  <a:close/>
                  <a:moveTo>
                    <a:pt x="90704" y="2219653"/>
                  </a:moveTo>
                  <a:cubicBezTo>
                    <a:pt x="90704" y="2244136"/>
                    <a:pt x="110554" y="2263985"/>
                    <a:pt x="135040" y="2263985"/>
                  </a:cubicBezTo>
                  <a:cubicBezTo>
                    <a:pt x="159522" y="2263985"/>
                    <a:pt x="179372" y="2244136"/>
                    <a:pt x="179372" y="2219653"/>
                  </a:cubicBezTo>
                  <a:cubicBezTo>
                    <a:pt x="179372" y="2195167"/>
                    <a:pt x="159522" y="2175318"/>
                    <a:pt x="135040" y="2175318"/>
                  </a:cubicBezTo>
                  <a:cubicBezTo>
                    <a:pt x="110554" y="2175318"/>
                    <a:pt x="90704" y="2195167"/>
                    <a:pt x="90704" y="2219653"/>
                  </a:cubicBezTo>
                  <a:close/>
                  <a:moveTo>
                    <a:pt x="87750" y="3617648"/>
                  </a:moveTo>
                  <a:cubicBezTo>
                    <a:pt x="87750" y="3653114"/>
                    <a:pt x="117306" y="3682670"/>
                    <a:pt x="152773" y="3682670"/>
                  </a:cubicBezTo>
                  <a:cubicBezTo>
                    <a:pt x="188241" y="3682670"/>
                    <a:pt x="217796" y="3653114"/>
                    <a:pt x="217796" y="3617648"/>
                  </a:cubicBezTo>
                  <a:cubicBezTo>
                    <a:pt x="217796" y="3582180"/>
                    <a:pt x="188241" y="3552624"/>
                    <a:pt x="152773" y="3552624"/>
                  </a:cubicBezTo>
                  <a:cubicBezTo>
                    <a:pt x="117306" y="3552624"/>
                    <a:pt x="87750" y="3582180"/>
                    <a:pt x="87750" y="3617648"/>
                  </a:cubicBezTo>
                  <a:close/>
                  <a:moveTo>
                    <a:pt x="67060" y="2934906"/>
                  </a:moveTo>
                  <a:cubicBezTo>
                    <a:pt x="70014" y="2970374"/>
                    <a:pt x="96616" y="2999930"/>
                    <a:pt x="132083" y="2999930"/>
                  </a:cubicBezTo>
                  <a:cubicBezTo>
                    <a:pt x="167550" y="2999930"/>
                    <a:pt x="197106" y="2970374"/>
                    <a:pt x="197106" y="2934906"/>
                  </a:cubicBezTo>
                  <a:cubicBezTo>
                    <a:pt x="197106" y="2899440"/>
                    <a:pt x="167550" y="2869884"/>
                    <a:pt x="132083" y="2869884"/>
                  </a:cubicBezTo>
                  <a:cubicBezTo>
                    <a:pt x="96616" y="2869884"/>
                    <a:pt x="67060" y="2899440"/>
                    <a:pt x="67060" y="2934906"/>
                  </a:cubicBezTo>
                  <a:close/>
                  <a:moveTo>
                    <a:pt x="58194" y="529050"/>
                  </a:moveTo>
                  <a:cubicBezTo>
                    <a:pt x="58194" y="529050"/>
                    <a:pt x="58194" y="532007"/>
                    <a:pt x="61148" y="532007"/>
                  </a:cubicBezTo>
                  <a:cubicBezTo>
                    <a:pt x="64106" y="532007"/>
                    <a:pt x="64106" y="529050"/>
                    <a:pt x="64106" y="529050"/>
                  </a:cubicBezTo>
                  <a:cubicBezTo>
                    <a:pt x="64106" y="526096"/>
                    <a:pt x="61148" y="526096"/>
                    <a:pt x="61148" y="526096"/>
                  </a:cubicBezTo>
                  <a:cubicBezTo>
                    <a:pt x="58194" y="526096"/>
                    <a:pt x="58194" y="529050"/>
                    <a:pt x="58194" y="529050"/>
                  </a:cubicBezTo>
                  <a:close/>
                  <a:moveTo>
                    <a:pt x="55237" y="4013697"/>
                  </a:moveTo>
                  <a:cubicBezTo>
                    <a:pt x="55237" y="4016651"/>
                    <a:pt x="58194" y="4019608"/>
                    <a:pt x="61148" y="4019608"/>
                  </a:cubicBezTo>
                  <a:cubicBezTo>
                    <a:pt x="64106" y="4019608"/>
                    <a:pt x="67060" y="4016651"/>
                    <a:pt x="67060" y="4013697"/>
                  </a:cubicBezTo>
                  <a:cubicBezTo>
                    <a:pt x="67060" y="4010740"/>
                    <a:pt x="64106" y="4007786"/>
                    <a:pt x="61148" y="4007786"/>
                  </a:cubicBezTo>
                  <a:cubicBezTo>
                    <a:pt x="58194" y="4007786"/>
                    <a:pt x="55237" y="4010740"/>
                    <a:pt x="55237" y="4013697"/>
                  </a:cubicBezTo>
                  <a:close/>
                  <a:moveTo>
                    <a:pt x="51913" y="1325216"/>
                  </a:moveTo>
                  <a:cubicBezTo>
                    <a:pt x="53022" y="1326324"/>
                    <a:pt x="55239" y="1327063"/>
                    <a:pt x="58194" y="1327063"/>
                  </a:cubicBezTo>
                  <a:cubicBezTo>
                    <a:pt x="61148" y="1327063"/>
                    <a:pt x="64106" y="1324109"/>
                    <a:pt x="64106" y="1321152"/>
                  </a:cubicBezTo>
                  <a:cubicBezTo>
                    <a:pt x="64106" y="1318198"/>
                    <a:pt x="61148" y="1315241"/>
                    <a:pt x="58194" y="1315241"/>
                  </a:cubicBezTo>
                  <a:cubicBezTo>
                    <a:pt x="55237" y="1315241"/>
                    <a:pt x="52283" y="1318198"/>
                    <a:pt x="52283" y="1321152"/>
                  </a:cubicBezTo>
                  <a:cubicBezTo>
                    <a:pt x="50805" y="1322630"/>
                    <a:pt x="50805" y="1324108"/>
                    <a:pt x="51913" y="1325216"/>
                  </a:cubicBezTo>
                  <a:close/>
                  <a:moveTo>
                    <a:pt x="34550" y="3815670"/>
                  </a:moveTo>
                  <a:cubicBezTo>
                    <a:pt x="34550" y="3857049"/>
                    <a:pt x="67060" y="3886605"/>
                    <a:pt x="105484" y="3886605"/>
                  </a:cubicBezTo>
                  <a:cubicBezTo>
                    <a:pt x="143905" y="3886605"/>
                    <a:pt x="176418" y="3854092"/>
                    <a:pt x="176418" y="3815670"/>
                  </a:cubicBezTo>
                  <a:cubicBezTo>
                    <a:pt x="176418" y="3777250"/>
                    <a:pt x="143905" y="3744736"/>
                    <a:pt x="105484" y="3744736"/>
                  </a:cubicBezTo>
                  <a:cubicBezTo>
                    <a:pt x="67060" y="3744736"/>
                    <a:pt x="34550" y="3777250"/>
                    <a:pt x="34550" y="3815670"/>
                  </a:cubicBezTo>
                  <a:close/>
                  <a:moveTo>
                    <a:pt x="31592" y="2426544"/>
                  </a:moveTo>
                  <a:cubicBezTo>
                    <a:pt x="31592" y="2456100"/>
                    <a:pt x="55237" y="2476788"/>
                    <a:pt x="81836" y="2476788"/>
                  </a:cubicBezTo>
                  <a:cubicBezTo>
                    <a:pt x="108438" y="2476788"/>
                    <a:pt x="132083" y="2456100"/>
                    <a:pt x="132083" y="2426544"/>
                  </a:cubicBezTo>
                  <a:cubicBezTo>
                    <a:pt x="132083" y="2399942"/>
                    <a:pt x="111392" y="2376298"/>
                    <a:pt x="81836" y="2376298"/>
                  </a:cubicBezTo>
                  <a:cubicBezTo>
                    <a:pt x="55237" y="2376298"/>
                    <a:pt x="31592" y="2396988"/>
                    <a:pt x="31592" y="2426544"/>
                  </a:cubicBezTo>
                  <a:close/>
                  <a:moveTo>
                    <a:pt x="25681" y="936922"/>
                  </a:moveTo>
                  <a:cubicBezTo>
                    <a:pt x="28638" y="939879"/>
                    <a:pt x="31592" y="945790"/>
                    <a:pt x="34550" y="945790"/>
                  </a:cubicBezTo>
                  <a:cubicBezTo>
                    <a:pt x="37504" y="945790"/>
                    <a:pt x="43415" y="942836"/>
                    <a:pt x="43415" y="936922"/>
                  </a:cubicBezTo>
                  <a:cubicBezTo>
                    <a:pt x="43415" y="931011"/>
                    <a:pt x="40461" y="928056"/>
                    <a:pt x="34550" y="928056"/>
                  </a:cubicBezTo>
                  <a:cubicBezTo>
                    <a:pt x="31592" y="928056"/>
                    <a:pt x="25681" y="931011"/>
                    <a:pt x="25681" y="936922"/>
                  </a:cubicBezTo>
                  <a:close/>
                  <a:moveTo>
                    <a:pt x="19770" y="3135884"/>
                  </a:moveTo>
                  <a:cubicBezTo>
                    <a:pt x="19770" y="3171351"/>
                    <a:pt x="49326" y="3200907"/>
                    <a:pt x="84793" y="3200907"/>
                  </a:cubicBezTo>
                  <a:cubicBezTo>
                    <a:pt x="120260" y="3200907"/>
                    <a:pt x="149816" y="3171351"/>
                    <a:pt x="149816" y="3135884"/>
                  </a:cubicBezTo>
                  <a:cubicBezTo>
                    <a:pt x="149816" y="3100417"/>
                    <a:pt x="120260" y="3070861"/>
                    <a:pt x="84793" y="3070861"/>
                  </a:cubicBezTo>
                  <a:cubicBezTo>
                    <a:pt x="49326" y="3070861"/>
                    <a:pt x="19770" y="3100417"/>
                    <a:pt x="19770" y="3135884"/>
                  </a:cubicBezTo>
                  <a:close/>
                  <a:moveTo>
                    <a:pt x="13859" y="1894538"/>
                  </a:moveTo>
                  <a:cubicBezTo>
                    <a:pt x="13859" y="1915225"/>
                    <a:pt x="28638" y="1932959"/>
                    <a:pt x="52280" y="1932959"/>
                  </a:cubicBezTo>
                  <a:cubicBezTo>
                    <a:pt x="72971" y="1932959"/>
                    <a:pt x="90704" y="1915225"/>
                    <a:pt x="90704" y="1894538"/>
                  </a:cubicBezTo>
                  <a:cubicBezTo>
                    <a:pt x="90704" y="1873847"/>
                    <a:pt x="72971" y="1856113"/>
                    <a:pt x="52280" y="1856113"/>
                  </a:cubicBezTo>
                  <a:cubicBezTo>
                    <a:pt x="31592" y="1856113"/>
                    <a:pt x="13859" y="1873847"/>
                    <a:pt x="13859" y="1894538"/>
                  </a:cubicBezTo>
                  <a:close/>
                  <a:moveTo>
                    <a:pt x="0" y="3728807"/>
                  </a:moveTo>
                  <a:lnTo>
                    <a:pt x="0" y="3748849"/>
                  </a:lnTo>
                  <a:lnTo>
                    <a:pt x="2037" y="3738828"/>
                  </a:lnTo>
                  <a:close/>
                  <a:moveTo>
                    <a:pt x="0" y="3477794"/>
                  </a:moveTo>
                  <a:lnTo>
                    <a:pt x="0" y="3603810"/>
                  </a:lnTo>
                  <a:lnTo>
                    <a:pt x="15337" y="3600653"/>
                  </a:lnTo>
                  <a:cubicBezTo>
                    <a:pt x="38612" y="3590678"/>
                    <a:pt x="55237" y="3567402"/>
                    <a:pt x="55237" y="3540802"/>
                  </a:cubicBezTo>
                  <a:cubicBezTo>
                    <a:pt x="55237" y="3514202"/>
                    <a:pt x="38612" y="3490926"/>
                    <a:pt x="15337" y="3480951"/>
                  </a:cubicBezTo>
                  <a:close/>
                  <a:moveTo>
                    <a:pt x="0" y="3292249"/>
                  </a:moveTo>
                  <a:lnTo>
                    <a:pt x="0" y="3380812"/>
                  </a:lnTo>
                  <a:lnTo>
                    <a:pt x="14968" y="3391312"/>
                  </a:lnTo>
                  <a:cubicBezTo>
                    <a:pt x="21803" y="3394314"/>
                    <a:pt x="29376" y="3395976"/>
                    <a:pt x="37504" y="3395976"/>
                  </a:cubicBezTo>
                  <a:cubicBezTo>
                    <a:pt x="70014" y="3395976"/>
                    <a:pt x="96616" y="3369378"/>
                    <a:pt x="96616" y="3336864"/>
                  </a:cubicBezTo>
                  <a:cubicBezTo>
                    <a:pt x="96616" y="3304354"/>
                    <a:pt x="70014" y="3277752"/>
                    <a:pt x="37504" y="3277752"/>
                  </a:cubicBezTo>
                  <a:cubicBezTo>
                    <a:pt x="29376" y="3277752"/>
                    <a:pt x="21618" y="3279415"/>
                    <a:pt x="14552" y="3282417"/>
                  </a:cubicBezTo>
                  <a:close/>
                  <a:moveTo>
                    <a:pt x="0" y="2782098"/>
                  </a:moveTo>
                  <a:lnTo>
                    <a:pt x="0" y="2904465"/>
                  </a:lnTo>
                  <a:lnTo>
                    <a:pt x="6472" y="2903133"/>
                  </a:lnTo>
                  <a:cubicBezTo>
                    <a:pt x="29747" y="2893158"/>
                    <a:pt x="46372" y="2869882"/>
                    <a:pt x="46372" y="2843282"/>
                  </a:cubicBezTo>
                  <a:cubicBezTo>
                    <a:pt x="46372" y="2816681"/>
                    <a:pt x="29747" y="2793405"/>
                    <a:pt x="6472" y="2783430"/>
                  </a:cubicBezTo>
                  <a:close/>
                  <a:moveTo>
                    <a:pt x="0" y="2587781"/>
                  </a:moveTo>
                  <a:lnTo>
                    <a:pt x="0" y="2685000"/>
                  </a:lnTo>
                  <a:lnTo>
                    <a:pt x="8641" y="2690838"/>
                  </a:lnTo>
                  <a:cubicBezTo>
                    <a:pt x="15707" y="2693840"/>
                    <a:pt x="23465" y="2695502"/>
                    <a:pt x="31592" y="2695502"/>
                  </a:cubicBezTo>
                  <a:cubicBezTo>
                    <a:pt x="64102" y="2695502"/>
                    <a:pt x="90704" y="2668903"/>
                    <a:pt x="90704" y="2636390"/>
                  </a:cubicBezTo>
                  <a:cubicBezTo>
                    <a:pt x="90704" y="2603880"/>
                    <a:pt x="64102" y="2577278"/>
                    <a:pt x="31592" y="2577278"/>
                  </a:cubicBezTo>
                  <a:cubicBezTo>
                    <a:pt x="23465" y="2577278"/>
                    <a:pt x="15707" y="2578941"/>
                    <a:pt x="8641" y="2581943"/>
                  </a:cubicBezTo>
                  <a:close/>
                  <a:moveTo>
                    <a:pt x="0" y="2058460"/>
                  </a:moveTo>
                  <a:lnTo>
                    <a:pt x="0" y="2162129"/>
                  </a:lnTo>
                  <a:lnTo>
                    <a:pt x="13953" y="2159339"/>
                  </a:lnTo>
                  <a:cubicBezTo>
                    <a:pt x="33072" y="2151303"/>
                    <a:pt x="46372" y="2132461"/>
                    <a:pt x="46372" y="2110294"/>
                  </a:cubicBezTo>
                  <a:cubicBezTo>
                    <a:pt x="46372" y="2088127"/>
                    <a:pt x="33072" y="2069286"/>
                    <a:pt x="13953" y="2061250"/>
                  </a:cubicBezTo>
                  <a:close/>
                  <a:moveTo>
                    <a:pt x="0" y="1540407"/>
                  </a:moveTo>
                  <a:lnTo>
                    <a:pt x="0" y="1551146"/>
                  </a:lnTo>
                  <a:lnTo>
                    <a:pt x="2037" y="1545777"/>
                  </a:lnTo>
                  <a:close/>
                </a:path>
              </a:pathLst>
            </a:custGeom>
            <a:gradFill flip="none" rotWithShape="1">
              <a:gsLst>
                <a:gs pos="24000">
                  <a:schemeClr val="bg2">
                    <a:alpha val="0"/>
                  </a:schemeClr>
                </a:gs>
                <a:gs pos="60000">
                  <a:schemeClr val="accent1"/>
                </a:gs>
                <a:gs pos="100000">
                  <a:schemeClr val="tx1"/>
                </a:gs>
              </a:gsLst>
              <a:lin ang="6000000" scaled="0"/>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9" name="Freeform: Shape 18">
              <a:extLst>
                <a:ext uri="{FF2B5EF4-FFF2-40B4-BE49-F238E27FC236}">
                  <a16:creationId xmlns:a16="http://schemas.microsoft.com/office/drawing/2014/main" id="{50740EA1-76BD-4C69-8F74-0D1E8618EF0B}"/>
                </a:ext>
              </a:extLst>
            </p:cNvPr>
            <p:cNvSpPr/>
            <p:nvPr/>
          </p:nvSpPr>
          <p:spPr>
            <a:xfrm rot="5400000">
              <a:off x="6396053" y="2084355"/>
              <a:ext cx="5664911" cy="4636166"/>
            </a:xfrm>
            <a:custGeom>
              <a:avLst/>
              <a:gdLst>
                <a:gd name="connsiteX0" fmla="*/ 1386840 w 2370773"/>
                <a:gd name="connsiteY0" fmla="*/ 1929765 h 1940242"/>
                <a:gd name="connsiteX1" fmla="*/ 1388745 w 2370773"/>
                <a:gd name="connsiteY1" fmla="*/ 1931670 h 1940242"/>
                <a:gd name="connsiteX2" fmla="*/ 1386840 w 2370773"/>
                <a:gd name="connsiteY2" fmla="*/ 1933575 h 1940242"/>
                <a:gd name="connsiteX3" fmla="*/ 1384935 w 2370773"/>
                <a:gd name="connsiteY3" fmla="*/ 1931670 h 1940242"/>
                <a:gd name="connsiteX4" fmla="*/ 1386840 w 2370773"/>
                <a:gd name="connsiteY4" fmla="*/ 1929765 h 1940242"/>
                <a:gd name="connsiteX5" fmla="*/ 860107 w 2370773"/>
                <a:gd name="connsiteY5" fmla="*/ 1929765 h 1940242"/>
                <a:gd name="connsiteX6" fmla="*/ 862012 w 2370773"/>
                <a:gd name="connsiteY6" fmla="*/ 1931670 h 1940242"/>
                <a:gd name="connsiteX7" fmla="*/ 860107 w 2370773"/>
                <a:gd name="connsiteY7" fmla="*/ 1933575 h 1940242"/>
                <a:gd name="connsiteX8" fmla="*/ 858202 w 2370773"/>
                <a:gd name="connsiteY8" fmla="*/ 1931670 h 1940242"/>
                <a:gd name="connsiteX9" fmla="*/ 860107 w 2370773"/>
                <a:gd name="connsiteY9" fmla="*/ 1929765 h 1940242"/>
                <a:gd name="connsiteX10" fmla="*/ 1329690 w 2370773"/>
                <a:gd name="connsiteY10" fmla="*/ 1926907 h 1940242"/>
                <a:gd name="connsiteX11" fmla="*/ 1336357 w 2370773"/>
                <a:gd name="connsiteY11" fmla="*/ 1933574 h 1940242"/>
                <a:gd name="connsiteX12" fmla="*/ 1329690 w 2370773"/>
                <a:gd name="connsiteY12" fmla="*/ 1940242 h 1940242"/>
                <a:gd name="connsiteX13" fmla="*/ 1323022 w 2370773"/>
                <a:gd name="connsiteY13" fmla="*/ 1933574 h 1940242"/>
                <a:gd name="connsiteX14" fmla="*/ 1329690 w 2370773"/>
                <a:gd name="connsiteY14" fmla="*/ 1926907 h 1940242"/>
                <a:gd name="connsiteX15" fmla="*/ 1271588 w 2370773"/>
                <a:gd name="connsiteY15" fmla="*/ 1926907 h 1940242"/>
                <a:gd name="connsiteX16" fmla="*/ 1278255 w 2370773"/>
                <a:gd name="connsiteY16" fmla="*/ 1933575 h 1940242"/>
                <a:gd name="connsiteX17" fmla="*/ 1271588 w 2370773"/>
                <a:gd name="connsiteY17" fmla="*/ 1940242 h 1940242"/>
                <a:gd name="connsiteX18" fmla="*/ 1264920 w 2370773"/>
                <a:gd name="connsiteY18" fmla="*/ 1933575 h 1940242"/>
                <a:gd name="connsiteX19" fmla="*/ 1271588 w 2370773"/>
                <a:gd name="connsiteY19" fmla="*/ 1926907 h 1940242"/>
                <a:gd name="connsiteX20" fmla="*/ 1214437 w 2370773"/>
                <a:gd name="connsiteY20" fmla="*/ 1925002 h 1940242"/>
                <a:gd name="connsiteX21" fmla="*/ 1220152 w 2370773"/>
                <a:gd name="connsiteY21" fmla="*/ 1930717 h 1940242"/>
                <a:gd name="connsiteX22" fmla="*/ 1214437 w 2370773"/>
                <a:gd name="connsiteY22" fmla="*/ 1936432 h 1940242"/>
                <a:gd name="connsiteX23" fmla="*/ 1208722 w 2370773"/>
                <a:gd name="connsiteY23" fmla="*/ 1930717 h 1940242"/>
                <a:gd name="connsiteX24" fmla="*/ 1214437 w 2370773"/>
                <a:gd name="connsiteY24" fmla="*/ 1925002 h 1940242"/>
                <a:gd name="connsiteX25" fmla="*/ 1156335 w 2370773"/>
                <a:gd name="connsiteY25" fmla="*/ 1920240 h 1940242"/>
                <a:gd name="connsiteX26" fmla="*/ 1162050 w 2370773"/>
                <a:gd name="connsiteY26" fmla="*/ 1925955 h 1940242"/>
                <a:gd name="connsiteX27" fmla="*/ 1156335 w 2370773"/>
                <a:gd name="connsiteY27" fmla="*/ 1931670 h 1940242"/>
                <a:gd name="connsiteX28" fmla="*/ 1150620 w 2370773"/>
                <a:gd name="connsiteY28" fmla="*/ 1925955 h 1940242"/>
                <a:gd name="connsiteX29" fmla="*/ 1156335 w 2370773"/>
                <a:gd name="connsiteY29" fmla="*/ 1920240 h 1940242"/>
                <a:gd name="connsiteX30" fmla="*/ 1099185 w 2370773"/>
                <a:gd name="connsiteY30" fmla="*/ 1914525 h 1940242"/>
                <a:gd name="connsiteX31" fmla="*/ 1104900 w 2370773"/>
                <a:gd name="connsiteY31" fmla="*/ 1920240 h 1940242"/>
                <a:gd name="connsiteX32" fmla="*/ 1099185 w 2370773"/>
                <a:gd name="connsiteY32" fmla="*/ 1925955 h 1940242"/>
                <a:gd name="connsiteX33" fmla="*/ 1093470 w 2370773"/>
                <a:gd name="connsiteY33" fmla="*/ 1920240 h 1940242"/>
                <a:gd name="connsiteX34" fmla="*/ 1099185 w 2370773"/>
                <a:gd name="connsiteY34" fmla="*/ 1914525 h 1940242"/>
                <a:gd name="connsiteX35" fmla="*/ 1042988 w 2370773"/>
                <a:gd name="connsiteY35" fmla="*/ 1903095 h 1940242"/>
                <a:gd name="connsiteX36" fmla="*/ 1050608 w 2370773"/>
                <a:gd name="connsiteY36" fmla="*/ 1910715 h 1940242"/>
                <a:gd name="connsiteX37" fmla="*/ 1042988 w 2370773"/>
                <a:gd name="connsiteY37" fmla="*/ 1918335 h 1940242"/>
                <a:gd name="connsiteX38" fmla="*/ 1035368 w 2370773"/>
                <a:gd name="connsiteY38" fmla="*/ 1910715 h 1940242"/>
                <a:gd name="connsiteX39" fmla="*/ 1042988 w 2370773"/>
                <a:gd name="connsiteY39" fmla="*/ 1903095 h 1940242"/>
                <a:gd name="connsiteX40" fmla="*/ 985837 w 2370773"/>
                <a:gd name="connsiteY40" fmla="*/ 1887854 h 1940242"/>
                <a:gd name="connsiteX41" fmla="*/ 996315 w 2370773"/>
                <a:gd name="connsiteY41" fmla="*/ 1898332 h 1940242"/>
                <a:gd name="connsiteX42" fmla="*/ 985837 w 2370773"/>
                <a:gd name="connsiteY42" fmla="*/ 1908809 h 1940242"/>
                <a:gd name="connsiteX43" fmla="*/ 975360 w 2370773"/>
                <a:gd name="connsiteY43" fmla="*/ 1898332 h 1940242"/>
                <a:gd name="connsiteX44" fmla="*/ 985837 w 2370773"/>
                <a:gd name="connsiteY44" fmla="*/ 1887854 h 1940242"/>
                <a:gd name="connsiteX45" fmla="*/ 930593 w 2370773"/>
                <a:gd name="connsiteY45" fmla="*/ 1878329 h 1940242"/>
                <a:gd name="connsiteX46" fmla="*/ 937260 w 2370773"/>
                <a:gd name="connsiteY46" fmla="*/ 1884996 h 1940242"/>
                <a:gd name="connsiteX47" fmla="*/ 930593 w 2370773"/>
                <a:gd name="connsiteY47" fmla="*/ 1891664 h 1940242"/>
                <a:gd name="connsiteX48" fmla="*/ 923925 w 2370773"/>
                <a:gd name="connsiteY48" fmla="*/ 1884996 h 1940242"/>
                <a:gd name="connsiteX49" fmla="*/ 930593 w 2370773"/>
                <a:gd name="connsiteY49" fmla="*/ 1878329 h 1940242"/>
                <a:gd name="connsiteX50" fmla="*/ 1725930 w 2370773"/>
                <a:gd name="connsiteY50" fmla="*/ 1867852 h 1940242"/>
                <a:gd name="connsiteX51" fmla="*/ 1726883 w 2370773"/>
                <a:gd name="connsiteY51" fmla="*/ 1868804 h 1940242"/>
                <a:gd name="connsiteX52" fmla="*/ 1725930 w 2370773"/>
                <a:gd name="connsiteY52" fmla="*/ 1869757 h 1940242"/>
                <a:gd name="connsiteX53" fmla="*/ 1724978 w 2370773"/>
                <a:gd name="connsiteY53" fmla="*/ 1868804 h 1940242"/>
                <a:gd name="connsiteX54" fmla="*/ 1725930 w 2370773"/>
                <a:gd name="connsiteY54" fmla="*/ 1867852 h 1940242"/>
                <a:gd name="connsiteX55" fmla="*/ 699135 w 2370773"/>
                <a:gd name="connsiteY55" fmla="*/ 1867852 h 1940242"/>
                <a:gd name="connsiteX56" fmla="*/ 701040 w 2370773"/>
                <a:gd name="connsiteY56" fmla="*/ 1869757 h 1940242"/>
                <a:gd name="connsiteX57" fmla="*/ 699135 w 2370773"/>
                <a:gd name="connsiteY57" fmla="*/ 1871662 h 1940242"/>
                <a:gd name="connsiteX58" fmla="*/ 697230 w 2370773"/>
                <a:gd name="connsiteY58" fmla="*/ 1869757 h 1940242"/>
                <a:gd name="connsiteX59" fmla="*/ 699135 w 2370773"/>
                <a:gd name="connsiteY59" fmla="*/ 1867852 h 1940242"/>
                <a:gd name="connsiteX60" fmla="*/ 1285875 w 2370773"/>
                <a:gd name="connsiteY60" fmla="*/ 1851659 h 1940242"/>
                <a:gd name="connsiteX61" fmla="*/ 1303973 w 2370773"/>
                <a:gd name="connsiteY61" fmla="*/ 1869757 h 1940242"/>
                <a:gd name="connsiteX62" fmla="*/ 1285875 w 2370773"/>
                <a:gd name="connsiteY62" fmla="*/ 1887854 h 1940242"/>
                <a:gd name="connsiteX63" fmla="*/ 1267778 w 2370773"/>
                <a:gd name="connsiteY63" fmla="*/ 1869757 h 1940242"/>
                <a:gd name="connsiteX64" fmla="*/ 1285875 w 2370773"/>
                <a:gd name="connsiteY64" fmla="*/ 1851659 h 1940242"/>
                <a:gd name="connsiteX65" fmla="*/ 1343978 w 2370773"/>
                <a:gd name="connsiteY65" fmla="*/ 1850707 h 1940242"/>
                <a:gd name="connsiteX66" fmla="*/ 1362075 w 2370773"/>
                <a:gd name="connsiteY66" fmla="*/ 1868804 h 1940242"/>
                <a:gd name="connsiteX67" fmla="*/ 1343978 w 2370773"/>
                <a:gd name="connsiteY67" fmla="*/ 1886902 h 1940242"/>
                <a:gd name="connsiteX68" fmla="*/ 1325880 w 2370773"/>
                <a:gd name="connsiteY68" fmla="*/ 1868804 h 1940242"/>
                <a:gd name="connsiteX69" fmla="*/ 1343978 w 2370773"/>
                <a:gd name="connsiteY69" fmla="*/ 1850707 h 1940242"/>
                <a:gd name="connsiteX70" fmla="*/ 1401128 w 2370773"/>
                <a:gd name="connsiteY70" fmla="*/ 1847850 h 1940242"/>
                <a:gd name="connsiteX71" fmla="*/ 1420178 w 2370773"/>
                <a:gd name="connsiteY71" fmla="*/ 1866900 h 1940242"/>
                <a:gd name="connsiteX72" fmla="*/ 1401128 w 2370773"/>
                <a:gd name="connsiteY72" fmla="*/ 1885950 h 1940242"/>
                <a:gd name="connsiteX73" fmla="*/ 1382078 w 2370773"/>
                <a:gd name="connsiteY73" fmla="*/ 1866900 h 1940242"/>
                <a:gd name="connsiteX74" fmla="*/ 1401128 w 2370773"/>
                <a:gd name="connsiteY74" fmla="*/ 1847850 h 1940242"/>
                <a:gd name="connsiteX75" fmla="*/ 1228725 w 2370773"/>
                <a:gd name="connsiteY75" fmla="*/ 1847850 h 1940242"/>
                <a:gd name="connsiteX76" fmla="*/ 1248727 w 2370773"/>
                <a:gd name="connsiteY76" fmla="*/ 1867853 h 1940242"/>
                <a:gd name="connsiteX77" fmla="*/ 1228725 w 2370773"/>
                <a:gd name="connsiteY77" fmla="*/ 1887855 h 1940242"/>
                <a:gd name="connsiteX78" fmla="*/ 1208722 w 2370773"/>
                <a:gd name="connsiteY78" fmla="*/ 1867853 h 1940242"/>
                <a:gd name="connsiteX79" fmla="*/ 1228725 w 2370773"/>
                <a:gd name="connsiteY79" fmla="*/ 1847850 h 1940242"/>
                <a:gd name="connsiteX80" fmla="*/ 874395 w 2370773"/>
                <a:gd name="connsiteY80" fmla="*/ 1846897 h 1940242"/>
                <a:gd name="connsiteX81" fmla="*/ 896303 w 2370773"/>
                <a:gd name="connsiteY81" fmla="*/ 1868804 h 1940242"/>
                <a:gd name="connsiteX82" fmla="*/ 874395 w 2370773"/>
                <a:gd name="connsiteY82" fmla="*/ 1890712 h 1940242"/>
                <a:gd name="connsiteX83" fmla="*/ 852488 w 2370773"/>
                <a:gd name="connsiteY83" fmla="*/ 1868804 h 1940242"/>
                <a:gd name="connsiteX84" fmla="*/ 874395 w 2370773"/>
                <a:gd name="connsiteY84" fmla="*/ 1846897 h 1940242"/>
                <a:gd name="connsiteX85" fmla="*/ 1170622 w 2370773"/>
                <a:gd name="connsiteY85" fmla="*/ 1843087 h 1940242"/>
                <a:gd name="connsiteX86" fmla="*/ 1191577 w 2370773"/>
                <a:gd name="connsiteY86" fmla="*/ 1864042 h 1940242"/>
                <a:gd name="connsiteX87" fmla="*/ 1170622 w 2370773"/>
                <a:gd name="connsiteY87" fmla="*/ 1884997 h 1940242"/>
                <a:gd name="connsiteX88" fmla="*/ 1149667 w 2370773"/>
                <a:gd name="connsiteY88" fmla="*/ 1864042 h 1940242"/>
                <a:gd name="connsiteX89" fmla="*/ 1170622 w 2370773"/>
                <a:gd name="connsiteY89" fmla="*/ 1843087 h 1940242"/>
                <a:gd name="connsiteX90" fmla="*/ 646747 w 2370773"/>
                <a:gd name="connsiteY90" fmla="*/ 1843087 h 1940242"/>
                <a:gd name="connsiteX91" fmla="*/ 648652 w 2370773"/>
                <a:gd name="connsiteY91" fmla="*/ 1844992 h 1940242"/>
                <a:gd name="connsiteX92" fmla="*/ 646747 w 2370773"/>
                <a:gd name="connsiteY92" fmla="*/ 1846897 h 1940242"/>
                <a:gd name="connsiteX93" fmla="*/ 644842 w 2370773"/>
                <a:gd name="connsiteY93" fmla="*/ 1844992 h 1940242"/>
                <a:gd name="connsiteX94" fmla="*/ 646747 w 2370773"/>
                <a:gd name="connsiteY94" fmla="*/ 1843087 h 1940242"/>
                <a:gd name="connsiteX95" fmla="*/ 1459230 w 2370773"/>
                <a:gd name="connsiteY95" fmla="*/ 1841182 h 1940242"/>
                <a:gd name="connsiteX96" fmla="*/ 1478280 w 2370773"/>
                <a:gd name="connsiteY96" fmla="*/ 1860232 h 1940242"/>
                <a:gd name="connsiteX97" fmla="*/ 1459230 w 2370773"/>
                <a:gd name="connsiteY97" fmla="*/ 1879282 h 1940242"/>
                <a:gd name="connsiteX98" fmla="*/ 1440180 w 2370773"/>
                <a:gd name="connsiteY98" fmla="*/ 1860232 h 1940242"/>
                <a:gd name="connsiteX99" fmla="*/ 1459230 w 2370773"/>
                <a:gd name="connsiteY99" fmla="*/ 1841182 h 1940242"/>
                <a:gd name="connsiteX100" fmla="*/ 1515428 w 2370773"/>
                <a:gd name="connsiteY100" fmla="*/ 1837372 h 1940242"/>
                <a:gd name="connsiteX101" fmla="*/ 1530668 w 2370773"/>
                <a:gd name="connsiteY101" fmla="*/ 1852612 h 1940242"/>
                <a:gd name="connsiteX102" fmla="*/ 1515428 w 2370773"/>
                <a:gd name="connsiteY102" fmla="*/ 1867852 h 1940242"/>
                <a:gd name="connsiteX103" fmla="*/ 1500188 w 2370773"/>
                <a:gd name="connsiteY103" fmla="*/ 1852612 h 1940242"/>
                <a:gd name="connsiteX104" fmla="*/ 1515428 w 2370773"/>
                <a:gd name="connsiteY104" fmla="*/ 1837372 h 1940242"/>
                <a:gd name="connsiteX105" fmla="*/ 1113472 w 2370773"/>
                <a:gd name="connsiteY105" fmla="*/ 1837372 h 1940242"/>
                <a:gd name="connsiteX106" fmla="*/ 1133475 w 2370773"/>
                <a:gd name="connsiteY106" fmla="*/ 1857375 h 1940242"/>
                <a:gd name="connsiteX107" fmla="*/ 1113472 w 2370773"/>
                <a:gd name="connsiteY107" fmla="*/ 1877377 h 1940242"/>
                <a:gd name="connsiteX108" fmla="*/ 1093470 w 2370773"/>
                <a:gd name="connsiteY108" fmla="*/ 1857375 h 1940242"/>
                <a:gd name="connsiteX109" fmla="*/ 1113472 w 2370773"/>
                <a:gd name="connsiteY109" fmla="*/ 1837372 h 1940242"/>
                <a:gd name="connsiteX110" fmla="*/ 820103 w 2370773"/>
                <a:gd name="connsiteY110" fmla="*/ 1832609 h 1940242"/>
                <a:gd name="connsiteX111" fmla="*/ 837248 w 2370773"/>
                <a:gd name="connsiteY111" fmla="*/ 1849754 h 1940242"/>
                <a:gd name="connsiteX112" fmla="*/ 820103 w 2370773"/>
                <a:gd name="connsiteY112" fmla="*/ 1866899 h 1940242"/>
                <a:gd name="connsiteX113" fmla="*/ 802958 w 2370773"/>
                <a:gd name="connsiteY113" fmla="*/ 1849754 h 1940242"/>
                <a:gd name="connsiteX114" fmla="*/ 820103 w 2370773"/>
                <a:gd name="connsiteY114" fmla="*/ 1832609 h 1940242"/>
                <a:gd name="connsiteX115" fmla="*/ 1572578 w 2370773"/>
                <a:gd name="connsiteY115" fmla="*/ 1831657 h 1940242"/>
                <a:gd name="connsiteX116" fmla="*/ 1583055 w 2370773"/>
                <a:gd name="connsiteY116" fmla="*/ 1842134 h 1940242"/>
                <a:gd name="connsiteX117" fmla="*/ 1572578 w 2370773"/>
                <a:gd name="connsiteY117" fmla="*/ 1852612 h 1940242"/>
                <a:gd name="connsiteX118" fmla="*/ 1562100 w 2370773"/>
                <a:gd name="connsiteY118" fmla="*/ 1842134 h 1940242"/>
                <a:gd name="connsiteX119" fmla="*/ 1572578 w 2370773"/>
                <a:gd name="connsiteY119" fmla="*/ 1831657 h 1940242"/>
                <a:gd name="connsiteX120" fmla="*/ 1057275 w 2370773"/>
                <a:gd name="connsiteY120" fmla="*/ 1826895 h 1940242"/>
                <a:gd name="connsiteX121" fmla="*/ 1077278 w 2370773"/>
                <a:gd name="connsiteY121" fmla="*/ 1846897 h 1940242"/>
                <a:gd name="connsiteX122" fmla="*/ 1057275 w 2370773"/>
                <a:gd name="connsiteY122" fmla="*/ 1866900 h 1940242"/>
                <a:gd name="connsiteX123" fmla="*/ 1037273 w 2370773"/>
                <a:gd name="connsiteY123" fmla="*/ 1846897 h 1940242"/>
                <a:gd name="connsiteX124" fmla="*/ 1057275 w 2370773"/>
                <a:gd name="connsiteY124" fmla="*/ 1826895 h 1940242"/>
                <a:gd name="connsiteX125" fmla="*/ 1628775 w 2370773"/>
                <a:gd name="connsiteY125" fmla="*/ 1823084 h 1940242"/>
                <a:gd name="connsiteX126" fmla="*/ 1634490 w 2370773"/>
                <a:gd name="connsiteY126" fmla="*/ 1828799 h 1940242"/>
                <a:gd name="connsiteX127" fmla="*/ 1628775 w 2370773"/>
                <a:gd name="connsiteY127" fmla="*/ 1834514 h 1940242"/>
                <a:gd name="connsiteX128" fmla="*/ 1623060 w 2370773"/>
                <a:gd name="connsiteY128" fmla="*/ 1828799 h 1940242"/>
                <a:gd name="connsiteX129" fmla="*/ 1628775 w 2370773"/>
                <a:gd name="connsiteY129" fmla="*/ 1823084 h 1940242"/>
                <a:gd name="connsiteX130" fmla="*/ 766763 w 2370773"/>
                <a:gd name="connsiteY130" fmla="*/ 1820227 h 1940242"/>
                <a:gd name="connsiteX131" fmla="*/ 775335 w 2370773"/>
                <a:gd name="connsiteY131" fmla="*/ 1828799 h 1940242"/>
                <a:gd name="connsiteX132" fmla="*/ 766763 w 2370773"/>
                <a:gd name="connsiteY132" fmla="*/ 1837372 h 1940242"/>
                <a:gd name="connsiteX133" fmla="*/ 758190 w 2370773"/>
                <a:gd name="connsiteY133" fmla="*/ 1828799 h 1940242"/>
                <a:gd name="connsiteX134" fmla="*/ 766763 w 2370773"/>
                <a:gd name="connsiteY134" fmla="*/ 1820227 h 1940242"/>
                <a:gd name="connsiteX135" fmla="*/ 1684020 w 2370773"/>
                <a:gd name="connsiteY135" fmla="*/ 1813559 h 1940242"/>
                <a:gd name="connsiteX136" fmla="*/ 1684972 w 2370773"/>
                <a:gd name="connsiteY136" fmla="*/ 1814512 h 1940242"/>
                <a:gd name="connsiteX137" fmla="*/ 1684020 w 2370773"/>
                <a:gd name="connsiteY137" fmla="*/ 1815464 h 1940242"/>
                <a:gd name="connsiteX138" fmla="*/ 1683067 w 2370773"/>
                <a:gd name="connsiteY138" fmla="*/ 1814512 h 1940242"/>
                <a:gd name="connsiteX139" fmla="*/ 1684020 w 2370773"/>
                <a:gd name="connsiteY139" fmla="*/ 1813559 h 1940242"/>
                <a:gd name="connsiteX140" fmla="*/ 1000125 w 2370773"/>
                <a:gd name="connsiteY140" fmla="*/ 1813559 h 1940242"/>
                <a:gd name="connsiteX141" fmla="*/ 1022032 w 2370773"/>
                <a:gd name="connsiteY141" fmla="*/ 1835467 h 1940242"/>
                <a:gd name="connsiteX142" fmla="*/ 1000125 w 2370773"/>
                <a:gd name="connsiteY142" fmla="*/ 1857374 h 1940242"/>
                <a:gd name="connsiteX143" fmla="*/ 978217 w 2370773"/>
                <a:gd name="connsiteY143" fmla="*/ 1835467 h 1940242"/>
                <a:gd name="connsiteX144" fmla="*/ 1000125 w 2370773"/>
                <a:gd name="connsiteY144" fmla="*/ 1813559 h 1940242"/>
                <a:gd name="connsiteX145" fmla="*/ 944880 w 2370773"/>
                <a:gd name="connsiteY145" fmla="*/ 1799272 h 1940242"/>
                <a:gd name="connsiteX146" fmla="*/ 966788 w 2370773"/>
                <a:gd name="connsiteY146" fmla="*/ 1821180 h 1940242"/>
                <a:gd name="connsiteX147" fmla="*/ 944880 w 2370773"/>
                <a:gd name="connsiteY147" fmla="*/ 1843087 h 1940242"/>
                <a:gd name="connsiteX148" fmla="*/ 922973 w 2370773"/>
                <a:gd name="connsiteY148" fmla="*/ 1821180 h 1940242"/>
                <a:gd name="connsiteX149" fmla="*/ 944880 w 2370773"/>
                <a:gd name="connsiteY149" fmla="*/ 1799272 h 1940242"/>
                <a:gd name="connsiteX150" fmla="*/ 544829 w 2370773"/>
                <a:gd name="connsiteY150" fmla="*/ 1789747 h 1940242"/>
                <a:gd name="connsiteX151" fmla="*/ 545782 w 2370773"/>
                <a:gd name="connsiteY151" fmla="*/ 1790700 h 1940242"/>
                <a:gd name="connsiteX152" fmla="*/ 544829 w 2370773"/>
                <a:gd name="connsiteY152" fmla="*/ 1791652 h 1940242"/>
                <a:gd name="connsiteX153" fmla="*/ 543877 w 2370773"/>
                <a:gd name="connsiteY153" fmla="*/ 1790700 h 1940242"/>
                <a:gd name="connsiteX154" fmla="*/ 544829 w 2370773"/>
                <a:gd name="connsiteY154" fmla="*/ 1789747 h 1940242"/>
                <a:gd name="connsiteX155" fmla="*/ 1243012 w 2370773"/>
                <a:gd name="connsiteY155" fmla="*/ 1787842 h 1940242"/>
                <a:gd name="connsiteX156" fmla="*/ 1260157 w 2370773"/>
                <a:gd name="connsiteY156" fmla="*/ 1804987 h 1940242"/>
                <a:gd name="connsiteX157" fmla="*/ 1243012 w 2370773"/>
                <a:gd name="connsiteY157" fmla="*/ 1822132 h 1940242"/>
                <a:gd name="connsiteX158" fmla="*/ 1225867 w 2370773"/>
                <a:gd name="connsiteY158" fmla="*/ 1804987 h 1940242"/>
                <a:gd name="connsiteX159" fmla="*/ 1243012 w 2370773"/>
                <a:gd name="connsiteY159" fmla="*/ 1787842 h 1940242"/>
                <a:gd name="connsiteX160" fmla="*/ 1300163 w 2370773"/>
                <a:gd name="connsiteY160" fmla="*/ 1786890 h 1940242"/>
                <a:gd name="connsiteX161" fmla="*/ 1319213 w 2370773"/>
                <a:gd name="connsiteY161" fmla="*/ 1805940 h 1940242"/>
                <a:gd name="connsiteX162" fmla="*/ 1300163 w 2370773"/>
                <a:gd name="connsiteY162" fmla="*/ 1824990 h 1940242"/>
                <a:gd name="connsiteX163" fmla="*/ 1281113 w 2370773"/>
                <a:gd name="connsiteY163" fmla="*/ 1805940 h 1940242"/>
                <a:gd name="connsiteX164" fmla="*/ 1300163 w 2370773"/>
                <a:gd name="connsiteY164" fmla="*/ 1786890 h 1940242"/>
                <a:gd name="connsiteX165" fmla="*/ 1739266 w 2370773"/>
                <a:gd name="connsiteY165" fmla="*/ 1785937 h 1940242"/>
                <a:gd name="connsiteX166" fmla="*/ 1749743 w 2370773"/>
                <a:gd name="connsiteY166" fmla="*/ 1796415 h 1940242"/>
                <a:gd name="connsiteX167" fmla="*/ 1739266 w 2370773"/>
                <a:gd name="connsiteY167" fmla="*/ 1806892 h 1940242"/>
                <a:gd name="connsiteX168" fmla="*/ 1728788 w 2370773"/>
                <a:gd name="connsiteY168" fmla="*/ 1796415 h 1940242"/>
                <a:gd name="connsiteX169" fmla="*/ 1739266 w 2370773"/>
                <a:gd name="connsiteY169" fmla="*/ 1785937 h 1940242"/>
                <a:gd name="connsiteX170" fmla="*/ 1358265 w 2370773"/>
                <a:gd name="connsiteY170" fmla="*/ 1785937 h 1940242"/>
                <a:gd name="connsiteX171" fmla="*/ 1377315 w 2370773"/>
                <a:gd name="connsiteY171" fmla="*/ 1804987 h 1940242"/>
                <a:gd name="connsiteX172" fmla="*/ 1358265 w 2370773"/>
                <a:gd name="connsiteY172" fmla="*/ 1824037 h 1940242"/>
                <a:gd name="connsiteX173" fmla="*/ 1339215 w 2370773"/>
                <a:gd name="connsiteY173" fmla="*/ 1804987 h 1940242"/>
                <a:gd name="connsiteX174" fmla="*/ 1358265 w 2370773"/>
                <a:gd name="connsiteY174" fmla="*/ 1785937 h 1940242"/>
                <a:gd name="connsiteX175" fmla="*/ 888683 w 2370773"/>
                <a:gd name="connsiteY175" fmla="*/ 1785937 h 1940242"/>
                <a:gd name="connsiteX176" fmla="*/ 908685 w 2370773"/>
                <a:gd name="connsiteY176" fmla="*/ 1805940 h 1940242"/>
                <a:gd name="connsiteX177" fmla="*/ 888683 w 2370773"/>
                <a:gd name="connsiteY177" fmla="*/ 1825942 h 1940242"/>
                <a:gd name="connsiteX178" fmla="*/ 868680 w 2370773"/>
                <a:gd name="connsiteY178" fmla="*/ 1805940 h 1940242"/>
                <a:gd name="connsiteX179" fmla="*/ 888683 w 2370773"/>
                <a:gd name="connsiteY179" fmla="*/ 1785937 h 1940242"/>
                <a:gd name="connsiteX180" fmla="*/ 713423 w 2370773"/>
                <a:gd name="connsiteY180" fmla="*/ 1783079 h 1940242"/>
                <a:gd name="connsiteX181" fmla="*/ 736283 w 2370773"/>
                <a:gd name="connsiteY181" fmla="*/ 1805939 h 1940242"/>
                <a:gd name="connsiteX182" fmla="*/ 713423 w 2370773"/>
                <a:gd name="connsiteY182" fmla="*/ 1828799 h 1940242"/>
                <a:gd name="connsiteX183" fmla="*/ 690563 w 2370773"/>
                <a:gd name="connsiteY183" fmla="*/ 1805939 h 1940242"/>
                <a:gd name="connsiteX184" fmla="*/ 713423 w 2370773"/>
                <a:gd name="connsiteY184" fmla="*/ 1783079 h 1940242"/>
                <a:gd name="connsiteX185" fmla="*/ 1415415 w 2370773"/>
                <a:gd name="connsiteY185" fmla="*/ 1782127 h 1940242"/>
                <a:gd name="connsiteX186" fmla="*/ 1433512 w 2370773"/>
                <a:gd name="connsiteY186" fmla="*/ 1800224 h 1940242"/>
                <a:gd name="connsiteX187" fmla="*/ 1415415 w 2370773"/>
                <a:gd name="connsiteY187" fmla="*/ 1818322 h 1940242"/>
                <a:gd name="connsiteX188" fmla="*/ 1397317 w 2370773"/>
                <a:gd name="connsiteY188" fmla="*/ 1800224 h 1940242"/>
                <a:gd name="connsiteX189" fmla="*/ 1415415 w 2370773"/>
                <a:gd name="connsiteY189" fmla="*/ 1782127 h 1940242"/>
                <a:gd name="connsiteX190" fmla="*/ 1185863 w 2370773"/>
                <a:gd name="connsiteY190" fmla="*/ 1780222 h 1940242"/>
                <a:gd name="connsiteX191" fmla="*/ 1205865 w 2370773"/>
                <a:gd name="connsiteY191" fmla="*/ 1800225 h 1940242"/>
                <a:gd name="connsiteX192" fmla="*/ 1185863 w 2370773"/>
                <a:gd name="connsiteY192" fmla="*/ 1820227 h 1940242"/>
                <a:gd name="connsiteX193" fmla="*/ 1165860 w 2370773"/>
                <a:gd name="connsiteY193" fmla="*/ 1800225 h 1940242"/>
                <a:gd name="connsiteX194" fmla="*/ 1185863 w 2370773"/>
                <a:gd name="connsiteY194" fmla="*/ 1780222 h 1940242"/>
                <a:gd name="connsiteX195" fmla="*/ 1472565 w 2370773"/>
                <a:gd name="connsiteY195" fmla="*/ 1776412 h 1940242"/>
                <a:gd name="connsiteX196" fmla="*/ 1490662 w 2370773"/>
                <a:gd name="connsiteY196" fmla="*/ 1794509 h 1940242"/>
                <a:gd name="connsiteX197" fmla="*/ 1472565 w 2370773"/>
                <a:gd name="connsiteY197" fmla="*/ 1812607 h 1940242"/>
                <a:gd name="connsiteX198" fmla="*/ 1454467 w 2370773"/>
                <a:gd name="connsiteY198" fmla="*/ 1794509 h 1940242"/>
                <a:gd name="connsiteX199" fmla="*/ 1472565 w 2370773"/>
                <a:gd name="connsiteY199" fmla="*/ 1776412 h 1940242"/>
                <a:gd name="connsiteX200" fmla="*/ 1127760 w 2370773"/>
                <a:gd name="connsiteY200" fmla="*/ 1776412 h 1940242"/>
                <a:gd name="connsiteX201" fmla="*/ 1144905 w 2370773"/>
                <a:gd name="connsiteY201" fmla="*/ 1793557 h 1940242"/>
                <a:gd name="connsiteX202" fmla="*/ 1127760 w 2370773"/>
                <a:gd name="connsiteY202" fmla="*/ 1810702 h 1940242"/>
                <a:gd name="connsiteX203" fmla="*/ 1110615 w 2370773"/>
                <a:gd name="connsiteY203" fmla="*/ 1793557 h 1940242"/>
                <a:gd name="connsiteX204" fmla="*/ 1127760 w 2370773"/>
                <a:gd name="connsiteY204" fmla="*/ 1776412 h 1940242"/>
                <a:gd name="connsiteX205" fmla="*/ 1529715 w 2370773"/>
                <a:gd name="connsiteY205" fmla="*/ 1769745 h 1940242"/>
                <a:gd name="connsiteX206" fmla="*/ 1544955 w 2370773"/>
                <a:gd name="connsiteY206" fmla="*/ 1784985 h 1940242"/>
                <a:gd name="connsiteX207" fmla="*/ 1529715 w 2370773"/>
                <a:gd name="connsiteY207" fmla="*/ 1800225 h 1940242"/>
                <a:gd name="connsiteX208" fmla="*/ 1514475 w 2370773"/>
                <a:gd name="connsiteY208" fmla="*/ 1784985 h 1940242"/>
                <a:gd name="connsiteX209" fmla="*/ 1529715 w 2370773"/>
                <a:gd name="connsiteY209" fmla="*/ 1769745 h 1940242"/>
                <a:gd name="connsiteX210" fmla="*/ 834390 w 2370773"/>
                <a:gd name="connsiteY210" fmla="*/ 1766887 h 1940242"/>
                <a:gd name="connsiteX211" fmla="*/ 854393 w 2370773"/>
                <a:gd name="connsiteY211" fmla="*/ 1786890 h 1940242"/>
                <a:gd name="connsiteX212" fmla="*/ 834390 w 2370773"/>
                <a:gd name="connsiteY212" fmla="*/ 1806892 h 1940242"/>
                <a:gd name="connsiteX213" fmla="*/ 814388 w 2370773"/>
                <a:gd name="connsiteY213" fmla="*/ 1786890 h 1940242"/>
                <a:gd name="connsiteX214" fmla="*/ 834390 w 2370773"/>
                <a:gd name="connsiteY214" fmla="*/ 1766887 h 1940242"/>
                <a:gd name="connsiteX215" fmla="*/ 1793558 w 2370773"/>
                <a:gd name="connsiteY215" fmla="*/ 1765934 h 1940242"/>
                <a:gd name="connsiteX216" fmla="*/ 1804035 w 2370773"/>
                <a:gd name="connsiteY216" fmla="*/ 1776412 h 1940242"/>
                <a:gd name="connsiteX217" fmla="*/ 1793558 w 2370773"/>
                <a:gd name="connsiteY217" fmla="*/ 1786889 h 1940242"/>
                <a:gd name="connsiteX218" fmla="*/ 1783080 w 2370773"/>
                <a:gd name="connsiteY218" fmla="*/ 1776412 h 1940242"/>
                <a:gd name="connsiteX219" fmla="*/ 1793558 w 2370773"/>
                <a:gd name="connsiteY219" fmla="*/ 1765934 h 1940242"/>
                <a:gd name="connsiteX220" fmla="*/ 1071563 w 2370773"/>
                <a:gd name="connsiteY220" fmla="*/ 1764029 h 1940242"/>
                <a:gd name="connsiteX221" fmla="*/ 1092518 w 2370773"/>
                <a:gd name="connsiteY221" fmla="*/ 1784984 h 1940242"/>
                <a:gd name="connsiteX222" fmla="*/ 1071563 w 2370773"/>
                <a:gd name="connsiteY222" fmla="*/ 1805939 h 1940242"/>
                <a:gd name="connsiteX223" fmla="*/ 1050608 w 2370773"/>
                <a:gd name="connsiteY223" fmla="*/ 1784984 h 1940242"/>
                <a:gd name="connsiteX224" fmla="*/ 1071563 w 2370773"/>
                <a:gd name="connsiteY224" fmla="*/ 1764029 h 1940242"/>
                <a:gd name="connsiteX225" fmla="*/ 661035 w 2370773"/>
                <a:gd name="connsiteY225" fmla="*/ 1762125 h 1940242"/>
                <a:gd name="connsiteX226" fmla="*/ 680085 w 2370773"/>
                <a:gd name="connsiteY226" fmla="*/ 1781175 h 1940242"/>
                <a:gd name="connsiteX227" fmla="*/ 661035 w 2370773"/>
                <a:gd name="connsiteY227" fmla="*/ 1800225 h 1940242"/>
                <a:gd name="connsiteX228" fmla="*/ 641985 w 2370773"/>
                <a:gd name="connsiteY228" fmla="*/ 1781175 h 1940242"/>
                <a:gd name="connsiteX229" fmla="*/ 661035 w 2370773"/>
                <a:gd name="connsiteY229" fmla="*/ 1762125 h 1940242"/>
                <a:gd name="connsiteX230" fmla="*/ 1586865 w 2370773"/>
                <a:gd name="connsiteY230" fmla="*/ 1756409 h 1940242"/>
                <a:gd name="connsiteX231" fmla="*/ 1604009 w 2370773"/>
                <a:gd name="connsiteY231" fmla="*/ 1773554 h 1940242"/>
                <a:gd name="connsiteX232" fmla="*/ 1586865 w 2370773"/>
                <a:gd name="connsiteY232" fmla="*/ 1790699 h 1940242"/>
                <a:gd name="connsiteX233" fmla="*/ 1569720 w 2370773"/>
                <a:gd name="connsiteY233" fmla="*/ 1773554 h 1940242"/>
                <a:gd name="connsiteX234" fmla="*/ 1586865 w 2370773"/>
                <a:gd name="connsiteY234" fmla="*/ 1756409 h 1940242"/>
                <a:gd name="connsiteX235" fmla="*/ 1846898 w 2370773"/>
                <a:gd name="connsiteY235" fmla="*/ 1751647 h 1940242"/>
                <a:gd name="connsiteX236" fmla="*/ 1849755 w 2370773"/>
                <a:gd name="connsiteY236" fmla="*/ 1754505 h 1940242"/>
                <a:gd name="connsiteX237" fmla="*/ 1846898 w 2370773"/>
                <a:gd name="connsiteY237" fmla="*/ 1757362 h 1940242"/>
                <a:gd name="connsiteX238" fmla="*/ 1844040 w 2370773"/>
                <a:gd name="connsiteY238" fmla="*/ 1754505 h 1940242"/>
                <a:gd name="connsiteX239" fmla="*/ 1846898 w 2370773"/>
                <a:gd name="connsiteY239" fmla="*/ 1751647 h 1940242"/>
                <a:gd name="connsiteX240" fmla="*/ 1014413 w 2370773"/>
                <a:gd name="connsiteY240" fmla="*/ 1749742 h 1940242"/>
                <a:gd name="connsiteX241" fmla="*/ 1038225 w 2370773"/>
                <a:gd name="connsiteY241" fmla="*/ 1773555 h 1940242"/>
                <a:gd name="connsiteX242" fmla="*/ 1014413 w 2370773"/>
                <a:gd name="connsiteY242" fmla="*/ 1797367 h 1940242"/>
                <a:gd name="connsiteX243" fmla="*/ 990600 w 2370773"/>
                <a:gd name="connsiteY243" fmla="*/ 1773555 h 1940242"/>
                <a:gd name="connsiteX244" fmla="*/ 1014413 w 2370773"/>
                <a:gd name="connsiteY244" fmla="*/ 1749742 h 1940242"/>
                <a:gd name="connsiteX245" fmla="*/ 610552 w 2370773"/>
                <a:gd name="connsiteY245" fmla="*/ 1746884 h 1940242"/>
                <a:gd name="connsiteX246" fmla="*/ 616267 w 2370773"/>
                <a:gd name="connsiteY246" fmla="*/ 1753552 h 1940242"/>
                <a:gd name="connsiteX247" fmla="*/ 610552 w 2370773"/>
                <a:gd name="connsiteY247" fmla="*/ 1760219 h 1940242"/>
                <a:gd name="connsiteX248" fmla="*/ 603885 w 2370773"/>
                <a:gd name="connsiteY248" fmla="*/ 1753552 h 1940242"/>
                <a:gd name="connsiteX249" fmla="*/ 610552 w 2370773"/>
                <a:gd name="connsiteY249" fmla="*/ 1746884 h 1940242"/>
                <a:gd name="connsiteX250" fmla="*/ 781050 w 2370773"/>
                <a:gd name="connsiteY250" fmla="*/ 1744027 h 1940242"/>
                <a:gd name="connsiteX251" fmla="*/ 802957 w 2370773"/>
                <a:gd name="connsiteY251" fmla="*/ 1765934 h 1940242"/>
                <a:gd name="connsiteX252" fmla="*/ 781050 w 2370773"/>
                <a:gd name="connsiteY252" fmla="*/ 1787842 h 1940242"/>
                <a:gd name="connsiteX253" fmla="*/ 759142 w 2370773"/>
                <a:gd name="connsiteY253" fmla="*/ 1765934 h 1940242"/>
                <a:gd name="connsiteX254" fmla="*/ 781050 w 2370773"/>
                <a:gd name="connsiteY254" fmla="*/ 1744027 h 1940242"/>
                <a:gd name="connsiteX255" fmla="*/ 1642111 w 2370773"/>
                <a:gd name="connsiteY255" fmla="*/ 1743075 h 1940242"/>
                <a:gd name="connsiteX256" fmla="*/ 1658303 w 2370773"/>
                <a:gd name="connsiteY256" fmla="*/ 1759267 h 1940242"/>
                <a:gd name="connsiteX257" fmla="*/ 1642111 w 2370773"/>
                <a:gd name="connsiteY257" fmla="*/ 1775460 h 1940242"/>
                <a:gd name="connsiteX258" fmla="*/ 1625918 w 2370773"/>
                <a:gd name="connsiteY258" fmla="*/ 1759267 h 1940242"/>
                <a:gd name="connsiteX259" fmla="*/ 1642111 w 2370773"/>
                <a:gd name="connsiteY259" fmla="*/ 1743075 h 1940242"/>
                <a:gd name="connsiteX260" fmla="*/ 959168 w 2370773"/>
                <a:gd name="connsiteY260" fmla="*/ 1736407 h 1940242"/>
                <a:gd name="connsiteX261" fmla="*/ 982028 w 2370773"/>
                <a:gd name="connsiteY261" fmla="*/ 1759267 h 1940242"/>
                <a:gd name="connsiteX262" fmla="*/ 959168 w 2370773"/>
                <a:gd name="connsiteY262" fmla="*/ 1782127 h 1940242"/>
                <a:gd name="connsiteX263" fmla="*/ 936308 w 2370773"/>
                <a:gd name="connsiteY263" fmla="*/ 1759267 h 1940242"/>
                <a:gd name="connsiteX264" fmla="*/ 959168 w 2370773"/>
                <a:gd name="connsiteY264" fmla="*/ 1736407 h 1940242"/>
                <a:gd name="connsiteX265" fmla="*/ 1697355 w 2370773"/>
                <a:gd name="connsiteY265" fmla="*/ 1726882 h 1940242"/>
                <a:gd name="connsiteX266" fmla="*/ 1713548 w 2370773"/>
                <a:gd name="connsiteY266" fmla="*/ 1743074 h 1940242"/>
                <a:gd name="connsiteX267" fmla="*/ 1697355 w 2370773"/>
                <a:gd name="connsiteY267" fmla="*/ 1759267 h 1940242"/>
                <a:gd name="connsiteX268" fmla="*/ 1681163 w 2370773"/>
                <a:gd name="connsiteY268" fmla="*/ 1743074 h 1940242"/>
                <a:gd name="connsiteX269" fmla="*/ 1697355 w 2370773"/>
                <a:gd name="connsiteY269" fmla="*/ 1726882 h 1940242"/>
                <a:gd name="connsiteX270" fmla="*/ 1200150 w 2370773"/>
                <a:gd name="connsiteY270" fmla="*/ 1722120 h 1940242"/>
                <a:gd name="connsiteX271" fmla="*/ 1215390 w 2370773"/>
                <a:gd name="connsiteY271" fmla="*/ 1737360 h 1940242"/>
                <a:gd name="connsiteX272" fmla="*/ 1200150 w 2370773"/>
                <a:gd name="connsiteY272" fmla="*/ 1752600 h 1940242"/>
                <a:gd name="connsiteX273" fmla="*/ 1184910 w 2370773"/>
                <a:gd name="connsiteY273" fmla="*/ 1737360 h 1940242"/>
                <a:gd name="connsiteX274" fmla="*/ 1200150 w 2370773"/>
                <a:gd name="connsiteY274" fmla="*/ 1722120 h 1940242"/>
                <a:gd name="connsiteX275" fmla="*/ 728663 w 2370773"/>
                <a:gd name="connsiteY275" fmla="*/ 1721167 h 1940242"/>
                <a:gd name="connsiteX276" fmla="*/ 749618 w 2370773"/>
                <a:gd name="connsiteY276" fmla="*/ 1742122 h 1940242"/>
                <a:gd name="connsiteX277" fmla="*/ 728663 w 2370773"/>
                <a:gd name="connsiteY277" fmla="*/ 1763077 h 1940242"/>
                <a:gd name="connsiteX278" fmla="*/ 707708 w 2370773"/>
                <a:gd name="connsiteY278" fmla="*/ 1742122 h 1940242"/>
                <a:gd name="connsiteX279" fmla="*/ 728663 w 2370773"/>
                <a:gd name="connsiteY279" fmla="*/ 1721167 h 1940242"/>
                <a:gd name="connsiteX280" fmla="*/ 1899285 w 2370773"/>
                <a:gd name="connsiteY280" fmla="*/ 1720215 h 1940242"/>
                <a:gd name="connsiteX281" fmla="*/ 1908810 w 2370773"/>
                <a:gd name="connsiteY281" fmla="*/ 1729740 h 1940242"/>
                <a:gd name="connsiteX282" fmla="*/ 1899285 w 2370773"/>
                <a:gd name="connsiteY282" fmla="*/ 1739265 h 1940242"/>
                <a:gd name="connsiteX283" fmla="*/ 1889760 w 2370773"/>
                <a:gd name="connsiteY283" fmla="*/ 1729740 h 1940242"/>
                <a:gd name="connsiteX284" fmla="*/ 1899285 w 2370773"/>
                <a:gd name="connsiteY284" fmla="*/ 1720215 h 1940242"/>
                <a:gd name="connsiteX285" fmla="*/ 903923 w 2370773"/>
                <a:gd name="connsiteY285" fmla="*/ 1720215 h 1940242"/>
                <a:gd name="connsiteX286" fmla="*/ 926783 w 2370773"/>
                <a:gd name="connsiteY286" fmla="*/ 1743075 h 1940242"/>
                <a:gd name="connsiteX287" fmla="*/ 903923 w 2370773"/>
                <a:gd name="connsiteY287" fmla="*/ 1765935 h 1940242"/>
                <a:gd name="connsiteX288" fmla="*/ 881063 w 2370773"/>
                <a:gd name="connsiteY288" fmla="*/ 1743075 h 1940242"/>
                <a:gd name="connsiteX289" fmla="*/ 903923 w 2370773"/>
                <a:gd name="connsiteY289" fmla="*/ 1720215 h 1940242"/>
                <a:gd name="connsiteX290" fmla="*/ 1315403 w 2370773"/>
                <a:gd name="connsiteY290" fmla="*/ 1719262 h 1940242"/>
                <a:gd name="connsiteX291" fmla="*/ 1337310 w 2370773"/>
                <a:gd name="connsiteY291" fmla="*/ 1741170 h 1940242"/>
                <a:gd name="connsiteX292" fmla="*/ 1315403 w 2370773"/>
                <a:gd name="connsiteY292" fmla="*/ 1763077 h 1940242"/>
                <a:gd name="connsiteX293" fmla="*/ 1293495 w 2370773"/>
                <a:gd name="connsiteY293" fmla="*/ 1741170 h 1940242"/>
                <a:gd name="connsiteX294" fmla="*/ 1315403 w 2370773"/>
                <a:gd name="connsiteY294" fmla="*/ 1719262 h 1940242"/>
                <a:gd name="connsiteX295" fmla="*/ 1257300 w 2370773"/>
                <a:gd name="connsiteY295" fmla="*/ 1719262 h 1940242"/>
                <a:gd name="connsiteX296" fmla="*/ 1278255 w 2370773"/>
                <a:gd name="connsiteY296" fmla="*/ 1740217 h 1940242"/>
                <a:gd name="connsiteX297" fmla="*/ 1257300 w 2370773"/>
                <a:gd name="connsiteY297" fmla="*/ 1761172 h 1940242"/>
                <a:gd name="connsiteX298" fmla="*/ 1236345 w 2370773"/>
                <a:gd name="connsiteY298" fmla="*/ 1740217 h 1940242"/>
                <a:gd name="connsiteX299" fmla="*/ 1257300 w 2370773"/>
                <a:gd name="connsiteY299" fmla="*/ 1719262 h 1940242"/>
                <a:gd name="connsiteX300" fmla="*/ 1372553 w 2370773"/>
                <a:gd name="connsiteY300" fmla="*/ 1717357 h 1940242"/>
                <a:gd name="connsiteX301" fmla="*/ 1394460 w 2370773"/>
                <a:gd name="connsiteY301" fmla="*/ 1739265 h 1940242"/>
                <a:gd name="connsiteX302" fmla="*/ 1372553 w 2370773"/>
                <a:gd name="connsiteY302" fmla="*/ 1761172 h 1940242"/>
                <a:gd name="connsiteX303" fmla="*/ 1350645 w 2370773"/>
                <a:gd name="connsiteY303" fmla="*/ 1739265 h 1940242"/>
                <a:gd name="connsiteX304" fmla="*/ 1372553 w 2370773"/>
                <a:gd name="connsiteY304" fmla="*/ 1717357 h 1940242"/>
                <a:gd name="connsiteX305" fmla="*/ 1429703 w 2370773"/>
                <a:gd name="connsiteY305" fmla="*/ 1714500 h 1940242"/>
                <a:gd name="connsiteX306" fmla="*/ 1449705 w 2370773"/>
                <a:gd name="connsiteY306" fmla="*/ 1734503 h 1940242"/>
                <a:gd name="connsiteX307" fmla="*/ 1429703 w 2370773"/>
                <a:gd name="connsiteY307" fmla="*/ 1754505 h 1940242"/>
                <a:gd name="connsiteX308" fmla="*/ 1409700 w 2370773"/>
                <a:gd name="connsiteY308" fmla="*/ 1734503 h 1940242"/>
                <a:gd name="connsiteX309" fmla="*/ 1429703 w 2370773"/>
                <a:gd name="connsiteY309" fmla="*/ 1714500 h 1940242"/>
                <a:gd name="connsiteX310" fmla="*/ 1142047 w 2370773"/>
                <a:gd name="connsiteY310" fmla="*/ 1714500 h 1940242"/>
                <a:gd name="connsiteX311" fmla="*/ 1159192 w 2370773"/>
                <a:gd name="connsiteY311" fmla="*/ 1731645 h 1940242"/>
                <a:gd name="connsiteX312" fmla="*/ 1142047 w 2370773"/>
                <a:gd name="connsiteY312" fmla="*/ 1748790 h 1940242"/>
                <a:gd name="connsiteX313" fmla="*/ 1124902 w 2370773"/>
                <a:gd name="connsiteY313" fmla="*/ 1731645 h 1940242"/>
                <a:gd name="connsiteX314" fmla="*/ 1142047 w 2370773"/>
                <a:gd name="connsiteY314" fmla="*/ 1714500 h 1940242"/>
                <a:gd name="connsiteX315" fmla="*/ 561022 w 2370773"/>
                <a:gd name="connsiteY315" fmla="*/ 1713547 h 1940242"/>
                <a:gd name="connsiteX316" fmla="*/ 572452 w 2370773"/>
                <a:gd name="connsiteY316" fmla="*/ 1724977 h 1940242"/>
                <a:gd name="connsiteX317" fmla="*/ 561022 w 2370773"/>
                <a:gd name="connsiteY317" fmla="*/ 1736407 h 1940242"/>
                <a:gd name="connsiteX318" fmla="*/ 549592 w 2370773"/>
                <a:gd name="connsiteY318" fmla="*/ 1724977 h 1940242"/>
                <a:gd name="connsiteX319" fmla="*/ 561022 w 2370773"/>
                <a:gd name="connsiteY319" fmla="*/ 1713547 h 1940242"/>
                <a:gd name="connsiteX320" fmla="*/ 1751648 w 2370773"/>
                <a:gd name="connsiteY320" fmla="*/ 1708784 h 1940242"/>
                <a:gd name="connsiteX321" fmla="*/ 1766888 w 2370773"/>
                <a:gd name="connsiteY321" fmla="*/ 1724024 h 1940242"/>
                <a:gd name="connsiteX322" fmla="*/ 1751648 w 2370773"/>
                <a:gd name="connsiteY322" fmla="*/ 1739264 h 1940242"/>
                <a:gd name="connsiteX323" fmla="*/ 1736408 w 2370773"/>
                <a:gd name="connsiteY323" fmla="*/ 1724024 h 1940242"/>
                <a:gd name="connsiteX324" fmla="*/ 1751648 w 2370773"/>
                <a:gd name="connsiteY324" fmla="*/ 1708784 h 1940242"/>
                <a:gd name="connsiteX325" fmla="*/ 1486853 w 2370773"/>
                <a:gd name="connsiteY325" fmla="*/ 1707832 h 1940242"/>
                <a:gd name="connsiteX326" fmla="*/ 1505903 w 2370773"/>
                <a:gd name="connsiteY326" fmla="*/ 1726882 h 1940242"/>
                <a:gd name="connsiteX327" fmla="*/ 1486853 w 2370773"/>
                <a:gd name="connsiteY327" fmla="*/ 1745932 h 1940242"/>
                <a:gd name="connsiteX328" fmla="*/ 1467803 w 2370773"/>
                <a:gd name="connsiteY328" fmla="*/ 1726882 h 1940242"/>
                <a:gd name="connsiteX329" fmla="*/ 1486853 w 2370773"/>
                <a:gd name="connsiteY329" fmla="*/ 1707832 h 1940242"/>
                <a:gd name="connsiteX330" fmla="*/ 848677 w 2370773"/>
                <a:gd name="connsiteY330" fmla="*/ 1704975 h 1940242"/>
                <a:gd name="connsiteX331" fmla="*/ 867727 w 2370773"/>
                <a:gd name="connsiteY331" fmla="*/ 1724025 h 1940242"/>
                <a:gd name="connsiteX332" fmla="*/ 848677 w 2370773"/>
                <a:gd name="connsiteY332" fmla="*/ 1743075 h 1940242"/>
                <a:gd name="connsiteX333" fmla="*/ 829627 w 2370773"/>
                <a:gd name="connsiteY333" fmla="*/ 1724025 h 1940242"/>
                <a:gd name="connsiteX334" fmla="*/ 848677 w 2370773"/>
                <a:gd name="connsiteY334" fmla="*/ 1704975 h 1940242"/>
                <a:gd name="connsiteX335" fmla="*/ 1085850 w 2370773"/>
                <a:gd name="connsiteY335" fmla="*/ 1702117 h 1940242"/>
                <a:gd name="connsiteX336" fmla="*/ 1106805 w 2370773"/>
                <a:gd name="connsiteY336" fmla="*/ 1723072 h 1940242"/>
                <a:gd name="connsiteX337" fmla="*/ 1085850 w 2370773"/>
                <a:gd name="connsiteY337" fmla="*/ 1744027 h 1940242"/>
                <a:gd name="connsiteX338" fmla="*/ 1064895 w 2370773"/>
                <a:gd name="connsiteY338" fmla="*/ 1723072 h 1940242"/>
                <a:gd name="connsiteX339" fmla="*/ 1085850 w 2370773"/>
                <a:gd name="connsiteY339" fmla="*/ 1702117 h 1940242"/>
                <a:gd name="connsiteX340" fmla="*/ 1949768 w 2370773"/>
                <a:gd name="connsiteY340" fmla="*/ 1699259 h 1940242"/>
                <a:gd name="connsiteX341" fmla="*/ 1953578 w 2370773"/>
                <a:gd name="connsiteY341" fmla="*/ 1703069 h 1940242"/>
                <a:gd name="connsiteX342" fmla="*/ 1949768 w 2370773"/>
                <a:gd name="connsiteY342" fmla="*/ 1706879 h 1940242"/>
                <a:gd name="connsiteX343" fmla="*/ 1945958 w 2370773"/>
                <a:gd name="connsiteY343" fmla="*/ 1703069 h 1940242"/>
                <a:gd name="connsiteX344" fmla="*/ 1949768 w 2370773"/>
                <a:gd name="connsiteY344" fmla="*/ 1699259 h 1940242"/>
                <a:gd name="connsiteX345" fmla="*/ 1544003 w 2370773"/>
                <a:gd name="connsiteY345" fmla="*/ 1699259 h 1940242"/>
                <a:gd name="connsiteX346" fmla="*/ 1562100 w 2370773"/>
                <a:gd name="connsiteY346" fmla="*/ 1717357 h 1940242"/>
                <a:gd name="connsiteX347" fmla="*/ 1544003 w 2370773"/>
                <a:gd name="connsiteY347" fmla="*/ 1735454 h 1940242"/>
                <a:gd name="connsiteX348" fmla="*/ 1525905 w 2370773"/>
                <a:gd name="connsiteY348" fmla="*/ 1717357 h 1940242"/>
                <a:gd name="connsiteX349" fmla="*/ 1544003 w 2370773"/>
                <a:gd name="connsiteY349" fmla="*/ 1699259 h 1940242"/>
                <a:gd name="connsiteX350" fmla="*/ 676275 w 2370773"/>
                <a:gd name="connsiteY350" fmla="*/ 1696402 h 1940242"/>
                <a:gd name="connsiteX351" fmla="*/ 697230 w 2370773"/>
                <a:gd name="connsiteY351" fmla="*/ 1717357 h 1940242"/>
                <a:gd name="connsiteX352" fmla="*/ 676275 w 2370773"/>
                <a:gd name="connsiteY352" fmla="*/ 1738312 h 1940242"/>
                <a:gd name="connsiteX353" fmla="*/ 655320 w 2370773"/>
                <a:gd name="connsiteY353" fmla="*/ 1717357 h 1940242"/>
                <a:gd name="connsiteX354" fmla="*/ 676275 w 2370773"/>
                <a:gd name="connsiteY354" fmla="*/ 1696402 h 1940242"/>
                <a:gd name="connsiteX355" fmla="*/ 512445 w 2370773"/>
                <a:gd name="connsiteY355" fmla="*/ 1690687 h 1940242"/>
                <a:gd name="connsiteX356" fmla="*/ 515303 w 2370773"/>
                <a:gd name="connsiteY356" fmla="*/ 1693545 h 1940242"/>
                <a:gd name="connsiteX357" fmla="*/ 512445 w 2370773"/>
                <a:gd name="connsiteY357" fmla="*/ 1696402 h 1940242"/>
                <a:gd name="connsiteX358" fmla="*/ 509588 w 2370773"/>
                <a:gd name="connsiteY358" fmla="*/ 1693545 h 1940242"/>
                <a:gd name="connsiteX359" fmla="*/ 512445 w 2370773"/>
                <a:gd name="connsiteY359" fmla="*/ 1690687 h 1940242"/>
                <a:gd name="connsiteX360" fmla="*/ 1028700 w 2370773"/>
                <a:gd name="connsiteY360" fmla="*/ 1689734 h 1940242"/>
                <a:gd name="connsiteX361" fmla="*/ 1049655 w 2370773"/>
                <a:gd name="connsiteY361" fmla="*/ 1710689 h 1940242"/>
                <a:gd name="connsiteX362" fmla="*/ 1028700 w 2370773"/>
                <a:gd name="connsiteY362" fmla="*/ 1731644 h 1940242"/>
                <a:gd name="connsiteX363" fmla="*/ 1007745 w 2370773"/>
                <a:gd name="connsiteY363" fmla="*/ 1710689 h 1940242"/>
                <a:gd name="connsiteX364" fmla="*/ 1028700 w 2370773"/>
                <a:gd name="connsiteY364" fmla="*/ 1689734 h 1940242"/>
                <a:gd name="connsiteX365" fmla="*/ 1805940 w 2370773"/>
                <a:gd name="connsiteY365" fmla="*/ 1688782 h 1940242"/>
                <a:gd name="connsiteX366" fmla="*/ 1819275 w 2370773"/>
                <a:gd name="connsiteY366" fmla="*/ 1702117 h 1940242"/>
                <a:gd name="connsiteX367" fmla="*/ 1805940 w 2370773"/>
                <a:gd name="connsiteY367" fmla="*/ 1715452 h 1940242"/>
                <a:gd name="connsiteX368" fmla="*/ 1792605 w 2370773"/>
                <a:gd name="connsiteY368" fmla="*/ 1702117 h 1940242"/>
                <a:gd name="connsiteX369" fmla="*/ 1805940 w 2370773"/>
                <a:gd name="connsiteY369" fmla="*/ 1688782 h 1940242"/>
                <a:gd name="connsiteX370" fmla="*/ 1600200 w 2370773"/>
                <a:gd name="connsiteY370" fmla="*/ 1685925 h 1940242"/>
                <a:gd name="connsiteX371" fmla="*/ 1618298 w 2370773"/>
                <a:gd name="connsiteY371" fmla="*/ 1704022 h 1940242"/>
                <a:gd name="connsiteX372" fmla="*/ 1600200 w 2370773"/>
                <a:gd name="connsiteY372" fmla="*/ 1722120 h 1940242"/>
                <a:gd name="connsiteX373" fmla="*/ 1582103 w 2370773"/>
                <a:gd name="connsiteY373" fmla="*/ 1704022 h 1940242"/>
                <a:gd name="connsiteX374" fmla="*/ 1600200 w 2370773"/>
                <a:gd name="connsiteY374" fmla="*/ 1685925 h 1940242"/>
                <a:gd name="connsiteX375" fmla="*/ 795338 w 2370773"/>
                <a:gd name="connsiteY375" fmla="*/ 1680210 h 1940242"/>
                <a:gd name="connsiteX376" fmla="*/ 817245 w 2370773"/>
                <a:gd name="connsiteY376" fmla="*/ 1702117 h 1940242"/>
                <a:gd name="connsiteX377" fmla="*/ 795338 w 2370773"/>
                <a:gd name="connsiteY377" fmla="*/ 1724025 h 1940242"/>
                <a:gd name="connsiteX378" fmla="*/ 773430 w 2370773"/>
                <a:gd name="connsiteY378" fmla="*/ 1702117 h 1940242"/>
                <a:gd name="connsiteX379" fmla="*/ 795338 w 2370773"/>
                <a:gd name="connsiteY379" fmla="*/ 1680210 h 1940242"/>
                <a:gd name="connsiteX380" fmla="*/ 973455 w 2370773"/>
                <a:gd name="connsiteY380" fmla="*/ 1675447 h 1940242"/>
                <a:gd name="connsiteX381" fmla="*/ 995362 w 2370773"/>
                <a:gd name="connsiteY381" fmla="*/ 1697355 h 1940242"/>
                <a:gd name="connsiteX382" fmla="*/ 973455 w 2370773"/>
                <a:gd name="connsiteY382" fmla="*/ 1719262 h 1940242"/>
                <a:gd name="connsiteX383" fmla="*/ 951547 w 2370773"/>
                <a:gd name="connsiteY383" fmla="*/ 1697355 h 1940242"/>
                <a:gd name="connsiteX384" fmla="*/ 973455 w 2370773"/>
                <a:gd name="connsiteY384" fmla="*/ 1675447 h 1940242"/>
                <a:gd name="connsiteX385" fmla="*/ 2000250 w 2370773"/>
                <a:gd name="connsiteY385" fmla="*/ 1670684 h 1940242"/>
                <a:gd name="connsiteX386" fmla="*/ 2004060 w 2370773"/>
                <a:gd name="connsiteY386" fmla="*/ 1674494 h 1940242"/>
                <a:gd name="connsiteX387" fmla="*/ 2000250 w 2370773"/>
                <a:gd name="connsiteY387" fmla="*/ 1678304 h 1940242"/>
                <a:gd name="connsiteX388" fmla="*/ 1996440 w 2370773"/>
                <a:gd name="connsiteY388" fmla="*/ 1674494 h 1940242"/>
                <a:gd name="connsiteX389" fmla="*/ 2000250 w 2370773"/>
                <a:gd name="connsiteY389" fmla="*/ 1670684 h 1940242"/>
                <a:gd name="connsiteX390" fmla="*/ 1655445 w 2370773"/>
                <a:gd name="connsiteY390" fmla="*/ 1669732 h 1940242"/>
                <a:gd name="connsiteX391" fmla="*/ 1673542 w 2370773"/>
                <a:gd name="connsiteY391" fmla="*/ 1687829 h 1940242"/>
                <a:gd name="connsiteX392" fmla="*/ 1655445 w 2370773"/>
                <a:gd name="connsiteY392" fmla="*/ 1705927 h 1940242"/>
                <a:gd name="connsiteX393" fmla="*/ 1637347 w 2370773"/>
                <a:gd name="connsiteY393" fmla="*/ 1687829 h 1940242"/>
                <a:gd name="connsiteX394" fmla="*/ 1655445 w 2370773"/>
                <a:gd name="connsiteY394" fmla="*/ 1669732 h 1940242"/>
                <a:gd name="connsiteX395" fmla="*/ 625792 w 2370773"/>
                <a:gd name="connsiteY395" fmla="*/ 1666875 h 1940242"/>
                <a:gd name="connsiteX396" fmla="*/ 647700 w 2370773"/>
                <a:gd name="connsiteY396" fmla="*/ 1688783 h 1940242"/>
                <a:gd name="connsiteX397" fmla="*/ 625792 w 2370773"/>
                <a:gd name="connsiteY397" fmla="*/ 1710690 h 1940242"/>
                <a:gd name="connsiteX398" fmla="*/ 603885 w 2370773"/>
                <a:gd name="connsiteY398" fmla="*/ 1688783 h 1940242"/>
                <a:gd name="connsiteX399" fmla="*/ 625792 w 2370773"/>
                <a:gd name="connsiteY399" fmla="*/ 1666875 h 1940242"/>
                <a:gd name="connsiteX400" fmla="*/ 1858328 w 2370773"/>
                <a:gd name="connsiteY400" fmla="*/ 1663065 h 1940242"/>
                <a:gd name="connsiteX401" fmla="*/ 1873568 w 2370773"/>
                <a:gd name="connsiteY401" fmla="*/ 1678305 h 1940242"/>
                <a:gd name="connsiteX402" fmla="*/ 1858328 w 2370773"/>
                <a:gd name="connsiteY402" fmla="*/ 1693545 h 1940242"/>
                <a:gd name="connsiteX403" fmla="*/ 1843088 w 2370773"/>
                <a:gd name="connsiteY403" fmla="*/ 1678305 h 1940242"/>
                <a:gd name="connsiteX404" fmla="*/ 1858328 w 2370773"/>
                <a:gd name="connsiteY404" fmla="*/ 1663065 h 1940242"/>
                <a:gd name="connsiteX405" fmla="*/ 918210 w 2370773"/>
                <a:gd name="connsiteY405" fmla="*/ 1660207 h 1940242"/>
                <a:gd name="connsiteX406" fmla="*/ 938213 w 2370773"/>
                <a:gd name="connsiteY406" fmla="*/ 1680209 h 1940242"/>
                <a:gd name="connsiteX407" fmla="*/ 918210 w 2370773"/>
                <a:gd name="connsiteY407" fmla="*/ 1700212 h 1940242"/>
                <a:gd name="connsiteX408" fmla="*/ 898208 w 2370773"/>
                <a:gd name="connsiteY408" fmla="*/ 1680209 h 1940242"/>
                <a:gd name="connsiteX409" fmla="*/ 918210 w 2370773"/>
                <a:gd name="connsiteY409" fmla="*/ 1660207 h 1940242"/>
                <a:gd name="connsiteX410" fmla="*/ 1329690 w 2370773"/>
                <a:gd name="connsiteY410" fmla="*/ 1659254 h 1940242"/>
                <a:gd name="connsiteX411" fmla="*/ 1347787 w 2370773"/>
                <a:gd name="connsiteY411" fmla="*/ 1677352 h 1940242"/>
                <a:gd name="connsiteX412" fmla="*/ 1329690 w 2370773"/>
                <a:gd name="connsiteY412" fmla="*/ 1695449 h 1940242"/>
                <a:gd name="connsiteX413" fmla="*/ 1311592 w 2370773"/>
                <a:gd name="connsiteY413" fmla="*/ 1677352 h 1940242"/>
                <a:gd name="connsiteX414" fmla="*/ 1329690 w 2370773"/>
                <a:gd name="connsiteY414" fmla="*/ 1659254 h 1940242"/>
                <a:gd name="connsiteX415" fmla="*/ 1271588 w 2370773"/>
                <a:gd name="connsiteY415" fmla="*/ 1657350 h 1940242"/>
                <a:gd name="connsiteX416" fmla="*/ 1291590 w 2370773"/>
                <a:gd name="connsiteY416" fmla="*/ 1677353 h 1940242"/>
                <a:gd name="connsiteX417" fmla="*/ 1271588 w 2370773"/>
                <a:gd name="connsiteY417" fmla="*/ 1697355 h 1940242"/>
                <a:gd name="connsiteX418" fmla="*/ 1251585 w 2370773"/>
                <a:gd name="connsiteY418" fmla="*/ 1677353 h 1940242"/>
                <a:gd name="connsiteX419" fmla="*/ 1271588 w 2370773"/>
                <a:gd name="connsiteY419" fmla="*/ 1657350 h 1940242"/>
                <a:gd name="connsiteX420" fmla="*/ 742950 w 2370773"/>
                <a:gd name="connsiteY420" fmla="*/ 1657350 h 1940242"/>
                <a:gd name="connsiteX421" fmla="*/ 763905 w 2370773"/>
                <a:gd name="connsiteY421" fmla="*/ 1678305 h 1940242"/>
                <a:gd name="connsiteX422" fmla="*/ 742950 w 2370773"/>
                <a:gd name="connsiteY422" fmla="*/ 1699260 h 1940242"/>
                <a:gd name="connsiteX423" fmla="*/ 721995 w 2370773"/>
                <a:gd name="connsiteY423" fmla="*/ 1678305 h 1940242"/>
                <a:gd name="connsiteX424" fmla="*/ 742950 w 2370773"/>
                <a:gd name="connsiteY424" fmla="*/ 1657350 h 1940242"/>
                <a:gd name="connsiteX425" fmla="*/ 357187 w 2370773"/>
                <a:gd name="connsiteY425" fmla="*/ 1657350 h 1940242"/>
                <a:gd name="connsiteX426" fmla="*/ 358140 w 2370773"/>
                <a:gd name="connsiteY426" fmla="*/ 1658303 h 1940242"/>
                <a:gd name="connsiteX427" fmla="*/ 357187 w 2370773"/>
                <a:gd name="connsiteY427" fmla="*/ 1659255 h 1940242"/>
                <a:gd name="connsiteX428" fmla="*/ 356235 w 2370773"/>
                <a:gd name="connsiteY428" fmla="*/ 1658303 h 1940242"/>
                <a:gd name="connsiteX429" fmla="*/ 357187 w 2370773"/>
                <a:gd name="connsiteY429" fmla="*/ 1657350 h 1940242"/>
                <a:gd name="connsiteX430" fmla="*/ 1386840 w 2370773"/>
                <a:gd name="connsiteY430" fmla="*/ 1655445 h 1940242"/>
                <a:gd name="connsiteX431" fmla="*/ 1405890 w 2370773"/>
                <a:gd name="connsiteY431" fmla="*/ 1674495 h 1940242"/>
                <a:gd name="connsiteX432" fmla="*/ 1386840 w 2370773"/>
                <a:gd name="connsiteY432" fmla="*/ 1693545 h 1940242"/>
                <a:gd name="connsiteX433" fmla="*/ 1367790 w 2370773"/>
                <a:gd name="connsiteY433" fmla="*/ 1674495 h 1940242"/>
                <a:gd name="connsiteX434" fmla="*/ 1386840 w 2370773"/>
                <a:gd name="connsiteY434" fmla="*/ 1655445 h 1940242"/>
                <a:gd name="connsiteX435" fmla="*/ 1214438 w 2370773"/>
                <a:gd name="connsiteY435" fmla="*/ 1654492 h 1940242"/>
                <a:gd name="connsiteX436" fmla="*/ 1233488 w 2370773"/>
                <a:gd name="connsiteY436" fmla="*/ 1673542 h 1940242"/>
                <a:gd name="connsiteX437" fmla="*/ 1214438 w 2370773"/>
                <a:gd name="connsiteY437" fmla="*/ 1692592 h 1940242"/>
                <a:gd name="connsiteX438" fmla="*/ 1195388 w 2370773"/>
                <a:gd name="connsiteY438" fmla="*/ 1673542 h 1940242"/>
                <a:gd name="connsiteX439" fmla="*/ 1214438 w 2370773"/>
                <a:gd name="connsiteY439" fmla="*/ 1654492 h 1940242"/>
                <a:gd name="connsiteX440" fmla="*/ 1710691 w 2370773"/>
                <a:gd name="connsiteY440" fmla="*/ 1652587 h 1940242"/>
                <a:gd name="connsiteX441" fmla="*/ 1728788 w 2370773"/>
                <a:gd name="connsiteY441" fmla="*/ 1670684 h 1940242"/>
                <a:gd name="connsiteX442" fmla="*/ 1710691 w 2370773"/>
                <a:gd name="connsiteY442" fmla="*/ 1688782 h 1940242"/>
                <a:gd name="connsiteX443" fmla="*/ 1692593 w 2370773"/>
                <a:gd name="connsiteY443" fmla="*/ 1670684 h 1940242"/>
                <a:gd name="connsiteX444" fmla="*/ 1710691 w 2370773"/>
                <a:gd name="connsiteY444" fmla="*/ 1652587 h 1940242"/>
                <a:gd name="connsiteX445" fmla="*/ 1443990 w 2370773"/>
                <a:gd name="connsiteY445" fmla="*/ 1648777 h 1940242"/>
                <a:gd name="connsiteX446" fmla="*/ 1463040 w 2370773"/>
                <a:gd name="connsiteY446" fmla="*/ 1667827 h 1940242"/>
                <a:gd name="connsiteX447" fmla="*/ 1443990 w 2370773"/>
                <a:gd name="connsiteY447" fmla="*/ 1686877 h 1940242"/>
                <a:gd name="connsiteX448" fmla="*/ 1424940 w 2370773"/>
                <a:gd name="connsiteY448" fmla="*/ 1667827 h 1940242"/>
                <a:gd name="connsiteX449" fmla="*/ 1443990 w 2370773"/>
                <a:gd name="connsiteY449" fmla="*/ 1648777 h 1940242"/>
                <a:gd name="connsiteX450" fmla="*/ 1156335 w 2370773"/>
                <a:gd name="connsiteY450" fmla="*/ 1648777 h 1940242"/>
                <a:gd name="connsiteX451" fmla="*/ 1175385 w 2370773"/>
                <a:gd name="connsiteY451" fmla="*/ 1667827 h 1940242"/>
                <a:gd name="connsiteX452" fmla="*/ 1156335 w 2370773"/>
                <a:gd name="connsiteY452" fmla="*/ 1686877 h 1940242"/>
                <a:gd name="connsiteX453" fmla="*/ 1137285 w 2370773"/>
                <a:gd name="connsiteY453" fmla="*/ 1667827 h 1940242"/>
                <a:gd name="connsiteX454" fmla="*/ 1156335 w 2370773"/>
                <a:gd name="connsiteY454" fmla="*/ 1648777 h 1940242"/>
                <a:gd name="connsiteX455" fmla="*/ 1100138 w 2370773"/>
                <a:gd name="connsiteY455" fmla="*/ 1642109 h 1940242"/>
                <a:gd name="connsiteX456" fmla="*/ 1118235 w 2370773"/>
                <a:gd name="connsiteY456" fmla="*/ 1660207 h 1940242"/>
                <a:gd name="connsiteX457" fmla="*/ 1100138 w 2370773"/>
                <a:gd name="connsiteY457" fmla="*/ 1678304 h 1940242"/>
                <a:gd name="connsiteX458" fmla="*/ 1082040 w 2370773"/>
                <a:gd name="connsiteY458" fmla="*/ 1660207 h 1940242"/>
                <a:gd name="connsiteX459" fmla="*/ 1100138 w 2370773"/>
                <a:gd name="connsiteY459" fmla="*/ 1642109 h 1940242"/>
                <a:gd name="connsiteX460" fmla="*/ 1909763 w 2370773"/>
                <a:gd name="connsiteY460" fmla="*/ 1640204 h 1940242"/>
                <a:gd name="connsiteX461" fmla="*/ 1921193 w 2370773"/>
                <a:gd name="connsiteY461" fmla="*/ 1651634 h 1940242"/>
                <a:gd name="connsiteX462" fmla="*/ 1909763 w 2370773"/>
                <a:gd name="connsiteY462" fmla="*/ 1663064 h 1940242"/>
                <a:gd name="connsiteX463" fmla="*/ 1898333 w 2370773"/>
                <a:gd name="connsiteY463" fmla="*/ 1651634 h 1940242"/>
                <a:gd name="connsiteX464" fmla="*/ 1909763 w 2370773"/>
                <a:gd name="connsiteY464" fmla="*/ 1640204 h 1940242"/>
                <a:gd name="connsiteX465" fmla="*/ 1501140 w 2370773"/>
                <a:gd name="connsiteY465" fmla="*/ 1640204 h 1940242"/>
                <a:gd name="connsiteX466" fmla="*/ 1520190 w 2370773"/>
                <a:gd name="connsiteY466" fmla="*/ 1659254 h 1940242"/>
                <a:gd name="connsiteX467" fmla="*/ 1501140 w 2370773"/>
                <a:gd name="connsiteY467" fmla="*/ 1678304 h 1940242"/>
                <a:gd name="connsiteX468" fmla="*/ 1482090 w 2370773"/>
                <a:gd name="connsiteY468" fmla="*/ 1659254 h 1940242"/>
                <a:gd name="connsiteX469" fmla="*/ 1501140 w 2370773"/>
                <a:gd name="connsiteY469" fmla="*/ 1640204 h 1940242"/>
                <a:gd name="connsiteX470" fmla="*/ 464820 w 2370773"/>
                <a:gd name="connsiteY470" fmla="*/ 1640204 h 1940242"/>
                <a:gd name="connsiteX471" fmla="*/ 484823 w 2370773"/>
                <a:gd name="connsiteY471" fmla="*/ 1660207 h 1940242"/>
                <a:gd name="connsiteX472" fmla="*/ 464820 w 2370773"/>
                <a:gd name="connsiteY472" fmla="*/ 1680209 h 1940242"/>
                <a:gd name="connsiteX473" fmla="*/ 444818 w 2370773"/>
                <a:gd name="connsiteY473" fmla="*/ 1660207 h 1940242"/>
                <a:gd name="connsiteX474" fmla="*/ 464820 w 2370773"/>
                <a:gd name="connsiteY474" fmla="*/ 1640204 h 1940242"/>
                <a:gd name="connsiteX475" fmla="*/ 2048828 w 2370773"/>
                <a:gd name="connsiteY475" fmla="*/ 1639252 h 1940242"/>
                <a:gd name="connsiteX476" fmla="*/ 2052638 w 2370773"/>
                <a:gd name="connsiteY476" fmla="*/ 1643062 h 1940242"/>
                <a:gd name="connsiteX477" fmla="*/ 2048828 w 2370773"/>
                <a:gd name="connsiteY477" fmla="*/ 1646872 h 1940242"/>
                <a:gd name="connsiteX478" fmla="*/ 2045018 w 2370773"/>
                <a:gd name="connsiteY478" fmla="*/ 1643062 h 1940242"/>
                <a:gd name="connsiteX479" fmla="*/ 2048828 w 2370773"/>
                <a:gd name="connsiteY479" fmla="*/ 1639252 h 1940242"/>
                <a:gd name="connsiteX480" fmla="*/ 863918 w 2370773"/>
                <a:gd name="connsiteY480" fmla="*/ 1639252 h 1940242"/>
                <a:gd name="connsiteX481" fmla="*/ 884873 w 2370773"/>
                <a:gd name="connsiteY481" fmla="*/ 1660207 h 1940242"/>
                <a:gd name="connsiteX482" fmla="*/ 863918 w 2370773"/>
                <a:gd name="connsiteY482" fmla="*/ 1681162 h 1940242"/>
                <a:gd name="connsiteX483" fmla="*/ 842963 w 2370773"/>
                <a:gd name="connsiteY483" fmla="*/ 1660207 h 1940242"/>
                <a:gd name="connsiteX484" fmla="*/ 863918 w 2370773"/>
                <a:gd name="connsiteY484" fmla="*/ 1639252 h 1940242"/>
                <a:gd name="connsiteX485" fmla="*/ 576263 w 2370773"/>
                <a:gd name="connsiteY485" fmla="*/ 1637347 h 1940242"/>
                <a:gd name="connsiteX486" fmla="*/ 598170 w 2370773"/>
                <a:gd name="connsiteY486" fmla="*/ 1659255 h 1940242"/>
                <a:gd name="connsiteX487" fmla="*/ 576263 w 2370773"/>
                <a:gd name="connsiteY487" fmla="*/ 1681162 h 1940242"/>
                <a:gd name="connsiteX488" fmla="*/ 554355 w 2370773"/>
                <a:gd name="connsiteY488" fmla="*/ 1659255 h 1940242"/>
                <a:gd name="connsiteX489" fmla="*/ 576263 w 2370773"/>
                <a:gd name="connsiteY489" fmla="*/ 1637347 h 1940242"/>
                <a:gd name="connsiteX490" fmla="*/ 1764030 w 2370773"/>
                <a:gd name="connsiteY490" fmla="*/ 1634490 h 1940242"/>
                <a:gd name="connsiteX491" fmla="*/ 1779270 w 2370773"/>
                <a:gd name="connsiteY491" fmla="*/ 1649730 h 1940242"/>
                <a:gd name="connsiteX492" fmla="*/ 1764030 w 2370773"/>
                <a:gd name="connsiteY492" fmla="*/ 1664970 h 1940242"/>
                <a:gd name="connsiteX493" fmla="*/ 1748790 w 2370773"/>
                <a:gd name="connsiteY493" fmla="*/ 1649730 h 1940242"/>
                <a:gd name="connsiteX494" fmla="*/ 1764030 w 2370773"/>
                <a:gd name="connsiteY494" fmla="*/ 1634490 h 1940242"/>
                <a:gd name="connsiteX495" fmla="*/ 691515 w 2370773"/>
                <a:gd name="connsiteY495" fmla="*/ 1632584 h 1940242"/>
                <a:gd name="connsiteX496" fmla="*/ 710565 w 2370773"/>
                <a:gd name="connsiteY496" fmla="*/ 1651634 h 1940242"/>
                <a:gd name="connsiteX497" fmla="*/ 691515 w 2370773"/>
                <a:gd name="connsiteY497" fmla="*/ 1670684 h 1940242"/>
                <a:gd name="connsiteX498" fmla="*/ 672465 w 2370773"/>
                <a:gd name="connsiteY498" fmla="*/ 1651634 h 1940242"/>
                <a:gd name="connsiteX499" fmla="*/ 691515 w 2370773"/>
                <a:gd name="connsiteY499" fmla="*/ 1632584 h 1940242"/>
                <a:gd name="connsiteX500" fmla="*/ 1042987 w 2370773"/>
                <a:gd name="connsiteY500" fmla="*/ 1627822 h 1940242"/>
                <a:gd name="connsiteX501" fmla="*/ 1062990 w 2370773"/>
                <a:gd name="connsiteY501" fmla="*/ 1647825 h 1940242"/>
                <a:gd name="connsiteX502" fmla="*/ 1042987 w 2370773"/>
                <a:gd name="connsiteY502" fmla="*/ 1667827 h 1940242"/>
                <a:gd name="connsiteX503" fmla="*/ 1022985 w 2370773"/>
                <a:gd name="connsiteY503" fmla="*/ 1647825 h 1940242"/>
                <a:gd name="connsiteX504" fmla="*/ 1042987 w 2370773"/>
                <a:gd name="connsiteY504" fmla="*/ 1627822 h 1940242"/>
                <a:gd name="connsiteX505" fmla="*/ 1558290 w 2370773"/>
                <a:gd name="connsiteY505" fmla="*/ 1626870 h 1940242"/>
                <a:gd name="connsiteX506" fmla="*/ 1579245 w 2370773"/>
                <a:gd name="connsiteY506" fmla="*/ 1647825 h 1940242"/>
                <a:gd name="connsiteX507" fmla="*/ 1558290 w 2370773"/>
                <a:gd name="connsiteY507" fmla="*/ 1668780 h 1940242"/>
                <a:gd name="connsiteX508" fmla="*/ 1537335 w 2370773"/>
                <a:gd name="connsiteY508" fmla="*/ 1647825 h 1940242"/>
                <a:gd name="connsiteX509" fmla="*/ 1558290 w 2370773"/>
                <a:gd name="connsiteY509" fmla="*/ 1626870 h 1940242"/>
                <a:gd name="connsiteX510" fmla="*/ 810578 w 2370773"/>
                <a:gd name="connsiteY510" fmla="*/ 1617345 h 1940242"/>
                <a:gd name="connsiteX511" fmla="*/ 831533 w 2370773"/>
                <a:gd name="connsiteY511" fmla="*/ 1638300 h 1940242"/>
                <a:gd name="connsiteX512" fmla="*/ 810578 w 2370773"/>
                <a:gd name="connsiteY512" fmla="*/ 1659255 h 1940242"/>
                <a:gd name="connsiteX513" fmla="*/ 789623 w 2370773"/>
                <a:gd name="connsiteY513" fmla="*/ 1638300 h 1940242"/>
                <a:gd name="connsiteX514" fmla="*/ 810578 w 2370773"/>
                <a:gd name="connsiteY514" fmla="*/ 1617345 h 1940242"/>
                <a:gd name="connsiteX515" fmla="*/ 1613535 w 2370773"/>
                <a:gd name="connsiteY515" fmla="*/ 1614487 h 1940242"/>
                <a:gd name="connsiteX516" fmla="*/ 1633538 w 2370773"/>
                <a:gd name="connsiteY516" fmla="*/ 1634490 h 1940242"/>
                <a:gd name="connsiteX517" fmla="*/ 1613535 w 2370773"/>
                <a:gd name="connsiteY517" fmla="*/ 1654492 h 1940242"/>
                <a:gd name="connsiteX518" fmla="*/ 1593533 w 2370773"/>
                <a:gd name="connsiteY518" fmla="*/ 1634490 h 1940242"/>
                <a:gd name="connsiteX519" fmla="*/ 1613535 w 2370773"/>
                <a:gd name="connsiteY519" fmla="*/ 1614487 h 1940242"/>
                <a:gd name="connsiteX520" fmla="*/ 419100 w 2370773"/>
                <a:gd name="connsiteY520" fmla="*/ 1614487 h 1940242"/>
                <a:gd name="connsiteX521" fmla="*/ 430530 w 2370773"/>
                <a:gd name="connsiteY521" fmla="*/ 1625917 h 1940242"/>
                <a:gd name="connsiteX522" fmla="*/ 419100 w 2370773"/>
                <a:gd name="connsiteY522" fmla="*/ 1637347 h 1940242"/>
                <a:gd name="connsiteX523" fmla="*/ 407670 w 2370773"/>
                <a:gd name="connsiteY523" fmla="*/ 1625917 h 1940242"/>
                <a:gd name="connsiteX524" fmla="*/ 419100 w 2370773"/>
                <a:gd name="connsiteY524" fmla="*/ 1614487 h 1940242"/>
                <a:gd name="connsiteX525" fmla="*/ 987742 w 2370773"/>
                <a:gd name="connsiteY525" fmla="*/ 1613534 h 1940242"/>
                <a:gd name="connsiteX526" fmla="*/ 1007745 w 2370773"/>
                <a:gd name="connsiteY526" fmla="*/ 1633537 h 1940242"/>
                <a:gd name="connsiteX527" fmla="*/ 987742 w 2370773"/>
                <a:gd name="connsiteY527" fmla="*/ 1653539 h 1940242"/>
                <a:gd name="connsiteX528" fmla="*/ 967740 w 2370773"/>
                <a:gd name="connsiteY528" fmla="*/ 1633537 h 1940242"/>
                <a:gd name="connsiteX529" fmla="*/ 987742 w 2370773"/>
                <a:gd name="connsiteY529" fmla="*/ 1613534 h 1940242"/>
                <a:gd name="connsiteX530" fmla="*/ 1817370 w 2370773"/>
                <a:gd name="connsiteY530" fmla="*/ 1611629 h 1940242"/>
                <a:gd name="connsiteX531" fmla="*/ 1832610 w 2370773"/>
                <a:gd name="connsiteY531" fmla="*/ 1626869 h 1940242"/>
                <a:gd name="connsiteX532" fmla="*/ 1817370 w 2370773"/>
                <a:gd name="connsiteY532" fmla="*/ 1642109 h 1940242"/>
                <a:gd name="connsiteX533" fmla="*/ 1802130 w 2370773"/>
                <a:gd name="connsiteY533" fmla="*/ 1626869 h 1940242"/>
                <a:gd name="connsiteX534" fmla="*/ 1817370 w 2370773"/>
                <a:gd name="connsiteY534" fmla="*/ 1611629 h 1940242"/>
                <a:gd name="connsiteX535" fmla="*/ 1959293 w 2370773"/>
                <a:gd name="connsiteY535" fmla="*/ 1610677 h 1940242"/>
                <a:gd name="connsiteX536" fmla="*/ 1971675 w 2370773"/>
                <a:gd name="connsiteY536" fmla="*/ 1623059 h 1940242"/>
                <a:gd name="connsiteX537" fmla="*/ 1959293 w 2370773"/>
                <a:gd name="connsiteY537" fmla="*/ 1635442 h 1940242"/>
                <a:gd name="connsiteX538" fmla="*/ 1946910 w 2370773"/>
                <a:gd name="connsiteY538" fmla="*/ 1623059 h 1940242"/>
                <a:gd name="connsiteX539" fmla="*/ 1959293 w 2370773"/>
                <a:gd name="connsiteY539" fmla="*/ 1610677 h 1940242"/>
                <a:gd name="connsiteX540" fmla="*/ 2095500 w 2370773"/>
                <a:gd name="connsiteY540" fmla="*/ 1608772 h 1940242"/>
                <a:gd name="connsiteX541" fmla="*/ 2097405 w 2370773"/>
                <a:gd name="connsiteY541" fmla="*/ 1610677 h 1940242"/>
                <a:gd name="connsiteX542" fmla="*/ 2095500 w 2370773"/>
                <a:gd name="connsiteY542" fmla="*/ 1612582 h 1940242"/>
                <a:gd name="connsiteX543" fmla="*/ 2093595 w 2370773"/>
                <a:gd name="connsiteY543" fmla="*/ 1610677 h 1940242"/>
                <a:gd name="connsiteX544" fmla="*/ 2095500 w 2370773"/>
                <a:gd name="connsiteY544" fmla="*/ 1608772 h 1940242"/>
                <a:gd name="connsiteX545" fmla="*/ 528637 w 2370773"/>
                <a:gd name="connsiteY545" fmla="*/ 1605915 h 1940242"/>
                <a:gd name="connsiteX546" fmla="*/ 550545 w 2370773"/>
                <a:gd name="connsiteY546" fmla="*/ 1627822 h 1940242"/>
                <a:gd name="connsiteX547" fmla="*/ 528637 w 2370773"/>
                <a:gd name="connsiteY547" fmla="*/ 1649730 h 1940242"/>
                <a:gd name="connsiteX548" fmla="*/ 506730 w 2370773"/>
                <a:gd name="connsiteY548" fmla="*/ 1627822 h 1940242"/>
                <a:gd name="connsiteX549" fmla="*/ 528637 w 2370773"/>
                <a:gd name="connsiteY549" fmla="*/ 1605915 h 1940242"/>
                <a:gd name="connsiteX550" fmla="*/ 641985 w 2370773"/>
                <a:gd name="connsiteY550" fmla="*/ 1604009 h 1940242"/>
                <a:gd name="connsiteX551" fmla="*/ 661035 w 2370773"/>
                <a:gd name="connsiteY551" fmla="*/ 1623059 h 1940242"/>
                <a:gd name="connsiteX552" fmla="*/ 641985 w 2370773"/>
                <a:gd name="connsiteY552" fmla="*/ 1642109 h 1940242"/>
                <a:gd name="connsiteX553" fmla="*/ 622935 w 2370773"/>
                <a:gd name="connsiteY553" fmla="*/ 1623059 h 1940242"/>
                <a:gd name="connsiteX554" fmla="*/ 641985 w 2370773"/>
                <a:gd name="connsiteY554" fmla="*/ 1604009 h 1940242"/>
                <a:gd name="connsiteX555" fmla="*/ 1668780 w 2370773"/>
                <a:gd name="connsiteY555" fmla="*/ 1598295 h 1940242"/>
                <a:gd name="connsiteX556" fmla="*/ 1687830 w 2370773"/>
                <a:gd name="connsiteY556" fmla="*/ 1617345 h 1940242"/>
                <a:gd name="connsiteX557" fmla="*/ 1668780 w 2370773"/>
                <a:gd name="connsiteY557" fmla="*/ 1636395 h 1940242"/>
                <a:gd name="connsiteX558" fmla="*/ 1649730 w 2370773"/>
                <a:gd name="connsiteY558" fmla="*/ 1617345 h 1940242"/>
                <a:gd name="connsiteX559" fmla="*/ 1668780 w 2370773"/>
                <a:gd name="connsiteY559" fmla="*/ 1598295 h 1940242"/>
                <a:gd name="connsiteX560" fmla="*/ 932497 w 2370773"/>
                <a:gd name="connsiteY560" fmla="*/ 1597342 h 1940242"/>
                <a:gd name="connsiteX561" fmla="*/ 952500 w 2370773"/>
                <a:gd name="connsiteY561" fmla="*/ 1617345 h 1940242"/>
                <a:gd name="connsiteX562" fmla="*/ 932497 w 2370773"/>
                <a:gd name="connsiteY562" fmla="*/ 1637347 h 1940242"/>
                <a:gd name="connsiteX563" fmla="*/ 912495 w 2370773"/>
                <a:gd name="connsiteY563" fmla="*/ 1617345 h 1940242"/>
                <a:gd name="connsiteX564" fmla="*/ 932497 w 2370773"/>
                <a:gd name="connsiteY564" fmla="*/ 1597342 h 1940242"/>
                <a:gd name="connsiteX565" fmla="*/ 1285875 w 2370773"/>
                <a:gd name="connsiteY565" fmla="*/ 1596390 h 1940242"/>
                <a:gd name="connsiteX566" fmla="*/ 1303020 w 2370773"/>
                <a:gd name="connsiteY566" fmla="*/ 1613535 h 1940242"/>
                <a:gd name="connsiteX567" fmla="*/ 1285875 w 2370773"/>
                <a:gd name="connsiteY567" fmla="*/ 1630680 h 1940242"/>
                <a:gd name="connsiteX568" fmla="*/ 1268730 w 2370773"/>
                <a:gd name="connsiteY568" fmla="*/ 1613535 h 1940242"/>
                <a:gd name="connsiteX569" fmla="*/ 1285875 w 2370773"/>
                <a:gd name="connsiteY569" fmla="*/ 1596390 h 1940242"/>
                <a:gd name="connsiteX570" fmla="*/ 1343978 w 2370773"/>
                <a:gd name="connsiteY570" fmla="*/ 1595437 h 1940242"/>
                <a:gd name="connsiteX571" fmla="*/ 1361123 w 2370773"/>
                <a:gd name="connsiteY571" fmla="*/ 1612582 h 1940242"/>
                <a:gd name="connsiteX572" fmla="*/ 1343978 w 2370773"/>
                <a:gd name="connsiteY572" fmla="*/ 1629727 h 1940242"/>
                <a:gd name="connsiteX573" fmla="*/ 1326833 w 2370773"/>
                <a:gd name="connsiteY573" fmla="*/ 1612582 h 1940242"/>
                <a:gd name="connsiteX574" fmla="*/ 1343978 w 2370773"/>
                <a:gd name="connsiteY574" fmla="*/ 1595437 h 1940242"/>
                <a:gd name="connsiteX575" fmla="*/ 758190 w 2370773"/>
                <a:gd name="connsiteY575" fmla="*/ 1592579 h 1940242"/>
                <a:gd name="connsiteX576" fmla="*/ 779145 w 2370773"/>
                <a:gd name="connsiteY576" fmla="*/ 1613534 h 1940242"/>
                <a:gd name="connsiteX577" fmla="*/ 758190 w 2370773"/>
                <a:gd name="connsiteY577" fmla="*/ 1634489 h 1940242"/>
                <a:gd name="connsiteX578" fmla="*/ 737235 w 2370773"/>
                <a:gd name="connsiteY578" fmla="*/ 1613534 h 1940242"/>
                <a:gd name="connsiteX579" fmla="*/ 758190 w 2370773"/>
                <a:gd name="connsiteY579" fmla="*/ 1592579 h 1940242"/>
                <a:gd name="connsiteX580" fmla="*/ 1401128 w 2370773"/>
                <a:gd name="connsiteY580" fmla="*/ 1590675 h 1940242"/>
                <a:gd name="connsiteX581" fmla="*/ 1418273 w 2370773"/>
                <a:gd name="connsiteY581" fmla="*/ 1607820 h 1940242"/>
                <a:gd name="connsiteX582" fmla="*/ 1401128 w 2370773"/>
                <a:gd name="connsiteY582" fmla="*/ 1624965 h 1940242"/>
                <a:gd name="connsiteX583" fmla="*/ 1383983 w 2370773"/>
                <a:gd name="connsiteY583" fmla="*/ 1607820 h 1940242"/>
                <a:gd name="connsiteX584" fmla="*/ 1401128 w 2370773"/>
                <a:gd name="connsiteY584" fmla="*/ 1590675 h 1940242"/>
                <a:gd name="connsiteX585" fmla="*/ 1228725 w 2370773"/>
                <a:gd name="connsiteY585" fmla="*/ 1590675 h 1940242"/>
                <a:gd name="connsiteX586" fmla="*/ 1247775 w 2370773"/>
                <a:gd name="connsiteY586" fmla="*/ 1609725 h 1940242"/>
                <a:gd name="connsiteX587" fmla="*/ 1228725 w 2370773"/>
                <a:gd name="connsiteY587" fmla="*/ 1628775 h 1940242"/>
                <a:gd name="connsiteX588" fmla="*/ 1209675 w 2370773"/>
                <a:gd name="connsiteY588" fmla="*/ 1609725 h 1940242"/>
                <a:gd name="connsiteX589" fmla="*/ 1228725 w 2370773"/>
                <a:gd name="connsiteY589" fmla="*/ 1590675 h 1940242"/>
                <a:gd name="connsiteX590" fmla="*/ 1171575 w 2370773"/>
                <a:gd name="connsiteY590" fmla="*/ 1588770 h 1940242"/>
                <a:gd name="connsiteX591" fmla="*/ 1187768 w 2370773"/>
                <a:gd name="connsiteY591" fmla="*/ 1604962 h 1940242"/>
                <a:gd name="connsiteX592" fmla="*/ 1171575 w 2370773"/>
                <a:gd name="connsiteY592" fmla="*/ 1621155 h 1940242"/>
                <a:gd name="connsiteX593" fmla="*/ 1155383 w 2370773"/>
                <a:gd name="connsiteY593" fmla="*/ 1604962 h 1940242"/>
                <a:gd name="connsiteX594" fmla="*/ 1171575 w 2370773"/>
                <a:gd name="connsiteY594" fmla="*/ 1588770 h 1940242"/>
                <a:gd name="connsiteX595" fmla="*/ 1868805 w 2370773"/>
                <a:gd name="connsiteY595" fmla="*/ 1587817 h 1940242"/>
                <a:gd name="connsiteX596" fmla="*/ 1882140 w 2370773"/>
                <a:gd name="connsiteY596" fmla="*/ 1601152 h 1940242"/>
                <a:gd name="connsiteX597" fmla="*/ 1868805 w 2370773"/>
                <a:gd name="connsiteY597" fmla="*/ 1614487 h 1940242"/>
                <a:gd name="connsiteX598" fmla="*/ 1855470 w 2370773"/>
                <a:gd name="connsiteY598" fmla="*/ 1601152 h 1940242"/>
                <a:gd name="connsiteX599" fmla="*/ 1868805 w 2370773"/>
                <a:gd name="connsiteY599" fmla="*/ 1587817 h 1940242"/>
                <a:gd name="connsiteX600" fmla="*/ 1458278 w 2370773"/>
                <a:gd name="connsiteY600" fmla="*/ 1585912 h 1940242"/>
                <a:gd name="connsiteX601" fmla="*/ 1473518 w 2370773"/>
                <a:gd name="connsiteY601" fmla="*/ 1601152 h 1940242"/>
                <a:gd name="connsiteX602" fmla="*/ 1458278 w 2370773"/>
                <a:gd name="connsiteY602" fmla="*/ 1616392 h 1940242"/>
                <a:gd name="connsiteX603" fmla="*/ 1443038 w 2370773"/>
                <a:gd name="connsiteY603" fmla="*/ 1601152 h 1940242"/>
                <a:gd name="connsiteX604" fmla="*/ 1458278 w 2370773"/>
                <a:gd name="connsiteY604" fmla="*/ 1585912 h 1940242"/>
                <a:gd name="connsiteX605" fmla="*/ 2008822 w 2370773"/>
                <a:gd name="connsiteY605" fmla="*/ 1584007 h 1940242"/>
                <a:gd name="connsiteX606" fmla="*/ 2017395 w 2370773"/>
                <a:gd name="connsiteY606" fmla="*/ 1592579 h 1940242"/>
                <a:gd name="connsiteX607" fmla="*/ 2008822 w 2370773"/>
                <a:gd name="connsiteY607" fmla="*/ 1601152 h 1940242"/>
                <a:gd name="connsiteX608" fmla="*/ 2000250 w 2370773"/>
                <a:gd name="connsiteY608" fmla="*/ 1592579 h 1940242"/>
                <a:gd name="connsiteX609" fmla="*/ 2008822 w 2370773"/>
                <a:gd name="connsiteY609" fmla="*/ 1584007 h 1940242"/>
                <a:gd name="connsiteX610" fmla="*/ 1114425 w 2370773"/>
                <a:gd name="connsiteY610" fmla="*/ 1580197 h 1940242"/>
                <a:gd name="connsiteX611" fmla="*/ 1130618 w 2370773"/>
                <a:gd name="connsiteY611" fmla="*/ 1596390 h 1940242"/>
                <a:gd name="connsiteX612" fmla="*/ 1114425 w 2370773"/>
                <a:gd name="connsiteY612" fmla="*/ 1612582 h 1940242"/>
                <a:gd name="connsiteX613" fmla="*/ 1098233 w 2370773"/>
                <a:gd name="connsiteY613" fmla="*/ 1596390 h 1940242"/>
                <a:gd name="connsiteX614" fmla="*/ 1114425 w 2370773"/>
                <a:gd name="connsiteY614" fmla="*/ 1580197 h 1940242"/>
                <a:gd name="connsiteX615" fmla="*/ 1723072 w 2370773"/>
                <a:gd name="connsiteY615" fmla="*/ 1579245 h 1940242"/>
                <a:gd name="connsiteX616" fmla="*/ 1741170 w 2370773"/>
                <a:gd name="connsiteY616" fmla="*/ 1597342 h 1940242"/>
                <a:gd name="connsiteX617" fmla="*/ 1723072 w 2370773"/>
                <a:gd name="connsiteY617" fmla="*/ 1615440 h 1940242"/>
                <a:gd name="connsiteX618" fmla="*/ 1704975 w 2370773"/>
                <a:gd name="connsiteY618" fmla="*/ 1597342 h 1940242"/>
                <a:gd name="connsiteX619" fmla="*/ 1723072 w 2370773"/>
                <a:gd name="connsiteY619" fmla="*/ 1579245 h 1940242"/>
                <a:gd name="connsiteX620" fmla="*/ 878204 w 2370773"/>
                <a:gd name="connsiteY620" fmla="*/ 1577340 h 1940242"/>
                <a:gd name="connsiteX621" fmla="*/ 898207 w 2370773"/>
                <a:gd name="connsiteY621" fmla="*/ 1597342 h 1940242"/>
                <a:gd name="connsiteX622" fmla="*/ 878204 w 2370773"/>
                <a:gd name="connsiteY622" fmla="*/ 1617345 h 1940242"/>
                <a:gd name="connsiteX623" fmla="*/ 858202 w 2370773"/>
                <a:gd name="connsiteY623" fmla="*/ 1597342 h 1940242"/>
                <a:gd name="connsiteX624" fmla="*/ 878204 w 2370773"/>
                <a:gd name="connsiteY624" fmla="*/ 1577340 h 1940242"/>
                <a:gd name="connsiteX625" fmla="*/ 375285 w 2370773"/>
                <a:gd name="connsiteY625" fmla="*/ 1575434 h 1940242"/>
                <a:gd name="connsiteX626" fmla="*/ 388620 w 2370773"/>
                <a:gd name="connsiteY626" fmla="*/ 1588769 h 1940242"/>
                <a:gd name="connsiteX627" fmla="*/ 375285 w 2370773"/>
                <a:gd name="connsiteY627" fmla="*/ 1602104 h 1940242"/>
                <a:gd name="connsiteX628" fmla="*/ 361950 w 2370773"/>
                <a:gd name="connsiteY628" fmla="*/ 1588769 h 1940242"/>
                <a:gd name="connsiteX629" fmla="*/ 375285 w 2370773"/>
                <a:gd name="connsiteY629" fmla="*/ 1575434 h 1940242"/>
                <a:gd name="connsiteX630" fmla="*/ 1515428 w 2370773"/>
                <a:gd name="connsiteY630" fmla="*/ 1574482 h 1940242"/>
                <a:gd name="connsiteX631" fmla="*/ 1532573 w 2370773"/>
                <a:gd name="connsiteY631" fmla="*/ 1591627 h 1940242"/>
                <a:gd name="connsiteX632" fmla="*/ 1515428 w 2370773"/>
                <a:gd name="connsiteY632" fmla="*/ 1608772 h 1940242"/>
                <a:gd name="connsiteX633" fmla="*/ 1498283 w 2370773"/>
                <a:gd name="connsiteY633" fmla="*/ 1591627 h 1940242"/>
                <a:gd name="connsiteX634" fmla="*/ 1515428 w 2370773"/>
                <a:gd name="connsiteY634" fmla="*/ 1574482 h 1940242"/>
                <a:gd name="connsiteX635" fmla="*/ 592454 w 2370773"/>
                <a:gd name="connsiteY635" fmla="*/ 1573529 h 1940242"/>
                <a:gd name="connsiteX636" fmla="*/ 612457 w 2370773"/>
                <a:gd name="connsiteY636" fmla="*/ 1593532 h 1940242"/>
                <a:gd name="connsiteX637" fmla="*/ 592454 w 2370773"/>
                <a:gd name="connsiteY637" fmla="*/ 1613534 h 1940242"/>
                <a:gd name="connsiteX638" fmla="*/ 572452 w 2370773"/>
                <a:gd name="connsiteY638" fmla="*/ 1593532 h 1940242"/>
                <a:gd name="connsiteX639" fmla="*/ 592454 w 2370773"/>
                <a:gd name="connsiteY639" fmla="*/ 1573529 h 1940242"/>
                <a:gd name="connsiteX640" fmla="*/ 481965 w 2370773"/>
                <a:gd name="connsiteY640" fmla="*/ 1569720 h 1940242"/>
                <a:gd name="connsiteX641" fmla="*/ 504825 w 2370773"/>
                <a:gd name="connsiteY641" fmla="*/ 1592580 h 1940242"/>
                <a:gd name="connsiteX642" fmla="*/ 481965 w 2370773"/>
                <a:gd name="connsiteY642" fmla="*/ 1615440 h 1940242"/>
                <a:gd name="connsiteX643" fmla="*/ 459105 w 2370773"/>
                <a:gd name="connsiteY643" fmla="*/ 1592580 h 1940242"/>
                <a:gd name="connsiteX644" fmla="*/ 481965 w 2370773"/>
                <a:gd name="connsiteY644" fmla="*/ 1569720 h 1940242"/>
                <a:gd name="connsiteX645" fmla="*/ 1057275 w 2370773"/>
                <a:gd name="connsiteY645" fmla="*/ 1566862 h 1940242"/>
                <a:gd name="connsiteX646" fmla="*/ 1075372 w 2370773"/>
                <a:gd name="connsiteY646" fmla="*/ 1584959 h 1940242"/>
                <a:gd name="connsiteX647" fmla="*/ 1057275 w 2370773"/>
                <a:gd name="connsiteY647" fmla="*/ 1603057 h 1940242"/>
                <a:gd name="connsiteX648" fmla="*/ 1039177 w 2370773"/>
                <a:gd name="connsiteY648" fmla="*/ 1584959 h 1940242"/>
                <a:gd name="connsiteX649" fmla="*/ 1057275 w 2370773"/>
                <a:gd name="connsiteY649" fmla="*/ 1566862 h 1940242"/>
                <a:gd name="connsiteX650" fmla="*/ 706755 w 2370773"/>
                <a:gd name="connsiteY650" fmla="*/ 1565909 h 1940242"/>
                <a:gd name="connsiteX651" fmla="*/ 727710 w 2370773"/>
                <a:gd name="connsiteY651" fmla="*/ 1586864 h 1940242"/>
                <a:gd name="connsiteX652" fmla="*/ 706755 w 2370773"/>
                <a:gd name="connsiteY652" fmla="*/ 1607819 h 1940242"/>
                <a:gd name="connsiteX653" fmla="*/ 685800 w 2370773"/>
                <a:gd name="connsiteY653" fmla="*/ 1586864 h 1940242"/>
                <a:gd name="connsiteX654" fmla="*/ 706755 w 2370773"/>
                <a:gd name="connsiteY654" fmla="*/ 1565909 h 1940242"/>
                <a:gd name="connsiteX655" fmla="*/ 1919288 w 2370773"/>
                <a:gd name="connsiteY655" fmla="*/ 1560195 h 1940242"/>
                <a:gd name="connsiteX656" fmla="*/ 1932623 w 2370773"/>
                <a:gd name="connsiteY656" fmla="*/ 1573530 h 1940242"/>
                <a:gd name="connsiteX657" fmla="*/ 1919288 w 2370773"/>
                <a:gd name="connsiteY657" fmla="*/ 1586865 h 1940242"/>
                <a:gd name="connsiteX658" fmla="*/ 1905953 w 2370773"/>
                <a:gd name="connsiteY658" fmla="*/ 1573530 h 1940242"/>
                <a:gd name="connsiteX659" fmla="*/ 1919288 w 2370773"/>
                <a:gd name="connsiteY659" fmla="*/ 1560195 h 1940242"/>
                <a:gd name="connsiteX660" fmla="*/ 1571625 w 2370773"/>
                <a:gd name="connsiteY660" fmla="*/ 1560195 h 1940242"/>
                <a:gd name="connsiteX661" fmla="*/ 1589723 w 2370773"/>
                <a:gd name="connsiteY661" fmla="*/ 1578292 h 1940242"/>
                <a:gd name="connsiteX662" fmla="*/ 1571625 w 2370773"/>
                <a:gd name="connsiteY662" fmla="*/ 1596390 h 1940242"/>
                <a:gd name="connsiteX663" fmla="*/ 1553528 w 2370773"/>
                <a:gd name="connsiteY663" fmla="*/ 1578292 h 1940242"/>
                <a:gd name="connsiteX664" fmla="*/ 1571625 w 2370773"/>
                <a:gd name="connsiteY664" fmla="*/ 1560195 h 1940242"/>
                <a:gd name="connsiteX665" fmla="*/ 2055495 w 2370773"/>
                <a:gd name="connsiteY665" fmla="*/ 1558290 h 1940242"/>
                <a:gd name="connsiteX666" fmla="*/ 2057400 w 2370773"/>
                <a:gd name="connsiteY666" fmla="*/ 1560195 h 1940242"/>
                <a:gd name="connsiteX667" fmla="*/ 2055495 w 2370773"/>
                <a:gd name="connsiteY667" fmla="*/ 1562100 h 1940242"/>
                <a:gd name="connsiteX668" fmla="*/ 2053590 w 2370773"/>
                <a:gd name="connsiteY668" fmla="*/ 1560195 h 1940242"/>
                <a:gd name="connsiteX669" fmla="*/ 2055495 w 2370773"/>
                <a:gd name="connsiteY669" fmla="*/ 1558290 h 1940242"/>
                <a:gd name="connsiteX670" fmla="*/ 1776412 w 2370773"/>
                <a:gd name="connsiteY670" fmla="*/ 1557337 h 1940242"/>
                <a:gd name="connsiteX671" fmla="*/ 1793557 w 2370773"/>
                <a:gd name="connsiteY671" fmla="*/ 1574482 h 1940242"/>
                <a:gd name="connsiteX672" fmla="*/ 1776412 w 2370773"/>
                <a:gd name="connsiteY672" fmla="*/ 1591627 h 1940242"/>
                <a:gd name="connsiteX673" fmla="*/ 1759267 w 2370773"/>
                <a:gd name="connsiteY673" fmla="*/ 1574482 h 1940242"/>
                <a:gd name="connsiteX674" fmla="*/ 1776412 w 2370773"/>
                <a:gd name="connsiteY674" fmla="*/ 1557337 h 1940242"/>
                <a:gd name="connsiteX675" fmla="*/ 824865 w 2370773"/>
                <a:gd name="connsiteY675" fmla="*/ 1553527 h 1940242"/>
                <a:gd name="connsiteX676" fmla="*/ 845820 w 2370773"/>
                <a:gd name="connsiteY676" fmla="*/ 1574482 h 1940242"/>
                <a:gd name="connsiteX677" fmla="*/ 824865 w 2370773"/>
                <a:gd name="connsiteY677" fmla="*/ 1595437 h 1940242"/>
                <a:gd name="connsiteX678" fmla="*/ 803910 w 2370773"/>
                <a:gd name="connsiteY678" fmla="*/ 1574482 h 1940242"/>
                <a:gd name="connsiteX679" fmla="*/ 824865 w 2370773"/>
                <a:gd name="connsiteY679" fmla="*/ 1553527 h 1940242"/>
                <a:gd name="connsiteX680" fmla="*/ 1002029 w 2370773"/>
                <a:gd name="connsiteY680" fmla="*/ 1550670 h 1940242"/>
                <a:gd name="connsiteX681" fmla="*/ 1022032 w 2370773"/>
                <a:gd name="connsiteY681" fmla="*/ 1570672 h 1940242"/>
                <a:gd name="connsiteX682" fmla="*/ 1002029 w 2370773"/>
                <a:gd name="connsiteY682" fmla="*/ 1590675 h 1940242"/>
                <a:gd name="connsiteX683" fmla="*/ 982027 w 2370773"/>
                <a:gd name="connsiteY683" fmla="*/ 1570672 h 1940242"/>
                <a:gd name="connsiteX684" fmla="*/ 1002029 w 2370773"/>
                <a:gd name="connsiteY684" fmla="*/ 1550670 h 1940242"/>
                <a:gd name="connsiteX685" fmla="*/ 1626870 w 2370773"/>
                <a:gd name="connsiteY685" fmla="*/ 1544002 h 1940242"/>
                <a:gd name="connsiteX686" fmla="*/ 1645920 w 2370773"/>
                <a:gd name="connsiteY686" fmla="*/ 1563052 h 1940242"/>
                <a:gd name="connsiteX687" fmla="*/ 1626870 w 2370773"/>
                <a:gd name="connsiteY687" fmla="*/ 1582102 h 1940242"/>
                <a:gd name="connsiteX688" fmla="*/ 1607820 w 2370773"/>
                <a:gd name="connsiteY688" fmla="*/ 1563052 h 1940242"/>
                <a:gd name="connsiteX689" fmla="*/ 1626870 w 2370773"/>
                <a:gd name="connsiteY689" fmla="*/ 1544002 h 1940242"/>
                <a:gd name="connsiteX690" fmla="*/ 545782 w 2370773"/>
                <a:gd name="connsiteY690" fmla="*/ 1539240 h 1940242"/>
                <a:gd name="connsiteX691" fmla="*/ 566737 w 2370773"/>
                <a:gd name="connsiteY691" fmla="*/ 1560195 h 1940242"/>
                <a:gd name="connsiteX692" fmla="*/ 545782 w 2370773"/>
                <a:gd name="connsiteY692" fmla="*/ 1581150 h 1940242"/>
                <a:gd name="connsiteX693" fmla="*/ 524827 w 2370773"/>
                <a:gd name="connsiteY693" fmla="*/ 1560195 h 1940242"/>
                <a:gd name="connsiteX694" fmla="*/ 545782 w 2370773"/>
                <a:gd name="connsiteY694" fmla="*/ 1539240 h 1940242"/>
                <a:gd name="connsiteX695" fmla="*/ 657225 w 2370773"/>
                <a:gd name="connsiteY695" fmla="*/ 1538287 h 1940242"/>
                <a:gd name="connsiteX696" fmla="*/ 677228 w 2370773"/>
                <a:gd name="connsiteY696" fmla="*/ 1558290 h 1940242"/>
                <a:gd name="connsiteX697" fmla="*/ 657225 w 2370773"/>
                <a:gd name="connsiteY697" fmla="*/ 1578292 h 1940242"/>
                <a:gd name="connsiteX698" fmla="*/ 637223 w 2370773"/>
                <a:gd name="connsiteY698" fmla="*/ 1558290 h 1940242"/>
                <a:gd name="connsiteX699" fmla="*/ 657225 w 2370773"/>
                <a:gd name="connsiteY699" fmla="*/ 1538287 h 1940242"/>
                <a:gd name="connsiteX700" fmla="*/ 437198 w 2370773"/>
                <a:gd name="connsiteY700" fmla="*/ 1538287 h 1940242"/>
                <a:gd name="connsiteX701" fmla="*/ 456248 w 2370773"/>
                <a:gd name="connsiteY701" fmla="*/ 1557337 h 1940242"/>
                <a:gd name="connsiteX702" fmla="*/ 437198 w 2370773"/>
                <a:gd name="connsiteY702" fmla="*/ 1576387 h 1940242"/>
                <a:gd name="connsiteX703" fmla="*/ 418148 w 2370773"/>
                <a:gd name="connsiteY703" fmla="*/ 1557337 h 1940242"/>
                <a:gd name="connsiteX704" fmla="*/ 437198 w 2370773"/>
                <a:gd name="connsiteY704" fmla="*/ 1538287 h 1940242"/>
                <a:gd name="connsiteX705" fmla="*/ 1300163 w 2370773"/>
                <a:gd name="connsiteY705" fmla="*/ 1534477 h 1940242"/>
                <a:gd name="connsiteX706" fmla="*/ 1314450 w 2370773"/>
                <a:gd name="connsiteY706" fmla="*/ 1548765 h 1940242"/>
                <a:gd name="connsiteX707" fmla="*/ 1300163 w 2370773"/>
                <a:gd name="connsiteY707" fmla="*/ 1563052 h 1940242"/>
                <a:gd name="connsiteX708" fmla="*/ 1285875 w 2370773"/>
                <a:gd name="connsiteY708" fmla="*/ 1548765 h 1940242"/>
                <a:gd name="connsiteX709" fmla="*/ 1300163 w 2370773"/>
                <a:gd name="connsiteY709" fmla="*/ 1534477 h 1940242"/>
                <a:gd name="connsiteX710" fmla="*/ 946785 w 2370773"/>
                <a:gd name="connsiteY710" fmla="*/ 1534477 h 1940242"/>
                <a:gd name="connsiteX711" fmla="*/ 965835 w 2370773"/>
                <a:gd name="connsiteY711" fmla="*/ 1553527 h 1940242"/>
                <a:gd name="connsiteX712" fmla="*/ 946785 w 2370773"/>
                <a:gd name="connsiteY712" fmla="*/ 1572577 h 1940242"/>
                <a:gd name="connsiteX713" fmla="*/ 927735 w 2370773"/>
                <a:gd name="connsiteY713" fmla="*/ 1553527 h 1940242"/>
                <a:gd name="connsiteX714" fmla="*/ 946785 w 2370773"/>
                <a:gd name="connsiteY714" fmla="*/ 1534477 h 1940242"/>
                <a:gd name="connsiteX715" fmla="*/ 1827848 w 2370773"/>
                <a:gd name="connsiteY715" fmla="*/ 1532572 h 1940242"/>
                <a:gd name="connsiteX716" fmla="*/ 1844993 w 2370773"/>
                <a:gd name="connsiteY716" fmla="*/ 1549717 h 1940242"/>
                <a:gd name="connsiteX717" fmla="*/ 1827848 w 2370773"/>
                <a:gd name="connsiteY717" fmla="*/ 1566862 h 1940242"/>
                <a:gd name="connsiteX718" fmla="*/ 1810703 w 2370773"/>
                <a:gd name="connsiteY718" fmla="*/ 1549717 h 1940242"/>
                <a:gd name="connsiteX719" fmla="*/ 1827848 w 2370773"/>
                <a:gd name="connsiteY719" fmla="*/ 1532572 h 1940242"/>
                <a:gd name="connsiteX720" fmla="*/ 1358266 w 2370773"/>
                <a:gd name="connsiteY720" fmla="*/ 1532572 h 1940242"/>
                <a:gd name="connsiteX721" fmla="*/ 1372553 w 2370773"/>
                <a:gd name="connsiteY721" fmla="*/ 1546860 h 1940242"/>
                <a:gd name="connsiteX722" fmla="*/ 1358266 w 2370773"/>
                <a:gd name="connsiteY722" fmla="*/ 1561147 h 1940242"/>
                <a:gd name="connsiteX723" fmla="*/ 1343978 w 2370773"/>
                <a:gd name="connsiteY723" fmla="*/ 1546860 h 1940242"/>
                <a:gd name="connsiteX724" fmla="*/ 1358266 w 2370773"/>
                <a:gd name="connsiteY724" fmla="*/ 1532572 h 1940242"/>
                <a:gd name="connsiteX725" fmla="*/ 1243012 w 2370773"/>
                <a:gd name="connsiteY725" fmla="*/ 1531620 h 1940242"/>
                <a:gd name="connsiteX726" fmla="*/ 1258252 w 2370773"/>
                <a:gd name="connsiteY726" fmla="*/ 1546860 h 1940242"/>
                <a:gd name="connsiteX727" fmla="*/ 1243012 w 2370773"/>
                <a:gd name="connsiteY727" fmla="*/ 1562100 h 1940242"/>
                <a:gd name="connsiteX728" fmla="*/ 1227772 w 2370773"/>
                <a:gd name="connsiteY728" fmla="*/ 1546860 h 1940242"/>
                <a:gd name="connsiteX729" fmla="*/ 1243012 w 2370773"/>
                <a:gd name="connsiteY729" fmla="*/ 1531620 h 1940242"/>
                <a:gd name="connsiteX730" fmla="*/ 332423 w 2370773"/>
                <a:gd name="connsiteY730" fmla="*/ 1530667 h 1940242"/>
                <a:gd name="connsiteX731" fmla="*/ 351473 w 2370773"/>
                <a:gd name="connsiteY731" fmla="*/ 1549717 h 1940242"/>
                <a:gd name="connsiteX732" fmla="*/ 332423 w 2370773"/>
                <a:gd name="connsiteY732" fmla="*/ 1568767 h 1940242"/>
                <a:gd name="connsiteX733" fmla="*/ 313373 w 2370773"/>
                <a:gd name="connsiteY733" fmla="*/ 1549717 h 1940242"/>
                <a:gd name="connsiteX734" fmla="*/ 332423 w 2370773"/>
                <a:gd name="connsiteY734" fmla="*/ 1530667 h 1940242"/>
                <a:gd name="connsiteX735" fmla="*/ 1415415 w 2370773"/>
                <a:gd name="connsiteY735" fmla="*/ 1529715 h 1940242"/>
                <a:gd name="connsiteX736" fmla="*/ 1427798 w 2370773"/>
                <a:gd name="connsiteY736" fmla="*/ 1542097 h 1940242"/>
                <a:gd name="connsiteX737" fmla="*/ 1415415 w 2370773"/>
                <a:gd name="connsiteY737" fmla="*/ 1554480 h 1940242"/>
                <a:gd name="connsiteX738" fmla="*/ 1403033 w 2370773"/>
                <a:gd name="connsiteY738" fmla="*/ 1542097 h 1940242"/>
                <a:gd name="connsiteX739" fmla="*/ 1415415 w 2370773"/>
                <a:gd name="connsiteY739" fmla="*/ 1529715 h 1940242"/>
                <a:gd name="connsiteX740" fmla="*/ 773429 w 2370773"/>
                <a:gd name="connsiteY740" fmla="*/ 1529715 h 1940242"/>
                <a:gd name="connsiteX741" fmla="*/ 793432 w 2370773"/>
                <a:gd name="connsiteY741" fmla="*/ 1549717 h 1940242"/>
                <a:gd name="connsiteX742" fmla="*/ 773429 w 2370773"/>
                <a:gd name="connsiteY742" fmla="*/ 1569720 h 1940242"/>
                <a:gd name="connsiteX743" fmla="*/ 753427 w 2370773"/>
                <a:gd name="connsiteY743" fmla="*/ 1549717 h 1940242"/>
                <a:gd name="connsiteX744" fmla="*/ 773429 w 2370773"/>
                <a:gd name="connsiteY744" fmla="*/ 1529715 h 1940242"/>
                <a:gd name="connsiteX745" fmla="*/ 1967866 w 2370773"/>
                <a:gd name="connsiteY745" fmla="*/ 1528762 h 1940242"/>
                <a:gd name="connsiteX746" fmla="*/ 1982153 w 2370773"/>
                <a:gd name="connsiteY746" fmla="*/ 1543050 h 1940242"/>
                <a:gd name="connsiteX747" fmla="*/ 1967866 w 2370773"/>
                <a:gd name="connsiteY747" fmla="*/ 1557337 h 1940242"/>
                <a:gd name="connsiteX748" fmla="*/ 1953578 w 2370773"/>
                <a:gd name="connsiteY748" fmla="*/ 1543050 h 1940242"/>
                <a:gd name="connsiteX749" fmla="*/ 1967866 w 2370773"/>
                <a:gd name="connsiteY749" fmla="*/ 1528762 h 1940242"/>
                <a:gd name="connsiteX750" fmla="*/ 1185862 w 2370773"/>
                <a:gd name="connsiteY750" fmla="*/ 1528762 h 1940242"/>
                <a:gd name="connsiteX751" fmla="*/ 1200150 w 2370773"/>
                <a:gd name="connsiteY751" fmla="*/ 1543050 h 1940242"/>
                <a:gd name="connsiteX752" fmla="*/ 1185862 w 2370773"/>
                <a:gd name="connsiteY752" fmla="*/ 1557337 h 1940242"/>
                <a:gd name="connsiteX753" fmla="*/ 1171575 w 2370773"/>
                <a:gd name="connsiteY753" fmla="*/ 1543050 h 1940242"/>
                <a:gd name="connsiteX754" fmla="*/ 1185862 w 2370773"/>
                <a:gd name="connsiteY754" fmla="*/ 1528762 h 1940242"/>
                <a:gd name="connsiteX755" fmla="*/ 1681162 w 2370773"/>
                <a:gd name="connsiteY755" fmla="*/ 1526857 h 1940242"/>
                <a:gd name="connsiteX756" fmla="*/ 1698307 w 2370773"/>
                <a:gd name="connsiteY756" fmla="*/ 1544002 h 1940242"/>
                <a:gd name="connsiteX757" fmla="*/ 1681162 w 2370773"/>
                <a:gd name="connsiteY757" fmla="*/ 1561147 h 1940242"/>
                <a:gd name="connsiteX758" fmla="*/ 1664017 w 2370773"/>
                <a:gd name="connsiteY758" fmla="*/ 1544002 h 1940242"/>
                <a:gd name="connsiteX759" fmla="*/ 1681162 w 2370773"/>
                <a:gd name="connsiteY759" fmla="*/ 1526857 h 1940242"/>
                <a:gd name="connsiteX760" fmla="*/ 1472566 w 2370773"/>
                <a:gd name="connsiteY760" fmla="*/ 1522095 h 1940242"/>
                <a:gd name="connsiteX761" fmla="*/ 1484948 w 2370773"/>
                <a:gd name="connsiteY761" fmla="*/ 1534478 h 1940242"/>
                <a:gd name="connsiteX762" fmla="*/ 1472566 w 2370773"/>
                <a:gd name="connsiteY762" fmla="*/ 1546860 h 1940242"/>
                <a:gd name="connsiteX763" fmla="*/ 1460183 w 2370773"/>
                <a:gd name="connsiteY763" fmla="*/ 1534478 h 1940242"/>
                <a:gd name="connsiteX764" fmla="*/ 1472566 w 2370773"/>
                <a:gd name="connsiteY764" fmla="*/ 1522095 h 1940242"/>
                <a:gd name="connsiteX765" fmla="*/ 2101215 w 2370773"/>
                <a:gd name="connsiteY765" fmla="*/ 1519237 h 1940242"/>
                <a:gd name="connsiteX766" fmla="*/ 2106930 w 2370773"/>
                <a:gd name="connsiteY766" fmla="*/ 1524952 h 1940242"/>
                <a:gd name="connsiteX767" fmla="*/ 2101215 w 2370773"/>
                <a:gd name="connsiteY767" fmla="*/ 1530667 h 1940242"/>
                <a:gd name="connsiteX768" fmla="*/ 2095500 w 2370773"/>
                <a:gd name="connsiteY768" fmla="*/ 1524952 h 1940242"/>
                <a:gd name="connsiteX769" fmla="*/ 2101215 w 2370773"/>
                <a:gd name="connsiteY769" fmla="*/ 1519237 h 1940242"/>
                <a:gd name="connsiteX770" fmla="*/ 1128712 w 2370773"/>
                <a:gd name="connsiteY770" fmla="*/ 1516379 h 1940242"/>
                <a:gd name="connsiteX771" fmla="*/ 1145857 w 2370773"/>
                <a:gd name="connsiteY771" fmla="*/ 1533524 h 1940242"/>
                <a:gd name="connsiteX772" fmla="*/ 1128712 w 2370773"/>
                <a:gd name="connsiteY772" fmla="*/ 1550669 h 1940242"/>
                <a:gd name="connsiteX773" fmla="*/ 1111567 w 2370773"/>
                <a:gd name="connsiteY773" fmla="*/ 1533524 h 1940242"/>
                <a:gd name="connsiteX774" fmla="*/ 1128712 w 2370773"/>
                <a:gd name="connsiteY774" fmla="*/ 1516379 h 1940242"/>
                <a:gd name="connsiteX775" fmla="*/ 892492 w 2370773"/>
                <a:gd name="connsiteY775" fmla="*/ 1515427 h 1940242"/>
                <a:gd name="connsiteX776" fmla="*/ 910590 w 2370773"/>
                <a:gd name="connsiteY776" fmla="*/ 1533524 h 1940242"/>
                <a:gd name="connsiteX777" fmla="*/ 892492 w 2370773"/>
                <a:gd name="connsiteY777" fmla="*/ 1551622 h 1940242"/>
                <a:gd name="connsiteX778" fmla="*/ 874395 w 2370773"/>
                <a:gd name="connsiteY778" fmla="*/ 1533524 h 1940242"/>
                <a:gd name="connsiteX779" fmla="*/ 892492 w 2370773"/>
                <a:gd name="connsiteY779" fmla="*/ 1515427 h 1940242"/>
                <a:gd name="connsiteX780" fmla="*/ 1529715 w 2370773"/>
                <a:gd name="connsiteY780" fmla="*/ 1509712 h 1940242"/>
                <a:gd name="connsiteX781" fmla="*/ 1543050 w 2370773"/>
                <a:gd name="connsiteY781" fmla="*/ 1523047 h 1940242"/>
                <a:gd name="connsiteX782" fmla="*/ 1529715 w 2370773"/>
                <a:gd name="connsiteY782" fmla="*/ 1536382 h 1940242"/>
                <a:gd name="connsiteX783" fmla="*/ 1516380 w 2370773"/>
                <a:gd name="connsiteY783" fmla="*/ 1523047 h 1940242"/>
                <a:gd name="connsiteX784" fmla="*/ 1529715 w 2370773"/>
                <a:gd name="connsiteY784" fmla="*/ 1509712 h 1940242"/>
                <a:gd name="connsiteX785" fmla="*/ 1071563 w 2370773"/>
                <a:gd name="connsiteY785" fmla="*/ 1507807 h 1940242"/>
                <a:gd name="connsiteX786" fmla="*/ 1086803 w 2370773"/>
                <a:gd name="connsiteY786" fmla="*/ 1523047 h 1940242"/>
                <a:gd name="connsiteX787" fmla="*/ 1071563 w 2370773"/>
                <a:gd name="connsiteY787" fmla="*/ 1538287 h 1940242"/>
                <a:gd name="connsiteX788" fmla="*/ 1056323 w 2370773"/>
                <a:gd name="connsiteY788" fmla="*/ 1523047 h 1940242"/>
                <a:gd name="connsiteX789" fmla="*/ 1071563 w 2370773"/>
                <a:gd name="connsiteY789" fmla="*/ 1507807 h 1940242"/>
                <a:gd name="connsiteX790" fmla="*/ 1878330 w 2370773"/>
                <a:gd name="connsiteY790" fmla="*/ 1504950 h 1940242"/>
                <a:gd name="connsiteX791" fmla="*/ 1895475 w 2370773"/>
                <a:gd name="connsiteY791" fmla="*/ 1522095 h 1940242"/>
                <a:gd name="connsiteX792" fmla="*/ 1878330 w 2370773"/>
                <a:gd name="connsiteY792" fmla="*/ 1539240 h 1940242"/>
                <a:gd name="connsiteX793" fmla="*/ 1861185 w 2370773"/>
                <a:gd name="connsiteY793" fmla="*/ 1522095 h 1940242"/>
                <a:gd name="connsiteX794" fmla="*/ 1878330 w 2370773"/>
                <a:gd name="connsiteY794" fmla="*/ 1504950 h 1940242"/>
                <a:gd name="connsiteX795" fmla="*/ 1735455 w 2370773"/>
                <a:gd name="connsiteY795" fmla="*/ 1504950 h 1940242"/>
                <a:gd name="connsiteX796" fmla="*/ 1752600 w 2370773"/>
                <a:gd name="connsiteY796" fmla="*/ 1522095 h 1940242"/>
                <a:gd name="connsiteX797" fmla="*/ 1735455 w 2370773"/>
                <a:gd name="connsiteY797" fmla="*/ 1539240 h 1940242"/>
                <a:gd name="connsiteX798" fmla="*/ 1718310 w 2370773"/>
                <a:gd name="connsiteY798" fmla="*/ 1522095 h 1940242"/>
                <a:gd name="connsiteX799" fmla="*/ 1735455 w 2370773"/>
                <a:gd name="connsiteY799" fmla="*/ 1504950 h 1940242"/>
                <a:gd name="connsiteX800" fmla="*/ 608647 w 2370773"/>
                <a:gd name="connsiteY800" fmla="*/ 1504950 h 1940242"/>
                <a:gd name="connsiteX801" fmla="*/ 629602 w 2370773"/>
                <a:gd name="connsiteY801" fmla="*/ 1525905 h 1940242"/>
                <a:gd name="connsiteX802" fmla="*/ 608647 w 2370773"/>
                <a:gd name="connsiteY802" fmla="*/ 1546860 h 1940242"/>
                <a:gd name="connsiteX803" fmla="*/ 587692 w 2370773"/>
                <a:gd name="connsiteY803" fmla="*/ 1525905 h 1940242"/>
                <a:gd name="connsiteX804" fmla="*/ 608647 w 2370773"/>
                <a:gd name="connsiteY804" fmla="*/ 1504950 h 1940242"/>
                <a:gd name="connsiteX805" fmla="*/ 499110 w 2370773"/>
                <a:gd name="connsiteY805" fmla="*/ 1504950 h 1940242"/>
                <a:gd name="connsiteX806" fmla="*/ 520065 w 2370773"/>
                <a:gd name="connsiteY806" fmla="*/ 1525905 h 1940242"/>
                <a:gd name="connsiteX807" fmla="*/ 499110 w 2370773"/>
                <a:gd name="connsiteY807" fmla="*/ 1546860 h 1940242"/>
                <a:gd name="connsiteX808" fmla="*/ 478155 w 2370773"/>
                <a:gd name="connsiteY808" fmla="*/ 1525905 h 1940242"/>
                <a:gd name="connsiteX809" fmla="*/ 499110 w 2370773"/>
                <a:gd name="connsiteY809" fmla="*/ 1504950 h 1940242"/>
                <a:gd name="connsiteX810" fmla="*/ 291465 w 2370773"/>
                <a:gd name="connsiteY810" fmla="*/ 1504950 h 1940242"/>
                <a:gd name="connsiteX811" fmla="*/ 296228 w 2370773"/>
                <a:gd name="connsiteY811" fmla="*/ 1509713 h 1940242"/>
                <a:gd name="connsiteX812" fmla="*/ 291465 w 2370773"/>
                <a:gd name="connsiteY812" fmla="*/ 1514475 h 1940242"/>
                <a:gd name="connsiteX813" fmla="*/ 286703 w 2370773"/>
                <a:gd name="connsiteY813" fmla="*/ 1509713 h 1940242"/>
                <a:gd name="connsiteX814" fmla="*/ 291465 w 2370773"/>
                <a:gd name="connsiteY814" fmla="*/ 1504950 h 1940242"/>
                <a:gd name="connsiteX815" fmla="*/ 721995 w 2370773"/>
                <a:gd name="connsiteY815" fmla="*/ 1501140 h 1940242"/>
                <a:gd name="connsiteX816" fmla="*/ 742950 w 2370773"/>
                <a:gd name="connsiteY816" fmla="*/ 1522095 h 1940242"/>
                <a:gd name="connsiteX817" fmla="*/ 721995 w 2370773"/>
                <a:gd name="connsiteY817" fmla="*/ 1543050 h 1940242"/>
                <a:gd name="connsiteX818" fmla="*/ 701040 w 2370773"/>
                <a:gd name="connsiteY818" fmla="*/ 1522095 h 1940242"/>
                <a:gd name="connsiteX819" fmla="*/ 721995 w 2370773"/>
                <a:gd name="connsiteY819" fmla="*/ 1501140 h 1940242"/>
                <a:gd name="connsiteX820" fmla="*/ 393382 w 2370773"/>
                <a:gd name="connsiteY820" fmla="*/ 1498282 h 1940242"/>
                <a:gd name="connsiteX821" fmla="*/ 414337 w 2370773"/>
                <a:gd name="connsiteY821" fmla="*/ 1519237 h 1940242"/>
                <a:gd name="connsiteX822" fmla="*/ 393382 w 2370773"/>
                <a:gd name="connsiteY822" fmla="*/ 1540192 h 1940242"/>
                <a:gd name="connsiteX823" fmla="*/ 372427 w 2370773"/>
                <a:gd name="connsiteY823" fmla="*/ 1519237 h 1940242"/>
                <a:gd name="connsiteX824" fmla="*/ 393382 w 2370773"/>
                <a:gd name="connsiteY824" fmla="*/ 1498282 h 1940242"/>
                <a:gd name="connsiteX825" fmla="*/ 2015491 w 2370773"/>
                <a:gd name="connsiteY825" fmla="*/ 1495425 h 1940242"/>
                <a:gd name="connsiteX826" fmla="*/ 2029778 w 2370773"/>
                <a:gd name="connsiteY826" fmla="*/ 1509713 h 1940242"/>
                <a:gd name="connsiteX827" fmla="*/ 2015491 w 2370773"/>
                <a:gd name="connsiteY827" fmla="*/ 1524000 h 1940242"/>
                <a:gd name="connsiteX828" fmla="*/ 2001203 w 2370773"/>
                <a:gd name="connsiteY828" fmla="*/ 1509713 h 1940242"/>
                <a:gd name="connsiteX829" fmla="*/ 2015491 w 2370773"/>
                <a:gd name="connsiteY829" fmla="*/ 1495425 h 1940242"/>
                <a:gd name="connsiteX830" fmla="*/ 1584960 w 2370773"/>
                <a:gd name="connsiteY830" fmla="*/ 1495425 h 1940242"/>
                <a:gd name="connsiteX831" fmla="*/ 1597343 w 2370773"/>
                <a:gd name="connsiteY831" fmla="*/ 1507808 h 1940242"/>
                <a:gd name="connsiteX832" fmla="*/ 1584960 w 2370773"/>
                <a:gd name="connsiteY832" fmla="*/ 1520190 h 1940242"/>
                <a:gd name="connsiteX833" fmla="*/ 1572578 w 2370773"/>
                <a:gd name="connsiteY833" fmla="*/ 1507808 h 1940242"/>
                <a:gd name="connsiteX834" fmla="*/ 1584960 w 2370773"/>
                <a:gd name="connsiteY834" fmla="*/ 1495425 h 1940242"/>
                <a:gd name="connsiteX835" fmla="*/ 840105 w 2370773"/>
                <a:gd name="connsiteY835" fmla="*/ 1492567 h 1940242"/>
                <a:gd name="connsiteX836" fmla="*/ 858203 w 2370773"/>
                <a:gd name="connsiteY836" fmla="*/ 1510665 h 1940242"/>
                <a:gd name="connsiteX837" fmla="*/ 840105 w 2370773"/>
                <a:gd name="connsiteY837" fmla="*/ 1528762 h 1940242"/>
                <a:gd name="connsiteX838" fmla="*/ 822008 w 2370773"/>
                <a:gd name="connsiteY838" fmla="*/ 1510665 h 1940242"/>
                <a:gd name="connsiteX839" fmla="*/ 840105 w 2370773"/>
                <a:gd name="connsiteY839" fmla="*/ 1492567 h 1940242"/>
                <a:gd name="connsiteX840" fmla="*/ 1016317 w 2370773"/>
                <a:gd name="connsiteY840" fmla="*/ 1491615 h 1940242"/>
                <a:gd name="connsiteX841" fmla="*/ 1032510 w 2370773"/>
                <a:gd name="connsiteY841" fmla="*/ 1507807 h 1940242"/>
                <a:gd name="connsiteX842" fmla="*/ 1016317 w 2370773"/>
                <a:gd name="connsiteY842" fmla="*/ 1524000 h 1940242"/>
                <a:gd name="connsiteX843" fmla="*/ 1000125 w 2370773"/>
                <a:gd name="connsiteY843" fmla="*/ 1507807 h 1940242"/>
                <a:gd name="connsiteX844" fmla="*/ 1016317 w 2370773"/>
                <a:gd name="connsiteY844" fmla="*/ 1491615 h 1940242"/>
                <a:gd name="connsiteX845" fmla="*/ 2145982 w 2370773"/>
                <a:gd name="connsiteY845" fmla="*/ 1483995 h 1940242"/>
                <a:gd name="connsiteX846" fmla="*/ 2149792 w 2370773"/>
                <a:gd name="connsiteY846" fmla="*/ 1487805 h 1940242"/>
                <a:gd name="connsiteX847" fmla="*/ 2145982 w 2370773"/>
                <a:gd name="connsiteY847" fmla="*/ 1491615 h 1940242"/>
                <a:gd name="connsiteX848" fmla="*/ 2142172 w 2370773"/>
                <a:gd name="connsiteY848" fmla="*/ 1487805 h 1940242"/>
                <a:gd name="connsiteX849" fmla="*/ 2145982 w 2370773"/>
                <a:gd name="connsiteY849" fmla="*/ 1483995 h 1940242"/>
                <a:gd name="connsiteX850" fmla="*/ 1787842 w 2370773"/>
                <a:gd name="connsiteY850" fmla="*/ 1481137 h 1940242"/>
                <a:gd name="connsiteX851" fmla="*/ 1804987 w 2370773"/>
                <a:gd name="connsiteY851" fmla="*/ 1498282 h 1940242"/>
                <a:gd name="connsiteX852" fmla="*/ 1787842 w 2370773"/>
                <a:gd name="connsiteY852" fmla="*/ 1515427 h 1940242"/>
                <a:gd name="connsiteX853" fmla="*/ 1770697 w 2370773"/>
                <a:gd name="connsiteY853" fmla="*/ 1498282 h 1940242"/>
                <a:gd name="connsiteX854" fmla="*/ 1787842 w 2370773"/>
                <a:gd name="connsiteY854" fmla="*/ 1481137 h 1940242"/>
                <a:gd name="connsiteX855" fmla="*/ 1640205 w 2370773"/>
                <a:gd name="connsiteY855" fmla="*/ 1479232 h 1940242"/>
                <a:gd name="connsiteX856" fmla="*/ 1651635 w 2370773"/>
                <a:gd name="connsiteY856" fmla="*/ 1490662 h 1940242"/>
                <a:gd name="connsiteX857" fmla="*/ 1640205 w 2370773"/>
                <a:gd name="connsiteY857" fmla="*/ 1502092 h 1940242"/>
                <a:gd name="connsiteX858" fmla="*/ 1628775 w 2370773"/>
                <a:gd name="connsiteY858" fmla="*/ 1490662 h 1940242"/>
                <a:gd name="connsiteX859" fmla="*/ 1640205 w 2370773"/>
                <a:gd name="connsiteY859" fmla="*/ 1479232 h 1940242"/>
                <a:gd name="connsiteX860" fmla="*/ 1927860 w 2370773"/>
                <a:gd name="connsiteY860" fmla="*/ 1478279 h 1940242"/>
                <a:gd name="connsiteX861" fmla="*/ 1942147 w 2370773"/>
                <a:gd name="connsiteY861" fmla="*/ 1492567 h 1940242"/>
                <a:gd name="connsiteX862" fmla="*/ 1927860 w 2370773"/>
                <a:gd name="connsiteY862" fmla="*/ 1506854 h 1940242"/>
                <a:gd name="connsiteX863" fmla="*/ 1913572 w 2370773"/>
                <a:gd name="connsiteY863" fmla="*/ 1492567 h 1940242"/>
                <a:gd name="connsiteX864" fmla="*/ 1927860 w 2370773"/>
                <a:gd name="connsiteY864" fmla="*/ 1478279 h 1940242"/>
                <a:gd name="connsiteX865" fmla="*/ 961073 w 2370773"/>
                <a:gd name="connsiteY865" fmla="*/ 1476375 h 1940242"/>
                <a:gd name="connsiteX866" fmla="*/ 976313 w 2370773"/>
                <a:gd name="connsiteY866" fmla="*/ 1491615 h 1940242"/>
                <a:gd name="connsiteX867" fmla="*/ 961073 w 2370773"/>
                <a:gd name="connsiteY867" fmla="*/ 1506855 h 1940242"/>
                <a:gd name="connsiteX868" fmla="*/ 945833 w 2370773"/>
                <a:gd name="connsiteY868" fmla="*/ 1491615 h 1940242"/>
                <a:gd name="connsiteX869" fmla="*/ 961073 w 2370773"/>
                <a:gd name="connsiteY869" fmla="*/ 1476375 h 1940242"/>
                <a:gd name="connsiteX870" fmla="*/ 1315403 w 2370773"/>
                <a:gd name="connsiteY870" fmla="*/ 1475422 h 1940242"/>
                <a:gd name="connsiteX871" fmla="*/ 1323975 w 2370773"/>
                <a:gd name="connsiteY871" fmla="*/ 1483995 h 1940242"/>
                <a:gd name="connsiteX872" fmla="*/ 1315403 w 2370773"/>
                <a:gd name="connsiteY872" fmla="*/ 1492567 h 1940242"/>
                <a:gd name="connsiteX873" fmla="*/ 1306830 w 2370773"/>
                <a:gd name="connsiteY873" fmla="*/ 1483995 h 1940242"/>
                <a:gd name="connsiteX874" fmla="*/ 1315403 w 2370773"/>
                <a:gd name="connsiteY874" fmla="*/ 1475422 h 1940242"/>
                <a:gd name="connsiteX875" fmla="*/ 1372553 w 2370773"/>
                <a:gd name="connsiteY875" fmla="*/ 1474470 h 1940242"/>
                <a:gd name="connsiteX876" fmla="*/ 1380173 w 2370773"/>
                <a:gd name="connsiteY876" fmla="*/ 1482090 h 1940242"/>
                <a:gd name="connsiteX877" fmla="*/ 1372553 w 2370773"/>
                <a:gd name="connsiteY877" fmla="*/ 1489710 h 1940242"/>
                <a:gd name="connsiteX878" fmla="*/ 1364933 w 2370773"/>
                <a:gd name="connsiteY878" fmla="*/ 1482090 h 1940242"/>
                <a:gd name="connsiteX879" fmla="*/ 1372553 w 2370773"/>
                <a:gd name="connsiteY879" fmla="*/ 1474470 h 1940242"/>
                <a:gd name="connsiteX880" fmla="*/ 1257300 w 2370773"/>
                <a:gd name="connsiteY880" fmla="*/ 1473517 h 1940242"/>
                <a:gd name="connsiteX881" fmla="*/ 1267777 w 2370773"/>
                <a:gd name="connsiteY881" fmla="*/ 1483995 h 1940242"/>
                <a:gd name="connsiteX882" fmla="*/ 1257300 w 2370773"/>
                <a:gd name="connsiteY882" fmla="*/ 1494472 h 1940242"/>
                <a:gd name="connsiteX883" fmla="*/ 1246822 w 2370773"/>
                <a:gd name="connsiteY883" fmla="*/ 1483995 h 1940242"/>
                <a:gd name="connsiteX884" fmla="*/ 1257300 w 2370773"/>
                <a:gd name="connsiteY884" fmla="*/ 1473517 h 1940242"/>
                <a:gd name="connsiteX885" fmla="*/ 673418 w 2370773"/>
                <a:gd name="connsiteY885" fmla="*/ 1471612 h 1940242"/>
                <a:gd name="connsiteX886" fmla="*/ 694373 w 2370773"/>
                <a:gd name="connsiteY886" fmla="*/ 1492567 h 1940242"/>
                <a:gd name="connsiteX887" fmla="*/ 673418 w 2370773"/>
                <a:gd name="connsiteY887" fmla="*/ 1513522 h 1940242"/>
                <a:gd name="connsiteX888" fmla="*/ 652463 w 2370773"/>
                <a:gd name="connsiteY888" fmla="*/ 1492567 h 1940242"/>
                <a:gd name="connsiteX889" fmla="*/ 673418 w 2370773"/>
                <a:gd name="connsiteY889" fmla="*/ 1471612 h 1940242"/>
                <a:gd name="connsiteX890" fmla="*/ 561975 w 2370773"/>
                <a:gd name="connsiteY890" fmla="*/ 1471612 h 1940242"/>
                <a:gd name="connsiteX891" fmla="*/ 582930 w 2370773"/>
                <a:gd name="connsiteY891" fmla="*/ 1492567 h 1940242"/>
                <a:gd name="connsiteX892" fmla="*/ 561975 w 2370773"/>
                <a:gd name="connsiteY892" fmla="*/ 1513522 h 1940242"/>
                <a:gd name="connsiteX893" fmla="*/ 541020 w 2370773"/>
                <a:gd name="connsiteY893" fmla="*/ 1492567 h 1940242"/>
                <a:gd name="connsiteX894" fmla="*/ 561975 w 2370773"/>
                <a:gd name="connsiteY894" fmla="*/ 1471612 h 1940242"/>
                <a:gd name="connsiteX895" fmla="*/ 1429703 w 2370773"/>
                <a:gd name="connsiteY895" fmla="*/ 1469707 h 1940242"/>
                <a:gd name="connsiteX896" fmla="*/ 1436370 w 2370773"/>
                <a:gd name="connsiteY896" fmla="*/ 1476374 h 1940242"/>
                <a:gd name="connsiteX897" fmla="*/ 1429703 w 2370773"/>
                <a:gd name="connsiteY897" fmla="*/ 1483042 h 1940242"/>
                <a:gd name="connsiteX898" fmla="*/ 1423035 w 2370773"/>
                <a:gd name="connsiteY898" fmla="*/ 1476374 h 1940242"/>
                <a:gd name="connsiteX899" fmla="*/ 1429703 w 2370773"/>
                <a:gd name="connsiteY899" fmla="*/ 1469707 h 1940242"/>
                <a:gd name="connsiteX900" fmla="*/ 1200150 w 2370773"/>
                <a:gd name="connsiteY900" fmla="*/ 1468754 h 1940242"/>
                <a:gd name="connsiteX901" fmla="*/ 1210627 w 2370773"/>
                <a:gd name="connsiteY901" fmla="*/ 1479232 h 1940242"/>
                <a:gd name="connsiteX902" fmla="*/ 1200150 w 2370773"/>
                <a:gd name="connsiteY902" fmla="*/ 1489709 h 1940242"/>
                <a:gd name="connsiteX903" fmla="*/ 1189672 w 2370773"/>
                <a:gd name="connsiteY903" fmla="*/ 1479232 h 1940242"/>
                <a:gd name="connsiteX904" fmla="*/ 1200150 w 2370773"/>
                <a:gd name="connsiteY904" fmla="*/ 1468754 h 1940242"/>
                <a:gd name="connsiteX905" fmla="*/ 455295 w 2370773"/>
                <a:gd name="connsiteY905" fmla="*/ 1467802 h 1940242"/>
                <a:gd name="connsiteX906" fmla="*/ 476250 w 2370773"/>
                <a:gd name="connsiteY906" fmla="*/ 1488757 h 1940242"/>
                <a:gd name="connsiteX907" fmla="*/ 455295 w 2370773"/>
                <a:gd name="connsiteY907" fmla="*/ 1509712 h 1940242"/>
                <a:gd name="connsiteX908" fmla="*/ 434340 w 2370773"/>
                <a:gd name="connsiteY908" fmla="*/ 1488757 h 1940242"/>
                <a:gd name="connsiteX909" fmla="*/ 455295 w 2370773"/>
                <a:gd name="connsiteY909" fmla="*/ 1467802 h 1940242"/>
                <a:gd name="connsiteX910" fmla="*/ 787717 w 2370773"/>
                <a:gd name="connsiteY910" fmla="*/ 1466850 h 1940242"/>
                <a:gd name="connsiteX911" fmla="*/ 805815 w 2370773"/>
                <a:gd name="connsiteY911" fmla="*/ 1484947 h 1940242"/>
                <a:gd name="connsiteX912" fmla="*/ 787717 w 2370773"/>
                <a:gd name="connsiteY912" fmla="*/ 1503045 h 1940242"/>
                <a:gd name="connsiteX913" fmla="*/ 769620 w 2370773"/>
                <a:gd name="connsiteY913" fmla="*/ 1484947 h 1940242"/>
                <a:gd name="connsiteX914" fmla="*/ 787717 w 2370773"/>
                <a:gd name="connsiteY914" fmla="*/ 1466850 h 1940242"/>
                <a:gd name="connsiteX915" fmla="*/ 251460 w 2370773"/>
                <a:gd name="connsiteY915" fmla="*/ 1465897 h 1940242"/>
                <a:gd name="connsiteX916" fmla="*/ 253365 w 2370773"/>
                <a:gd name="connsiteY916" fmla="*/ 1467802 h 1940242"/>
                <a:gd name="connsiteX917" fmla="*/ 251460 w 2370773"/>
                <a:gd name="connsiteY917" fmla="*/ 1469707 h 1940242"/>
                <a:gd name="connsiteX918" fmla="*/ 249555 w 2370773"/>
                <a:gd name="connsiteY918" fmla="*/ 1467802 h 1940242"/>
                <a:gd name="connsiteX919" fmla="*/ 251460 w 2370773"/>
                <a:gd name="connsiteY919" fmla="*/ 1465897 h 1940242"/>
                <a:gd name="connsiteX920" fmla="*/ 2061210 w 2370773"/>
                <a:gd name="connsiteY920" fmla="*/ 1463992 h 1940242"/>
                <a:gd name="connsiteX921" fmla="*/ 2071688 w 2370773"/>
                <a:gd name="connsiteY921" fmla="*/ 1474470 h 1940242"/>
                <a:gd name="connsiteX922" fmla="*/ 2061210 w 2370773"/>
                <a:gd name="connsiteY922" fmla="*/ 1484947 h 1940242"/>
                <a:gd name="connsiteX923" fmla="*/ 2050733 w 2370773"/>
                <a:gd name="connsiteY923" fmla="*/ 1474470 h 1940242"/>
                <a:gd name="connsiteX924" fmla="*/ 2061210 w 2370773"/>
                <a:gd name="connsiteY924" fmla="*/ 1463992 h 1940242"/>
                <a:gd name="connsiteX925" fmla="*/ 1693546 w 2370773"/>
                <a:gd name="connsiteY925" fmla="*/ 1458277 h 1940242"/>
                <a:gd name="connsiteX926" fmla="*/ 1705928 w 2370773"/>
                <a:gd name="connsiteY926" fmla="*/ 1470659 h 1940242"/>
                <a:gd name="connsiteX927" fmla="*/ 1693546 w 2370773"/>
                <a:gd name="connsiteY927" fmla="*/ 1483042 h 1940242"/>
                <a:gd name="connsiteX928" fmla="*/ 1681163 w 2370773"/>
                <a:gd name="connsiteY928" fmla="*/ 1470659 h 1940242"/>
                <a:gd name="connsiteX929" fmla="*/ 1693546 w 2370773"/>
                <a:gd name="connsiteY929" fmla="*/ 1458277 h 1940242"/>
                <a:gd name="connsiteX930" fmla="*/ 1486853 w 2370773"/>
                <a:gd name="connsiteY930" fmla="*/ 1458277 h 1940242"/>
                <a:gd name="connsiteX931" fmla="*/ 1494473 w 2370773"/>
                <a:gd name="connsiteY931" fmla="*/ 1465897 h 1940242"/>
                <a:gd name="connsiteX932" fmla="*/ 1486853 w 2370773"/>
                <a:gd name="connsiteY932" fmla="*/ 1473517 h 1940242"/>
                <a:gd name="connsiteX933" fmla="*/ 1479233 w 2370773"/>
                <a:gd name="connsiteY933" fmla="*/ 1465897 h 1940242"/>
                <a:gd name="connsiteX934" fmla="*/ 1486853 w 2370773"/>
                <a:gd name="connsiteY934" fmla="*/ 1458277 h 1940242"/>
                <a:gd name="connsiteX935" fmla="*/ 1143000 w 2370773"/>
                <a:gd name="connsiteY935" fmla="*/ 1458277 h 1940242"/>
                <a:gd name="connsiteX936" fmla="*/ 1155382 w 2370773"/>
                <a:gd name="connsiteY936" fmla="*/ 1470659 h 1940242"/>
                <a:gd name="connsiteX937" fmla="*/ 1143000 w 2370773"/>
                <a:gd name="connsiteY937" fmla="*/ 1483042 h 1940242"/>
                <a:gd name="connsiteX938" fmla="*/ 1130617 w 2370773"/>
                <a:gd name="connsiteY938" fmla="*/ 1470659 h 1940242"/>
                <a:gd name="connsiteX939" fmla="*/ 1143000 w 2370773"/>
                <a:gd name="connsiteY939" fmla="*/ 1458277 h 1940242"/>
                <a:gd name="connsiteX940" fmla="*/ 351473 w 2370773"/>
                <a:gd name="connsiteY940" fmla="*/ 1457325 h 1940242"/>
                <a:gd name="connsiteX941" fmla="*/ 373380 w 2370773"/>
                <a:gd name="connsiteY941" fmla="*/ 1479233 h 1940242"/>
                <a:gd name="connsiteX942" fmla="*/ 351473 w 2370773"/>
                <a:gd name="connsiteY942" fmla="*/ 1501140 h 1940242"/>
                <a:gd name="connsiteX943" fmla="*/ 329565 w 2370773"/>
                <a:gd name="connsiteY943" fmla="*/ 1479233 h 1940242"/>
                <a:gd name="connsiteX944" fmla="*/ 351473 w 2370773"/>
                <a:gd name="connsiteY944" fmla="*/ 1457325 h 1940242"/>
                <a:gd name="connsiteX945" fmla="*/ 906780 w 2370773"/>
                <a:gd name="connsiteY945" fmla="*/ 1455420 h 1940242"/>
                <a:gd name="connsiteX946" fmla="*/ 922020 w 2370773"/>
                <a:gd name="connsiteY946" fmla="*/ 1470660 h 1940242"/>
                <a:gd name="connsiteX947" fmla="*/ 906780 w 2370773"/>
                <a:gd name="connsiteY947" fmla="*/ 1485900 h 1940242"/>
                <a:gd name="connsiteX948" fmla="*/ 891540 w 2370773"/>
                <a:gd name="connsiteY948" fmla="*/ 1470660 h 1940242"/>
                <a:gd name="connsiteX949" fmla="*/ 906780 w 2370773"/>
                <a:gd name="connsiteY949" fmla="*/ 1455420 h 1940242"/>
                <a:gd name="connsiteX950" fmla="*/ 1838325 w 2370773"/>
                <a:gd name="connsiteY950" fmla="*/ 1454467 h 1940242"/>
                <a:gd name="connsiteX951" fmla="*/ 1854518 w 2370773"/>
                <a:gd name="connsiteY951" fmla="*/ 1470659 h 1940242"/>
                <a:gd name="connsiteX952" fmla="*/ 1838325 w 2370773"/>
                <a:gd name="connsiteY952" fmla="*/ 1486852 h 1940242"/>
                <a:gd name="connsiteX953" fmla="*/ 1822133 w 2370773"/>
                <a:gd name="connsiteY953" fmla="*/ 1470659 h 1940242"/>
                <a:gd name="connsiteX954" fmla="*/ 1838325 w 2370773"/>
                <a:gd name="connsiteY954" fmla="*/ 1454467 h 1940242"/>
                <a:gd name="connsiteX955" fmla="*/ 1085850 w 2370773"/>
                <a:gd name="connsiteY955" fmla="*/ 1446847 h 1940242"/>
                <a:gd name="connsiteX956" fmla="*/ 1099185 w 2370773"/>
                <a:gd name="connsiteY956" fmla="*/ 1460182 h 1940242"/>
                <a:gd name="connsiteX957" fmla="*/ 1085850 w 2370773"/>
                <a:gd name="connsiteY957" fmla="*/ 1473517 h 1940242"/>
                <a:gd name="connsiteX958" fmla="*/ 1072515 w 2370773"/>
                <a:gd name="connsiteY958" fmla="*/ 1460182 h 1940242"/>
                <a:gd name="connsiteX959" fmla="*/ 1085850 w 2370773"/>
                <a:gd name="connsiteY959" fmla="*/ 1446847 h 1940242"/>
                <a:gd name="connsiteX960" fmla="*/ 1975485 w 2370773"/>
                <a:gd name="connsiteY960" fmla="*/ 1443037 h 1940242"/>
                <a:gd name="connsiteX961" fmla="*/ 1992630 w 2370773"/>
                <a:gd name="connsiteY961" fmla="*/ 1460182 h 1940242"/>
                <a:gd name="connsiteX962" fmla="*/ 1975485 w 2370773"/>
                <a:gd name="connsiteY962" fmla="*/ 1477327 h 1940242"/>
                <a:gd name="connsiteX963" fmla="*/ 1958340 w 2370773"/>
                <a:gd name="connsiteY963" fmla="*/ 1460182 h 1940242"/>
                <a:gd name="connsiteX964" fmla="*/ 1975485 w 2370773"/>
                <a:gd name="connsiteY964" fmla="*/ 1443037 h 1940242"/>
                <a:gd name="connsiteX965" fmla="*/ 1543050 w 2370773"/>
                <a:gd name="connsiteY965" fmla="*/ 1443037 h 1940242"/>
                <a:gd name="connsiteX966" fmla="*/ 1552575 w 2370773"/>
                <a:gd name="connsiteY966" fmla="*/ 1452562 h 1940242"/>
                <a:gd name="connsiteX967" fmla="*/ 1543050 w 2370773"/>
                <a:gd name="connsiteY967" fmla="*/ 1462087 h 1940242"/>
                <a:gd name="connsiteX968" fmla="*/ 1533525 w 2370773"/>
                <a:gd name="connsiteY968" fmla="*/ 1452562 h 1940242"/>
                <a:gd name="connsiteX969" fmla="*/ 1543050 w 2370773"/>
                <a:gd name="connsiteY969" fmla="*/ 1443037 h 1940242"/>
                <a:gd name="connsiteX970" fmla="*/ 625792 w 2370773"/>
                <a:gd name="connsiteY970" fmla="*/ 1439227 h 1940242"/>
                <a:gd name="connsiteX971" fmla="*/ 645795 w 2370773"/>
                <a:gd name="connsiteY971" fmla="*/ 1459229 h 1940242"/>
                <a:gd name="connsiteX972" fmla="*/ 625792 w 2370773"/>
                <a:gd name="connsiteY972" fmla="*/ 1479232 h 1940242"/>
                <a:gd name="connsiteX973" fmla="*/ 605790 w 2370773"/>
                <a:gd name="connsiteY973" fmla="*/ 1459229 h 1940242"/>
                <a:gd name="connsiteX974" fmla="*/ 625792 w 2370773"/>
                <a:gd name="connsiteY974" fmla="*/ 1439227 h 1940242"/>
                <a:gd name="connsiteX975" fmla="*/ 517207 w 2370773"/>
                <a:gd name="connsiteY975" fmla="*/ 1437322 h 1940242"/>
                <a:gd name="connsiteX976" fmla="*/ 537210 w 2370773"/>
                <a:gd name="connsiteY976" fmla="*/ 1457325 h 1940242"/>
                <a:gd name="connsiteX977" fmla="*/ 517207 w 2370773"/>
                <a:gd name="connsiteY977" fmla="*/ 1477327 h 1940242"/>
                <a:gd name="connsiteX978" fmla="*/ 497205 w 2370773"/>
                <a:gd name="connsiteY978" fmla="*/ 1457325 h 1940242"/>
                <a:gd name="connsiteX979" fmla="*/ 517207 w 2370773"/>
                <a:gd name="connsiteY979" fmla="*/ 1437322 h 1940242"/>
                <a:gd name="connsiteX980" fmla="*/ 738188 w 2370773"/>
                <a:gd name="connsiteY980" fmla="*/ 1435417 h 1940242"/>
                <a:gd name="connsiteX981" fmla="*/ 759143 w 2370773"/>
                <a:gd name="connsiteY981" fmla="*/ 1456372 h 1940242"/>
                <a:gd name="connsiteX982" fmla="*/ 738188 w 2370773"/>
                <a:gd name="connsiteY982" fmla="*/ 1477327 h 1940242"/>
                <a:gd name="connsiteX983" fmla="*/ 717233 w 2370773"/>
                <a:gd name="connsiteY983" fmla="*/ 1456372 h 1940242"/>
                <a:gd name="connsiteX984" fmla="*/ 738188 w 2370773"/>
                <a:gd name="connsiteY984" fmla="*/ 1435417 h 1940242"/>
                <a:gd name="connsiteX985" fmla="*/ 1030605 w 2370773"/>
                <a:gd name="connsiteY985" fmla="*/ 1432559 h 1940242"/>
                <a:gd name="connsiteX986" fmla="*/ 1043940 w 2370773"/>
                <a:gd name="connsiteY986" fmla="*/ 1445894 h 1940242"/>
                <a:gd name="connsiteX987" fmla="*/ 1030605 w 2370773"/>
                <a:gd name="connsiteY987" fmla="*/ 1459229 h 1940242"/>
                <a:gd name="connsiteX988" fmla="*/ 1017270 w 2370773"/>
                <a:gd name="connsiteY988" fmla="*/ 1445894 h 1940242"/>
                <a:gd name="connsiteX989" fmla="*/ 1030605 w 2370773"/>
                <a:gd name="connsiteY989" fmla="*/ 1432559 h 1940242"/>
                <a:gd name="connsiteX990" fmla="*/ 1746885 w 2370773"/>
                <a:gd name="connsiteY990" fmla="*/ 1431607 h 1940242"/>
                <a:gd name="connsiteX991" fmla="*/ 1762125 w 2370773"/>
                <a:gd name="connsiteY991" fmla="*/ 1446847 h 1940242"/>
                <a:gd name="connsiteX992" fmla="*/ 1746885 w 2370773"/>
                <a:gd name="connsiteY992" fmla="*/ 1462087 h 1940242"/>
                <a:gd name="connsiteX993" fmla="*/ 1731645 w 2370773"/>
                <a:gd name="connsiteY993" fmla="*/ 1446847 h 1940242"/>
                <a:gd name="connsiteX994" fmla="*/ 1746885 w 2370773"/>
                <a:gd name="connsiteY994" fmla="*/ 1431607 h 1940242"/>
                <a:gd name="connsiteX995" fmla="*/ 854393 w 2370773"/>
                <a:gd name="connsiteY995" fmla="*/ 1428750 h 1940242"/>
                <a:gd name="connsiteX996" fmla="*/ 871538 w 2370773"/>
                <a:gd name="connsiteY996" fmla="*/ 1445895 h 1940242"/>
                <a:gd name="connsiteX997" fmla="*/ 854393 w 2370773"/>
                <a:gd name="connsiteY997" fmla="*/ 1463040 h 1940242"/>
                <a:gd name="connsiteX998" fmla="*/ 837248 w 2370773"/>
                <a:gd name="connsiteY998" fmla="*/ 1445895 h 1940242"/>
                <a:gd name="connsiteX999" fmla="*/ 854393 w 2370773"/>
                <a:gd name="connsiteY999" fmla="*/ 1428750 h 1940242"/>
                <a:gd name="connsiteX1000" fmla="*/ 1598295 w 2370773"/>
                <a:gd name="connsiteY1000" fmla="*/ 1427797 h 1940242"/>
                <a:gd name="connsiteX1001" fmla="*/ 1607820 w 2370773"/>
                <a:gd name="connsiteY1001" fmla="*/ 1437322 h 1940242"/>
                <a:gd name="connsiteX1002" fmla="*/ 1598295 w 2370773"/>
                <a:gd name="connsiteY1002" fmla="*/ 1446847 h 1940242"/>
                <a:gd name="connsiteX1003" fmla="*/ 1588770 w 2370773"/>
                <a:gd name="connsiteY1003" fmla="*/ 1437322 h 1940242"/>
                <a:gd name="connsiteX1004" fmla="*/ 1598295 w 2370773"/>
                <a:gd name="connsiteY1004" fmla="*/ 1427797 h 1940242"/>
                <a:gd name="connsiteX1005" fmla="*/ 412432 w 2370773"/>
                <a:gd name="connsiteY1005" fmla="*/ 1427797 h 1940242"/>
                <a:gd name="connsiteX1006" fmla="*/ 434340 w 2370773"/>
                <a:gd name="connsiteY1006" fmla="*/ 1449705 h 1940242"/>
                <a:gd name="connsiteX1007" fmla="*/ 412432 w 2370773"/>
                <a:gd name="connsiteY1007" fmla="*/ 1471612 h 1940242"/>
                <a:gd name="connsiteX1008" fmla="*/ 390525 w 2370773"/>
                <a:gd name="connsiteY1008" fmla="*/ 1449705 h 1940242"/>
                <a:gd name="connsiteX1009" fmla="*/ 412432 w 2370773"/>
                <a:gd name="connsiteY1009" fmla="*/ 1427797 h 1940242"/>
                <a:gd name="connsiteX1010" fmla="*/ 2105978 w 2370773"/>
                <a:gd name="connsiteY1010" fmla="*/ 1426845 h 1940242"/>
                <a:gd name="connsiteX1011" fmla="*/ 2116455 w 2370773"/>
                <a:gd name="connsiteY1011" fmla="*/ 1437322 h 1940242"/>
                <a:gd name="connsiteX1012" fmla="*/ 2105978 w 2370773"/>
                <a:gd name="connsiteY1012" fmla="*/ 1447800 h 1940242"/>
                <a:gd name="connsiteX1013" fmla="*/ 2095500 w 2370773"/>
                <a:gd name="connsiteY1013" fmla="*/ 1437322 h 1940242"/>
                <a:gd name="connsiteX1014" fmla="*/ 2105978 w 2370773"/>
                <a:gd name="connsiteY1014" fmla="*/ 1426845 h 1940242"/>
                <a:gd name="connsiteX1015" fmla="*/ 1887855 w 2370773"/>
                <a:gd name="connsiteY1015" fmla="*/ 1426845 h 1940242"/>
                <a:gd name="connsiteX1016" fmla="*/ 1903095 w 2370773"/>
                <a:gd name="connsiteY1016" fmla="*/ 1442085 h 1940242"/>
                <a:gd name="connsiteX1017" fmla="*/ 1887855 w 2370773"/>
                <a:gd name="connsiteY1017" fmla="*/ 1457325 h 1940242"/>
                <a:gd name="connsiteX1018" fmla="*/ 1872615 w 2370773"/>
                <a:gd name="connsiteY1018" fmla="*/ 1442085 h 1940242"/>
                <a:gd name="connsiteX1019" fmla="*/ 1887855 w 2370773"/>
                <a:gd name="connsiteY1019" fmla="*/ 1426845 h 1940242"/>
                <a:gd name="connsiteX1020" fmla="*/ 311468 w 2370773"/>
                <a:gd name="connsiteY1020" fmla="*/ 1421129 h 1940242"/>
                <a:gd name="connsiteX1021" fmla="*/ 328613 w 2370773"/>
                <a:gd name="connsiteY1021" fmla="*/ 1438274 h 1940242"/>
                <a:gd name="connsiteX1022" fmla="*/ 311468 w 2370773"/>
                <a:gd name="connsiteY1022" fmla="*/ 1455419 h 1940242"/>
                <a:gd name="connsiteX1023" fmla="*/ 294323 w 2370773"/>
                <a:gd name="connsiteY1023" fmla="*/ 1438274 h 1940242"/>
                <a:gd name="connsiteX1024" fmla="*/ 311468 w 2370773"/>
                <a:gd name="connsiteY1024" fmla="*/ 1421129 h 1940242"/>
                <a:gd name="connsiteX1025" fmla="*/ 213360 w 2370773"/>
                <a:gd name="connsiteY1025" fmla="*/ 1416367 h 1940242"/>
                <a:gd name="connsiteX1026" fmla="*/ 220980 w 2370773"/>
                <a:gd name="connsiteY1026" fmla="*/ 1423987 h 1940242"/>
                <a:gd name="connsiteX1027" fmla="*/ 213360 w 2370773"/>
                <a:gd name="connsiteY1027" fmla="*/ 1431607 h 1940242"/>
                <a:gd name="connsiteX1028" fmla="*/ 205740 w 2370773"/>
                <a:gd name="connsiteY1028" fmla="*/ 1423987 h 1940242"/>
                <a:gd name="connsiteX1029" fmla="*/ 213360 w 2370773"/>
                <a:gd name="connsiteY1029" fmla="*/ 1416367 h 1940242"/>
                <a:gd name="connsiteX1030" fmla="*/ 1329691 w 2370773"/>
                <a:gd name="connsiteY1030" fmla="*/ 1415415 h 1940242"/>
                <a:gd name="connsiteX1031" fmla="*/ 1334453 w 2370773"/>
                <a:gd name="connsiteY1031" fmla="*/ 1420178 h 1940242"/>
                <a:gd name="connsiteX1032" fmla="*/ 1329691 w 2370773"/>
                <a:gd name="connsiteY1032" fmla="*/ 1424940 h 1940242"/>
                <a:gd name="connsiteX1033" fmla="*/ 1324928 w 2370773"/>
                <a:gd name="connsiteY1033" fmla="*/ 1420178 h 1940242"/>
                <a:gd name="connsiteX1034" fmla="*/ 1329691 w 2370773"/>
                <a:gd name="connsiteY1034" fmla="*/ 1415415 h 1940242"/>
                <a:gd name="connsiteX1035" fmla="*/ 1271587 w 2370773"/>
                <a:gd name="connsiteY1035" fmla="*/ 1413509 h 1940242"/>
                <a:gd name="connsiteX1036" fmla="*/ 1278255 w 2370773"/>
                <a:gd name="connsiteY1036" fmla="*/ 1420177 h 1940242"/>
                <a:gd name="connsiteX1037" fmla="*/ 1271587 w 2370773"/>
                <a:gd name="connsiteY1037" fmla="*/ 1426844 h 1940242"/>
                <a:gd name="connsiteX1038" fmla="*/ 1264920 w 2370773"/>
                <a:gd name="connsiteY1038" fmla="*/ 1420177 h 1940242"/>
                <a:gd name="connsiteX1039" fmla="*/ 1271587 w 2370773"/>
                <a:gd name="connsiteY1039" fmla="*/ 1413509 h 1940242"/>
                <a:gd name="connsiteX1040" fmla="*/ 975360 w 2370773"/>
                <a:gd name="connsiteY1040" fmla="*/ 1412557 h 1940242"/>
                <a:gd name="connsiteX1041" fmla="*/ 990600 w 2370773"/>
                <a:gd name="connsiteY1041" fmla="*/ 1427797 h 1940242"/>
                <a:gd name="connsiteX1042" fmla="*/ 975360 w 2370773"/>
                <a:gd name="connsiteY1042" fmla="*/ 1443037 h 1940242"/>
                <a:gd name="connsiteX1043" fmla="*/ 960120 w 2370773"/>
                <a:gd name="connsiteY1043" fmla="*/ 1427797 h 1940242"/>
                <a:gd name="connsiteX1044" fmla="*/ 975360 w 2370773"/>
                <a:gd name="connsiteY1044" fmla="*/ 1412557 h 1940242"/>
                <a:gd name="connsiteX1045" fmla="*/ 2021205 w 2370773"/>
                <a:gd name="connsiteY1045" fmla="*/ 1411604 h 1940242"/>
                <a:gd name="connsiteX1046" fmla="*/ 2033587 w 2370773"/>
                <a:gd name="connsiteY1046" fmla="*/ 1423987 h 1940242"/>
                <a:gd name="connsiteX1047" fmla="*/ 2021205 w 2370773"/>
                <a:gd name="connsiteY1047" fmla="*/ 1436369 h 1940242"/>
                <a:gd name="connsiteX1048" fmla="*/ 2008822 w 2370773"/>
                <a:gd name="connsiteY1048" fmla="*/ 1423987 h 1940242"/>
                <a:gd name="connsiteX1049" fmla="*/ 2021205 w 2370773"/>
                <a:gd name="connsiteY1049" fmla="*/ 1411604 h 1940242"/>
                <a:gd name="connsiteX1050" fmla="*/ 1386840 w 2370773"/>
                <a:gd name="connsiteY1050" fmla="*/ 1409700 h 1940242"/>
                <a:gd name="connsiteX1051" fmla="*/ 1393507 w 2370773"/>
                <a:gd name="connsiteY1051" fmla="*/ 1416367 h 1940242"/>
                <a:gd name="connsiteX1052" fmla="*/ 1386840 w 2370773"/>
                <a:gd name="connsiteY1052" fmla="*/ 1423035 h 1940242"/>
                <a:gd name="connsiteX1053" fmla="*/ 1380172 w 2370773"/>
                <a:gd name="connsiteY1053" fmla="*/ 1416367 h 1940242"/>
                <a:gd name="connsiteX1054" fmla="*/ 1386840 w 2370773"/>
                <a:gd name="connsiteY1054" fmla="*/ 1409700 h 1940242"/>
                <a:gd name="connsiteX1055" fmla="*/ 1214437 w 2370773"/>
                <a:gd name="connsiteY1055" fmla="*/ 1408747 h 1940242"/>
                <a:gd name="connsiteX1056" fmla="*/ 1222057 w 2370773"/>
                <a:gd name="connsiteY1056" fmla="*/ 1416367 h 1940242"/>
                <a:gd name="connsiteX1057" fmla="*/ 1214437 w 2370773"/>
                <a:gd name="connsiteY1057" fmla="*/ 1423987 h 1940242"/>
                <a:gd name="connsiteX1058" fmla="*/ 1206817 w 2370773"/>
                <a:gd name="connsiteY1058" fmla="*/ 1416367 h 1940242"/>
                <a:gd name="connsiteX1059" fmla="*/ 1214437 w 2370773"/>
                <a:gd name="connsiteY1059" fmla="*/ 1408747 h 1940242"/>
                <a:gd name="connsiteX1060" fmla="*/ 1797368 w 2370773"/>
                <a:gd name="connsiteY1060" fmla="*/ 1407795 h 1940242"/>
                <a:gd name="connsiteX1061" fmla="*/ 1809750 w 2370773"/>
                <a:gd name="connsiteY1061" fmla="*/ 1420178 h 1940242"/>
                <a:gd name="connsiteX1062" fmla="*/ 1797368 w 2370773"/>
                <a:gd name="connsiteY1062" fmla="*/ 1432560 h 1940242"/>
                <a:gd name="connsiteX1063" fmla="*/ 1784985 w 2370773"/>
                <a:gd name="connsiteY1063" fmla="*/ 1420178 h 1940242"/>
                <a:gd name="connsiteX1064" fmla="*/ 1797368 w 2370773"/>
                <a:gd name="connsiteY1064" fmla="*/ 1407795 h 1940242"/>
                <a:gd name="connsiteX1065" fmla="*/ 1652588 w 2370773"/>
                <a:gd name="connsiteY1065" fmla="*/ 1407795 h 1940242"/>
                <a:gd name="connsiteX1066" fmla="*/ 1662113 w 2370773"/>
                <a:gd name="connsiteY1066" fmla="*/ 1417320 h 1940242"/>
                <a:gd name="connsiteX1067" fmla="*/ 1652588 w 2370773"/>
                <a:gd name="connsiteY1067" fmla="*/ 1426845 h 1940242"/>
                <a:gd name="connsiteX1068" fmla="*/ 1643063 w 2370773"/>
                <a:gd name="connsiteY1068" fmla="*/ 1417320 h 1940242"/>
                <a:gd name="connsiteX1069" fmla="*/ 1652588 w 2370773"/>
                <a:gd name="connsiteY1069" fmla="*/ 1407795 h 1940242"/>
                <a:gd name="connsiteX1070" fmla="*/ 689610 w 2370773"/>
                <a:gd name="connsiteY1070" fmla="*/ 1406842 h 1940242"/>
                <a:gd name="connsiteX1071" fmla="*/ 708660 w 2370773"/>
                <a:gd name="connsiteY1071" fmla="*/ 1425892 h 1940242"/>
                <a:gd name="connsiteX1072" fmla="*/ 689610 w 2370773"/>
                <a:gd name="connsiteY1072" fmla="*/ 1444942 h 1940242"/>
                <a:gd name="connsiteX1073" fmla="*/ 670560 w 2370773"/>
                <a:gd name="connsiteY1073" fmla="*/ 1425892 h 1940242"/>
                <a:gd name="connsiteX1074" fmla="*/ 689610 w 2370773"/>
                <a:gd name="connsiteY1074" fmla="*/ 1406842 h 1940242"/>
                <a:gd name="connsiteX1075" fmla="*/ 2228850 w 2370773"/>
                <a:gd name="connsiteY1075" fmla="*/ 1405890 h 1940242"/>
                <a:gd name="connsiteX1076" fmla="*/ 2230755 w 2370773"/>
                <a:gd name="connsiteY1076" fmla="*/ 1407795 h 1940242"/>
                <a:gd name="connsiteX1077" fmla="*/ 2228850 w 2370773"/>
                <a:gd name="connsiteY1077" fmla="*/ 1409700 h 1940242"/>
                <a:gd name="connsiteX1078" fmla="*/ 2226945 w 2370773"/>
                <a:gd name="connsiteY1078" fmla="*/ 1407795 h 1940242"/>
                <a:gd name="connsiteX1079" fmla="*/ 2228850 w 2370773"/>
                <a:gd name="connsiteY1079" fmla="*/ 1405890 h 1940242"/>
                <a:gd name="connsiteX1080" fmla="*/ 579120 w 2370773"/>
                <a:gd name="connsiteY1080" fmla="*/ 1405890 h 1940242"/>
                <a:gd name="connsiteX1081" fmla="*/ 598170 w 2370773"/>
                <a:gd name="connsiteY1081" fmla="*/ 1424940 h 1940242"/>
                <a:gd name="connsiteX1082" fmla="*/ 579120 w 2370773"/>
                <a:gd name="connsiteY1082" fmla="*/ 1443990 h 1940242"/>
                <a:gd name="connsiteX1083" fmla="*/ 560070 w 2370773"/>
                <a:gd name="connsiteY1083" fmla="*/ 1424940 h 1940242"/>
                <a:gd name="connsiteX1084" fmla="*/ 579120 w 2370773"/>
                <a:gd name="connsiteY1084" fmla="*/ 1405890 h 1940242"/>
                <a:gd name="connsiteX1085" fmla="*/ 1443990 w 2370773"/>
                <a:gd name="connsiteY1085" fmla="*/ 1403032 h 1940242"/>
                <a:gd name="connsiteX1086" fmla="*/ 1449705 w 2370773"/>
                <a:gd name="connsiteY1086" fmla="*/ 1408747 h 1940242"/>
                <a:gd name="connsiteX1087" fmla="*/ 1443990 w 2370773"/>
                <a:gd name="connsiteY1087" fmla="*/ 1414462 h 1940242"/>
                <a:gd name="connsiteX1088" fmla="*/ 1438275 w 2370773"/>
                <a:gd name="connsiteY1088" fmla="*/ 1408747 h 1940242"/>
                <a:gd name="connsiteX1089" fmla="*/ 1443990 w 2370773"/>
                <a:gd name="connsiteY1089" fmla="*/ 1403032 h 1940242"/>
                <a:gd name="connsiteX1090" fmla="*/ 802958 w 2370773"/>
                <a:gd name="connsiteY1090" fmla="*/ 1403032 h 1940242"/>
                <a:gd name="connsiteX1091" fmla="*/ 819151 w 2370773"/>
                <a:gd name="connsiteY1091" fmla="*/ 1420177 h 1940242"/>
                <a:gd name="connsiteX1092" fmla="*/ 802958 w 2370773"/>
                <a:gd name="connsiteY1092" fmla="*/ 1437322 h 1940242"/>
                <a:gd name="connsiteX1093" fmla="*/ 785813 w 2370773"/>
                <a:gd name="connsiteY1093" fmla="*/ 1420177 h 1940242"/>
                <a:gd name="connsiteX1094" fmla="*/ 802958 w 2370773"/>
                <a:gd name="connsiteY1094" fmla="*/ 1403032 h 1940242"/>
                <a:gd name="connsiteX1095" fmla="*/ 1157287 w 2370773"/>
                <a:gd name="connsiteY1095" fmla="*/ 1401127 h 1940242"/>
                <a:gd name="connsiteX1096" fmla="*/ 1164907 w 2370773"/>
                <a:gd name="connsiteY1096" fmla="*/ 1408747 h 1940242"/>
                <a:gd name="connsiteX1097" fmla="*/ 1157287 w 2370773"/>
                <a:gd name="connsiteY1097" fmla="*/ 1416367 h 1940242"/>
                <a:gd name="connsiteX1098" fmla="*/ 1149667 w 2370773"/>
                <a:gd name="connsiteY1098" fmla="*/ 1408747 h 1940242"/>
                <a:gd name="connsiteX1099" fmla="*/ 1157287 w 2370773"/>
                <a:gd name="connsiteY1099" fmla="*/ 1401127 h 1940242"/>
                <a:gd name="connsiteX1100" fmla="*/ 473393 w 2370773"/>
                <a:gd name="connsiteY1100" fmla="*/ 1399222 h 1940242"/>
                <a:gd name="connsiteX1101" fmla="*/ 493395 w 2370773"/>
                <a:gd name="connsiteY1101" fmla="*/ 1419225 h 1940242"/>
                <a:gd name="connsiteX1102" fmla="*/ 473393 w 2370773"/>
                <a:gd name="connsiteY1102" fmla="*/ 1439227 h 1940242"/>
                <a:gd name="connsiteX1103" fmla="*/ 453390 w 2370773"/>
                <a:gd name="connsiteY1103" fmla="*/ 1419225 h 1940242"/>
                <a:gd name="connsiteX1104" fmla="*/ 473393 w 2370773"/>
                <a:gd name="connsiteY1104" fmla="*/ 1399222 h 1940242"/>
                <a:gd name="connsiteX1105" fmla="*/ 1935480 w 2370773"/>
                <a:gd name="connsiteY1105" fmla="*/ 1394459 h 1940242"/>
                <a:gd name="connsiteX1106" fmla="*/ 1949767 w 2370773"/>
                <a:gd name="connsiteY1106" fmla="*/ 1408747 h 1940242"/>
                <a:gd name="connsiteX1107" fmla="*/ 1935480 w 2370773"/>
                <a:gd name="connsiteY1107" fmla="*/ 1423034 h 1940242"/>
                <a:gd name="connsiteX1108" fmla="*/ 1921192 w 2370773"/>
                <a:gd name="connsiteY1108" fmla="*/ 1408747 h 1940242"/>
                <a:gd name="connsiteX1109" fmla="*/ 1935480 w 2370773"/>
                <a:gd name="connsiteY1109" fmla="*/ 1394459 h 1940242"/>
                <a:gd name="connsiteX1110" fmla="*/ 922021 w 2370773"/>
                <a:gd name="connsiteY1110" fmla="*/ 1392554 h 1940242"/>
                <a:gd name="connsiteX1111" fmla="*/ 936308 w 2370773"/>
                <a:gd name="connsiteY1111" fmla="*/ 1406842 h 1940242"/>
                <a:gd name="connsiteX1112" fmla="*/ 922021 w 2370773"/>
                <a:gd name="connsiteY1112" fmla="*/ 1421129 h 1940242"/>
                <a:gd name="connsiteX1113" fmla="*/ 907733 w 2370773"/>
                <a:gd name="connsiteY1113" fmla="*/ 1406842 h 1940242"/>
                <a:gd name="connsiteX1114" fmla="*/ 922021 w 2370773"/>
                <a:gd name="connsiteY1114" fmla="*/ 1392554 h 1940242"/>
                <a:gd name="connsiteX1115" fmla="*/ 2147887 w 2370773"/>
                <a:gd name="connsiteY1115" fmla="*/ 1391602 h 1940242"/>
                <a:gd name="connsiteX1116" fmla="*/ 2155507 w 2370773"/>
                <a:gd name="connsiteY1116" fmla="*/ 1399222 h 1940242"/>
                <a:gd name="connsiteX1117" fmla="*/ 2147887 w 2370773"/>
                <a:gd name="connsiteY1117" fmla="*/ 1406842 h 1940242"/>
                <a:gd name="connsiteX1118" fmla="*/ 2140267 w 2370773"/>
                <a:gd name="connsiteY1118" fmla="*/ 1399222 h 1940242"/>
                <a:gd name="connsiteX1119" fmla="*/ 2147887 w 2370773"/>
                <a:gd name="connsiteY1119" fmla="*/ 1391602 h 1940242"/>
                <a:gd name="connsiteX1120" fmla="*/ 1501140 w 2370773"/>
                <a:gd name="connsiteY1120" fmla="*/ 1391602 h 1940242"/>
                <a:gd name="connsiteX1121" fmla="*/ 1506855 w 2370773"/>
                <a:gd name="connsiteY1121" fmla="*/ 1397317 h 1940242"/>
                <a:gd name="connsiteX1122" fmla="*/ 1501140 w 2370773"/>
                <a:gd name="connsiteY1122" fmla="*/ 1403032 h 1940242"/>
                <a:gd name="connsiteX1123" fmla="*/ 1495425 w 2370773"/>
                <a:gd name="connsiteY1123" fmla="*/ 1397317 h 1940242"/>
                <a:gd name="connsiteX1124" fmla="*/ 1501140 w 2370773"/>
                <a:gd name="connsiteY1124" fmla="*/ 1391602 h 1940242"/>
                <a:gd name="connsiteX1125" fmla="*/ 1100138 w 2370773"/>
                <a:gd name="connsiteY1125" fmla="*/ 1388745 h 1940242"/>
                <a:gd name="connsiteX1126" fmla="*/ 1108710 w 2370773"/>
                <a:gd name="connsiteY1126" fmla="*/ 1397317 h 1940242"/>
                <a:gd name="connsiteX1127" fmla="*/ 1100138 w 2370773"/>
                <a:gd name="connsiteY1127" fmla="*/ 1405890 h 1940242"/>
                <a:gd name="connsiteX1128" fmla="*/ 1091565 w 2370773"/>
                <a:gd name="connsiteY1128" fmla="*/ 1397317 h 1940242"/>
                <a:gd name="connsiteX1129" fmla="*/ 1100138 w 2370773"/>
                <a:gd name="connsiteY1129" fmla="*/ 1388745 h 1940242"/>
                <a:gd name="connsiteX1130" fmla="*/ 371475 w 2370773"/>
                <a:gd name="connsiteY1130" fmla="*/ 1387792 h 1940242"/>
                <a:gd name="connsiteX1131" fmla="*/ 392430 w 2370773"/>
                <a:gd name="connsiteY1131" fmla="*/ 1408747 h 1940242"/>
                <a:gd name="connsiteX1132" fmla="*/ 371475 w 2370773"/>
                <a:gd name="connsiteY1132" fmla="*/ 1429702 h 1940242"/>
                <a:gd name="connsiteX1133" fmla="*/ 350520 w 2370773"/>
                <a:gd name="connsiteY1133" fmla="*/ 1408747 h 1940242"/>
                <a:gd name="connsiteX1134" fmla="*/ 371475 w 2370773"/>
                <a:gd name="connsiteY1134" fmla="*/ 1387792 h 1940242"/>
                <a:gd name="connsiteX1135" fmla="*/ 1705927 w 2370773"/>
                <a:gd name="connsiteY1135" fmla="*/ 1384935 h 1940242"/>
                <a:gd name="connsiteX1136" fmla="*/ 1716405 w 2370773"/>
                <a:gd name="connsiteY1136" fmla="*/ 1395413 h 1940242"/>
                <a:gd name="connsiteX1137" fmla="*/ 1705927 w 2370773"/>
                <a:gd name="connsiteY1137" fmla="*/ 1405890 h 1940242"/>
                <a:gd name="connsiteX1138" fmla="*/ 1695450 w 2370773"/>
                <a:gd name="connsiteY1138" fmla="*/ 1395413 h 1940242"/>
                <a:gd name="connsiteX1139" fmla="*/ 1705927 w 2370773"/>
                <a:gd name="connsiteY1139" fmla="*/ 1384935 h 1940242"/>
                <a:gd name="connsiteX1140" fmla="*/ 1847850 w 2370773"/>
                <a:gd name="connsiteY1140" fmla="*/ 1381125 h 1940242"/>
                <a:gd name="connsiteX1141" fmla="*/ 1858327 w 2370773"/>
                <a:gd name="connsiteY1141" fmla="*/ 1391603 h 1940242"/>
                <a:gd name="connsiteX1142" fmla="*/ 1847850 w 2370773"/>
                <a:gd name="connsiteY1142" fmla="*/ 1402080 h 1940242"/>
                <a:gd name="connsiteX1143" fmla="*/ 1837372 w 2370773"/>
                <a:gd name="connsiteY1143" fmla="*/ 1391603 h 1940242"/>
                <a:gd name="connsiteX1144" fmla="*/ 1847850 w 2370773"/>
                <a:gd name="connsiteY1144" fmla="*/ 1381125 h 1940242"/>
                <a:gd name="connsiteX1145" fmla="*/ 273368 w 2370773"/>
                <a:gd name="connsiteY1145" fmla="*/ 1374457 h 1940242"/>
                <a:gd name="connsiteX1146" fmla="*/ 294323 w 2370773"/>
                <a:gd name="connsiteY1146" fmla="*/ 1395412 h 1940242"/>
                <a:gd name="connsiteX1147" fmla="*/ 273368 w 2370773"/>
                <a:gd name="connsiteY1147" fmla="*/ 1416367 h 1940242"/>
                <a:gd name="connsiteX1148" fmla="*/ 252413 w 2370773"/>
                <a:gd name="connsiteY1148" fmla="*/ 1395412 h 1940242"/>
                <a:gd name="connsiteX1149" fmla="*/ 273368 w 2370773"/>
                <a:gd name="connsiteY1149" fmla="*/ 1374457 h 1940242"/>
                <a:gd name="connsiteX1150" fmla="*/ 2065973 w 2370773"/>
                <a:gd name="connsiteY1150" fmla="*/ 1373504 h 1940242"/>
                <a:gd name="connsiteX1151" fmla="*/ 2080260 w 2370773"/>
                <a:gd name="connsiteY1151" fmla="*/ 1387792 h 1940242"/>
                <a:gd name="connsiteX1152" fmla="*/ 2065973 w 2370773"/>
                <a:gd name="connsiteY1152" fmla="*/ 1402079 h 1940242"/>
                <a:gd name="connsiteX1153" fmla="*/ 2051685 w 2370773"/>
                <a:gd name="connsiteY1153" fmla="*/ 1387792 h 1940242"/>
                <a:gd name="connsiteX1154" fmla="*/ 2065973 w 2370773"/>
                <a:gd name="connsiteY1154" fmla="*/ 1373504 h 1940242"/>
                <a:gd name="connsiteX1155" fmla="*/ 1556385 w 2370773"/>
                <a:gd name="connsiteY1155" fmla="*/ 1373504 h 1940242"/>
                <a:gd name="connsiteX1156" fmla="*/ 1565910 w 2370773"/>
                <a:gd name="connsiteY1156" fmla="*/ 1383029 h 1940242"/>
                <a:gd name="connsiteX1157" fmla="*/ 1556385 w 2370773"/>
                <a:gd name="connsiteY1157" fmla="*/ 1392554 h 1940242"/>
                <a:gd name="connsiteX1158" fmla="*/ 1546860 w 2370773"/>
                <a:gd name="connsiteY1158" fmla="*/ 1383029 h 1940242"/>
                <a:gd name="connsiteX1159" fmla="*/ 1556385 w 2370773"/>
                <a:gd name="connsiteY1159" fmla="*/ 1373504 h 1940242"/>
                <a:gd name="connsiteX1160" fmla="*/ 641985 w 2370773"/>
                <a:gd name="connsiteY1160" fmla="*/ 1373504 h 1940242"/>
                <a:gd name="connsiteX1161" fmla="*/ 661035 w 2370773"/>
                <a:gd name="connsiteY1161" fmla="*/ 1392554 h 1940242"/>
                <a:gd name="connsiteX1162" fmla="*/ 641985 w 2370773"/>
                <a:gd name="connsiteY1162" fmla="*/ 1411604 h 1940242"/>
                <a:gd name="connsiteX1163" fmla="*/ 622935 w 2370773"/>
                <a:gd name="connsiteY1163" fmla="*/ 1392554 h 1940242"/>
                <a:gd name="connsiteX1164" fmla="*/ 641985 w 2370773"/>
                <a:gd name="connsiteY1164" fmla="*/ 1373504 h 1940242"/>
                <a:gd name="connsiteX1165" fmla="*/ 1044892 w 2370773"/>
                <a:gd name="connsiteY1165" fmla="*/ 1372552 h 1940242"/>
                <a:gd name="connsiteX1166" fmla="*/ 1055370 w 2370773"/>
                <a:gd name="connsiteY1166" fmla="*/ 1383029 h 1940242"/>
                <a:gd name="connsiteX1167" fmla="*/ 1044892 w 2370773"/>
                <a:gd name="connsiteY1167" fmla="*/ 1393507 h 1940242"/>
                <a:gd name="connsiteX1168" fmla="*/ 1034415 w 2370773"/>
                <a:gd name="connsiteY1168" fmla="*/ 1383029 h 1940242"/>
                <a:gd name="connsiteX1169" fmla="*/ 1044892 w 2370773"/>
                <a:gd name="connsiteY1169" fmla="*/ 1372552 h 1940242"/>
                <a:gd name="connsiteX1170" fmla="*/ 753428 w 2370773"/>
                <a:gd name="connsiteY1170" fmla="*/ 1372552 h 1940242"/>
                <a:gd name="connsiteX1171" fmla="*/ 771525 w 2370773"/>
                <a:gd name="connsiteY1171" fmla="*/ 1390649 h 1940242"/>
                <a:gd name="connsiteX1172" fmla="*/ 753428 w 2370773"/>
                <a:gd name="connsiteY1172" fmla="*/ 1408747 h 1940242"/>
                <a:gd name="connsiteX1173" fmla="*/ 735330 w 2370773"/>
                <a:gd name="connsiteY1173" fmla="*/ 1390649 h 1940242"/>
                <a:gd name="connsiteX1174" fmla="*/ 753428 w 2370773"/>
                <a:gd name="connsiteY1174" fmla="*/ 1372552 h 1940242"/>
                <a:gd name="connsiteX1175" fmla="*/ 535304 w 2370773"/>
                <a:gd name="connsiteY1175" fmla="*/ 1367790 h 1940242"/>
                <a:gd name="connsiteX1176" fmla="*/ 555307 w 2370773"/>
                <a:gd name="connsiteY1176" fmla="*/ 1387792 h 1940242"/>
                <a:gd name="connsiteX1177" fmla="*/ 535304 w 2370773"/>
                <a:gd name="connsiteY1177" fmla="*/ 1407795 h 1940242"/>
                <a:gd name="connsiteX1178" fmla="*/ 515302 w 2370773"/>
                <a:gd name="connsiteY1178" fmla="*/ 1387792 h 1940242"/>
                <a:gd name="connsiteX1179" fmla="*/ 535304 w 2370773"/>
                <a:gd name="connsiteY1179" fmla="*/ 1367790 h 1940242"/>
                <a:gd name="connsiteX1180" fmla="*/ 869633 w 2370773"/>
                <a:gd name="connsiteY1180" fmla="*/ 1364932 h 1940242"/>
                <a:gd name="connsiteX1181" fmla="*/ 886778 w 2370773"/>
                <a:gd name="connsiteY1181" fmla="*/ 1382077 h 1940242"/>
                <a:gd name="connsiteX1182" fmla="*/ 869633 w 2370773"/>
                <a:gd name="connsiteY1182" fmla="*/ 1399222 h 1940242"/>
                <a:gd name="connsiteX1183" fmla="*/ 852488 w 2370773"/>
                <a:gd name="connsiteY1183" fmla="*/ 1382077 h 1940242"/>
                <a:gd name="connsiteX1184" fmla="*/ 869633 w 2370773"/>
                <a:gd name="connsiteY1184" fmla="*/ 1364932 h 1940242"/>
                <a:gd name="connsiteX1185" fmla="*/ 1981201 w 2370773"/>
                <a:gd name="connsiteY1185" fmla="*/ 1360170 h 1940242"/>
                <a:gd name="connsiteX1186" fmla="*/ 1995488 w 2370773"/>
                <a:gd name="connsiteY1186" fmla="*/ 1374458 h 1940242"/>
                <a:gd name="connsiteX1187" fmla="*/ 1981201 w 2370773"/>
                <a:gd name="connsiteY1187" fmla="*/ 1388745 h 1940242"/>
                <a:gd name="connsiteX1188" fmla="*/ 1966913 w 2370773"/>
                <a:gd name="connsiteY1188" fmla="*/ 1374458 h 1940242"/>
                <a:gd name="connsiteX1189" fmla="*/ 1981201 w 2370773"/>
                <a:gd name="connsiteY1189" fmla="*/ 1360170 h 1940242"/>
                <a:gd name="connsiteX1190" fmla="*/ 432435 w 2370773"/>
                <a:gd name="connsiteY1190" fmla="*/ 1357312 h 1940242"/>
                <a:gd name="connsiteX1191" fmla="*/ 453390 w 2370773"/>
                <a:gd name="connsiteY1191" fmla="*/ 1378267 h 1940242"/>
                <a:gd name="connsiteX1192" fmla="*/ 432435 w 2370773"/>
                <a:gd name="connsiteY1192" fmla="*/ 1399222 h 1940242"/>
                <a:gd name="connsiteX1193" fmla="*/ 411480 w 2370773"/>
                <a:gd name="connsiteY1193" fmla="*/ 1378267 h 1940242"/>
                <a:gd name="connsiteX1194" fmla="*/ 432435 w 2370773"/>
                <a:gd name="connsiteY1194" fmla="*/ 1357312 h 1940242"/>
                <a:gd name="connsiteX1195" fmla="*/ 1757363 w 2370773"/>
                <a:gd name="connsiteY1195" fmla="*/ 1356359 h 1940242"/>
                <a:gd name="connsiteX1196" fmla="*/ 1769745 w 2370773"/>
                <a:gd name="connsiteY1196" fmla="*/ 1368742 h 1940242"/>
                <a:gd name="connsiteX1197" fmla="*/ 1757363 w 2370773"/>
                <a:gd name="connsiteY1197" fmla="*/ 1381124 h 1940242"/>
                <a:gd name="connsiteX1198" fmla="*/ 1744980 w 2370773"/>
                <a:gd name="connsiteY1198" fmla="*/ 1368742 h 1940242"/>
                <a:gd name="connsiteX1199" fmla="*/ 1757363 w 2370773"/>
                <a:gd name="connsiteY1199" fmla="*/ 1356359 h 1940242"/>
                <a:gd name="connsiteX1200" fmla="*/ 2188845 w 2370773"/>
                <a:gd name="connsiteY1200" fmla="*/ 1354454 h 1940242"/>
                <a:gd name="connsiteX1201" fmla="*/ 2192655 w 2370773"/>
                <a:gd name="connsiteY1201" fmla="*/ 1358264 h 1940242"/>
                <a:gd name="connsiteX1202" fmla="*/ 2188845 w 2370773"/>
                <a:gd name="connsiteY1202" fmla="*/ 1362074 h 1940242"/>
                <a:gd name="connsiteX1203" fmla="*/ 2185035 w 2370773"/>
                <a:gd name="connsiteY1203" fmla="*/ 1358264 h 1940242"/>
                <a:gd name="connsiteX1204" fmla="*/ 2188845 w 2370773"/>
                <a:gd name="connsiteY1204" fmla="*/ 1354454 h 1940242"/>
                <a:gd name="connsiteX1205" fmla="*/ 1611630 w 2370773"/>
                <a:gd name="connsiteY1205" fmla="*/ 1354454 h 1940242"/>
                <a:gd name="connsiteX1206" fmla="*/ 1621155 w 2370773"/>
                <a:gd name="connsiteY1206" fmla="*/ 1363979 h 1940242"/>
                <a:gd name="connsiteX1207" fmla="*/ 1611630 w 2370773"/>
                <a:gd name="connsiteY1207" fmla="*/ 1373504 h 1940242"/>
                <a:gd name="connsiteX1208" fmla="*/ 1602105 w 2370773"/>
                <a:gd name="connsiteY1208" fmla="*/ 1363979 h 1940242"/>
                <a:gd name="connsiteX1209" fmla="*/ 1611630 w 2370773"/>
                <a:gd name="connsiteY1209" fmla="*/ 1354454 h 1940242"/>
                <a:gd name="connsiteX1210" fmla="*/ 989648 w 2370773"/>
                <a:gd name="connsiteY1210" fmla="*/ 1352550 h 1940242"/>
                <a:gd name="connsiteX1211" fmla="*/ 1002030 w 2370773"/>
                <a:gd name="connsiteY1211" fmla="*/ 1364933 h 1940242"/>
                <a:gd name="connsiteX1212" fmla="*/ 989648 w 2370773"/>
                <a:gd name="connsiteY1212" fmla="*/ 1377315 h 1940242"/>
                <a:gd name="connsiteX1213" fmla="*/ 977265 w 2370773"/>
                <a:gd name="connsiteY1213" fmla="*/ 1364933 h 1940242"/>
                <a:gd name="connsiteX1214" fmla="*/ 989648 w 2370773"/>
                <a:gd name="connsiteY1214" fmla="*/ 1352550 h 1940242"/>
                <a:gd name="connsiteX1215" fmla="*/ 1285875 w 2370773"/>
                <a:gd name="connsiteY1215" fmla="*/ 1351597 h 1940242"/>
                <a:gd name="connsiteX1216" fmla="*/ 1289685 w 2370773"/>
                <a:gd name="connsiteY1216" fmla="*/ 1355407 h 1940242"/>
                <a:gd name="connsiteX1217" fmla="*/ 1285875 w 2370773"/>
                <a:gd name="connsiteY1217" fmla="*/ 1359217 h 1940242"/>
                <a:gd name="connsiteX1218" fmla="*/ 1282065 w 2370773"/>
                <a:gd name="connsiteY1218" fmla="*/ 1355407 h 1940242"/>
                <a:gd name="connsiteX1219" fmla="*/ 1285875 w 2370773"/>
                <a:gd name="connsiteY1219" fmla="*/ 1351597 h 1940242"/>
                <a:gd name="connsiteX1220" fmla="*/ 1343977 w 2370773"/>
                <a:gd name="connsiteY1220" fmla="*/ 1350645 h 1940242"/>
                <a:gd name="connsiteX1221" fmla="*/ 1347787 w 2370773"/>
                <a:gd name="connsiteY1221" fmla="*/ 1354455 h 1940242"/>
                <a:gd name="connsiteX1222" fmla="*/ 1343977 w 2370773"/>
                <a:gd name="connsiteY1222" fmla="*/ 1358265 h 1940242"/>
                <a:gd name="connsiteX1223" fmla="*/ 1340167 w 2370773"/>
                <a:gd name="connsiteY1223" fmla="*/ 1354455 h 1940242"/>
                <a:gd name="connsiteX1224" fmla="*/ 1343977 w 2370773"/>
                <a:gd name="connsiteY1224" fmla="*/ 1350645 h 1940242"/>
                <a:gd name="connsiteX1225" fmla="*/ 1895475 w 2370773"/>
                <a:gd name="connsiteY1225" fmla="*/ 1348740 h 1940242"/>
                <a:gd name="connsiteX1226" fmla="*/ 1905952 w 2370773"/>
                <a:gd name="connsiteY1226" fmla="*/ 1359217 h 1940242"/>
                <a:gd name="connsiteX1227" fmla="*/ 1895475 w 2370773"/>
                <a:gd name="connsiteY1227" fmla="*/ 1369695 h 1940242"/>
                <a:gd name="connsiteX1228" fmla="*/ 1884997 w 2370773"/>
                <a:gd name="connsiteY1228" fmla="*/ 1359217 h 1940242"/>
                <a:gd name="connsiteX1229" fmla="*/ 1895475 w 2370773"/>
                <a:gd name="connsiteY1229" fmla="*/ 1348740 h 1940242"/>
                <a:gd name="connsiteX1230" fmla="*/ 1228726 w 2370773"/>
                <a:gd name="connsiteY1230" fmla="*/ 1347787 h 1940242"/>
                <a:gd name="connsiteX1231" fmla="*/ 1233488 w 2370773"/>
                <a:gd name="connsiteY1231" fmla="*/ 1352550 h 1940242"/>
                <a:gd name="connsiteX1232" fmla="*/ 1228726 w 2370773"/>
                <a:gd name="connsiteY1232" fmla="*/ 1357312 h 1940242"/>
                <a:gd name="connsiteX1233" fmla="*/ 1223963 w 2370773"/>
                <a:gd name="connsiteY1233" fmla="*/ 1352550 h 1940242"/>
                <a:gd name="connsiteX1234" fmla="*/ 1228726 w 2370773"/>
                <a:gd name="connsiteY1234" fmla="*/ 1347787 h 1940242"/>
                <a:gd name="connsiteX1235" fmla="*/ 1401128 w 2370773"/>
                <a:gd name="connsiteY1235" fmla="*/ 1344929 h 1940242"/>
                <a:gd name="connsiteX1236" fmla="*/ 1405890 w 2370773"/>
                <a:gd name="connsiteY1236" fmla="*/ 1349692 h 1940242"/>
                <a:gd name="connsiteX1237" fmla="*/ 1401128 w 2370773"/>
                <a:gd name="connsiteY1237" fmla="*/ 1354454 h 1940242"/>
                <a:gd name="connsiteX1238" fmla="*/ 1396365 w 2370773"/>
                <a:gd name="connsiteY1238" fmla="*/ 1349692 h 1940242"/>
                <a:gd name="connsiteX1239" fmla="*/ 1401128 w 2370773"/>
                <a:gd name="connsiteY1239" fmla="*/ 1344929 h 1940242"/>
                <a:gd name="connsiteX1240" fmla="*/ 333375 w 2370773"/>
                <a:gd name="connsiteY1240" fmla="*/ 1344929 h 1940242"/>
                <a:gd name="connsiteX1241" fmla="*/ 354330 w 2370773"/>
                <a:gd name="connsiteY1241" fmla="*/ 1365884 h 1940242"/>
                <a:gd name="connsiteX1242" fmla="*/ 333375 w 2370773"/>
                <a:gd name="connsiteY1242" fmla="*/ 1386839 h 1940242"/>
                <a:gd name="connsiteX1243" fmla="*/ 312420 w 2370773"/>
                <a:gd name="connsiteY1243" fmla="*/ 1365884 h 1940242"/>
                <a:gd name="connsiteX1244" fmla="*/ 333375 w 2370773"/>
                <a:gd name="connsiteY1244" fmla="*/ 1344929 h 1940242"/>
                <a:gd name="connsiteX1245" fmla="*/ 705802 w 2370773"/>
                <a:gd name="connsiteY1245" fmla="*/ 1342072 h 1940242"/>
                <a:gd name="connsiteX1246" fmla="*/ 721995 w 2370773"/>
                <a:gd name="connsiteY1246" fmla="*/ 1358265 h 1940242"/>
                <a:gd name="connsiteX1247" fmla="*/ 705802 w 2370773"/>
                <a:gd name="connsiteY1247" fmla="*/ 1374457 h 1940242"/>
                <a:gd name="connsiteX1248" fmla="*/ 689610 w 2370773"/>
                <a:gd name="connsiteY1248" fmla="*/ 1358265 h 1940242"/>
                <a:gd name="connsiteX1249" fmla="*/ 705802 w 2370773"/>
                <a:gd name="connsiteY1249" fmla="*/ 1342072 h 1940242"/>
                <a:gd name="connsiteX1250" fmla="*/ 1171575 w 2370773"/>
                <a:gd name="connsiteY1250" fmla="*/ 1340167 h 1940242"/>
                <a:gd name="connsiteX1251" fmla="*/ 1177290 w 2370773"/>
                <a:gd name="connsiteY1251" fmla="*/ 1345882 h 1940242"/>
                <a:gd name="connsiteX1252" fmla="*/ 1171575 w 2370773"/>
                <a:gd name="connsiteY1252" fmla="*/ 1351597 h 1940242"/>
                <a:gd name="connsiteX1253" fmla="*/ 1165860 w 2370773"/>
                <a:gd name="connsiteY1253" fmla="*/ 1345882 h 1940242"/>
                <a:gd name="connsiteX1254" fmla="*/ 1171575 w 2370773"/>
                <a:gd name="connsiteY1254" fmla="*/ 1340167 h 1940242"/>
                <a:gd name="connsiteX1255" fmla="*/ 819150 w 2370773"/>
                <a:gd name="connsiteY1255" fmla="*/ 1340167 h 1940242"/>
                <a:gd name="connsiteX1256" fmla="*/ 834390 w 2370773"/>
                <a:gd name="connsiteY1256" fmla="*/ 1355407 h 1940242"/>
                <a:gd name="connsiteX1257" fmla="*/ 819150 w 2370773"/>
                <a:gd name="connsiteY1257" fmla="*/ 1370647 h 1940242"/>
                <a:gd name="connsiteX1258" fmla="*/ 803910 w 2370773"/>
                <a:gd name="connsiteY1258" fmla="*/ 1355407 h 1940242"/>
                <a:gd name="connsiteX1259" fmla="*/ 819150 w 2370773"/>
                <a:gd name="connsiteY1259" fmla="*/ 1340167 h 1940242"/>
                <a:gd name="connsiteX1260" fmla="*/ 597218 w 2370773"/>
                <a:gd name="connsiteY1260" fmla="*/ 1339215 h 1940242"/>
                <a:gd name="connsiteX1261" fmla="*/ 614363 w 2370773"/>
                <a:gd name="connsiteY1261" fmla="*/ 1356360 h 1940242"/>
                <a:gd name="connsiteX1262" fmla="*/ 597218 w 2370773"/>
                <a:gd name="connsiteY1262" fmla="*/ 1373505 h 1940242"/>
                <a:gd name="connsiteX1263" fmla="*/ 580073 w 2370773"/>
                <a:gd name="connsiteY1263" fmla="*/ 1356360 h 1940242"/>
                <a:gd name="connsiteX1264" fmla="*/ 597218 w 2370773"/>
                <a:gd name="connsiteY1264" fmla="*/ 1339215 h 1940242"/>
                <a:gd name="connsiteX1265" fmla="*/ 1458278 w 2370773"/>
                <a:gd name="connsiteY1265" fmla="*/ 1338262 h 1940242"/>
                <a:gd name="connsiteX1266" fmla="*/ 1461135 w 2370773"/>
                <a:gd name="connsiteY1266" fmla="*/ 1341120 h 1940242"/>
                <a:gd name="connsiteX1267" fmla="*/ 1458278 w 2370773"/>
                <a:gd name="connsiteY1267" fmla="*/ 1343977 h 1940242"/>
                <a:gd name="connsiteX1268" fmla="*/ 1455420 w 2370773"/>
                <a:gd name="connsiteY1268" fmla="*/ 1341120 h 1940242"/>
                <a:gd name="connsiteX1269" fmla="*/ 1458278 w 2370773"/>
                <a:gd name="connsiteY1269" fmla="*/ 1338262 h 1940242"/>
                <a:gd name="connsiteX1270" fmla="*/ 1664970 w 2370773"/>
                <a:gd name="connsiteY1270" fmla="*/ 1336357 h 1940242"/>
                <a:gd name="connsiteX1271" fmla="*/ 1671638 w 2370773"/>
                <a:gd name="connsiteY1271" fmla="*/ 1343024 h 1940242"/>
                <a:gd name="connsiteX1272" fmla="*/ 1664970 w 2370773"/>
                <a:gd name="connsiteY1272" fmla="*/ 1349692 h 1940242"/>
                <a:gd name="connsiteX1273" fmla="*/ 1658303 w 2370773"/>
                <a:gd name="connsiteY1273" fmla="*/ 1343024 h 1940242"/>
                <a:gd name="connsiteX1274" fmla="*/ 1664970 w 2370773"/>
                <a:gd name="connsiteY1274" fmla="*/ 1336357 h 1940242"/>
                <a:gd name="connsiteX1275" fmla="*/ 2107883 w 2370773"/>
                <a:gd name="connsiteY1275" fmla="*/ 1335404 h 1940242"/>
                <a:gd name="connsiteX1276" fmla="*/ 2120265 w 2370773"/>
                <a:gd name="connsiteY1276" fmla="*/ 1347787 h 1940242"/>
                <a:gd name="connsiteX1277" fmla="*/ 2107883 w 2370773"/>
                <a:gd name="connsiteY1277" fmla="*/ 1360169 h 1940242"/>
                <a:gd name="connsiteX1278" fmla="*/ 2095500 w 2370773"/>
                <a:gd name="connsiteY1278" fmla="*/ 1347787 h 1940242"/>
                <a:gd name="connsiteX1279" fmla="*/ 2107883 w 2370773"/>
                <a:gd name="connsiteY1279" fmla="*/ 1335404 h 1940242"/>
                <a:gd name="connsiteX1280" fmla="*/ 237172 w 2370773"/>
                <a:gd name="connsiteY1280" fmla="*/ 1333500 h 1940242"/>
                <a:gd name="connsiteX1281" fmla="*/ 254317 w 2370773"/>
                <a:gd name="connsiteY1281" fmla="*/ 1350645 h 1940242"/>
                <a:gd name="connsiteX1282" fmla="*/ 237172 w 2370773"/>
                <a:gd name="connsiteY1282" fmla="*/ 1367790 h 1940242"/>
                <a:gd name="connsiteX1283" fmla="*/ 220027 w 2370773"/>
                <a:gd name="connsiteY1283" fmla="*/ 1350645 h 1940242"/>
                <a:gd name="connsiteX1284" fmla="*/ 237172 w 2370773"/>
                <a:gd name="connsiteY1284" fmla="*/ 1333500 h 1940242"/>
                <a:gd name="connsiteX1285" fmla="*/ 936308 w 2370773"/>
                <a:gd name="connsiteY1285" fmla="*/ 1332547 h 1940242"/>
                <a:gd name="connsiteX1286" fmla="*/ 946785 w 2370773"/>
                <a:gd name="connsiteY1286" fmla="*/ 1343025 h 1940242"/>
                <a:gd name="connsiteX1287" fmla="*/ 936308 w 2370773"/>
                <a:gd name="connsiteY1287" fmla="*/ 1353502 h 1940242"/>
                <a:gd name="connsiteX1288" fmla="*/ 925830 w 2370773"/>
                <a:gd name="connsiteY1288" fmla="*/ 1343025 h 1940242"/>
                <a:gd name="connsiteX1289" fmla="*/ 936308 w 2370773"/>
                <a:gd name="connsiteY1289" fmla="*/ 1332547 h 1940242"/>
                <a:gd name="connsiteX1290" fmla="*/ 1806892 w 2370773"/>
                <a:gd name="connsiteY1290" fmla="*/ 1331595 h 1940242"/>
                <a:gd name="connsiteX1291" fmla="*/ 1815465 w 2370773"/>
                <a:gd name="connsiteY1291" fmla="*/ 1340167 h 1940242"/>
                <a:gd name="connsiteX1292" fmla="*/ 1806892 w 2370773"/>
                <a:gd name="connsiteY1292" fmla="*/ 1348740 h 1940242"/>
                <a:gd name="connsiteX1293" fmla="*/ 1798320 w 2370773"/>
                <a:gd name="connsiteY1293" fmla="*/ 1340167 h 1940242"/>
                <a:gd name="connsiteX1294" fmla="*/ 1806892 w 2370773"/>
                <a:gd name="connsiteY1294" fmla="*/ 1331595 h 1940242"/>
                <a:gd name="connsiteX1295" fmla="*/ 493395 w 2370773"/>
                <a:gd name="connsiteY1295" fmla="*/ 1330642 h 1940242"/>
                <a:gd name="connsiteX1296" fmla="*/ 511493 w 2370773"/>
                <a:gd name="connsiteY1296" fmla="*/ 1348740 h 1940242"/>
                <a:gd name="connsiteX1297" fmla="*/ 493395 w 2370773"/>
                <a:gd name="connsiteY1297" fmla="*/ 1366837 h 1940242"/>
                <a:gd name="connsiteX1298" fmla="*/ 475298 w 2370773"/>
                <a:gd name="connsiteY1298" fmla="*/ 1348740 h 1940242"/>
                <a:gd name="connsiteX1299" fmla="*/ 493395 w 2370773"/>
                <a:gd name="connsiteY1299" fmla="*/ 1330642 h 1940242"/>
                <a:gd name="connsiteX1300" fmla="*/ 143827 w 2370773"/>
                <a:gd name="connsiteY1300" fmla="*/ 1330642 h 1940242"/>
                <a:gd name="connsiteX1301" fmla="*/ 145732 w 2370773"/>
                <a:gd name="connsiteY1301" fmla="*/ 1332547 h 1940242"/>
                <a:gd name="connsiteX1302" fmla="*/ 143827 w 2370773"/>
                <a:gd name="connsiteY1302" fmla="*/ 1334452 h 1940242"/>
                <a:gd name="connsiteX1303" fmla="*/ 141922 w 2370773"/>
                <a:gd name="connsiteY1303" fmla="*/ 1332547 h 1940242"/>
                <a:gd name="connsiteX1304" fmla="*/ 143827 w 2370773"/>
                <a:gd name="connsiteY1304" fmla="*/ 1330642 h 1940242"/>
                <a:gd name="connsiteX1305" fmla="*/ 1114426 w 2370773"/>
                <a:gd name="connsiteY1305" fmla="*/ 1329690 h 1940242"/>
                <a:gd name="connsiteX1306" fmla="*/ 1119188 w 2370773"/>
                <a:gd name="connsiteY1306" fmla="*/ 1334453 h 1940242"/>
                <a:gd name="connsiteX1307" fmla="*/ 1114426 w 2370773"/>
                <a:gd name="connsiteY1307" fmla="*/ 1339215 h 1940242"/>
                <a:gd name="connsiteX1308" fmla="*/ 1109663 w 2370773"/>
                <a:gd name="connsiteY1308" fmla="*/ 1334453 h 1940242"/>
                <a:gd name="connsiteX1309" fmla="*/ 1114426 w 2370773"/>
                <a:gd name="connsiteY1309" fmla="*/ 1329690 h 1940242"/>
                <a:gd name="connsiteX1310" fmla="*/ 2025968 w 2370773"/>
                <a:gd name="connsiteY1310" fmla="*/ 1326832 h 1940242"/>
                <a:gd name="connsiteX1311" fmla="*/ 2036445 w 2370773"/>
                <a:gd name="connsiteY1311" fmla="*/ 1337309 h 1940242"/>
                <a:gd name="connsiteX1312" fmla="*/ 2025968 w 2370773"/>
                <a:gd name="connsiteY1312" fmla="*/ 1347787 h 1940242"/>
                <a:gd name="connsiteX1313" fmla="*/ 2015490 w 2370773"/>
                <a:gd name="connsiteY1313" fmla="*/ 1337309 h 1940242"/>
                <a:gd name="connsiteX1314" fmla="*/ 2025968 w 2370773"/>
                <a:gd name="connsiteY1314" fmla="*/ 1326832 h 1940242"/>
                <a:gd name="connsiteX1315" fmla="*/ 1514475 w 2370773"/>
                <a:gd name="connsiteY1315" fmla="*/ 1324927 h 1940242"/>
                <a:gd name="connsiteX1316" fmla="*/ 1518285 w 2370773"/>
                <a:gd name="connsiteY1316" fmla="*/ 1328737 h 1940242"/>
                <a:gd name="connsiteX1317" fmla="*/ 1514475 w 2370773"/>
                <a:gd name="connsiteY1317" fmla="*/ 1332547 h 1940242"/>
                <a:gd name="connsiteX1318" fmla="*/ 1510665 w 2370773"/>
                <a:gd name="connsiteY1318" fmla="*/ 1328737 h 1940242"/>
                <a:gd name="connsiteX1319" fmla="*/ 1514475 w 2370773"/>
                <a:gd name="connsiteY1319" fmla="*/ 1324927 h 1940242"/>
                <a:gd name="connsiteX1320" fmla="*/ 392431 w 2370773"/>
                <a:gd name="connsiteY1320" fmla="*/ 1316355 h 1940242"/>
                <a:gd name="connsiteX1321" fmla="*/ 412433 w 2370773"/>
                <a:gd name="connsiteY1321" fmla="*/ 1336358 h 1940242"/>
                <a:gd name="connsiteX1322" fmla="*/ 392431 w 2370773"/>
                <a:gd name="connsiteY1322" fmla="*/ 1356360 h 1940242"/>
                <a:gd name="connsiteX1323" fmla="*/ 372428 w 2370773"/>
                <a:gd name="connsiteY1323" fmla="*/ 1336358 h 1940242"/>
                <a:gd name="connsiteX1324" fmla="*/ 392431 w 2370773"/>
                <a:gd name="connsiteY1324" fmla="*/ 1316355 h 1940242"/>
                <a:gd name="connsiteX1325" fmla="*/ 1941195 w 2370773"/>
                <a:gd name="connsiteY1325" fmla="*/ 1314450 h 1940242"/>
                <a:gd name="connsiteX1326" fmla="*/ 1951672 w 2370773"/>
                <a:gd name="connsiteY1326" fmla="*/ 1324928 h 1940242"/>
                <a:gd name="connsiteX1327" fmla="*/ 1941195 w 2370773"/>
                <a:gd name="connsiteY1327" fmla="*/ 1335405 h 1940242"/>
                <a:gd name="connsiteX1328" fmla="*/ 1930717 w 2370773"/>
                <a:gd name="connsiteY1328" fmla="*/ 1324928 h 1940242"/>
                <a:gd name="connsiteX1329" fmla="*/ 1941195 w 2370773"/>
                <a:gd name="connsiteY1329" fmla="*/ 1314450 h 1940242"/>
                <a:gd name="connsiteX1330" fmla="*/ 1059180 w 2370773"/>
                <a:gd name="connsiteY1330" fmla="*/ 1312545 h 1940242"/>
                <a:gd name="connsiteX1331" fmla="*/ 1066800 w 2370773"/>
                <a:gd name="connsiteY1331" fmla="*/ 1320165 h 1940242"/>
                <a:gd name="connsiteX1332" fmla="*/ 1059180 w 2370773"/>
                <a:gd name="connsiteY1332" fmla="*/ 1327785 h 1940242"/>
                <a:gd name="connsiteX1333" fmla="*/ 1051560 w 2370773"/>
                <a:gd name="connsiteY1333" fmla="*/ 1320165 h 1940242"/>
                <a:gd name="connsiteX1334" fmla="*/ 1059180 w 2370773"/>
                <a:gd name="connsiteY1334" fmla="*/ 1312545 h 1940242"/>
                <a:gd name="connsiteX1335" fmla="*/ 2226945 w 2370773"/>
                <a:gd name="connsiteY1335" fmla="*/ 1311592 h 1940242"/>
                <a:gd name="connsiteX1336" fmla="*/ 2230755 w 2370773"/>
                <a:gd name="connsiteY1336" fmla="*/ 1315402 h 1940242"/>
                <a:gd name="connsiteX1337" fmla="*/ 2226945 w 2370773"/>
                <a:gd name="connsiteY1337" fmla="*/ 1319212 h 1940242"/>
                <a:gd name="connsiteX1338" fmla="*/ 2223135 w 2370773"/>
                <a:gd name="connsiteY1338" fmla="*/ 1315402 h 1940242"/>
                <a:gd name="connsiteX1339" fmla="*/ 2226945 w 2370773"/>
                <a:gd name="connsiteY1339" fmla="*/ 1311592 h 1940242"/>
                <a:gd name="connsiteX1340" fmla="*/ 1716405 w 2370773"/>
                <a:gd name="connsiteY1340" fmla="*/ 1309687 h 1940242"/>
                <a:gd name="connsiteX1341" fmla="*/ 1724978 w 2370773"/>
                <a:gd name="connsiteY1341" fmla="*/ 1318259 h 1940242"/>
                <a:gd name="connsiteX1342" fmla="*/ 1716405 w 2370773"/>
                <a:gd name="connsiteY1342" fmla="*/ 1326832 h 1940242"/>
                <a:gd name="connsiteX1343" fmla="*/ 1707833 w 2370773"/>
                <a:gd name="connsiteY1343" fmla="*/ 1318259 h 1940242"/>
                <a:gd name="connsiteX1344" fmla="*/ 1716405 w 2370773"/>
                <a:gd name="connsiteY1344" fmla="*/ 1309687 h 1940242"/>
                <a:gd name="connsiteX1345" fmla="*/ 769620 w 2370773"/>
                <a:gd name="connsiteY1345" fmla="*/ 1308734 h 1940242"/>
                <a:gd name="connsiteX1346" fmla="*/ 785812 w 2370773"/>
                <a:gd name="connsiteY1346" fmla="*/ 1324927 h 1940242"/>
                <a:gd name="connsiteX1347" fmla="*/ 769620 w 2370773"/>
                <a:gd name="connsiteY1347" fmla="*/ 1341119 h 1940242"/>
                <a:gd name="connsiteX1348" fmla="*/ 753427 w 2370773"/>
                <a:gd name="connsiteY1348" fmla="*/ 1324927 h 1940242"/>
                <a:gd name="connsiteX1349" fmla="*/ 769620 w 2370773"/>
                <a:gd name="connsiteY1349" fmla="*/ 1308734 h 1940242"/>
                <a:gd name="connsiteX1350" fmla="*/ 1569721 w 2370773"/>
                <a:gd name="connsiteY1350" fmla="*/ 1306829 h 1940242"/>
                <a:gd name="connsiteX1351" fmla="*/ 1574483 w 2370773"/>
                <a:gd name="connsiteY1351" fmla="*/ 1311592 h 1940242"/>
                <a:gd name="connsiteX1352" fmla="*/ 1569721 w 2370773"/>
                <a:gd name="connsiteY1352" fmla="*/ 1316354 h 1940242"/>
                <a:gd name="connsiteX1353" fmla="*/ 1564958 w 2370773"/>
                <a:gd name="connsiteY1353" fmla="*/ 1311592 h 1940242"/>
                <a:gd name="connsiteX1354" fmla="*/ 1569721 w 2370773"/>
                <a:gd name="connsiteY1354" fmla="*/ 1306829 h 1940242"/>
                <a:gd name="connsiteX1355" fmla="*/ 660083 w 2370773"/>
                <a:gd name="connsiteY1355" fmla="*/ 1306829 h 1940242"/>
                <a:gd name="connsiteX1356" fmla="*/ 677228 w 2370773"/>
                <a:gd name="connsiteY1356" fmla="*/ 1323974 h 1940242"/>
                <a:gd name="connsiteX1357" fmla="*/ 660083 w 2370773"/>
                <a:gd name="connsiteY1357" fmla="*/ 1341119 h 1940242"/>
                <a:gd name="connsiteX1358" fmla="*/ 642938 w 2370773"/>
                <a:gd name="connsiteY1358" fmla="*/ 1323974 h 1940242"/>
                <a:gd name="connsiteX1359" fmla="*/ 660083 w 2370773"/>
                <a:gd name="connsiteY1359" fmla="*/ 1306829 h 1940242"/>
                <a:gd name="connsiteX1360" fmla="*/ 884872 w 2370773"/>
                <a:gd name="connsiteY1360" fmla="*/ 1303972 h 1940242"/>
                <a:gd name="connsiteX1361" fmla="*/ 899160 w 2370773"/>
                <a:gd name="connsiteY1361" fmla="*/ 1318260 h 1940242"/>
                <a:gd name="connsiteX1362" fmla="*/ 884872 w 2370773"/>
                <a:gd name="connsiteY1362" fmla="*/ 1332547 h 1940242"/>
                <a:gd name="connsiteX1363" fmla="*/ 870585 w 2370773"/>
                <a:gd name="connsiteY1363" fmla="*/ 1318260 h 1940242"/>
                <a:gd name="connsiteX1364" fmla="*/ 884872 w 2370773"/>
                <a:gd name="connsiteY1364" fmla="*/ 1303972 h 1940242"/>
                <a:gd name="connsiteX1365" fmla="*/ 296228 w 2370773"/>
                <a:gd name="connsiteY1365" fmla="*/ 1301115 h 1940242"/>
                <a:gd name="connsiteX1366" fmla="*/ 317183 w 2370773"/>
                <a:gd name="connsiteY1366" fmla="*/ 1322070 h 1940242"/>
                <a:gd name="connsiteX1367" fmla="*/ 296228 w 2370773"/>
                <a:gd name="connsiteY1367" fmla="*/ 1343025 h 1940242"/>
                <a:gd name="connsiteX1368" fmla="*/ 275273 w 2370773"/>
                <a:gd name="connsiteY1368" fmla="*/ 1322070 h 1940242"/>
                <a:gd name="connsiteX1369" fmla="*/ 296228 w 2370773"/>
                <a:gd name="connsiteY1369" fmla="*/ 1301115 h 1940242"/>
                <a:gd name="connsiteX1370" fmla="*/ 554355 w 2370773"/>
                <a:gd name="connsiteY1370" fmla="*/ 1300162 h 1940242"/>
                <a:gd name="connsiteX1371" fmla="*/ 572453 w 2370773"/>
                <a:gd name="connsiteY1371" fmla="*/ 1318259 h 1940242"/>
                <a:gd name="connsiteX1372" fmla="*/ 554355 w 2370773"/>
                <a:gd name="connsiteY1372" fmla="*/ 1336357 h 1940242"/>
                <a:gd name="connsiteX1373" fmla="*/ 536258 w 2370773"/>
                <a:gd name="connsiteY1373" fmla="*/ 1318259 h 1940242"/>
                <a:gd name="connsiteX1374" fmla="*/ 554355 w 2370773"/>
                <a:gd name="connsiteY1374" fmla="*/ 1300162 h 1940242"/>
                <a:gd name="connsiteX1375" fmla="*/ 1855470 w 2370773"/>
                <a:gd name="connsiteY1375" fmla="*/ 1299209 h 1940242"/>
                <a:gd name="connsiteX1376" fmla="*/ 1864042 w 2370773"/>
                <a:gd name="connsiteY1376" fmla="*/ 1307782 h 1940242"/>
                <a:gd name="connsiteX1377" fmla="*/ 1855470 w 2370773"/>
                <a:gd name="connsiteY1377" fmla="*/ 1316354 h 1940242"/>
                <a:gd name="connsiteX1378" fmla="*/ 1846897 w 2370773"/>
                <a:gd name="connsiteY1378" fmla="*/ 1307782 h 1940242"/>
                <a:gd name="connsiteX1379" fmla="*/ 1855470 w 2370773"/>
                <a:gd name="connsiteY1379" fmla="*/ 1299209 h 1940242"/>
                <a:gd name="connsiteX1380" fmla="*/ 2147888 w 2370773"/>
                <a:gd name="connsiteY1380" fmla="*/ 1296352 h 1940242"/>
                <a:gd name="connsiteX1381" fmla="*/ 2159318 w 2370773"/>
                <a:gd name="connsiteY1381" fmla="*/ 1307782 h 1940242"/>
                <a:gd name="connsiteX1382" fmla="*/ 2147888 w 2370773"/>
                <a:gd name="connsiteY1382" fmla="*/ 1319212 h 1940242"/>
                <a:gd name="connsiteX1383" fmla="*/ 2136458 w 2370773"/>
                <a:gd name="connsiteY1383" fmla="*/ 1307782 h 1940242"/>
                <a:gd name="connsiteX1384" fmla="*/ 2147888 w 2370773"/>
                <a:gd name="connsiteY1384" fmla="*/ 1296352 h 1940242"/>
                <a:gd name="connsiteX1385" fmla="*/ 1003935 w 2370773"/>
                <a:gd name="connsiteY1385" fmla="*/ 1291590 h 1940242"/>
                <a:gd name="connsiteX1386" fmla="*/ 1013460 w 2370773"/>
                <a:gd name="connsiteY1386" fmla="*/ 1301115 h 1940242"/>
                <a:gd name="connsiteX1387" fmla="*/ 1003935 w 2370773"/>
                <a:gd name="connsiteY1387" fmla="*/ 1310640 h 1940242"/>
                <a:gd name="connsiteX1388" fmla="*/ 994410 w 2370773"/>
                <a:gd name="connsiteY1388" fmla="*/ 1301115 h 1940242"/>
                <a:gd name="connsiteX1389" fmla="*/ 1003935 w 2370773"/>
                <a:gd name="connsiteY1389" fmla="*/ 1291590 h 1940242"/>
                <a:gd name="connsiteX1390" fmla="*/ 2067878 w 2370773"/>
                <a:gd name="connsiteY1390" fmla="*/ 1289684 h 1940242"/>
                <a:gd name="connsiteX1391" fmla="*/ 2076450 w 2370773"/>
                <a:gd name="connsiteY1391" fmla="*/ 1298257 h 1940242"/>
                <a:gd name="connsiteX1392" fmla="*/ 2067878 w 2370773"/>
                <a:gd name="connsiteY1392" fmla="*/ 1306829 h 1940242"/>
                <a:gd name="connsiteX1393" fmla="*/ 2059305 w 2370773"/>
                <a:gd name="connsiteY1393" fmla="*/ 1298257 h 1940242"/>
                <a:gd name="connsiteX1394" fmla="*/ 2067878 w 2370773"/>
                <a:gd name="connsiteY1394" fmla="*/ 1289684 h 1940242"/>
                <a:gd name="connsiteX1395" fmla="*/ 452438 w 2370773"/>
                <a:gd name="connsiteY1395" fmla="*/ 1289684 h 1940242"/>
                <a:gd name="connsiteX1396" fmla="*/ 470535 w 2370773"/>
                <a:gd name="connsiteY1396" fmla="*/ 1307782 h 1940242"/>
                <a:gd name="connsiteX1397" fmla="*/ 452438 w 2370773"/>
                <a:gd name="connsiteY1397" fmla="*/ 1325879 h 1940242"/>
                <a:gd name="connsiteX1398" fmla="*/ 434340 w 2370773"/>
                <a:gd name="connsiteY1398" fmla="*/ 1307782 h 1940242"/>
                <a:gd name="connsiteX1399" fmla="*/ 452438 w 2370773"/>
                <a:gd name="connsiteY1399" fmla="*/ 1289684 h 1940242"/>
                <a:gd name="connsiteX1400" fmla="*/ 1300163 w 2370773"/>
                <a:gd name="connsiteY1400" fmla="*/ 1288732 h 1940242"/>
                <a:gd name="connsiteX1401" fmla="*/ 1303020 w 2370773"/>
                <a:gd name="connsiteY1401" fmla="*/ 1291590 h 1940242"/>
                <a:gd name="connsiteX1402" fmla="*/ 1300163 w 2370773"/>
                <a:gd name="connsiteY1402" fmla="*/ 1294447 h 1940242"/>
                <a:gd name="connsiteX1403" fmla="*/ 1297305 w 2370773"/>
                <a:gd name="connsiteY1403" fmla="*/ 1291590 h 1940242"/>
                <a:gd name="connsiteX1404" fmla="*/ 1300163 w 2370773"/>
                <a:gd name="connsiteY1404" fmla="*/ 1288732 h 1940242"/>
                <a:gd name="connsiteX1405" fmla="*/ 201930 w 2370773"/>
                <a:gd name="connsiteY1405" fmla="*/ 1286827 h 1940242"/>
                <a:gd name="connsiteX1406" fmla="*/ 219075 w 2370773"/>
                <a:gd name="connsiteY1406" fmla="*/ 1303972 h 1940242"/>
                <a:gd name="connsiteX1407" fmla="*/ 201930 w 2370773"/>
                <a:gd name="connsiteY1407" fmla="*/ 1321117 h 1940242"/>
                <a:gd name="connsiteX1408" fmla="*/ 184785 w 2370773"/>
                <a:gd name="connsiteY1408" fmla="*/ 1303972 h 1940242"/>
                <a:gd name="connsiteX1409" fmla="*/ 201930 w 2370773"/>
                <a:gd name="connsiteY1409" fmla="*/ 1286827 h 1940242"/>
                <a:gd name="connsiteX1410" fmla="*/ 1623060 w 2370773"/>
                <a:gd name="connsiteY1410" fmla="*/ 1285875 h 1940242"/>
                <a:gd name="connsiteX1411" fmla="*/ 1627822 w 2370773"/>
                <a:gd name="connsiteY1411" fmla="*/ 1290638 h 1940242"/>
                <a:gd name="connsiteX1412" fmla="*/ 1623060 w 2370773"/>
                <a:gd name="connsiteY1412" fmla="*/ 1295400 h 1940242"/>
                <a:gd name="connsiteX1413" fmla="*/ 1618297 w 2370773"/>
                <a:gd name="connsiteY1413" fmla="*/ 1290638 h 1940242"/>
                <a:gd name="connsiteX1414" fmla="*/ 1623060 w 2370773"/>
                <a:gd name="connsiteY1414" fmla="*/ 1285875 h 1940242"/>
                <a:gd name="connsiteX1415" fmla="*/ 1358266 w 2370773"/>
                <a:gd name="connsiteY1415" fmla="*/ 1285875 h 1940242"/>
                <a:gd name="connsiteX1416" fmla="*/ 1361123 w 2370773"/>
                <a:gd name="connsiteY1416" fmla="*/ 1288733 h 1940242"/>
                <a:gd name="connsiteX1417" fmla="*/ 1358266 w 2370773"/>
                <a:gd name="connsiteY1417" fmla="*/ 1291590 h 1940242"/>
                <a:gd name="connsiteX1418" fmla="*/ 1355408 w 2370773"/>
                <a:gd name="connsiteY1418" fmla="*/ 1288733 h 1940242"/>
                <a:gd name="connsiteX1419" fmla="*/ 1358266 w 2370773"/>
                <a:gd name="connsiteY1419" fmla="*/ 1285875 h 1940242"/>
                <a:gd name="connsiteX1420" fmla="*/ 1243013 w 2370773"/>
                <a:gd name="connsiteY1420" fmla="*/ 1285875 h 1940242"/>
                <a:gd name="connsiteX1421" fmla="*/ 1246823 w 2370773"/>
                <a:gd name="connsiteY1421" fmla="*/ 1289685 h 1940242"/>
                <a:gd name="connsiteX1422" fmla="*/ 1243013 w 2370773"/>
                <a:gd name="connsiteY1422" fmla="*/ 1293495 h 1940242"/>
                <a:gd name="connsiteX1423" fmla="*/ 1239203 w 2370773"/>
                <a:gd name="connsiteY1423" fmla="*/ 1289685 h 1940242"/>
                <a:gd name="connsiteX1424" fmla="*/ 1243013 w 2370773"/>
                <a:gd name="connsiteY1424" fmla="*/ 1285875 h 1940242"/>
                <a:gd name="connsiteX1425" fmla="*/ 1766888 w 2370773"/>
                <a:gd name="connsiteY1425" fmla="*/ 1283017 h 1940242"/>
                <a:gd name="connsiteX1426" fmla="*/ 1773555 w 2370773"/>
                <a:gd name="connsiteY1426" fmla="*/ 1289684 h 1940242"/>
                <a:gd name="connsiteX1427" fmla="*/ 1766888 w 2370773"/>
                <a:gd name="connsiteY1427" fmla="*/ 1296352 h 1940242"/>
                <a:gd name="connsiteX1428" fmla="*/ 1760220 w 2370773"/>
                <a:gd name="connsiteY1428" fmla="*/ 1289684 h 1940242"/>
                <a:gd name="connsiteX1429" fmla="*/ 1766888 w 2370773"/>
                <a:gd name="connsiteY1429" fmla="*/ 1283017 h 1940242"/>
                <a:gd name="connsiteX1430" fmla="*/ 1985962 w 2370773"/>
                <a:gd name="connsiteY1430" fmla="*/ 1281112 h 1940242"/>
                <a:gd name="connsiteX1431" fmla="*/ 1991677 w 2370773"/>
                <a:gd name="connsiteY1431" fmla="*/ 1286827 h 1940242"/>
                <a:gd name="connsiteX1432" fmla="*/ 1985962 w 2370773"/>
                <a:gd name="connsiteY1432" fmla="*/ 1292542 h 1940242"/>
                <a:gd name="connsiteX1433" fmla="*/ 1980247 w 2370773"/>
                <a:gd name="connsiteY1433" fmla="*/ 1286827 h 1940242"/>
                <a:gd name="connsiteX1434" fmla="*/ 1985962 w 2370773"/>
                <a:gd name="connsiteY1434" fmla="*/ 1281112 h 1940242"/>
                <a:gd name="connsiteX1435" fmla="*/ 1185863 w 2370773"/>
                <a:gd name="connsiteY1435" fmla="*/ 1280159 h 1940242"/>
                <a:gd name="connsiteX1436" fmla="*/ 1188720 w 2370773"/>
                <a:gd name="connsiteY1436" fmla="*/ 1283017 h 1940242"/>
                <a:gd name="connsiteX1437" fmla="*/ 1185863 w 2370773"/>
                <a:gd name="connsiteY1437" fmla="*/ 1285874 h 1940242"/>
                <a:gd name="connsiteX1438" fmla="*/ 1183005 w 2370773"/>
                <a:gd name="connsiteY1438" fmla="*/ 1283017 h 1940242"/>
                <a:gd name="connsiteX1439" fmla="*/ 1185863 w 2370773"/>
                <a:gd name="connsiteY1439" fmla="*/ 1280159 h 1940242"/>
                <a:gd name="connsiteX1440" fmla="*/ 1415415 w 2370773"/>
                <a:gd name="connsiteY1440" fmla="*/ 1279207 h 1940242"/>
                <a:gd name="connsiteX1441" fmla="*/ 1419225 w 2370773"/>
                <a:gd name="connsiteY1441" fmla="*/ 1283017 h 1940242"/>
                <a:gd name="connsiteX1442" fmla="*/ 1415415 w 2370773"/>
                <a:gd name="connsiteY1442" fmla="*/ 1286827 h 1940242"/>
                <a:gd name="connsiteX1443" fmla="*/ 1411605 w 2370773"/>
                <a:gd name="connsiteY1443" fmla="*/ 1283017 h 1940242"/>
                <a:gd name="connsiteX1444" fmla="*/ 1415415 w 2370773"/>
                <a:gd name="connsiteY1444" fmla="*/ 1279207 h 1940242"/>
                <a:gd name="connsiteX1445" fmla="*/ 834390 w 2370773"/>
                <a:gd name="connsiteY1445" fmla="*/ 1278254 h 1940242"/>
                <a:gd name="connsiteX1446" fmla="*/ 846773 w 2370773"/>
                <a:gd name="connsiteY1446" fmla="*/ 1290637 h 1940242"/>
                <a:gd name="connsiteX1447" fmla="*/ 834390 w 2370773"/>
                <a:gd name="connsiteY1447" fmla="*/ 1303019 h 1940242"/>
                <a:gd name="connsiteX1448" fmla="*/ 822008 w 2370773"/>
                <a:gd name="connsiteY1448" fmla="*/ 1290637 h 1940242"/>
                <a:gd name="connsiteX1449" fmla="*/ 834390 w 2370773"/>
                <a:gd name="connsiteY1449" fmla="*/ 1278254 h 1940242"/>
                <a:gd name="connsiteX1450" fmla="*/ 722948 w 2370773"/>
                <a:gd name="connsiteY1450" fmla="*/ 1277302 h 1940242"/>
                <a:gd name="connsiteX1451" fmla="*/ 737235 w 2370773"/>
                <a:gd name="connsiteY1451" fmla="*/ 1291590 h 1940242"/>
                <a:gd name="connsiteX1452" fmla="*/ 722948 w 2370773"/>
                <a:gd name="connsiteY1452" fmla="*/ 1305877 h 1940242"/>
                <a:gd name="connsiteX1453" fmla="*/ 708660 w 2370773"/>
                <a:gd name="connsiteY1453" fmla="*/ 1291590 h 1940242"/>
                <a:gd name="connsiteX1454" fmla="*/ 722948 w 2370773"/>
                <a:gd name="connsiteY1454" fmla="*/ 1277302 h 1940242"/>
                <a:gd name="connsiteX1455" fmla="*/ 951547 w 2370773"/>
                <a:gd name="connsiteY1455" fmla="*/ 1271587 h 1940242"/>
                <a:gd name="connsiteX1456" fmla="*/ 959167 w 2370773"/>
                <a:gd name="connsiteY1456" fmla="*/ 1279207 h 1940242"/>
                <a:gd name="connsiteX1457" fmla="*/ 951547 w 2370773"/>
                <a:gd name="connsiteY1457" fmla="*/ 1286827 h 1940242"/>
                <a:gd name="connsiteX1458" fmla="*/ 943927 w 2370773"/>
                <a:gd name="connsiteY1458" fmla="*/ 1279207 h 1940242"/>
                <a:gd name="connsiteX1459" fmla="*/ 951547 w 2370773"/>
                <a:gd name="connsiteY1459" fmla="*/ 1271587 h 1940242"/>
                <a:gd name="connsiteX1460" fmla="*/ 355283 w 2370773"/>
                <a:gd name="connsiteY1460" fmla="*/ 1271587 h 1940242"/>
                <a:gd name="connsiteX1461" fmla="*/ 376238 w 2370773"/>
                <a:gd name="connsiteY1461" fmla="*/ 1292542 h 1940242"/>
                <a:gd name="connsiteX1462" fmla="*/ 355283 w 2370773"/>
                <a:gd name="connsiteY1462" fmla="*/ 1313497 h 1940242"/>
                <a:gd name="connsiteX1463" fmla="*/ 334328 w 2370773"/>
                <a:gd name="connsiteY1463" fmla="*/ 1292542 h 1940242"/>
                <a:gd name="connsiteX1464" fmla="*/ 355283 w 2370773"/>
                <a:gd name="connsiteY1464" fmla="*/ 1271587 h 1940242"/>
                <a:gd name="connsiteX1465" fmla="*/ 615315 w 2370773"/>
                <a:gd name="connsiteY1465" fmla="*/ 1268730 h 1940242"/>
                <a:gd name="connsiteX1466" fmla="*/ 633413 w 2370773"/>
                <a:gd name="connsiteY1466" fmla="*/ 1286828 h 1940242"/>
                <a:gd name="connsiteX1467" fmla="*/ 615315 w 2370773"/>
                <a:gd name="connsiteY1467" fmla="*/ 1304925 h 1940242"/>
                <a:gd name="connsiteX1468" fmla="*/ 597218 w 2370773"/>
                <a:gd name="connsiteY1468" fmla="*/ 1286828 h 1940242"/>
                <a:gd name="connsiteX1469" fmla="*/ 615315 w 2370773"/>
                <a:gd name="connsiteY1469" fmla="*/ 1268730 h 1940242"/>
                <a:gd name="connsiteX1470" fmla="*/ 1901190 w 2370773"/>
                <a:gd name="connsiteY1470" fmla="*/ 1268729 h 1940242"/>
                <a:gd name="connsiteX1471" fmla="*/ 1906905 w 2370773"/>
                <a:gd name="connsiteY1471" fmla="*/ 1274444 h 1940242"/>
                <a:gd name="connsiteX1472" fmla="*/ 1901190 w 2370773"/>
                <a:gd name="connsiteY1472" fmla="*/ 1280159 h 1940242"/>
                <a:gd name="connsiteX1473" fmla="*/ 1895475 w 2370773"/>
                <a:gd name="connsiteY1473" fmla="*/ 1274444 h 1940242"/>
                <a:gd name="connsiteX1474" fmla="*/ 1901190 w 2370773"/>
                <a:gd name="connsiteY1474" fmla="*/ 1268729 h 1940242"/>
                <a:gd name="connsiteX1475" fmla="*/ 1128712 w 2370773"/>
                <a:gd name="connsiteY1475" fmla="*/ 1268729 h 1940242"/>
                <a:gd name="connsiteX1476" fmla="*/ 1132522 w 2370773"/>
                <a:gd name="connsiteY1476" fmla="*/ 1272539 h 1940242"/>
                <a:gd name="connsiteX1477" fmla="*/ 1128712 w 2370773"/>
                <a:gd name="connsiteY1477" fmla="*/ 1276349 h 1940242"/>
                <a:gd name="connsiteX1478" fmla="*/ 1124902 w 2370773"/>
                <a:gd name="connsiteY1478" fmla="*/ 1272539 h 1940242"/>
                <a:gd name="connsiteX1479" fmla="*/ 1128712 w 2370773"/>
                <a:gd name="connsiteY1479" fmla="*/ 1268729 h 1940242"/>
                <a:gd name="connsiteX1480" fmla="*/ 2264093 w 2370773"/>
                <a:gd name="connsiteY1480" fmla="*/ 1267777 h 1940242"/>
                <a:gd name="connsiteX1481" fmla="*/ 2265998 w 2370773"/>
                <a:gd name="connsiteY1481" fmla="*/ 1269682 h 1940242"/>
                <a:gd name="connsiteX1482" fmla="*/ 2264093 w 2370773"/>
                <a:gd name="connsiteY1482" fmla="*/ 1271587 h 1940242"/>
                <a:gd name="connsiteX1483" fmla="*/ 2262188 w 2370773"/>
                <a:gd name="connsiteY1483" fmla="*/ 1269682 h 1940242"/>
                <a:gd name="connsiteX1484" fmla="*/ 2264093 w 2370773"/>
                <a:gd name="connsiteY1484" fmla="*/ 1267777 h 1940242"/>
                <a:gd name="connsiteX1485" fmla="*/ 1472565 w 2370773"/>
                <a:gd name="connsiteY1485" fmla="*/ 1267777 h 1940242"/>
                <a:gd name="connsiteX1486" fmla="*/ 1476375 w 2370773"/>
                <a:gd name="connsiteY1486" fmla="*/ 1271587 h 1940242"/>
                <a:gd name="connsiteX1487" fmla="*/ 1472565 w 2370773"/>
                <a:gd name="connsiteY1487" fmla="*/ 1275397 h 1940242"/>
                <a:gd name="connsiteX1488" fmla="*/ 1468755 w 2370773"/>
                <a:gd name="connsiteY1488" fmla="*/ 1271587 h 1940242"/>
                <a:gd name="connsiteX1489" fmla="*/ 1472565 w 2370773"/>
                <a:gd name="connsiteY1489" fmla="*/ 1267777 h 1940242"/>
                <a:gd name="connsiteX1490" fmla="*/ 1675447 w 2370773"/>
                <a:gd name="connsiteY1490" fmla="*/ 1260157 h 1940242"/>
                <a:gd name="connsiteX1491" fmla="*/ 1682115 w 2370773"/>
                <a:gd name="connsiteY1491" fmla="*/ 1266824 h 1940242"/>
                <a:gd name="connsiteX1492" fmla="*/ 1675447 w 2370773"/>
                <a:gd name="connsiteY1492" fmla="*/ 1273492 h 1940242"/>
                <a:gd name="connsiteX1493" fmla="*/ 1668780 w 2370773"/>
                <a:gd name="connsiteY1493" fmla="*/ 1266824 h 1940242"/>
                <a:gd name="connsiteX1494" fmla="*/ 1675447 w 2370773"/>
                <a:gd name="connsiteY1494" fmla="*/ 1260157 h 1940242"/>
                <a:gd name="connsiteX1495" fmla="*/ 513398 w 2370773"/>
                <a:gd name="connsiteY1495" fmla="*/ 1260157 h 1940242"/>
                <a:gd name="connsiteX1496" fmla="*/ 531495 w 2370773"/>
                <a:gd name="connsiteY1496" fmla="*/ 1278254 h 1940242"/>
                <a:gd name="connsiteX1497" fmla="*/ 513398 w 2370773"/>
                <a:gd name="connsiteY1497" fmla="*/ 1296352 h 1940242"/>
                <a:gd name="connsiteX1498" fmla="*/ 495300 w 2370773"/>
                <a:gd name="connsiteY1498" fmla="*/ 1278254 h 1940242"/>
                <a:gd name="connsiteX1499" fmla="*/ 513398 w 2370773"/>
                <a:gd name="connsiteY1499" fmla="*/ 1260157 h 1940242"/>
                <a:gd name="connsiteX1500" fmla="*/ 2185987 w 2370773"/>
                <a:gd name="connsiteY1500" fmla="*/ 1255395 h 1940242"/>
                <a:gd name="connsiteX1501" fmla="*/ 2194560 w 2370773"/>
                <a:gd name="connsiteY1501" fmla="*/ 1263967 h 1940242"/>
                <a:gd name="connsiteX1502" fmla="*/ 2185987 w 2370773"/>
                <a:gd name="connsiteY1502" fmla="*/ 1272540 h 1940242"/>
                <a:gd name="connsiteX1503" fmla="*/ 2177415 w 2370773"/>
                <a:gd name="connsiteY1503" fmla="*/ 1263967 h 1940242"/>
                <a:gd name="connsiteX1504" fmla="*/ 2185987 w 2370773"/>
                <a:gd name="connsiteY1504" fmla="*/ 1255395 h 1940242"/>
                <a:gd name="connsiteX1505" fmla="*/ 260985 w 2370773"/>
                <a:gd name="connsiteY1505" fmla="*/ 1255395 h 1940242"/>
                <a:gd name="connsiteX1506" fmla="*/ 281940 w 2370773"/>
                <a:gd name="connsiteY1506" fmla="*/ 1276350 h 1940242"/>
                <a:gd name="connsiteX1507" fmla="*/ 260985 w 2370773"/>
                <a:gd name="connsiteY1507" fmla="*/ 1297305 h 1940242"/>
                <a:gd name="connsiteX1508" fmla="*/ 240030 w 2370773"/>
                <a:gd name="connsiteY1508" fmla="*/ 1276350 h 1940242"/>
                <a:gd name="connsiteX1509" fmla="*/ 260985 w 2370773"/>
                <a:gd name="connsiteY1509" fmla="*/ 1255395 h 1940242"/>
                <a:gd name="connsiteX1510" fmla="*/ 1527810 w 2370773"/>
                <a:gd name="connsiteY1510" fmla="*/ 1254442 h 1940242"/>
                <a:gd name="connsiteX1511" fmla="*/ 1530668 w 2370773"/>
                <a:gd name="connsiteY1511" fmla="*/ 1257300 h 1940242"/>
                <a:gd name="connsiteX1512" fmla="*/ 1527810 w 2370773"/>
                <a:gd name="connsiteY1512" fmla="*/ 1260157 h 1940242"/>
                <a:gd name="connsiteX1513" fmla="*/ 1524953 w 2370773"/>
                <a:gd name="connsiteY1513" fmla="*/ 1257300 h 1940242"/>
                <a:gd name="connsiteX1514" fmla="*/ 1527810 w 2370773"/>
                <a:gd name="connsiteY1514" fmla="*/ 1254442 h 1940242"/>
                <a:gd name="connsiteX1515" fmla="*/ 1815466 w 2370773"/>
                <a:gd name="connsiteY1515" fmla="*/ 1253490 h 1940242"/>
                <a:gd name="connsiteX1516" fmla="*/ 1820228 w 2370773"/>
                <a:gd name="connsiteY1516" fmla="*/ 1258253 h 1940242"/>
                <a:gd name="connsiteX1517" fmla="*/ 1815466 w 2370773"/>
                <a:gd name="connsiteY1517" fmla="*/ 1263015 h 1940242"/>
                <a:gd name="connsiteX1518" fmla="*/ 1810703 w 2370773"/>
                <a:gd name="connsiteY1518" fmla="*/ 1258253 h 1940242"/>
                <a:gd name="connsiteX1519" fmla="*/ 1815466 w 2370773"/>
                <a:gd name="connsiteY1519" fmla="*/ 1253490 h 1940242"/>
                <a:gd name="connsiteX1520" fmla="*/ 1073467 w 2370773"/>
                <a:gd name="connsiteY1520" fmla="*/ 1251584 h 1940242"/>
                <a:gd name="connsiteX1521" fmla="*/ 1079182 w 2370773"/>
                <a:gd name="connsiteY1521" fmla="*/ 1257299 h 1940242"/>
                <a:gd name="connsiteX1522" fmla="*/ 1073467 w 2370773"/>
                <a:gd name="connsiteY1522" fmla="*/ 1263014 h 1940242"/>
                <a:gd name="connsiteX1523" fmla="*/ 1067752 w 2370773"/>
                <a:gd name="connsiteY1523" fmla="*/ 1257299 h 1940242"/>
                <a:gd name="connsiteX1524" fmla="*/ 1073467 w 2370773"/>
                <a:gd name="connsiteY1524" fmla="*/ 1251584 h 1940242"/>
                <a:gd name="connsiteX1525" fmla="*/ 2107883 w 2370773"/>
                <a:gd name="connsiteY1525" fmla="*/ 1247775 h 1940242"/>
                <a:gd name="connsiteX1526" fmla="*/ 2116455 w 2370773"/>
                <a:gd name="connsiteY1526" fmla="*/ 1256347 h 1940242"/>
                <a:gd name="connsiteX1527" fmla="*/ 2107883 w 2370773"/>
                <a:gd name="connsiteY1527" fmla="*/ 1264920 h 1940242"/>
                <a:gd name="connsiteX1528" fmla="*/ 2099310 w 2370773"/>
                <a:gd name="connsiteY1528" fmla="*/ 1256347 h 1940242"/>
                <a:gd name="connsiteX1529" fmla="*/ 2107883 w 2370773"/>
                <a:gd name="connsiteY1529" fmla="*/ 1247775 h 1940242"/>
                <a:gd name="connsiteX1530" fmla="*/ 169544 w 2370773"/>
                <a:gd name="connsiteY1530" fmla="*/ 1247775 h 1940242"/>
                <a:gd name="connsiteX1531" fmla="*/ 178117 w 2370773"/>
                <a:gd name="connsiteY1531" fmla="*/ 1256347 h 1940242"/>
                <a:gd name="connsiteX1532" fmla="*/ 169544 w 2370773"/>
                <a:gd name="connsiteY1532" fmla="*/ 1264920 h 1940242"/>
                <a:gd name="connsiteX1533" fmla="*/ 160972 w 2370773"/>
                <a:gd name="connsiteY1533" fmla="*/ 1256347 h 1940242"/>
                <a:gd name="connsiteX1534" fmla="*/ 169544 w 2370773"/>
                <a:gd name="connsiteY1534" fmla="*/ 1247775 h 1940242"/>
                <a:gd name="connsiteX1535" fmla="*/ 900112 w 2370773"/>
                <a:gd name="connsiteY1535" fmla="*/ 1245870 h 1940242"/>
                <a:gd name="connsiteX1536" fmla="*/ 907732 w 2370773"/>
                <a:gd name="connsiteY1536" fmla="*/ 1253490 h 1940242"/>
                <a:gd name="connsiteX1537" fmla="*/ 900112 w 2370773"/>
                <a:gd name="connsiteY1537" fmla="*/ 1261110 h 1940242"/>
                <a:gd name="connsiteX1538" fmla="*/ 892492 w 2370773"/>
                <a:gd name="connsiteY1538" fmla="*/ 1253490 h 1940242"/>
                <a:gd name="connsiteX1539" fmla="*/ 900112 w 2370773"/>
                <a:gd name="connsiteY1539" fmla="*/ 1245870 h 1940242"/>
                <a:gd name="connsiteX1540" fmla="*/ 785812 w 2370773"/>
                <a:gd name="connsiteY1540" fmla="*/ 1244917 h 1940242"/>
                <a:gd name="connsiteX1541" fmla="*/ 799147 w 2370773"/>
                <a:gd name="connsiteY1541" fmla="*/ 1258252 h 1940242"/>
                <a:gd name="connsiteX1542" fmla="*/ 785812 w 2370773"/>
                <a:gd name="connsiteY1542" fmla="*/ 1271587 h 1940242"/>
                <a:gd name="connsiteX1543" fmla="*/ 772477 w 2370773"/>
                <a:gd name="connsiteY1543" fmla="*/ 1258252 h 1940242"/>
                <a:gd name="connsiteX1544" fmla="*/ 785812 w 2370773"/>
                <a:gd name="connsiteY1544" fmla="*/ 1244917 h 1940242"/>
                <a:gd name="connsiteX1545" fmla="*/ 414338 w 2370773"/>
                <a:gd name="connsiteY1545" fmla="*/ 1244917 h 1940242"/>
                <a:gd name="connsiteX1546" fmla="*/ 433388 w 2370773"/>
                <a:gd name="connsiteY1546" fmla="*/ 1263967 h 1940242"/>
                <a:gd name="connsiteX1547" fmla="*/ 414338 w 2370773"/>
                <a:gd name="connsiteY1547" fmla="*/ 1283017 h 1940242"/>
                <a:gd name="connsiteX1548" fmla="*/ 395288 w 2370773"/>
                <a:gd name="connsiteY1548" fmla="*/ 1263967 h 1940242"/>
                <a:gd name="connsiteX1549" fmla="*/ 414338 w 2370773"/>
                <a:gd name="connsiteY1549" fmla="*/ 1244917 h 1940242"/>
                <a:gd name="connsiteX1550" fmla="*/ 2026921 w 2370773"/>
                <a:gd name="connsiteY1550" fmla="*/ 1241107 h 1940242"/>
                <a:gd name="connsiteX1551" fmla="*/ 2033588 w 2370773"/>
                <a:gd name="connsiteY1551" fmla="*/ 1247775 h 1940242"/>
                <a:gd name="connsiteX1552" fmla="*/ 2026921 w 2370773"/>
                <a:gd name="connsiteY1552" fmla="*/ 1254442 h 1940242"/>
                <a:gd name="connsiteX1553" fmla="*/ 2020253 w 2370773"/>
                <a:gd name="connsiteY1553" fmla="*/ 1247775 h 1940242"/>
                <a:gd name="connsiteX1554" fmla="*/ 2026921 w 2370773"/>
                <a:gd name="connsiteY1554" fmla="*/ 1241107 h 1940242"/>
                <a:gd name="connsiteX1555" fmla="*/ 677228 w 2370773"/>
                <a:gd name="connsiteY1555" fmla="*/ 1239202 h 1940242"/>
                <a:gd name="connsiteX1556" fmla="*/ 694373 w 2370773"/>
                <a:gd name="connsiteY1556" fmla="*/ 1256347 h 1940242"/>
                <a:gd name="connsiteX1557" fmla="*/ 677228 w 2370773"/>
                <a:gd name="connsiteY1557" fmla="*/ 1273492 h 1940242"/>
                <a:gd name="connsiteX1558" fmla="*/ 660083 w 2370773"/>
                <a:gd name="connsiteY1558" fmla="*/ 1256347 h 1940242"/>
                <a:gd name="connsiteX1559" fmla="*/ 677228 w 2370773"/>
                <a:gd name="connsiteY1559" fmla="*/ 1239202 h 1940242"/>
                <a:gd name="connsiteX1560" fmla="*/ 1582102 w 2370773"/>
                <a:gd name="connsiteY1560" fmla="*/ 1236345 h 1940242"/>
                <a:gd name="connsiteX1561" fmla="*/ 1584007 w 2370773"/>
                <a:gd name="connsiteY1561" fmla="*/ 1238250 h 1940242"/>
                <a:gd name="connsiteX1562" fmla="*/ 1582102 w 2370773"/>
                <a:gd name="connsiteY1562" fmla="*/ 1240155 h 1940242"/>
                <a:gd name="connsiteX1563" fmla="*/ 1580197 w 2370773"/>
                <a:gd name="connsiteY1563" fmla="*/ 1238250 h 1940242"/>
                <a:gd name="connsiteX1564" fmla="*/ 1582102 w 2370773"/>
                <a:gd name="connsiteY1564" fmla="*/ 1236345 h 1940242"/>
                <a:gd name="connsiteX1565" fmla="*/ 1726883 w 2370773"/>
                <a:gd name="connsiteY1565" fmla="*/ 1232534 h 1940242"/>
                <a:gd name="connsiteX1566" fmla="*/ 1733550 w 2370773"/>
                <a:gd name="connsiteY1566" fmla="*/ 1239202 h 1940242"/>
                <a:gd name="connsiteX1567" fmla="*/ 1726883 w 2370773"/>
                <a:gd name="connsiteY1567" fmla="*/ 1245869 h 1940242"/>
                <a:gd name="connsiteX1568" fmla="*/ 1720216 w 2370773"/>
                <a:gd name="connsiteY1568" fmla="*/ 1239202 h 1940242"/>
                <a:gd name="connsiteX1569" fmla="*/ 1726883 w 2370773"/>
                <a:gd name="connsiteY1569" fmla="*/ 1232534 h 1940242"/>
                <a:gd name="connsiteX1570" fmla="*/ 1019175 w 2370773"/>
                <a:gd name="connsiteY1570" fmla="*/ 1232534 h 1940242"/>
                <a:gd name="connsiteX1571" fmla="*/ 1024890 w 2370773"/>
                <a:gd name="connsiteY1571" fmla="*/ 1238249 h 1940242"/>
                <a:gd name="connsiteX1572" fmla="*/ 1019175 w 2370773"/>
                <a:gd name="connsiteY1572" fmla="*/ 1243964 h 1940242"/>
                <a:gd name="connsiteX1573" fmla="*/ 1013460 w 2370773"/>
                <a:gd name="connsiteY1573" fmla="*/ 1238249 h 1940242"/>
                <a:gd name="connsiteX1574" fmla="*/ 1019175 w 2370773"/>
                <a:gd name="connsiteY1574" fmla="*/ 1232534 h 1940242"/>
                <a:gd name="connsiteX1575" fmla="*/ 1945005 w 2370773"/>
                <a:gd name="connsiteY1575" fmla="*/ 1230629 h 1940242"/>
                <a:gd name="connsiteX1576" fmla="*/ 1950720 w 2370773"/>
                <a:gd name="connsiteY1576" fmla="*/ 1236344 h 1940242"/>
                <a:gd name="connsiteX1577" fmla="*/ 1945005 w 2370773"/>
                <a:gd name="connsiteY1577" fmla="*/ 1242059 h 1940242"/>
                <a:gd name="connsiteX1578" fmla="*/ 1939290 w 2370773"/>
                <a:gd name="connsiteY1578" fmla="*/ 1236344 h 1940242"/>
                <a:gd name="connsiteX1579" fmla="*/ 1945005 w 2370773"/>
                <a:gd name="connsiteY1579" fmla="*/ 1230629 h 1940242"/>
                <a:gd name="connsiteX1580" fmla="*/ 573405 w 2370773"/>
                <a:gd name="connsiteY1580" fmla="*/ 1229677 h 1940242"/>
                <a:gd name="connsiteX1581" fmla="*/ 591503 w 2370773"/>
                <a:gd name="connsiteY1581" fmla="*/ 1247774 h 1940242"/>
                <a:gd name="connsiteX1582" fmla="*/ 573405 w 2370773"/>
                <a:gd name="connsiteY1582" fmla="*/ 1265872 h 1940242"/>
                <a:gd name="connsiteX1583" fmla="*/ 555308 w 2370773"/>
                <a:gd name="connsiteY1583" fmla="*/ 1247774 h 1940242"/>
                <a:gd name="connsiteX1584" fmla="*/ 573405 w 2370773"/>
                <a:gd name="connsiteY1584" fmla="*/ 1229677 h 1940242"/>
                <a:gd name="connsiteX1585" fmla="*/ 320040 w 2370773"/>
                <a:gd name="connsiteY1585" fmla="*/ 1226820 h 1940242"/>
                <a:gd name="connsiteX1586" fmla="*/ 340995 w 2370773"/>
                <a:gd name="connsiteY1586" fmla="*/ 1247775 h 1940242"/>
                <a:gd name="connsiteX1587" fmla="*/ 320040 w 2370773"/>
                <a:gd name="connsiteY1587" fmla="*/ 1268730 h 1940242"/>
                <a:gd name="connsiteX1588" fmla="*/ 299085 w 2370773"/>
                <a:gd name="connsiteY1588" fmla="*/ 1247775 h 1940242"/>
                <a:gd name="connsiteX1589" fmla="*/ 320040 w 2370773"/>
                <a:gd name="connsiteY1589" fmla="*/ 1226820 h 1940242"/>
                <a:gd name="connsiteX1590" fmla="*/ 1315403 w 2370773"/>
                <a:gd name="connsiteY1590" fmla="*/ 1225867 h 1940242"/>
                <a:gd name="connsiteX1591" fmla="*/ 1317308 w 2370773"/>
                <a:gd name="connsiteY1591" fmla="*/ 1227772 h 1940242"/>
                <a:gd name="connsiteX1592" fmla="*/ 1315403 w 2370773"/>
                <a:gd name="connsiteY1592" fmla="*/ 1229677 h 1940242"/>
                <a:gd name="connsiteX1593" fmla="*/ 1313498 w 2370773"/>
                <a:gd name="connsiteY1593" fmla="*/ 1227772 h 1940242"/>
                <a:gd name="connsiteX1594" fmla="*/ 1315403 w 2370773"/>
                <a:gd name="connsiteY1594" fmla="*/ 1225867 h 1940242"/>
                <a:gd name="connsiteX1595" fmla="*/ 1257300 w 2370773"/>
                <a:gd name="connsiteY1595" fmla="*/ 1223962 h 1940242"/>
                <a:gd name="connsiteX1596" fmla="*/ 1259205 w 2370773"/>
                <a:gd name="connsiteY1596" fmla="*/ 1225867 h 1940242"/>
                <a:gd name="connsiteX1597" fmla="*/ 1257300 w 2370773"/>
                <a:gd name="connsiteY1597" fmla="*/ 1227772 h 1940242"/>
                <a:gd name="connsiteX1598" fmla="*/ 1255395 w 2370773"/>
                <a:gd name="connsiteY1598" fmla="*/ 1225867 h 1940242"/>
                <a:gd name="connsiteX1599" fmla="*/ 1257300 w 2370773"/>
                <a:gd name="connsiteY1599" fmla="*/ 1223962 h 1940242"/>
                <a:gd name="connsiteX1600" fmla="*/ 1372552 w 2370773"/>
                <a:gd name="connsiteY1600" fmla="*/ 1222057 h 1940242"/>
                <a:gd name="connsiteX1601" fmla="*/ 1374457 w 2370773"/>
                <a:gd name="connsiteY1601" fmla="*/ 1223962 h 1940242"/>
                <a:gd name="connsiteX1602" fmla="*/ 1372552 w 2370773"/>
                <a:gd name="connsiteY1602" fmla="*/ 1225867 h 1940242"/>
                <a:gd name="connsiteX1603" fmla="*/ 1370647 w 2370773"/>
                <a:gd name="connsiteY1603" fmla="*/ 1223962 h 1940242"/>
                <a:gd name="connsiteX1604" fmla="*/ 1372552 w 2370773"/>
                <a:gd name="connsiteY1604" fmla="*/ 1222057 h 1940242"/>
                <a:gd name="connsiteX1605" fmla="*/ 2298383 w 2370773"/>
                <a:gd name="connsiteY1605" fmla="*/ 1221104 h 1940242"/>
                <a:gd name="connsiteX1606" fmla="*/ 2301240 w 2370773"/>
                <a:gd name="connsiteY1606" fmla="*/ 1223962 h 1940242"/>
                <a:gd name="connsiteX1607" fmla="*/ 2298383 w 2370773"/>
                <a:gd name="connsiteY1607" fmla="*/ 1226819 h 1940242"/>
                <a:gd name="connsiteX1608" fmla="*/ 2295525 w 2370773"/>
                <a:gd name="connsiteY1608" fmla="*/ 1223962 h 1940242"/>
                <a:gd name="connsiteX1609" fmla="*/ 2298383 w 2370773"/>
                <a:gd name="connsiteY1609" fmla="*/ 1221104 h 1940242"/>
                <a:gd name="connsiteX1610" fmla="*/ 1861185 w 2370773"/>
                <a:gd name="connsiteY1610" fmla="*/ 1221104 h 1940242"/>
                <a:gd name="connsiteX1611" fmla="*/ 1864043 w 2370773"/>
                <a:gd name="connsiteY1611" fmla="*/ 1223962 h 1940242"/>
                <a:gd name="connsiteX1612" fmla="*/ 1861185 w 2370773"/>
                <a:gd name="connsiteY1612" fmla="*/ 1226819 h 1940242"/>
                <a:gd name="connsiteX1613" fmla="*/ 1858328 w 2370773"/>
                <a:gd name="connsiteY1613" fmla="*/ 1223962 h 1940242"/>
                <a:gd name="connsiteX1614" fmla="*/ 1861185 w 2370773"/>
                <a:gd name="connsiteY1614" fmla="*/ 1221104 h 1940242"/>
                <a:gd name="connsiteX1615" fmla="*/ 474345 w 2370773"/>
                <a:gd name="connsiteY1615" fmla="*/ 1219200 h 1940242"/>
                <a:gd name="connsiteX1616" fmla="*/ 490537 w 2370773"/>
                <a:gd name="connsiteY1616" fmla="*/ 1235392 h 1940242"/>
                <a:gd name="connsiteX1617" fmla="*/ 474345 w 2370773"/>
                <a:gd name="connsiteY1617" fmla="*/ 1251585 h 1940242"/>
                <a:gd name="connsiteX1618" fmla="*/ 458152 w 2370773"/>
                <a:gd name="connsiteY1618" fmla="*/ 1235392 h 1940242"/>
                <a:gd name="connsiteX1619" fmla="*/ 474345 w 2370773"/>
                <a:gd name="connsiteY1619" fmla="*/ 1219200 h 1940242"/>
                <a:gd name="connsiteX1620" fmla="*/ 1200150 w 2370773"/>
                <a:gd name="connsiteY1620" fmla="*/ 1218247 h 1940242"/>
                <a:gd name="connsiteX1621" fmla="*/ 1202055 w 2370773"/>
                <a:gd name="connsiteY1621" fmla="*/ 1220152 h 1940242"/>
                <a:gd name="connsiteX1622" fmla="*/ 1200150 w 2370773"/>
                <a:gd name="connsiteY1622" fmla="*/ 1222057 h 1940242"/>
                <a:gd name="connsiteX1623" fmla="*/ 1198245 w 2370773"/>
                <a:gd name="connsiteY1623" fmla="*/ 1220152 h 1940242"/>
                <a:gd name="connsiteX1624" fmla="*/ 1200150 w 2370773"/>
                <a:gd name="connsiteY1624" fmla="*/ 1218247 h 1940242"/>
                <a:gd name="connsiteX1625" fmla="*/ 850583 w 2370773"/>
                <a:gd name="connsiteY1625" fmla="*/ 1215390 h 1940242"/>
                <a:gd name="connsiteX1626" fmla="*/ 859155 w 2370773"/>
                <a:gd name="connsiteY1626" fmla="*/ 1223962 h 1940242"/>
                <a:gd name="connsiteX1627" fmla="*/ 850583 w 2370773"/>
                <a:gd name="connsiteY1627" fmla="*/ 1232535 h 1940242"/>
                <a:gd name="connsiteX1628" fmla="*/ 842010 w 2370773"/>
                <a:gd name="connsiteY1628" fmla="*/ 1223962 h 1940242"/>
                <a:gd name="connsiteX1629" fmla="*/ 850583 w 2370773"/>
                <a:gd name="connsiteY1629" fmla="*/ 1215390 h 1940242"/>
                <a:gd name="connsiteX1630" fmla="*/ 228600 w 2370773"/>
                <a:gd name="connsiteY1630" fmla="*/ 1213484 h 1940242"/>
                <a:gd name="connsiteX1631" fmla="*/ 243840 w 2370773"/>
                <a:gd name="connsiteY1631" fmla="*/ 1228724 h 1940242"/>
                <a:gd name="connsiteX1632" fmla="*/ 228600 w 2370773"/>
                <a:gd name="connsiteY1632" fmla="*/ 1243964 h 1940242"/>
                <a:gd name="connsiteX1633" fmla="*/ 213360 w 2370773"/>
                <a:gd name="connsiteY1633" fmla="*/ 1228724 h 1940242"/>
                <a:gd name="connsiteX1634" fmla="*/ 228600 w 2370773"/>
                <a:gd name="connsiteY1634" fmla="*/ 1213484 h 1940242"/>
                <a:gd name="connsiteX1635" fmla="*/ 1635443 w 2370773"/>
                <a:gd name="connsiteY1635" fmla="*/ 1212532 h 1940242"/>
                <a:gd name="connsiteX1636" fmla="*/ 1638300 w 2370773"/>
                <a:gd name="connsiteY1636" fmla="*/ 1215390 h 1940242"/>
                <a:gd name="connsiteX1637" fmla="*/ 1635443 w 2370773"/>
                <a:gd name="connsiteY1637" fmla="*/ 1218247 h 1940242"/>
                <a:gd name="connsiteX1638" fmla="*/ 1632585 w 2370773"/>
                <a:gd name="connsiteY1638" fmla="*/ 1215390 h 1940242"/>
                <a:gd name="connsiteX1639" fmla="*/ 1635443 w 2370773"/>
                <a:gd name="connsiteY1639" fmla="*/ 1212532 h 1940242"/>
                <a:gd name="connsiteX1640" fmla="*/ 1429702 w 2370773"/>
                <a:gd name="connsiteY1640" fmla="*/ 1212532 h 1940242"/>
                <a:gd name="connsiteX1641" fmla="*/ 1432560 w 2370773"/>
                <a:gd name="connsiteY1641" fmla="*/ 1215390 h 1940242"/>
                <a:gd name="connsiteX1642" fmla="*/ 1429702 w 2370773"/>
                <a:gd name="connsiteY1642" fmla="*/ 1218247 h 1940242"/>
                <a:gd name="connsiteX1643" fmla="*/ 1426845 w 2370773"/>
                <a:gd name="connsiteY1643" fmla="*/ 1215390 h 1940242"/>
                <a:gd name="connsiteX1644" fmla="*/ 1429702 w 2370773"/>
                <a:gd name="connsiteY1644" fmla="*/ 1212532 h 1940242"/>
                <a:gd name="connsiteX1645" fmla="*/ 740092 w 2370773"/>
                <a:gd name="connsiteY1645" fmla="*/ 1212532 h 1940242"/>
                <a:gd name="connsiteX1646" fmla="*/ 751522 w 2370773"/>
                <a:gd name="connsiteY1646" fmla="*/ 1223962 h 1940242"/>
                <a:gd name="connsiteX1647" fmla="*/ 740092 w 2370773"/>
                <a:gd name="connsiteY1647" fmla="*/ 1235392 h 1940242"/>
                <a:gd name="connsiteX1648" fmla="*/ 728662 w 2370773"/>
                <a:gd name="connsiteY1648" fmla="*/ 1223962 h 1940242"/>
                <a:gd name="connsiteX1649" fmla="*/ 740092 w 2370773"/>
                <a:gd name="connsiteY1649" fmla="*/ 1212532 h 1940242"/>
                <a:gd name="connsiteX1650" fmla="*/ 965835 w 2370773"/>
                <a:gd name="connsiteY1650" fmla="*/ 1211579 h 1940242"/>
                <a:gd name="connsiteX1651" fmla="*/ 969645 w 2370773"/>
                <a:gd name="connsiteY1651" fmla="*/ 1215389 h 1940242"/>
                <a:gd name="connsiteX1652" fmla="*/ 965835 w 2370773"/>
                <a:gd name="connsiteY1652" fmla="*/ 1219199 h 1940242"/>
                <a:gd name="connsiteX1653" fmla="*/ 962025 w 2370773"/>
                <a:gd name="connsiteY1653" fmla="*/ 1215389 h 1940242"/>
                <a:gd name="connsiteX1654" fmla="*/ 965835 w 2370773"/>
                <a:gd name="connsiteY1654" fmla="*/ 1211579 h 1940242"/>
                <a:gd name="connsiteX1655" fmla="*/ 2222183 w 2370773"/>
                <a:gd name="connsiteY1655" fmla="*/ 1206817 h 1940242"/>
                <a:gd name="connsiteX1656" fmla="*/ 2233613 w 2370773"/>
                <a:gd name="connsiteY1656" fmla="*/ 1218247 h 1940242"/>
                <a:gd name="connsiteX1657" fmla="*/ 2222183 w 2370773"/>
                <a:gd name="connsiteY1657" fmla="*/ 1229677 h 1940242"/>
                <a:gd name="connsiteX1658" fmla="*/ 2210753 w 2370773"/>
                <a:gd name="connsiteY1658" fmla="*/ 1218247 h 1940242"/>
                <a:gd name="connsiteX1659" fmla="*/ 2222183 w 2370773"/>
                <a:gd name="connsiteY1659" fmla="*/ 1206817 h 1940242"/>
                <a:gd name="connsiteX1660" fmla="*/ 1143000 w 2370773"/>
                <a:gd name="connsiteY1660" fmla="*/ 1206817 h 1940242"/>
                <a:gd name="connsiteX1661" fmla="*/ 1145857 w 2370773"/>
                <a:gd name="connsiteY1661" fmla="*/ 1209675 h 1940242"/>
                <a:gd name="connsiteX1662" fmla="*/ 1143000 w 2370773"/>
                <a:gd name="connsiteY1662" fmla="*/ 1212532 h 1940242"/>
                <a:gd name="connsiteX1663" fmla="*/ 1140142 w 2370773"/>
                <a:gd name="connsiteY1663" fmla="*/ 1209675 h 1940242"/>
                <a:gd name="connsiteX1664" fmla="*/ 1143000 w 2370773"/>
                <a:gd name="connsiteY1664" fmla="*/ 1206817 h 1940242"/>
                <a:gd name="connsiteX1665" fmla="*/ 1775460 w 2370773"/>
                <a:gd name="connsiteY1665" fmla="*/ 1204912 h 1940242"/>
                <a:gd name="connsiteX1666" fmla="*/ 1779270 w 2370773"/>
                <a:gd name="connsiteY1666" fmla="*/ 1208722 h 1940242"/>
                <a:gd name="connsiteX1667" fmla="*/ 1775460 w 2370773"/>
                <a:gd name="connsiteY1667" fmla="*/ 1212532 h 1940242"/>
                <a:gd name="connsiteX1668" fmla="*/ 1771650 w 2370773"/>
                <a:gd name="connsiteY1668" fmla="*/ 1208722 h 1940242"/>
                <a:gd name="connsiteX1669" fmla="*/ 1775460 w 2370773"/>
                <a:gd name="connsiteY1669" fmla="*/ 1204912 h 1940242"/>
                <a:gd name="connsiteX1670" fmla="*/ 2145030 w 2370773"/>
                <a:gd name="connsiteY1670" fmla="*/ 1203959 h 1940242"/>
                <a:gd name="connsiteX1671" fmla="*/ 2153603 w 2370773"/>
                <a:gd name="connsiteY1671" fmla="*/ 1212532 h 1940242"/>
                <a:gd name="connsiteX1672" fmla="*/ 2145030 w 2370773"/>
                <a:gd name="connsiteY1672" fmla="*/ 1221104 h 1940242"/>
                <a:gd name="connsiteX1673" fmla="*/ 2136458 w 2370773"/>
                <a:gd name="connsiteY1673" fmla="*/ 1212532 h 1940242"/>
                <a:gd name="connsiteX1674" fmla="*/ 2145030 w 2370773"/>
                <a:gd name="connsiteY1674" fmla="*/ 1203959 h 1940242"/>
                <a:gd name="connsiteX1675" fmla="*/ 1485900 w 2370773"/>
                <a:gd name="connsiteY1675" fmla="*/ 1201102 h 1940242"/>
                <a:gd name="connsiteX1676" fmla="*/ 1487805 w 2370773"/>
                <a:gd name="connsiteY1676" fmla="*/ 1203007 h 1940242"/>
                <a:gd name="connsiteX1677" fmla="*/ 1485900 w 2370773"/>
                <a:gd name="connsiteY1677" fmla="*/ 1204912 h 1940242"/>
                <a:gd name="connsiteX1678" fmla="*/ 1483995 w 2370773"/>
                <a:gd name="connsiteY1678" fmla="*/ 1203007 h 1940242"/>
                <a:gd name="connsiteX1679" fmla="*/ 1485900 w 2370773"/>
                <a:gd name="connsiteY1679" fmla="*/ 1201102 h 1940242"/>
                <a:gd name="connsiteX1680" fmla="*/ 634365 w 2370773"/>
                <a:gd name="connsiteY1680" fmla="*/ 1201102 h 1940242"/>
                <a:gd name="connsiteX1681" fmla="*/ 650558 w 2370773"/>
                <a:gd name="connsiteY1681" fmla="*/ 1217294 h 1940242"/>
                <a:gd name="connsiteX1682" fmla="*/ 634365 w 2370773"/>
                <a:gd name="connsiteY1682" fmla="*/ 1233487 h 1940242"/>
                <a:gd name="connsiteX1683" fmla="*/ 618173 w 2370773"/>
                <a:gd name="connsiteY1683" fmla="*/ 1217294 h 1940242"/>
                <a:gd name="connsiteX1684" fmla="*/ 634365 w 2370773"/>
                <a:gd name="connsiteY1684" fmla="*/ 1201102 h 1940242"/>
                <a:gd name="connsiteX1685" fmla="*/ 2066925 w 2370773"/>
                <a:gd name="connsiteY1685" fmla="*/ 1200150 h 1940242"/>
                <a:gd name="connsiteX1686" fmla="*/ 2072640 w 2370773"/>
                <a:gd name="connsiteY1686" fmla="*/ 1205865 h 1940242"/>
                <a:gd name="connsiteX1687" fmla="*/ 2066925 w 2370773"/>
                <a:gd name="connsiteY1687" fmla="*/ 1211580 h 1940242"/>
                <a:gd name="connsiteX1688" fmla="*/ 2061210 w 2370773"/>
                <a:gd name="connsiteY1688" fmla="*/ 1205865 h 1940242"/>
                <a:gd name="connsiteX1689" fmla="*/ 2066925 w 2370773"/>
                <a:gd name="connsiteY1689" fmla="*/ 1200150 h 1940242"/>
                <a:gd name="connsiteX1690" fmla="*/ 379095 w 2370773"/>
                <a:gd name="connsiteY1690" fmla="*/ 1199197 h 1940242"/>
                <a:gd name="connsiteX1691" fmla="*/ 399098 w 2370773"/>
                <a:gd name="connsiteY1691" fmla="*/ 1219200 h 1940242"/>
                <a:gd name="connsiteX1692" fmla="*/ 379095 w 2370773"/>
                <a:gd name="connsiteY1692" fmla="*/ 1239202 h 1940242"/>
                <a:gd name="connsiteX1693" fmla="*/ 359093 w 2370773"/>
                <a:gd name="connsiteY1693" fmla="*/ 1219200 h 1940242"/>
                <a:gd name="connsiteX1694" fmla="*/ 379095 w 2370773"/>
                <a:gd name="connsiteY1694" fmla="*/ 1199197 h 1940242"/>
                <a:gd name="connsiteX1695" fmla="*/ 139065 w 2370773"/>
                <a:gd name="connsiteY1695" fmla="*/ 1195387 h 1940242"/>
                <a:gd name="connsiteX1696" fmla="*/ 151447 w 2370773"/>
                <a:gd name="connsiteY1696" fmla="*/ 1207770 h 1940242"/>
                <a:gd name="connsiteX1697" fmla="*/ 139065 w 2370773"/>
                <a:gd name="connsiteY1697" fmla="*/ 1220152 h 1940242"/>
                <a:gd name="connsiteX1698" fmla="*/ 126682 w 2370773"/>
                <a:gd name="connsiteY1698" fmla="*/ 1207770 h 1940242"/>
                <a:gd name="connsiteX1699" fmla="*/ 139065 w 2370773"/>
                <a:gd name="connsiteY1699" fmla="*/ 1195387 h 1940242"/>
                <a:gd name="connsiteX1700" fmla="*/ 1986916 w 2370773"/>
                <a:gd name="connsiteY1700" fmla="*/ 1194434 h 1940242"/>
                <a:gd name="connsiteX1701" fmla="*/ 1989773 w 2370773"/>
                <a:gd name="connsiteY1701" fmla="*/ 1197292 h 1940242"/>
                <a:gd name="connsiteX1702" fmla="*/ 1986916 w 2370773"/>
                <a:gd name="connsiteY1702" fmla="*/ 1200149 h 1940242"/>
                <a:gd name="connsiteX1703" fmla="*/ 1984058 w 2370773"/>
                <a:gd name="connsiteY1703" fmla="*/ 1197292 h 1940242"/>
                <a:gd name="connsiteX1704" fmla="*/ 1986916 w 2370773"/>
                <a:gd name="connsiteY1704" fmla="*/ 1194434 h 1940242"/>
                <a:gd name="connsiteX1705" fmla="*/ 1087755 w 2370773"/>
                <a:gd name="connsiteY1705" fmla="*/ 1190625 h 1940242"/>
                <a:gd name="connsiteX1706" fmla="*/ 1091565 w 2370773"/>
                <a:gd name="connsiteY1706" fmla="*/ 1194435 h 1940242"/>
                <a:gd name="connsiteX1707" fmla="*/ 1087755 w 2370773"/>
                <a:gd name="connsiteY1707" fmla="*/ 1198245 h 1940242"/>
                <a:gd name="connsiteX1708" fmla="*/ 1083945 w 2370773"/>
                <a:gd name="connsiteY1708" fmla="*/ 1194435 h 1940242"/>
                <a:gd name="connsiteX1709" fmla="*/ 1087755 w 2370773"/>
                <a:gd name="connsiteY1709" fmla="*/ 1190625 h 1940242"/>
                <a:gd name="connsiteX1710" fmla="*/ 534352 w 2370773"/>
                <a:gd name="connsiteY1710" fmla="*/ 1186815 h 1940242"/>
                <a:gd name="connsiteX1711" fmla="*/ 552450 w 2370773"/>
                <a:gd name="connsiteY1711" fmla="*/ 1204912 h 1940242"/>
                <a:gd name="connsiteX1712" fmla="*/ 534352 w 2370773"/>
                <a:gd name="connsiteY1712" fmla="*/ 1223010 h 1940242"/>
                <a:gd name="connsiteX1713" fmla="*/ 516255 w 2370773"/>
                <a:gd name="connsiteY1713" fmla="*/ 1204912 h 1940242"/>
                <a:gd name="connsiteX1714" fmla="*/ 534352 w 2370773"/>
                <a:gd name="connsiteY1714" fmla="*/ 1186815 h 1940242"/>
                <a:gd name="connsiteX1715" fmla="*/ 1541145 w 2370773"/>
                <a:gd name="connsiteY1715" fmla="*/ 1183957 h 1940242"/>
                <a:gd name="connsiteX1716" fmla="*/ 1543050 w 2370773"/>
                <a:gd name="connsiteY1716" fmla="*/ 1185862 h 1940242"/>
                <a:gd name="connsiteX1717" fmla="*/ 1541145 w 2370773"/>
                <a:gd name="connsiteY1717" fmla="*/ 1187767 h 1940242"/>
                <a:gd name="connsiteX1718" fmla="*/ 1539240 w 2370773"/>
                <a:gd name="connsiteY1718" fmla="*/ 1185862 h 1940242"/>
                <a:gd name="connsiteX1719" fmla="*/ 1541145 w 2370773"/>
                <a:gd name="connsiteY1719" fmla="*/ 1183957 h 1940242"/>
                <a:gd name="connsiteX1720" fmla="*/ 1905000 w 2370773"/>
                <a:gd name="connsiteY1720" fmla="*/ 1183004 h 1940242"/>
                <a:gd name="connsiteX1721" fmla="*/ 1908810 w 2370773"/>
                <a:gd name="connsiteY1721" fmla="*/ 1186814 h 1940242"/>
                <a:gd name="connsiteX1722" fmla="*/ 1905000 w 2370773"/>
                <a:gd name="connsiteY1722" fmla="*/ 1190624 h 1940242"/>
                <a:gd name="connsiteX1723" fmla="*/ 1901190 w 2370773"/>
                <a:gd name="connsiteY1723" fmla="*/ 1186814 h 1940242"/>
                <a:gd name="connsiteX1724" fmla="*/ 1905000 w 2370773"/>
                <a:gd name="connsiteY1724" fmla="*/ 1183004 h 1940242"/>
                <a:gd name="connsiteX1725" fmla="*/ 1685926 w 2370773"/>
                <a:gd name="connsiteY1725" fmla="*/ 1183004 h 1940242"/>
                <a:gd name="connsiteX1726" fmla="*/ 1690688 w 2370773"/>
                <a:gd name="connsiteY1726" fmla="*/ 1187767 h 1940242"/>
                <a:gd name="connsiteX1727" fmla="*/ 1685926 w 2370773"/>
                <a:gd name="connsiteY1727" fmla="*/ 1192529 h 1940242"/>
                <a:gd name="connsiteX1728" fmla="*/ 1681163 w 2370773"/>
                <a:gd name="connsiteY1728" fmla="*/ 1187767 h 1940242"/>
                <a:gd name="connsiteX1729" fmla="*/ 1685926 w 2370773"/>
                <a:gd name="connsiteY1729" fmla="*/ 1183004 h 1940242"/>
                <a:gd name="connsiteX1730" fmla="*/ 915353 w 2370773"/>
                <a:gd name="connsiteY1730" fmla="*/ 1182052 h 1940242"/>
                <a:gd name="connsiteX1731" fmla="*/ 921068 w 2370773"/>
                <a:gd name="connsiteY1731" fmla="*/ 1187767 h 1940242"/>
                <a:gd name="connsiteX1732" fmla="*/ 915353 w 2370773"/>
                <a:gd name="connsiteY1732" fmla="*/ 1193482 h 1940242"/>
                <a:gd name="connsiteX1733" fmla="*/ 909638 w 2370773"/>
                <a:gd name="connsiteY1733" fmla="*/ 1187767 h 1940242"/>
                <a:gd name="connsiteX1734" fmla="*/ 915353 w 2370773"/>
                <a:gd name="connsiteY1734" fmla="*/ 1182052 h 1940242"/>
                <a:gd name="connsiteX1735" fmla="*/ 802958 w 2370773"/>
                <a:gd name="connsiteY1735" fmla="*/ 1180147 h 1940242"/>
                <a:gd name="connsiteX1736" fmla="*/ 813435 w 2370773"/>
                <a:gd name="connsiteY1736" fmla="*/ 1190625 h 1940242"/>
                <a:gd name="connsiteX1737" fmla="*/ 802958 w 2370773"/>
                <a:gd name="connsiteY1737" fmla="*/ 1201102 h 1940242"/>
                <a:gd name="connsiteX1738" fmla="*/ 792480 w 2370773"/>
                <a:gd name="connsiteY1738" fmla="*/ 1190625 h 1940242"/>
                <a:gd name="connsiteX1739" fmla="*/ 802958 w 2370773"/>
                <a:gd name="connsiteY1739" fmla="*/ 1180147 h 1940242"/>
                <a:gd name="connsiteX1740" fmla="*/ 286702 w 2370773"/>
                <a:gd name="connsiteY1740" fmla="*/ 1180147 h 1940242"/>
                <a:gd name="connsiteX1741" fmla="*/ 306705 w 2370773"/>
                <a:gd name="connsiteY1741" fmla="*/ 1200150 h 1940242"/>
                <a:gd name="connsiteX1742" fmla="*/ 286702 w 2370773"/>
                <a:gd name="connsiteY1742" fmla="*/ 1220152 h 1940242"/>
                <a:gd name="connsiteX1743" fmla="*/ 266700 w 2370773"/>
                <a:gd name="connsiteY1743" fmla="*/ 1200150 h 1940242"/>
                <a:gd name="connsiteX1744" fmla="*/ 286702 w 2370773"/>
                <a:gd name="connsiteY1744" fmla="*/ 1180147 h 1940242"/>
                <a:gd name="connsiteX1745" fmla="*/ 696277 w 2370773"/>
                <a:gd name="connsiteY1745" fmla="*/ 1174432 h 1940242"/>
                <a:gd name="connsiteX1746" fmla="*/ 708660 w 2370773"/>
                <a:gd name="connsiteY1746" fmla="*/ 1186815 h 1940242"/>
                <a:gd name="connsiteX1747" fmla="*/ 696277 w 2370773"/>
                <a:gd name="connsiteY1747" fmla="*/ 1199197 h 1940242"/>
                <a:gd name="connsiteX1748" fmla="*/ 683895 w 2370773"/>
                <a:gd name="connsiteY1748" fmla="*/ 1186815 h 1940242"/>
                <a:gd name="connsiteX1749" fmla="*/ 696277 w 2370773"/>
                <a:gd name="connsiteY1749" fmla="*/ 1174432 h 1940242"/>
                <a:gd name="connsiteX1750" fmla="*/ 438150 w 2370773"/>
                <a:gd name="connsiteY1750" fmla="*/ 1172527 h 1940242"/>
                <a:gd name="connsiteX1751" fmla="*/ 456247 w 2370773"/>
                <a:gd name="connsiteY1751" fmla="*/ 1190624 h 1940242"/>
                <a:gd name="connsiteX1752" fmla="*/ 438150 w 2370773"/>
                <a:gd name="connsiteY1752" fmla="*/ 1208722 h 1940242"/>
                <a:gd name="connsiteX1753" fmla="*/ 420052 w 2370773"/>
                <a:gd name="connsiteY1753" fmla="*/ 1190624 h 1940242"/>
                <a:gd name="connsiteX1754" fmla="*/ 438150 w 2370773"/>
                <a:gd name="connsiteY1754" fmla="*/ 1172527 h 1940242"/>
                <a:gd name="connsiteX1755" fmla="*/ 1033462 w 2370773"/>
                <a:gd name="connsiteY1755" fmla="*/ 1171575 h 1940242"/>
                <a:gd name="connsiteX1756" fmla="*/ 1037272 w 2370773"/>
                <a:gd name="connsiteY1756" fmla="*/ 1175385 h 1940242"/>
                <a:gd name="connsiteX1757" fmla="*/ 1033462 w 2370773"/>
                <a:gd name="connsiteY1757" fmla="*/ 1179195 h 1940242"/>
                <a:gd name="connsiteX1758" fmla="*/ 1029652 w 2370773"/>
                <a:gd name="connsiteY1758" fmla="*/ 1175385 h 1940242"/>
                <a:gd name="connsiteX1759" fmla="*/ 1033462 w 2370773"/>
                <a:gd name="connsiteY1759" fmla="*/ 1171575 h 1940242"/>
                <a:gd name="connsiteX1760" fmla="*/ 1821180 w 2370773"/>
                <a:gd name="connsiteY1760" fmla="*/ 1170622 h 1940242"/>
                <a:gd name="connsiteX1761" fmla="*/ 1824037 w 2370773"/>
                <a:gd name="connsiteY1761" fmla="*/ 1173480 h 1940242"/>
                <a:gd name="connsiteX1762" fmla="*/ 1821180 w 2370773"/>
                <a:gd name="connsiteY1762" fmla="*/ 1176337 h 1940242"/>
                <a:gd name="connsiteX1763" fmla="*/ 1818322 w 2370773"/>
                <a:gd name="connsiteY1763" fmla="*/ 1173480 h 1940242"/>
                <a:gd name="connsiteX1764" fmla="*/ 1821180 w 2370773"/>
                <a:gd name="connsiteY1764" fmla="*/ 1170622 h 1940242"/>
                <a:gd name="connsiteX1765" fmla="*/ 2256472 w 2370773"/>
                <a:gd name="connsiteY1765" fmla="*/ 1168717 h 1940242"/>
                <a:gd name="connsiteX1766" fmla="*/ 2259330 w 2370773"/>
                <a:gd name="connsiteY1766" fmla="*/ 1171575 h 1940242"/>
                <a:gd name="connsiteX1767" fmla="*/ 2256472 w 2370773"/>
                <a:gd name="connsiteY1767" fmla="*/ 1174432 h 1940242"/>
                <a:gd name="connsiteX1768" fmla="*/ 2253615 w 2370773"/>
                <a:gd name="connsiteY1768" fmla="*/ 1171575 h 1940242"/>
                <a:gd name="connsiteX1769" fmla="*/ 2256472 w 2370773"/>
                <a:gd name="connsiteY1769" fmla="*/ 1168717 h 1940242"/>
                <a:gd name="connsiteX1770" fmla="*/ 197168 w 2370773"/>
                <a:gd name="connsiteY1770" fmla="*/ 1163954 h 1940242"/>
                <a:gd name="connsiteX1771" fmla="*/ 212408 w 2370773"/>
                <a:gd name="connsiteY1771" fmla="*/ 1179194 h 1940242"/>
                <a:gd name="connsiteX1772" fmla="*/ 197168 w 2370773"/>
                <a:gd name="connsiteY1772" fmla="*/ 1194434 h 1940242"/>
                <a:gd name="connsiteX1773" fmla="*/ 181928 w 2370773"/>
                <a:gd name="connsiteY1773" fmla="*/ 1179194 h 1940242"/>
                <a:gd name="connsiteX1774" fmla="*/ 197168 w 2370773"/>
                <a:gd name="connsiteY1774" fmla="*/ 1163954 h 1940242"/>
                <a:gd name="connsiteX1775" fmla="*/ 2180273 w 2370773"/>
                <a:gd name="connsiteY1775" fmla="*/ 1161097 h 1940242"/>
                <a:gd name="connsiteX1776" fmla="*/ 2185988 w 2370773"/>
                <a:gd name="connsiteY1776" fmla="*/ 1166812 h 1940242"/>
                <a:gd name="connsiteX1777" fmla="*/ 2180273 w 2370773"/>
                <a:gd name="connsiteY1777" fmla="*/ 1172527 h 1940242"/>
                <a:gd name="connsiteX1778" fmla="*/ 2174558 w 2370773"/>
                <a:gd name="connsiteY1778" fmla="*/ 1166812 h 1940242"/>
                <a:gd name="connsiteX1779" fmla="*/ 2180273 w 2370773"/>
                <a:gd name="connsiteY1779" fmla="*/ 1161097 h 1940242"/>
                <a:gd name="connsiteX1780" fmla="*/ 594360 w 2370773"/>
                <a:gd name="connsiteY1780" fmla="*/ 1159192 h 1940242"/>
                <a:gd name="connsiteX1781" fmla="*/ 610552 w 2370773"/>
                <a:gd name="connsiteY1781" fmla="*/ 1175384 h 1940242"/>
                <a:gd name="connsiteX1782" fmla="*/ 594360 w 2370773"/>
                <a:gd name="connsiteY1782" fmla="*/ 1191577 h 1940242"/>
                <a:gd name="connsiteX1783" fmla="*/ 578167 w 2370773"/>
                <a:gd name="connsiteY1783" fmla="*/ 1175384 h 1940242"/>
                <a:gd name="connsiteX1784" fmla="*/ 594360 w 2370773"/>
                <a:gd name="connsiteY1784" fmla="*/ 1159192 h 1940242"/>
                <a:gd name="connsiteX1785" fmla="*/ 2104073 w 2370773"/>
                <a:gd name="connsiteY1785" fmla="*/ 1157287 h 1940242"/>
                <a:gd name="connsiteX1786" fmla="*/ 2107883 w 2370773"/>
                <a:gd name="connsiteY1786" fmla="*/ 1161097 h 1940242"/>
                <a:gd name="connsiteX1787" fmla="*/ 2104073 w 2370773"/>
                <a:gd name="connsiteY1787" fmla="*/ 1164907 h 1940242"/>
                <a:gd name="connsiteX1788" fmla="*/ 2100263 w 2370773"/>
                <a:gd name="connsiteY1788" fmla="*/ 1161097 h 1940242"/>
                <a:gd name="connsiteX1789" fmla="*/ 2104073 w 2370773"/>
                <a:gd name="connsiteY1789" fmla="*/ 1157287 h 1940242"/>
                <a:gd name="connsiteX1790" fmla="*/ 1734503 w 2370773"/>
                <a:gd name="connsiteY1790" fmla="*/ 1157287 h 1940242"/>
                <a:gd name="connsiteX1791" fmla="*/ 1735455 w 2370773"/>
                <a:gd name="connsiteY1791" fmla="*/ 1158240 h 1940242"/>
                <a:gd name="connsiteX1792" fmla="*/ 1734503 w 2370773"/>
                <a:gd name="connsiteY1792" fmla="*/ 1159192 h 1940242"/>
                <a:gd name="connsiteX1793" fmla="*/ 1733550 w 2370773"/>
                <a:gd name="connsiteY1793" fmla="*/ 1158240 h 1940242"/>
                <a:gd name="connsiteX1794" fmla="*/ 1734503 w 2370773"/>
                <a:gd name="connsiteY1794" fmla="*/ 1157287 h 1940242"/>
                <a:gd name="connsiteX1795" fmla="*/ 1386840 w 2370773"/>
                <a:gd name="connsiteY1795" fmla="*/ 1156335 h 1940242"/>
                <a:gd name="connsiteX1796" fmla="*/ 1387793 w 2370773"/>
                <a:gd name="connsiteY1796" fmla="*/ 1157288 h 1940242"/>
                <a:gd name="connsiteX1797" fmla="*/ 1386840 w 2370773"/>
                <a:gd name="connsiteY1797" fmla="*/ 1158240 h 1940242"/>
                <a:gd name="connsiteX1798" fmla="*/ 1385888 w 2370773"/>
                <a:gd name="connsiteY1798" fmla="*/ 1157288 h 1940242"/>
                <a:gd name="connsiteX1799" fmla="*/ 1386840 w 2370773"/>
                <a:gd name="connsiteY1799" fmla="*/ 1156335 h 1940242"/>
                <a:gd name="connsiteX1800" fmla="*/ 865823 w 2370773"/>
                <a:gd name="connsiteY1800" fmla="*/ 1153477 h 1940242"/>
                <a:gd name="connsiteX1801" fmla="*/ 869633 w 2370773"/>
                <a:gd name="connsiteY1801" fmla="*/ 1157287 h 1940242"/>
                <a:gd name="connsiteX1802" fmla="*/ 865823 w 2370773"/>
                <a:gd name="connsiteY1802" fmla="*/ 1161097 h 1940242"/>
                <a:gd name="connsiteX1803" fmla="*/ 862013 w 2370773"/>
                <a:gd name="connsiteY1803" fmla="*/ 1157287 h 1940242"/>
                <a:gd name="connsiteX1804" fmla="*/ 865823 w 2370773"/>
                <a:gd name="connsiteY1804" fmla="*/ 1153477 h 1940242"/>
                <a:gd name="connsiteX1805" fmla="*/ 111442 w 2370773"/>
                <a:gd name="connsiteY1805" fmla="*/ 1153477 h 1940242"/>
                <a:gd name="connsiteX1806" fmla="*/ 115252 w 2370773"/>
                <a:gd name="connsiteY1806" fmla="*/ 1157287 h 1940242"/>
                <a:gd name="connsiteX1807" fmla="*/ 111442 w 2370773"/>
                <a:gd name="connsiteY1807" fmla="*/ 1161097 h 1940242"/>
                <a:gd name="connsiteX1808" fmla="*/ 107632 w 2370773"/>
                <a:gd name="connsiteY1808" fmla="*/ 1157287 h 1940242"/>
                <a:gd name="connsiteX1809" fmla="*/ 111442 w 2370773"/>
                <a:gd name="connsiteY1809" fmla="*/ 1153477 h 1940242"/>
                <a:gd name="connsiteX1810" fmla="*/ 2025968 w 2370773"/>
                <a:gd name="connsiteY1810" fmla="*/ 1152525 h 1940242"/>
                <a:gd name="connsiteX1811" fmla="*/ 2028825 w 2370773"/>
                <a:gd name="connsiteY1811" fmla="*/ 1155383 h 1940242"/>
                <a:gd name="connsiteX1812" fmla="*/ 2025968 w 2370773"/>
                <a:gd name="connsiteY1812" fmla="*/ 1158240 h 1940242"/>
                <a:gd name="connsiteX1813" fmla="*/ 2023110 w 2370773"/>
                <a:gd name="connsiteY1813" fmla="*/ 1155383 h 1940242"/>
                <a:gd name="connsiteX1814" fmla="*/ 2025968 w 2370773"/>
                <a:gd name="connsiteY1814" fmla="*/ 1152525 h 1940242"/>
                <a:gd name="connsiteX1815" fmla="*/ 344805 w 2370773"/>
                <a:gd name="connsiteY1815" fmla="*/ 1151572 h 1940242"/>
                <a:gd name="connsiteX1816" fmla="*/ 364807 w 2370773"/>
                <a:gd name="connsiteY1816" fmla="*/ 1171575 h 1940242"/>
                <a:gd name="connsiteX1817" fmla="*/ 344805 w 2370773"/>
                <a:gd name="connsiteY1817" fmla="*/ 1191577 h 1940242"/>
                <a:gd name="connsiteX1818" fmla="*/ 324802 w 2370773"/>
                <a:gd name="connsiteY1818" fmla="*/ 1171575 h 1940242"/>
                <a:gd name="connsiteX1819" fmla="*/ 344805 w 2370773"/>
                <a:gd name="connsiteY1819" fmla="*/ 1151572 h 1940242"/>
                <a:gd name="connsiteX1820" fmla="*/ 981075 w 2370773"/>
                <a:gd name="connsiteY1820" fmla="*/ 1149667 h 1940242"/>
                <a:gd name="connsiteX1821" fmla="*/ 982980 w 2370773"/>
                <a:gd name="connsiteY1821" fmla="*/ 1151572 h 1940242"/>
                <a:gd name="connsiteX1822" fmla="*/ 981075 w 2370773"/>
                <a:gd name="connsiteY1822" fmla="*/ 1153477 h 1940242"/>
                <a:gd name="connsiteX1823" fmla="*/ 979170 w 2370773"/>
                <a:gd name="connsiteY1823" fmla="*/ 1151572 h 1940242"/>
                <a:gd name="connsiteX1824" fmla="*/ 981075 w 2370773"/>
                <a:gd name="connsiteY1824" fmla="*/ 1149667 h 1940242"/>
                <a:gd name="connsiteX1825" fmla="*/ 757238 w 2370773"/>
                <a:gd name="connsiteY1825" fmla="*/ 1149667 h 1940242"/>
                <a:gd name="connsiteX1826" fmla="*/ 762953 w 2370773"/>
                <a:gd name="connsiteY1826" fmla="*/ 1155382 h 1940242"/>
                <a:gd name="connsiteX1827" fmla="*/ 757238 w 2370773"/>
                <a:gd name="connsiteY1827" fmla="*/ 1161097 h 1940242"/>
                <a:gd name="connsiteX1828" fmla="*/ 751523 w 2370773"/>
                <a:gd name="connsiteY1828" fmla="*/ 1155382 h 1940242"/>
                <a:gd name="connsiteX1829" fmla="*/ 757238 w 2370773"/>
                <a:gd name="connsiteY1829" fmla="*/ 1149667 h 1940242"/>
                <a:gd name="connsiteX1830" fmla="*/ 497205 w 2370773"/>
                <a:gd name="connsiteY1830" fmla="*/ 1145857 h 1940242"/>
                <a:gd name="connsiteX1831" fmla="*/ 512445 w 2370773"/>
                <a:gd name="connsiteY1831" fmla="*/ 1161097 h 1940242"/>
                <a:gd name="connsiteX1832" fmla="*/ 497205 w 2370773"/>
                <a:gd name="connsiteY1832" fmla="*/ 1176337 h 1940242"/>
                <a:gd name="connsiteX1833" fmla="*/ 481965 w 2370773"/>
                <a:gd name="connsiteY1833" fmla="*/ 1161097 h 1940242"/>
                <a:gd name="connsiteX1834" fmla="*/ 497205 w 2370773"/>
                <a:gd name="connsiteY1834" fmla="*/ 1145857 h 1940242"/>
                <a:gd name="connsiteX1835" fmla="*/ 1946910 w 2370773"/>
                <a:gd name="connsiteY1835" fmla="*/ 1143000 h 1940242"/>
                <a:gd name="connsiteX1836" fmla="*/ 1949768 w 2370773"/>
                <a:gd name="connsiteY1836" fmla="*/ 1145858 h 1940242"/>
                <a:gd name="connsiteX1837" fmla="*/ 1946910 w 2370773"/>
                <a:gd name="connsiteY1837" fmla="*/ 1148715 h 1940242"/>
                <a:gd name="connsiteX1838" fmla="*/ 1944053 w 2370773"/>
                <a:gd name="connsiteY1838" fmla="*/ 1145858 h 1940242"/>
                <a:gd name="connsiteX1839" fmla="*/ 1946910 w 2370773"/>
                <a:gd name="connsiteY1839" fmla="*/ 1143000 h 1940242"/>
                <a:gd name="connsiteX1840" fmla="*/ 255270 w 2370773"/>
                <a:gd name="connsiteY1840" fmla="*/ 1138237 h 1940242"/>
                <a:gd name="connsiteX1841" fmla="*/ 269557 w 2370773"/>
                <a:gd name="connsiteY1841" fmla="*/ 1152525 h 1940242"/>
                <a:gd name="connsiteX1842" fmla="*/ 255270 w 2370773"/>
                <a:gd name="connsiteY1842" fmla="*/ 1166812 h 1940242"/>
                <a:gd name="connsiteX1843" fmla="*/ 240982 w 2370773"/>
                <a:gd name="connsiteY1843" fmla="*/ 1152525 h 1940242"/>
                <a:gd name="connsiteX1844" fmla="*/ 255270 w 2370773"/>
                <a:gd name="connsiteY1844" fmla="*/ 1138237 h 1940242"/>
                <a:gd name="connsiteX1845" fmla="*/ 1645920 w 2370773"/>
                <a:gd name="connsiteY1845" fmla="*/ 1137284 h 1940242"/>
                <a:gd name="connsiteX1846" fmla="*/ 1646872 w 2370773"/>
                <a:gd name="connsiteY1846" fmla="*/ 1138237 h 1940242"/>
                <a:gd name="connsiteX1847" fmla="*/ 1645920 w 2370773"/>
                <a:gd name="connsiteY1847" fmla="*/ 1139189 h 1940242"/>
                <a:gd name="connsiteX1848" fmla="*/ 1644967 w 2370773"/>
                <a:gd name="connsiteY1848" fmla="*/ 1138237 h 1940242"/>
                <a:gd name="connsiteX1849" fmla="*/ 1645920 w 2370773"/>
                <a:gd name="connsiteY1849" fmla="*/ 1137284 h 1940242"/>
                <a:gd name="connsiteX1850" fmla="*/ 654367 w 2370773"/>
                <a:gd name="connsiteY1850" fmla="*/ 1137284 h 1940242"/>
                <a:gd name="connsiteX1851" fmla="*/ 662940 w 2370773"/>
                <a:gd name="connsiteY1851" fmla="*/ 1145857 h 1940242"/>
                <a:gd name="connsiteX1852" fmla="*/ 654367 w 2370773"/>
                <a:gd name="connsiteY1852" fmla="*/ 1154429 h 1940242"/>
                <a:gd name="connsiteX1853" fmla="*/ 645795 w 2370773"/>
                <a:gd name="connsiteY1853" fmla="*/ 1145857 h 1940242"/>
                <a:gd name="connsiteX1854" fmla="*/ 654367 w 2370773"/>
                <a:gd name="connsiteY1854" fmla="*/ 1137284 h 1940242"/>
                <a:gd name="connsiteX1855" fmla="*/ 1864995 w 2370773"/>
                <a:gd name="connsiteY1855" fmla="*/ 1135379 h 1940242"/>
                <a:gd name="connsiteX1856" fmla="*/ 1865947 w 2370773"/>
                <a:gd name="connsiteY1856" fmla="*/ 1136332 h 1940242"/>
                <a:gd name="connsiteX1857" fmla="*/ 1864995 w 2370773"/>
                <a:gd name="connsiteY1857" fmla="*/ 1137284 h 1940242"/>
                <a:gd name="connsiteX1858" fmla="*/ 1864042 w 2370773"/>
                <a:gd name="connsiteY1858" fmla="*/ 1136332 h 1940242"/>
                <a:gd name="connsiteX1859" fmla="*/ 1864995 w 2370773"/>
                <a:gd name="connsiteY1859" fmla="*/ 1135379 h 1940242"/>
                <a:gd name="connsiteX1860" fmla="*/ 403861 w 2370773"/>
                <a:gd name="connsiteY1860" fmla="*/ 1126807 h 1940242"/>
                <a:gd name="connsiteX1861" fmla="*/ 420053 w 2370773"/>
                <a:gd name="connsiteY1861" fmla="*/ 1142999 h 1940242"/>
                <a:gd name="connsiteX1862" fmla="*/ 403861 w 2370773"/>
                <a:gd name="connsiteY1862" fmla="*/ 1159192 h 1940242"/>
                <a:gd name="connsiteX1863" fmla="*/ 387668 w 2370773"/>
                <a:gd name="connsiteY1863" fmla="*/ 1142999 h 1940242"/>
                <a:gd name="connsiteX1864" fmla="*/ 403861 w 2370773"/>
                <a:gd name="connsiteY1864" fmla="*/ 1126807 h 1940242"/>
                <a:gd name="connsiteX1865" fmla="*/ 1781175 w 2370773"/>
                <a:gd name="connsiteY1865" fmla="*/ 1122997 h 1940242"/>
                <a:gd name="connsiteX1866" fmla="*/ 1782127 w 2370773"/>
                <a:gd name="connsiteY1866" fmla="*/ 1123950 h 1940242"/>
                <a:gd name="connsiteX1867" fmla="*/ 1781175 w 2370773"/>
                <a:gd name="connsiteY1867" fmla="*/ 1124902 h 1940242"/>
                <a:gd name="connsiteX1868" fmla="*/ 1780222 w 2370773"/>
                <a:gd name="connsiteY1868" fmla="*/ 1123950 h 1940242"/>
                <a:gd name="connsiteX1869" fmla="*/ 1781175 w 2370773"/>
                <a:gd name="connsiteY1869" fmla="*/ 1122997 h 1940242"/>
                <a:gd name="connsiteX1870" fmla="*/ 556260 w 2370773"/>
                <a:gd name="connsiteY1870" fmla="*/ 1121092 h 1940242"/>
                <a:gd name="connsiteX1871" fmla="*/ 567690 w 2370773"/>
                <a:gd name="connsiteY1871" fmla="*/ 1132522 h 1940242"/>
                <a:gd name="connsiteX1872" fmla="*/ 556260 w 2370773"/>
                <a:gd name="connsiteY1872" fmla="*/ 1143952 h 1940242"/>
                <a:gd name="connsiteX1873" fmla="*/ 544830 w 2370773"/>
                <a:gd name="connsiteY1873" fmla="*/ 1132522 h 1940242"/>
                <a:gd name="connsiteX1874" fmla="*/ 556260 w 2370773"/>
                <a:gd name="connsiteY1874" fmla="*/ 1121092 h 1940242"/>
                <a:gd name="connsiteX1875" fmla="*/ 930592 w 2370773"/>
                <a:gd name="connsiteY1875" fmla="*/ 1120140 h 1940242"/>
                <a:gd name="connsiteX1876" fmla="*/ 933450 w 2370773"/>
                <a:gd name="connsiteY1876" fmla="*/ 1122997 h 1940242"/>
                <a:gd name="connsiteX1877" fmla="*/ 930592 w 2370773"/>
                <a:gd name="connsiteY1877" fmla="*/ 1125855 h 1940242"/>
                <a:gd name="connsiteX1878" fmla="*/ 927735 w 2370773"/>
                <a:gd name="connsiteY1878" fmla="*/ 1122997 h 1940242"/>
                <a:gd name="connsiteX1879" fmla="*/ 930592 w 2370773"/>
                <a:gd name="connsiteY1879" fmla="*/ 1120140 h 1940242"/>
                <a:gd name="connsiteX1880" fmla="*/ 820103 w 2370773"/>
                <a:gd name="connsiteY1880" fmla="*/ 1118234 h 1940242"/>
                <a:gd name="connsiteX1881" fmla="*/ 824865 w 2370773"/>
                <a:gd name="connsiteY1881" fmla="*/ 1122997 h 1940242"/>
                <a:gd name="connsiteX1882" fmla="*/ 820103 w 2370773"/>
                <a:gd name="connsiteY1882" fmla="*/ 1127759 h 1940242"/>
                <a:gd name="connsiteX1883" fmla="*/ 815340 w 2370773"/>
                <a:gd name="connsiteY1883" fmla="*/ 1122997 h 1940242"/>
                <a:gd name="connsiteX1884" fmla="*/ 820103 w 2370773"/>
                <a:gd name="connsiteY1884" fmla="*/ 1118234 h 1940242"/>
                <a:gd name="connsiteX1885" fmla="*/ 2286953 w 2370773"/>
                <a:gd name="connsiteY1885" fmla="*/ 1116329 h 1940242"/>
                <a:gd name="connsiteX1886" fmla="*/ 2293620 w 2370773"/>
                <a:gd name="connsiteY1886" fmla="*/ 1122996 h 1940242"/>
                <a:gd name="connsiteX1887" fmla="*/ 2286953 w 2370773"/>
                <a:gd name="connsiteY1887" fmla="*/ 1129664 h 1940242"/>
                <a:gd name="connsiteX1888" fmla="*/ 2280285 w 2370773"/>
                <a:gd name="connsiteY1888" fmla="*/ 1122996 h 1940242"/>
                <a:gd name="connsiteX1889" fmla="*/ 2286953 w 2370773"/>
                <a:gd name="connsiteY1889" fmla="*/ 1116329 h 1940242"/>
                <a:gd name="connsiteX1890" fmla="*/ 169545 w 2370773"/>
                <a:gd name="connsiteY1890" fmla="*/ 1116329 h 1940242"/>
                <a:gd name="connsiteX1891" fmla="*/ 182880 w 2370773"/>
                <a:gd name="connsiteY1891" fmla="*/ 1129664 h 1940242"/>
                <a:gd name="connsiteX1892" fmla="*/ 169545 w 2370773"/>
                <a:gd name="connsiteY1892" fmla="*/ 1142999 h 1940242"/>
                <a:gd name="connsiteX1893" fmla="*/ 156210 w 2370773"/>
                <a:gd name="connsiteY1893" fmla="*/ 1129664 h 1940242"/>
                <a:gd name="connsiteX1894" fmla="*/ 169545 w 2370773"/>
                <a:gd name="connsiteY1894" fmla="*/ 1116329 h 1940242"/>
                <a:gd name="connsiteX1895" fmla="*/ 2213610 w 2370773"/>
                <a:gd name="connsiteY1895" fmla="*/ 1110615 h 1940242"/>
                <a:gd name="connsiteX1896" fmla="*/ 2223135 w 2370773"/>
                <a:gd name="connsiteY1896" fmla="*/ 1120140 h 1940242"/>
                <a:gd name="connsiteX1897" fmla="*/ 2213610 w 2370773"/>
                <a:gd name="connsiteY1897" fmla="*/ 1129665 h 1940242"/>
                <a:gd name="connsiteX1898" fmla="*/ 2204085 w 2370773"/>
                <a:gd name="connsiteY1898" fmla="*/ 1120140 h 1940242"/>
                <a:gd name="connsiteX1899" fmla="*/ 2213610 w 2370773"/>
                <a:gd name="connsiteY1899" fmla="*/ 1110615 h 1940242"/>
                <a:gd name="connsiteX1900" fmla="*/ 1047750 w 2370773"/>
                <a:gd name="connsiteY1900" fmla="*/ 1110615 h 1940242"/>
                <a:gd name="connsiteX1901" fmla="*/ 1048703 w 2370773"/>
                <a:gd name="connsiteY1901" fmla="*/ 1111567 h 1940242"/>
                <a:gd name="connsiteX1902" fmla="*/ 1047750 w 2370773"/>
                <a:gd name="connsiteY1902" fmla="*/ 1112520 h 1940242"/>
                <a:gd name="connsiteX1903" fmla="*/ 1046798 w 2370773"/>
                <a:gd name="connsiteY1903" fmla="*/ 1111567 h 1940242"/>
                <a:gd name="connsiteX1904" fmla="*/ 1047750 w 2370773"/>
                <a:gd name="connsiteY1904" fmla="*/ 1110615 h 1940242"/>
                <a:gd name="connsiteX1905" fmla="*/ 715328 w 2370773"/>
                <a:gd name="connsiteY1905" fmla="*/ 1110615 h 1940242"/>
                <a:gd name="connsiteX1906" fmla="*/ 721043 w 2370773"/>
                <a:gd name="connsiteY1906" fmla="*/ 1116330 h 1940242"/>
                <a:gd name="connsiteX1907" fmla="*/ 715328 w 2370773"/>
                <a:gd name="connsiteY1907" fmla="*/ 1122045 h 1940242"/>
                <a:gd name="connsiteX1908" fmla="*/ 709613 w 2370773"/>
                <a:gd name="connsiteY1908" fmla="*/ 1116330 h 1940242"/>
                <a:gd name="connsiteX1909" fmla="*/ 715328 w 2370773"/>
                <a:gd name="connsiteY1909" fmla="*/ 1110615 h 1940242"/>
                <a:gd name="connsiteX1910" fmla="*/ 2139315 w 2370773"/>
                <a:gd name="connsiteY1910" fmla="*/ 1109662 h 1940242"/>
                <a:gd name="connsiteX1911" fmla="*/ 2145030 w 2370773"/>
                <a:gd name="connsiteY1911" fmla="*/ 1115377 h 1940242"/>
                <a:gd name="connsiteX1912" fmla="*/ 2139315 w 2370773"/>
                <a:gd name="connsiteY1912" fmla="*/ 1121092 h 1940242"/>
                <a:gd name="connsiteX1913" fmla="*/ 2133600 w 2370773"/>
                <a:gd name="connsiteY1913" fmla="*/ 1115377 h 1940242"/>
                <a:gd name="connsiteX1914" fmla="*/ 2139315 w 2370773"/>
                <a:gd name="connsiteY1914" fmla="*/ 1109662 h 1940242"/>
                <a:gd name="connsiteX1915" fmla="*/ 1694497 w 2370773"/>
                <a:gd name="connsiteY1915" fmla="*/ 1106804 h 1940242"/>
                <a:gd name="connsiteX1916" fmla="*/ 1695450 w 2370773"/>
                <a:gd name="connsiteY1916" fmla="*/ 1107757 h 1940242"/>
                <a:gd name="connsiteX1917" fmla="*/ 1694497 w 2370773"/>
                <a:gd name="connsiteY1917" fmla="*/ 1108709 h 1940242"/>
                <a:gd name="connsiteX1918" fmla="*/ 1693545 w 2370773"/>
                <a:gd name="connsiteY1918" fmla="*/ 1107757 h 1940242"/>
                <a:gd name="connsiteX1919" fmla="*/ 1694497 w 2370773"/>
                <a:gd name="connsiteY1919" fmla="*/ 1106804 h 1940242"/>
                <a:gd name="connsiteX1920" fmla="*/ 2063115 w 2370773"/>
                <a:gd name="connsiteY1920" fmla="*/ 1105852 h 1940242"/>
                <a:gd name="connsiteX1921" fmla="*/ 2066925 w 2370773"/>
                <a:gd name="connsiteY1921" fmla="*/ 1109662 h 1940242"/>
                <a:gd name="connsiteX1922" fmla="*/ 2063115 w 2370773"/>
                <a:gd name="connsiteY1922" fmla="*/ 1113472 h 1940242"/>
                <a:gd name="connsiteX1923" fmla="*/ 2059305 w 2370773"/>
                <a:gd name="connsiteY1923" fmla="*/ 1109662 h 1940242"/>
                <a:gd name="connsiteX1924" fmla="*/ 2063115 w 2370773"/>
                <a:gd name="connsiteY1924" fmla="*/ 1105852 h 1940242"/>
                <a:gd name="connsiteX1925" fmla="*/ 313372 w 2370773"/>
                <a:gd name="connsiteY1925" fmla="*/ 1105852 h 1940242"/>
                <a:gd name="connsiteX1926" fmla="*/ 330517 w 2370773"/>
                <a:gd name="connsiteY1926" fmla="*/ 1122997 h 1940242"/>
                <a:gd name="connsiteX1927" fmla="*/ 313372 w 2370773"/>
                <a:gd name="connsiteY1927" fmla="*/ 1140142 h 1940242"/>
                <a:gd name="connsiteX1928" fmla="*/ 296227 w 2370773"/>
                <a:gd name="connsiteY1928" fmla="*/ 1122997 h 1940242"/>
                <a:gd name="connsiteX1929" fmla="*/ 313372 w 2370773"/>
                <a:gd name="connsiteY1929" fmla="*/ 1105852 h 1940242"/>
                <a:gd name="connsiteX1930" fmla="*/ 1985010 w 2370773"/>
                <a:gd name="connsiteY1930" fmla="*/ 1102995 h 1940242"/>
                <a:gd name="connsiteX1931" fmla="*/ 1985963 w 2370773"/>
                <a:gd name="connsiteY1931" fmla="*/ 1103947 h 1940242"/>
                <a:gd name="connsiteX1932" fmla="*/ 1985010 w 2370773"/>
                <a:gd name="connsiteY1932" fmla="*/ 1104900 h 1940242"/>
                <a:gd name="connsiteX1933" fmla="*/ 1984058 w 2370773"/>
                <a:gd name="connsiteY1933" fmla="*/ 1103947 h 1940242"/>
                <a:gd name="connsiteX1934" fmla="*/ 1985010 w 2370773"/>
                <a:gd name="connsiteY1934" fmla="*/ 1102995 h 1940242"/>
                <a:gd name="connsiteX1935" fmla="*/ 461963 w 2370773"/>
                <a:gd name="connsiteY1935" fmla="*/ 1100137 h 1940242"/>
                <a:gd name="connsiteX1936" fmla="*/ 477203 w 2370773"/>
                <a:gd name="connsiteY1936" fmla="*/ 1115377 h 1940242"/>
                <a:gd name="connsiteX1937" fmla="*/ 461963 w 2370773"/>
                <a:gd name="connsiteY1937" fmla="*/ 1130617 h 1940242"/>
                <a:gd name="connsiteX1938" fmla="*/ 446723 w 2370773"/>
                <a:gd name="connsiteY1938" fmla="*/ 1115377 h 1940242"/>
                <a:gd name="connsiteX1939" fmla="*/ 461963 w 2370773"/>
                <a:gd name="connsiteY1939" fmla="*/ 1100137 h 1940242"/>
                <a:gd name="connsiteX1940" fmla="*/ 615315 w 2370773"/>
                <a:gd name="connsiteY1940" fmla="*/ 1097279 h 1940242"/>
                <a:gd name="connsiteX1941" fmla="*/ 621983 w 2370773"/>
                <a:gd name="connsiteY1941" fmla="*/ 1103946 h 1940242"/>
                <a:gd name="connsiteX1942" fmla="*/ 615315 w 2370773"/>
                <a:gd name="connsiteY1942" fmla="*/ 1110614 h 1940242"/>
                <a:gd name="connsiteX1943" fmla="*/ 608648 w 2370773"/>
                <a:gd name="connsiteY1943" fmla="*/ 1103946 h 1940242"/>
                <a:gd name="connsiteX1944" fmla="*/ 615315 w 2370773"/>
                <a:gd name="connsiteY1944" fmla="*/ 1097279 h 1940242"/>
                <a:gd name="connsiteX1945" fmla="*/ 84772 w 2370773"/>
                <a:gd name="connsiteY1945" fmla="*/ 1097279 h 1940242"/>
                <a:gd name="connsiteX1946" fmla="*/ 93345 w 2370773"/>
                <a:gd name="connsiteY1946" fmla="*/ 1105852 h 1940242"/>
                <a:gd name="connsiteX1947" fmla="*/ 84772 w 2370773"/>
                <a:gd name="connsiteY1947" fmla="*/ 1114424 h 1940242"/>
                <a:gd name="connsiteX1948" fmla="*/ 76200 w 2370773"/>
                <a:gd name="connsiteY1948" fmla="*/ 1105852 h 1940242"/>
                <a:gd name="connsiteX1949" fmla="*/ 84772 w 2370773"/>
                <a:gd name="connsiteY1949" fmla="*/ 1097279 h 1940242"/>
                <a:gd name="connsiteX1950" fmla="*/ 1905952 w 2370773"/>
                <a:gd name="connsiteY1950" fmla="*/ 1093470 h 1940242"/>
                <a:gd name="connsiteX1951" fmla="*/ 1907857 w 2370773"/>
                <a:gd name="connsiteY1951" fmla="*/ 1095375 h 1940242"/>
                <a:gd name="connsiteX1952" fmla="*/ 1905952 w 2370773"/>
                <a:gd name="connsiteY1952" fmla="*/ 1097280 h 1940242"/>
                <a:gd name="connsiteX1953" fmla="*/ 1904047 w 2370773"/>
                <a:gd name="connsiteY1953" fmla="*/ 1095375 h 1940242"/>
                <a:gd name="connsiteX1954" fmla="*/ 1905952 w 2370773"/>
                <a:gd name="connsiteY1954" fmla="*/ 1093470 h 1940242"/>
                <a:gd name="connsiteX1955" fmla="*/ 226695 w 2370773"/>
                <a:gd name="connsiteY1955" fmla="*/ 1090612 h 1940242"/>
                <a:gd name="connsiteX1956" fmla="*/ 238125 w 2370773"/>
                <a:gd name="connsiteY1956" fmla="*/ 1102042 h 1940242"/>
                <a:gd name="connsiteX1957" fmla="*/ 226695 w 2370773"/>
                <a:gd name="connsiteY1957" fmla="*/ 1113472 h 1940242"/>
                <a:gd name="connsiteX1958" fmla="*/ 215265 w 2370773"/>
                <a:gd name="connsiteY1958" fmla="*/ 1102042 h 1940242"/>
                <a:gd name="connsiteX1959" fmla="*/ 226695 w 2370773"/>
                <a:gd name="connsiteY1959" fmla="*/ 1090612 h 1940242"/>
                <a:gd name="connsiteX1960" fmla="*/ 882967 w 2370773"/>
                <a:gd name="connsiteY1960" fmla="*/ 1087754 h 1940242"/>
                <a:gd name="connsiteX1961" fmla="*/ 885825 w 2370773"/>
                <a:gd name="connsiteY1961" fmla="*/ 1090612 h 1940242"/>
                <a:gd name="connsiteX1962" fmla="*/ 882967 w 2370773"/>
                <a:gd name="connsiteY1962" fmla="*/ 1093469 h 1940242"/>
                <a:gd name="connsiteX1963" fmla="*/ 880110 w 2370773"/>
                <a:gd name="connsiteY1963" fmla="*/ 1090612 h 1940242"/>
                <a:gd name="connsiteX1964" fmla="*/ 882967 w 2370773"/>
                <a:gd name="connsiteY1964" fmla="*/ 1087754 h 1940242"/>
                <a:gd name="connsiteX1965" fmla="*/ 1824990 w 2370773"/>
                <a:gd name="connsiteY1965" fmla="*/ 1083945 h 1940242"/>
                <a:gd name="connsiteX1966" fmla="*/ 1826895 w 2370773"/>
                <a:gd name="connsiteY1966" fmla="*/ 1085850 h 1940242"/>
                <a:gd name="connsiteX1967" fmla="*/ 1824990 w 2370773"/>
                <a:gd name="connsiteY1967" fmla="*/ 1087755 h 1940242"/>
                <a:gd name="connsiteX1968" fmla="*/ 1823085 w 2370773"/>
                <a:gd name="connsiteY1968" fmla="*/ 1085850 h 1940242"/>
                <a:gd name="connsiteX1969" fmla="*/ 1824990 w 2370773"/>
                <a:gd name="connsiteY1969" fmla="*/ 1083945 h 1940242"/>
                <a:gd name="connsiteX1970" fmla="*/ 776287 w 2370773"/>
                <a:gd name="connsiteY1970" fmla="*/ 1082040 h 1940242"/>
                <a:gd name="connsiteX1971" fmla="*/ 780097 w 2370773"/>
                <a:gd name="connsiteY1971" fmla="*/ 1085850 h 1940242"/>
                <a:gd name="connsiteX1972" fmla="*/ 776287 w 2370773"/>
                <a:gd name="connsiteY1972" fmla="*/ 1089660 h 1940242"/>
                <a:gd name="connsiteX1973" fmla="*/ 772477 w 2370773"/>
                <a:gd name="connsiteY1973" fmla="*/ 1085850 h 1940242"/>
                <a:gd name="connsiteX1974" fmla="*/ 776287 w 2370773"/>
                <a:gd name="connsiteY1974" fmla="*/ 1082040 h 1940242"/>
                <a:gd name="connsiteX1975" fmla="*/ 372428 w 2370773"/>
                <a:gd name="connsiteY1975" fmla="*/ 1081087 h 1940242"/>
                <a:gd name="connsiteX1976" fmla="*/ 386715 w 2370773"/>
                <a:gd name="connsiteY1976" fmla="*/ 1095375 h 1940242"/>
                <a:gd name="connsiteX1977" fmla="*/ 372428 w 2370773"/>
                <a:gd name="connsiteY1977" fmla="*/ 1109662 h 1940242"/>
                <a:gd name="connsiteX1978" fmla="*/ 358140 w 2370773"/>
                <a:gd name="connsiteY1978" fmla="*/ 1095375 h 1940242"/>
                <a:gd name="connsiteX1979" fmla="*/ 372428 w 2370773"/>
                <a:gd name="connsiteY1979" fmla="*/ 1081087 h 1940242"/>
                <a:gd name="connsiteX1980" fmla="*/ 521018 w 2370773"/>
                <a:gd name="connsiteY1980" fmla="*/ 1077277 h 1940242"/>
                <a:gd name="connsiteX1981" fmla="*/ 530543 w 2370773"/>
                <a:gd name="connsiteY1981" fmla="*/ 1086802 h 1940242"/>
                <a:gd name="connsiteX1982" fmla="*/ 521018 w 2370773"/>
                <a:gd name="connsiteY1982" fmla="*/ 1096327 h 1940242"/>
                <a:gd name="connsiteX1983" fmla="*/ 511493 w 2370773"/>
                <a:gd name="connsiteY1983" fmla="*/ 1086802 h 1940242"/>
                <a:gd name="connsiteX1984" fmla="*/ 521018 w 2370773"/>
                <a:gd name="connsiteY1984" fmla="*/ 1077277 h 1940242"/>
                <a:gd name="connsiteX1985" fmla="*/ 675323 w 2370773"/>
                <a:gd name="connsiteY1985" fmla="*/ 1069657 h 1940242"/>
                <a:gd name="connsiteX1986" fmla="*/ 680085 w 2370773"/>
                <a:gd name="connsiteY1986" fmla="*/ 1074420 h 1940242"/>
                <a:gd name="connsiteX1987" fmla="*/ 675323 w 2370773"/>
                <a:gd name="connsiteY1987" fmla="*/ 1079182 h 1940242"/>
                <a:gd name="connsiteX1988" fmla="*/ 670560 w 2370773"/>
                <a:gd name="connsiteY1988" fmla="*/ 1074420 h 1940242"/>
                <a:gd name="connsiteX1989" fmla="*/ 675323 w 2370773"/>
                <a:gd name="connsiteY1989" fmla="*/ 1069657 h 1940242"/>
                <a:gd name="connsiteX1990" fmla="*/ 142875 w 2370773"/>
                <a:gd name="connsiteY1990" fmla="*/ 1065847 h 1940242"/>
                <a:gd name="connsiteX1991" fmla="*/ 155258 w 2370773"/>
                <a:gd name="connsiteY1991" fmla="*/ 1078230 h 1940242"/>
                <a:gd name="connsiteX1992" fmla="*/ 142875 w 2370773"/>
                <a:gd name="connsiteY1992" fmla="*/ 1090612 h 1940242"/>
                <a:gd name="connsiteX1993" fmla="*/ 130493 w 2370773"/>
                <a:gd name="connsiteY1993" fmla="*/ 1078230 h 1940242"/>
                <a:gd name="connsiteX1994" fmla="*/ 142875 w 2370773"/>
                <a:gd name="connsiteY1994" fmla="*/ 1065847 h 1940242"/>
                <a:gd name="connsiteX1995" fmla="*/ 2170748 w 2370773"/>
                <a:gd name="connsiteY1995" fmla="*/ 1062990 h 1940242"/>
                <a:gd name="connsiteX1996" fmla="*/ 2175510 w 2370773"/>
                <a:gd name="connsiteY1996" fmla="*/ 1067753 h 1940242"/>
                <a:gd name="connsiteX1997" fmla="*/ 2170748 w 2370773"/>
                <a:gd name="connsiteY1997" fmla="*/ 1072515 h 1940242"/>
                <a:gd name="connsiteX1998" fmla="*/ 2165985 w 2370773"/>
                <a:gd name="connsiteY1998" fmla="*/ 1067753 h 1940242"/>
                <a:gd name="connsiteX1999" fmla="*/ 2170748 w 2370773"/>
                <a:gd name="connsiteY1999" fmla="*/ 1062990 h 1940242"/>
                <a:gd name="connsiteX2000" fmla="*/ 2244090 w 2370773"/>
                <a:gd name="connsiteY2000" fmla="*/ 1062037 h 1940242"/>
                <a:gd name="connsiteX2001" fmla="*/ 2253615 w 2370773"/>
                <a:gd name="connsiteY2001" fmla="*/ 1071562 h 1940242"/>
                <a:gd name="connsiteX2002" fmla="*/ 2244090 w 2370773"/>
                <a:gd name="connsiteY2002" fmla="*/ 1081087 h 1940242"/>
                <a:gd name="connsiteX2003" fmla="*/ 2234565 w 2370773"/>
                <a:gd name="connsiteY2003" fmla="*/ 1071562 h 1940242"/>
                <a:gd name="connsiteX2004" fmla="*/ 2244090 w 2370773"/>
                <a:gd name="connsiteY2004" fmla="*/ 1062037 h 1940242"/>
                <a:gd name="connsiteX2005" fmla="*/ 2096452 w 2370773"/>
                <a:gd name="connsiteY2005" fmla="*/ 1062037 h 1940242"/>
                <a:gd name="connsiteX2006" fmla="*/ 2098357 w 2370773"/>
                <a:gd name="connsiteY2006" fmla="*/ 1063942 h 1940242"/>
                <a:gd name="connsiteX2007" fmla="*/ 2096452 w 2370773"/>
                <a:gd name="connsiteY2007" fmla="*/ 1065847 h 1940242"/>
                <a:gd name="connsiteX2008" fmla="*/ 2094547 w 2370773"/>
                <a:gd name="connsiteY2008" fmla="*/ 1063942 h 1940242"/>
                <a:gd name="connsiteX2009" fmla="*/ 2096452 w 2370773"/>
                <a:gd name="connsiteY2009" fmla="*/ 1062037 h 1940242"/>
                <a:gd name="connsiteX2010" fmla="*/ 284798 w 2370773"/>
                <a:gd name="connsiteY2010" fmla="*/ 1057275 h 1940242"/>
                <a:gd name="connsiteX2011" fmla="*/ 300990 w 2370773"/>
                <a:gd name="connsiteY2011" fmla="*/ 1073467 h 1940242"/>
                <a:gd name="connsiteX2012" fmla="*/ 284798 w 2370773"/>
                <a:gd name="connsiteY2012" fmla="*/ 1089660 h 1940242"/>
                <a:gd name="connsiteX2013" fmla="*/ 268605 w 2370773"/>
                <a:gd name="connsiteY2013" fmla="*/ 1073467 h 1940242"/>
                <a:gd name="connsiteX2014" fmla="*/ 284798 w 2370773"/>
                <a:gd name="connsiteY2014" fmla="*/ 1057275 h 1940242"/>
                <a:gd name="connsiteX2015" fmla="*/ 946785 w 2370773"/>
                <a:gd name="connsiteY2015" fmla="*/ 1056322 h 1940242"/>
                <a:gd name="connsiteX2016" fmla="*/ 947738 w 2370773"/>
                <a:gd name="connsiteY2016" fmla="*/ 1057275 h 1940242"/>
                <a:gd name="connsiteX2017" fmla="*/ 946785 w 2370773"/>
                <a:gd name="connsiteY2017" fmla="*/ 1058227 h 1940242"/>
                <a:gd name="connsiteX2018" fmla="*/ 945833 w 2370773"/>
                <a:gd name="connsiteY2018" fmla="*/ 1057275 h 1940242"/>
                <a:gd name="connsiteX2019" fmla="*/ 946785 w 2370773"/>
                <a:gd name="connsiteY2019" fmla="*/ 1056322 h 1940242"/>
                <a:gd name="connsiteX2020" fmla="*/ 580073 w 2370773"/>
                <a:gd name="connsiteY2020" fmla="*/ 1052512 h 1940242"/>
                <a:gd name="connsiteX2021" fmla="*/ 586740 w 2370773"/>
                <a:gd name="connsiteY2021" fmla="*/ 1059179 h 1940242"/>
                <a:gd name="connsiteX2022" fmla="*/ 580073 w 2370773"/>
                <a:gd name="connsiteY2022" fmla="*/ 1065847 h 1940242"/>
                <a:gd name="connsiteX2023" fmla="*/ 573405 w 2370773"/>
                <a:gd name="connsiteY2023" fmla="*/ 1059179 h 1940242"/>
                <a:gd name="connsiteX2024" fmla="*/ 580073 w 2370773"/>
                <a:gd name="connsiteY2024" fmla="*/ 1052512 h 1940242"/>
                <a:gd name="connsiteX2025" fmla="*/ 430530 w 2370773"/>
                <a:gd name="connsiteY2025" fmla="*/ 1052512 h 1940242"/>
                <a:gd name="connsiteX2026" fmla="*/ 445770 w 2370773"/>
                <a:gd name="connsiteY2026" fmla="*/ 1067752 h 1940242"/>
                <a:gd name="connsiteX2027" fmla="*/ 430530 w 2370773"/>
                <a:gd name="connsiteY2027" fmla="*/ 1082992 h 1940242"/>
                <a:gd name="connsiteX2028" fmla="*/ 415290 w 2370773"/>
                <a:gd name="connsiteY2028" fmla="*/ 1067752 h 1940242"/>
                <a:gd name="connsiteX2029" fmla="*/ 430530 w 2370773"/>
                <a:gd name="connsiteY2029" fmla="*/ 1052512 h 1940242"/>
                <a:gd name="connsiteX2030" fmla="*/ 1944053 w 2370773"/>
                <a:gd name="connsiteY2030" fmla="*/ 1051559 h 1940242"/>
                <a:gd name="connsiteX2031" fmla="*/ 1945005 w 2370773"/>
                <a:gd name="connsiteY2031" fmla="*/ 1052512 h 1940242"/>
                <a:gd name="connsiteX2032" fmla="*/ 1944053 w 2370773"/>
                <a:gd name="connsiteY2032" fmla="*/ 1053464 h 1940242"/>
                <a:gd name="connsiteX2033" fmla="*/ 1943100 w 2370773"/>
                <a:gd name="connsiteY2033" fmla="*/ 1052512 h 1940242"/>
                <a:gd name="connsiteX2034" fmla="*/ 1944053 w 2370773"/>
                <a:gd name="connsiteY2034" fmla="*/ 1051559 h 1940242"/>
                <a:gd name="connsiteX2035" fmla="*/ 838200 w 2370773"/>
                <a:gd name="connsiteY2035" fmla="*/ 1051559 h 1940242"/>
                <a:gd name="connsiteX2036" fmla="*/ 841057 w 2370773"/>
                <a:gd name="connsiteY2036" fmla="*/ 1054417 h 1940242"/>
                <a:gd name="connsiteX2037" fmla="*/ 838200 w 2370773"/>
                <a:gd name="connsiteY2037" fmla="*/ 1057274 h 1940242"/>
                <a:gd name="connsiteX2038" fmla="*/ 835342 w 2370773"/>
                <a:gd name="connsiteY2038" fmla="*/ 1054417 h 1940242"/>
                <a:gd name="connsiteX2039" fmla="*/ 838200 w 2370773"/>
                <a:gd name="connsiteY2039" fmla="*/ 1051559 h 1940242"/>
                <a:gd name="connsiteX2040" fmla="*/ 1865947 w 2370773"/>
                <a:gd name="connsiteY2040" fmla="*/ 1042987 h 1940242"/>
                <a:gd name="connsiteX2041" fmla="*/ 1867852 w 2370773"/>
                <a:gd name="connsiteY2041" fmla="*/ 1044892 h 1940242"/>
                <a:gd name="connsiteX2042" fmla="*/ 1865947 w 2370773"/>
                <a:gd name="connsiteY2042" fmla="*/ 1046797 h 1940242"/>
                <a:gd name="connsiteX2043" fmla="*/ 1864042 w 2370773"/>
                <a:gd name="connsiteY2043" fmla="*/ 1044892 h 1940242"/>
                <a:gd name="connsiteX2044" fmla="*/ 1865947 w 2370773"/>
                <a:gd name="connsiteY2044" fmla="*/ 1042987 h 1940242"/>
                <a:gd name="connsiteX2045" fmla="*/ 735330 w 2370773"/>
                <a:gd name="connsiteY2045" fmla="*/ 1041082 h 1940242"/>
                <a:gd name="connsiteX2046" fmla="*/ 739140 w 2370773"/>
                <a:gd name="connsiteY2046" fmla="*/ 1044892 h 1940242"/>
                <a:gd name="connsiteX2047" fmla="*/ 735330 w 2370773"/>
                <a:gd name="connsiteY2047" fmla="*/ 1048702 h 1940242"/>
                <a:gd name="connsiteX2048" fmla="*/ 731520 w 2370773"/>
                <a:gd name="connsiteY2048" fmla="*/ 1044892 h 1940242"/>
                <a:gd name="connsiteX2049" fmla="*/ 735330 w 2370773"/>
                <a:gd name="connsiteY2049" fmla="*/ 1041082 h 1940242"/>
                <a:gd name="connsiteX2050" fmla="*/ 200977 w 2370773"/>
                <a:gd name="connsiteY2050" fmla="*/ 1039177 h 1940242"/>
                <a:gd name="connsiteX2051" fmla="*/ 212407 w 2370773"/>
                <a:gd name="connsiteY2051" fmla="*/ 1050607 h 1940242"/>
                <a:gd name="connsiteX2052" fmla="*/ 200977 w 2370773"/>
                <a:gd name="connsiteY2052" fmla="*/ 1062037 h 1940242"/>
                <a:gd name="connsiteX2053" fmla="*/ 189547 w 2370773"/>
                <a:gd name="connsiteY2053" fmla="*/ 1050607 h 1940242"/>
                <a:gd name="connsiteX2054" fmla="*/ 200977 w 2370773"/>
                <a:gd name="connsiteY2054" fmla="*/ 1039177 h 1940242"/>
                <a:gd name="connsiteX2055" fmla="*/ 342901 w 2370773"/>
                <a:gd name="connsiteY2055" fmla="*/ 1031557 h 1940242"/>
                <a:gd name="connsiteX2056" fmla="*/ 357188 w 2370773"/>
                <a:gd name="connsiteY2056" fmla="*/ 1045845 h 1940242"/>
                <a:gd name="connsiteX2057" fmla="*/ 342901 w 2370773"/>
                <a:gd name="connsiteY2057" fmla="*/ 1060132 h 1940242"/>
                <a:gd name="connsiteX2058" fmla="*/ 328613 w 2370773"/>
                <a:gd name="connsiteY2058" fmla="*/ 1045845 h 1940242"/>
                <a:gd name="connsiteX2059" fmla="*/ 342901 w 2370773"/>
                <a:gd name="connsiteY2059" fmla="*/ 1031557 h 1940242"/>
                <a:gd name="connsiteX2060" fmla="*/ 488633 w 2370773"/>
                <a:gd name="connsiteY2060" fmla="*/ 1029652 h 1940242"/>
                <a:gd name="connsiteX2061" fmla="*/ 498158 w 2370773"/>
                <a:gd name="connsiteY2061" fmla="*/ 1039177 h 1940242"/>
                <a:gd name="connsiteX2062" fmla="*/ 488633 w 2370773"/>
                <a:gd name="connsiteY2062" fmla="*/ 1048702 h 1940242"/>
                <a:gd name="connsiteX2063" fmla="*/ 479108 w 2370773"/>
                <a:gd name="connsiteY2063" fmla="*/ 1039177 h 1940242"/>
                <a:gd name="connsiteX2064" fmla="*/ 488633 w 2370773"/>
                <a:gd name="connsiteY2064" fmla="*/ 1029652 h 1940242"/>
                <a:gd name="connsiteX2065" fmla="*/ 639128 w 2370773"/>
                <a:gd name="connsiteY2065" fmla="*/ 1026795 h 1940242"/>
                <a:gd name="connsiteX2066" fmla="*/ 642938 w 2370773"/>
                <a:gd name="connsiteY2066" fmla="*/ 1030605 h 1940242"/>
                <a:gd name="connsiteX2067" fmla="*/ 639128 w 2370773"/>
                <a:gd name="connsiteY2067" fmla="*/ 1034415 h 1940242"/>
                <a:gd name="connsiteX2068" fmla="*/ 635318 w 2370773"/>
                <a:gd name="connsiteY2068" fmla="*/ 1030605 h 1940242"/>
                <a:gd name="connsiteX2069" fmla="*/ 639128 w 2370773"/>
                <a:gd name="connsiteY2069" fmla="*/ 1026795 h 1940242"/>
                <a:gd name="connsiteX2070" fmla="*/ 2342197 w 2370773"/>
                <a:gd name="connsiteY2070" fmla="*/ 1020127 h 1940242"/>
                <a:gd name="connsiteX2071" fmla="*/ 2344102 w 2370773"/>
                <a:gd name="connsiteY2071" fmla="*/ 1022032 h 1940242"/>
                <a:gd name="connsiteX2072" fmla="*/ 2342197 w 2370773"/>
                <a:gd name="connsiteY2072" fmla="*/ 1023937 h 1940242"/>
                <a:gd name="connsiteX2073" fmla="*/ 2340292 w 2370773"/>
                <a:gd name="connsiteY2073" fmla="*/ 1022032 h 1940242"/>
                <a:gd name="connsiteX2074" fmla="*/ 2342197 w 2370773"/>
                <a:gd name="connsiteY2074" fmla="*/ 1020127 h 1940242"/>
                <a:gd name="connsiteX2075" fmla="*/ 119063 w 2370773"/>
                <a:gd name="connsiteY2075" fmla="*/ 1015365 h 1940242"/>
                <a:gd name="connsiteX2076" fmla="*/ 129540 w 2370773"/>
                <a:gd name="connsiteY2076" fmla="*/ 1025842 h 1940242"/>
                <a:gd name="connsiteX2077" fmla="*/ 119063 w 2370773"/>
                <a:gd name="connsiteY2077" fmla="*/ 1036320 h 1940242"/>
                <a:gd name="connsiteX2078" fmla="*/ 108585 w 2370773"/>
                <a:gd name="connsiteY2078" fmla="*/ 1025842 h 1940242"/>
                <a:gd name="connsiteX2079" fmla="*/ 119063 w 2370773"/>
                <a:gd name="connsiteY2079" fmla="*/ 1015365 h 1940242"/>
                <a:gd name="connsiteX2080" fmla="*/ 259080 w 2370773"/>
                <a:gd name="connsiteY2080" fmla="*/ 1013459 h 1940242"/>
                <a:gd name="connsiteX2081" fmla="*/ 268605 w 2370773"/>
                <a:gd name="connsiteY2081" fmla="*/ 1022984 h 1940242"/>
                <a:gd name="connsiteX2082" fmla="*/ 259080 w 2370773"/>
                <a:gd name="connsiteY2082" fmla="*/ 1032509 h 1940242"/>
                <a:gd name="connsiteX2083" fmla="*/ 249555 w 2370773"/>
                <a:gd name="connsiteY2083" fmla="*/ 1022984 h 1940242"/>
                <a:gd name="connsiteX2084" fmla="*/ 259080 w 2370773"/>
                <a:gd name="connsiteY2084" fmla="*/ 1013459 h 1940242"/>
                <a:gd name="connsiteX2085" fmla="*/ 795338 w 2370773"/>
                <a:gd name="connsiteY2085" fmla="*/ 1012507 h 1940242"/>
                <a:gd name="connsiteX2086" fmla="*/ 798195 w 2370773"/>
                <a:gd name="connsiteY2086" fmla="*/ 1015365 h 1940242"/>
                <a:gd name="connsiteX2087" fmla="*/ 795338 w 2370773"/>
                <a:gd name="connsiteY2087" fmla="*/ 1018222 h 1940242"/>
                <a:gd name="connsiteX2088" fmla="*/ 792480 w 2370773"/>
                <a:gd name="connsiteY2088" fmla="*/ 1015365 h 1940242"/>
                <a:gd name="connsiteX2089" fmla="*/ 795338 w 2370773"/>
                <a:gd name="connsiteY2089" fmla="*/ 1012507 h 1940242"/>
                <a:gd name="connsiteX2090" fmla="*/ 2054542 w 2370773"/>
                <a:gd name="connsiteY2090" fmla="*/ 1010602 h 1940242"/>
                <a:gd name="connsiteX2091" fmla="*/ 2055495 w 2370773"/>
                <a:gd name="connsiteY2091" fmla="*/ 1011554 h 1940242"/>
                <a:gd name="connsiteX2092" fmla="*/ 2054542 w 2370773"/>
                <a:gd name="connsiteY2092" fmla="*/ 1012507 h 1940242"/>
                <a:gd name="connsiteX2093" fmla="*/ 2053590 w 2370773"/>
                <a:gd name="connsiteY2093" fmla="*/ 1011554 h 1940242"/>
                <a:gd name="connsiteX2094" fmla="*/ 2054542 w 2370773"/>
                <a:gd name="connsiteY2094" fmla="*/ 1010602 h 1940242"/>
                <a:gd name="connsiteX2095" fmla="*/ 2127885 w 2370773"/>
                <a:gd name="connsiteY2095" fmla="*/ 1009650 h 1940242"/>
                <a:gd name="connsiteX2096" fmla="*/ 2132647 w 2370773"/>
                <a:gd name="connsiteY2096" fmla="*/ 1014413 h 1940242"/>
                <a:gd name="connsiteX2097" fmla="*/ 2127885 w 2370773"/>
                <a:gd name="connsiteY2097" fmla="*/ 1019175 h 1940242"/>
                <a:gd name="connsiteX2098" fmla="*/ 2123122 w 2370773"/>
                <a:gd name="connsiteY2098" fmla="*/ 1014413 h 1940242"/>
                <a:gd name="connsiteX2099" fmla="*/ 2127885 w 2370773"/>
                <a:gd name="connsiteY2099" fmla="*/ 1009650 h 1940242"/>
                <a:gd name="connsiteX2100" fmla="*/ 2271713 w 2370773"/>
                <a:gd name="connsiteY2100" fmla="*/ 1007745 h 1940242"/>
                <a:gd name="connsiteX2101" fmla="*/ 2284095 w 2370773"/>
                <a:gd name="connsiteY2101" fmla="*/ 1020128 h 1940242"/>
                <a:gd name="connsiteX2102" fmla="*/ 2271713 w 2370773"/>
                <a:gd name="connsiteY2102" fmla="*/ 1032510 h 1940242"/>
                <a:gd name="connsiteX2103" fmla="*/ 2259330 w 2370773"/>
                <a:gd name="connsiteY2103" fmla="*/ 1020128 h 1940242"/>
                <a:gd name="connsiteX2104" fmla="*/ 2271713 w 2370773"/>
                <a:gd name="connsiteY2104" fmla="*/ 1007745 h 1940242"/>
                <a:gd name="connsiteX2105" fmla="*/ 401002 w 2370773"/>
                <a:gd name="connsiteY2105" fmla="*/ 1007745 h 1940242"/>
                <a:gd name="connsiteX2106" fmla="*/ 411480 w 2370773"/>
                <a:gd name="connsiteY2106" fmla="*/ 1018222 h 1940242"/>
                <a:gd name="connsiteX2107" fmla="*/ 401002 w 2370773"/>
                <a:gd name="connsiteY2107" fmla="*/ 1028700 h 1940242"/>
                <a:gd name="connsiteX2108" fmla="*/ 390525 w 2370773"/>
                <a:gd name="connsiteY2108" fmla="*/ 1018222 h 1940242"/>
                <a:gd name="connsiteX2109" fmla="*/ 401002 w 2370773"/>
                <a:gd name="connsiteY2109" fmla="*/ 1007745 h 1940242"/>
                <a:gd name="connsiteX2110" fmla="*/ 2200275 w 2370773"/>
                <a:gd name="connsiteY2110" fmla="*/ 1006792 h 1940242"/>
                <a:gd name="connsiteX2111" fmla="*/ 2211705 w 2370773"/>
                <a:gd name="connsiteY2111" fmla="*/ 1018222 h 1940242"/>
                <a:gd name="connsiteX2112" fmla="*/ 2200275 w 2370773"/>
                <a:gd name="connsiteY2112" fmla="*/ 1029652 h 1940242"/>
                <a:gd name="connsiteX2113" fmla="*/ 2188845 w 2370773"/>
                <a:gd name="connsiteY2113" fmla="*/ 1018222 h 1940242"/>
                <a:gd name="connsiteX2114" fmla="*/ 2200275 w 2370773"/>
                <a:gd name="connsiteY2114" fmla="*/ 1006792 h 1940242"/>
                <a:gd name="connsiteX2115" fmla="*/ 1979295 w 2370773"/>
                <a:gd name="connsiteY2115" fmla="*/ 1005840 h 1940242"/>
                <a:gd name="connsiteX2116" fmla="*/ 1980247 w 2370773"/>
                <a:gd name="connsiteY2116" fmla="*/ 1006792 h 1940242"/>
                <a:gd name="connsiteX2117" fmla="*/ 1979295 w 2370773"/>
                <a:gd name="connsiteY2117" fmla="*/ 1007745 h 1940242"/>
                <a:gd name="connsiteX2118" fmla="*/ 1978342 w 2370773"/>
                <a:gd name="connsiteY2118" fmla="*/ 1006792 h 1940242"/>
                <a:gd name="connsiteX2119" fmla="*/ 1979295 w 2370773"/>
                <a:gd name="connsiteY2119" fmla="*/ 1005840 h 1940242"/>
                <a:gd name="connsiteX2120" fmla="*/ 546735 w 2370773"/>
                <a:gd name="connsiteY2120" fmla="*/ 1005840 h 1940242"/>
                <a:gd name="connsiteX2121" fmla="*/ 552450 w 2370773"/>
                <a:gd name="connsiteY2121" fmla="*/ 1011555 h 1940242"/>
                <a:gd name="connsiteX2122" fmla="*/ 546735 w 2370773"/>
                <a:gd name="connsiteY2122" fmla="*/ 1017270 h 1940242"/>
                <a:gd name="connsiteX2123" fmla="*/ 541020 w 2370773"/>
                <a:gd name="connsiteY2123" fmla="*/ 1011555 h 1940242"/>
                <a:gd name="connsiteX2124" fmla="*/ 546735 w 2370773"/>
                <a:gd name="connsiteY2124" fmla="*/ 1005840 h 1940242"/>
                <a:gd name="connsiteX2125" fmla="*/ 698183 w 2370773"/>
                <a:gd name="connsiteY2125" fmla="*/ 1000125 h 1940242"/>
                <a:gd name="connsiteX2126" fmla="*/ 700088 w 2370773"/>
                <a:gd name="connsiteY2126" fmla="*/ 1002030 h 1940242"/>
                <a:gd name="connsiteX2127" fmla="*/ 698183 w 2370773"/>
                <a:gd name="connsiteY2127" fmla="*/ 1003935 h 1940242"/>
                <a:gd name="connsiteX2128" fmla="*/ 696278 w 2370773"/>
                <a:gd name="connsiteY2128" fmla="*/ 1002030 h 1940242"/>
                <a:gd name="connsiteX2129" fmla="*/ 698183 w 2370773"/>
                <a:gd name="connsiteY2129" fmla="*/ 1000125 h 1940242"/>
                <a:gd name="connsiteX2130" fmla="*/ 1824991 w 2370773"/>
                <a:gd name="connsiteY2130" fmla="*/ 993457 h 1940242"/>
                <a:gd name="connsiteX2131" fmla="*/ 1825943 w 2370773"/>
                <a:gd name="connsiteY2131" fmla="*/ 994409 h 1940242"/>
                <a:gd name="connsiteX2132" fmla="*/ 1824991 w 2370773"/>
                <a:gd name="connsiteY2132" fmla="*/ 995362 h 1940242"/>
                <a:gd name="connsiteX2133" fmla="*/ 1824038 w 2370773"/>
                <a:gd name="connsiteY2133" fmla="*/ 994409 h 1940242"/>
                <a:gd name="connsiteX2134" fmla="*/ 1824991 w 2370773"/>
                <a:gd name="connsiteY2134" fmla="*/ 993457 h 1940242"/>
                <a:gd name="connsiteX2135" fmla="*/ 177166 w 2370773"/>
                <a:gd name="connsiteY2135" fmla="*/ 989647 h 1940242"/>
                <a:gd name="connsiteX2136" fmla="*/ 185738 w 2370773"/>
                <a:gd name="connsiteY2136" fmla="*/ 998220 h 1940242"/>
                <a:gd name="connsiteX2137" fmla="*/ 177166 w 2370773"/>
                <a:gd name="connsiteY2137" fmla="*/ 1006792 h 1940242"/>
                <a:gd name="connsiteX2138" fmla="*/ 168593 w 2370773"/>
                <a:gd name="connsiteY2138" fmla="*/ 998220 h 1940242"/>
                <a:gd name="connsiteX2139" fmla="*/ 177166 w 2370773"/>
                <a:gd name="connsiteY2139" fmla="*/ 989647 h 1940242"/>
                <a:gd name="connsiteX2140" fmla="*/ 316230 w 2370773"/>
                <a:gd name="connsiteY2140" fmla="*/ 984884 h 1940242"/>
                <a:gd name="connsiteX2141" fmla="*/ 325755 w 2370773"/>
                <a:gd name="connsiteY2141" fmla="*/ 994409 h 1940242"/>
                <a:gd name="connsiteX2142" fmla="*/ 316230 w 2370773"/>
                <a:gd name="connsiteY2142" fmla="*/ 1003934 h 1940242"/>
                <a:gd name="connsiteX2143" fmla="*/ 306705 w 2370773"/>
                <a:gd name="connsiteY2143" fmla="*/ 994409 h 1940242"/>
                <a:gd name="connsiteX2144" fmla="*/ 316230 w 2370773"/>
                <a:gd name="connsiteY2144" fmla="*/ 984884 h 1940242"/>
                <a:gd name="connsiteX2145" fmla="*/ 856297 w 2370773"/>
                <a:gd name="connsiteY2145" fmla="*/ 982979 h 1940242"/>
                <a:gd name="connsiteX2146" fmla="*/ 858202 w 2370773"/>
                <a:gd name="connsiteY2146" fmla="*/ 984884 h 1940242"/>
                <a:gd name="connsiteX2147" fmla="*/ 856297 w 2370773"/>
                <a:gd name="connsiteY2147" fmla="*/ 986789 h 1940242"/>
                <a:gd name="connsiteX2148" fmla="*/ 854392 w 2370773"/>
                <a:gd name="connsiteY2148" fmla="*/ 984884 h 1940242"/>
                <a:gd name="connsiteX2149" fmla="*/ 856297 w 2370773"/>
                <a:gd name="connsiteY2149" fmla="*/ 982979 h 1940242"/>
                <a:gd name="connsiteX2150" fmla="*/ 459105 w 2370773"/>
                <a:gd name="connsiteY2150" fmla="*/ 981075 h 1940242"/>
                <a:gd name="connsiteX2151" fmla="*/ 468630 w 2370773"/>
                <a:gd name="connsiteY2151" fmla="*/ 990600 h 1940242"/>
                <a:gd name="connsiteX2152" fmla="*/ 459105 w 2370773"/>
                <a:gd name="connsiteY2152" fmla="*/ 1000125 h 1940242"/>
                <a:gd name="connsiteX2153" fmla="*/ 449580 w 2370773"/>
                <a:gd name="connsiteY2153" fmla="*/ 990600 h 1940242"/>
                <a:gd name="connsiteX2154" fmla="*/ 459105 w 2370773"/>
                <a:gd name="connsiteY2154" fmla="*/ 981075 h 1940242"/>
                <a:gd name="connsiteX2155" fmla="*/ 604837 w 2370773"/>
                <a:gd name="connsiteY2155" fmla="*/ 979170 h 1940242"/>
                <a:gd name="connsiteX2156" fmla="*/ 608647 w 2370773"/>
                <a:gd name="connsiteY2156" fmla="*/ 982980 h 1940242"/>
                <a:gd name="connsiteX2157" fmla="*/ 604837 w 2370773"/>
                <a:gd name="connsiteY2157" fmla="*/ 986790 h 1940242"/>
                <a:gd name="connsiteX2158" fmla="*/ 601027 w 2370773"/>
                <a:gd name="connsiteY2158" fmla="*/ 982980 h 1940242"/>
                <a:gd name="connsiteX2159" fmla="*/ 604837 w 2370773"/>
                <a:gd name="connsiteY2159" fmla="*/ 979170 h 1940242"/>
                <a:gd name="connsiteX2160" fmla="*/ 757238 w 2370773"/>
                <a:gd name="connsiteY2160" fmla="*/ 970597 h 1940242"/>
                <a:gd name="connsiteX2161" fmla="*/ 759143 w 2370773"/>
                <a:gd name="connsiteY2161" fmla="*/ 972502 h 1940242"/>
                <a:gd name="connsiteX2162" fmla="*/ 757238 w 2370773"/>
                <a:gd name="connsiteY2162" fmla="*/ 974407 h 1940242"/>
                <a:gd name="connsiteX2163" fmla="*/ 755333 w 2370773"/>
                <a:gd name="connsiteY2163" fmla="*/ 972502 h 1940242"/>
                <a:gd name="connsiteX2164" fmla="*/ 757238 w 2370773"/>
                <a:gd name="connsiteY2164" fmla="*/ 970597 h 1940242"/>
                <a:gd name="connsiteX2165" fmla="*/ 2366010 w 2370773"/>
                <a:gd name="connsiteY2165" fmla="*/ 969645 h 1940242"/>
                <a:gd name="connsiteX2166" fmla="*/ 2366962 w 2370773"/>
                <a:gd name="connsiteY2166" fmla="*/ 970597 h 1940242"/>
                <a:gd name="connsiteX2167" fmla="*/ 2366010 w 2370773"/>
                <a:gd name="connsiteY2167" fmla="*/ 971550 h 1940242"/>
                <a:gd name="connsiteX2168" fmla="*/ 2365057 w 2370773"/>
                <a:gd name="connsiteY2168" fmla="*/ 970597 h 1940242"/>
                <a:gd name="connsiteX2169" fmla="*/ 2366010 w 2370773"/>
                <a:gd name="connsiteY2169" fmla="*/ 969645 h 1940242"/>
                <a:gd name="connsiteX2170" fmla="*/ 97156 w 2370773"/>
                <a:gd name="connsiteY2170" fmla="*/ 962025 h 1940242"/>
                <a:gd name="connsiteX2171" fmla="*/ 107633 w 2370773"/>
                <a:gd name="connsiteY2171" fmla="*/ 972502 h 1940242"/>
                <a:gd name="connsiteX2172" fmla="*/ 97156 w 2370773"/>
                <a:gd name="connsiteY2172" fmla="*/ 982980 h 1940242"/>
                <a:gd name="connsiteX2173" fmla="*/ 86678 w 2370773"/>
                <a:gd name="connsiteY2173" fmla="*/ 972502 h 1940242"/>
                <a:gd name="connsiteX2174" fmla="*/ 97156 w 2370773"/>
                <a:gd name="connsiteY2174" fmla="*/ 962025 h 1940242"/>
                <a:gd name="connsiteX2175" fmla="*/ 2296478 w 2370773"/>
                <a:gd name="connsiteY2175" fmla="*/ 961072 h 1940242"/>
                <a:gd name="connsiteX2176" fmla="*/ 2304098 w 2370773"/>
                <a:gd name="connsiteY2176" fmla="*/ 968692 h 1940242"/>
                <a:gd name="connsiteX2177" fmla="*/ 2296478 w 2370773"/>
                <a:gd name="connsiteY2177" fmla="*/ 976312 h 1940242"/>
                <a:gd name="connsiteX2178" fmla="*/ 2288858 w 2370773"/>
                <a:gd name="connsiteY2178" fmla="*/ 968692 h 1940242"/>
                <a:gd name="connsiteX2179" fmla="*/ 2296478 w 2370773"/>
                <a:gd name="connsiteY2179" fmla="*/ 961072 h 1940242"/>
                <a:gd name="connsiteX2180" fmla="*/ 235268 w 2370773"/>
                <a:gd name="connsiteY2180" fmla="*/ 961072 h 1940242"/>
                <a:gd name="connsiteX2181" fmla="*/ 243840 w 2370773"/>
                <a:gd name="connsiteY2181" fmla="*/ 969645 h 1940242"/>
                <a:gd name="connsiteX2182" fmla="*/ 235268 w 2370773"/>
                <a:gd name="connsiteY2182" fmla="*/ 978217 h 1940242"/>
                <a:gd name="connsiteX2183" fmla="*/ 226695 w 2370773"/>
                <a:gd name="connsiteY2183" fmla="*/ 969645 h 1940242"/>
                <a:gd name="connsiteX2184" fmla="*/ 235268 w 2370773"/>
                <a:gd name="connsiteY2184" fmla="*/ 961072 h 1940242"/>
                <a:gd name="connsiteX2185" fmla="*/ 2155507 w 2370773"/>
                <a:gd name="connsiteY2185" fmla="*/ 959167 h 1940242"/>
                <a:gd name="connsiteX2186" fmla="*/ 2161222 w 2370773"/>
                <a:gd name="connsiteY2186" fmla="*/ 964882 h 1940242"/>
                <a:gd name="connsiteX2187" fmla="*/ 2155507 w 2370773"/>
                <a:gd name="connsiteY2187" fmla="*/ 970597 h 1940242"/>
                <a:gd name="connsiteX2188" fmla="*/ 2149792 w 2370773"/>
                <a:gd name="connsiteY2188" fmla="*/ 964882 h 1940242"/>
                <a:gd name="connsiteX2189" fmla="*/ 2155507 w 2370773"/>
                <a:gd name="connsiteY2189" fmla="*/ 959167 h 1940242"/>
                <a:gd name="connsiteX2190" fmla="*/ 2226945 w 2370773"/>
                <a:gd name="connsiteY2190" fmla="*/ 958214 h 1940242"/>
                <a:gd name="connsiteX2191" fmla="*/ 2235517 w 2370773"/>
                <a:gd name="connsiteY2191" fmla="*/ 966787 h 1940242"/>
                <a:gd name="connsiteX2192" fmla="*/ 2226945 w 2370773"/>
                <a:gd name="connsiteY2192" fmla="*/ 975359 h 1940242"/>
                <a:gd name="connsiteX2193" fmla="*/ 2218372 w 2370773"/>
                <a:gd name="connsiteY2193" fmla="*/ 966787 h 1940242"/>
                <a:gd name="connsiteX2194" fmla="*/ 2226945 w 2370773"/>
                <a:gd name="connsiteY2194" fmla="*/ 958214 h 1940242"/>
                <a:gd name="connsiteX2195" fmla="*/ 517208 w 2370773"/>
                <a:gd name="connsiteY2195" fmla="*/ 957262 h 1940242"/>
                <a:gd name="connsiteX2196" fmla="*/ 521970 w 2370773"/>
                <a:gd name="connsiteY2196" fmla="*/ 962025 h 1940242"/>
                <a:gd name="connsiteX2197" fmla="*/ 517208 w 2370773"/>
                <a:gd name="connsiteY2197" fmla="*/ 966787 h 1940242"/>
                <a:gd name="connsiteX2198" fmla="*/ 512445 w 2370773"/>
                <a:gd name="connsiteY2198" fmla="*/ 962025 h 1940242"/>
                <a:gd name="connsiteX2199" fmla="*/ 517208 w 2370773"/>
                <a:gd name="connsiteY2199" fmla="*/ 957262 h 1940242"/>
                <a:gd name="connsiteX2200" fmla="*/ 374332 w 2370773"/>
                <a:gd name="connsiteY2200" fmla="*/ 955357 h 1940242"/>
                <a:gd name="connsiteX2201" fmla="*/ 385762 w 2370773"/>
                <a:gd name="connsiteY2201" fmla="*/ 966787 h 1940242"/>
                <a:gd name="connsiteX2202" fmla="*/ 374332 w 2370773"/>
                <a:gd name="connsiteY2202" fmla="*/ 978217 h 1940242"/>
                <a:gd name="connsiteX2203" fmla="*/ 362902 w 2370773"/>
                <a:gd name="connsiteY2203" fmla="*/ 966787 h 1940242"/>
                <a:gd name="connsiteX2204" fmla="*/ 374332 w 2370773"/>
                <a:gd name="connsiteY2204" fmla="*/ 955357 h 1940242"/>
                <a:gd name="connsiteX2205" fmla="*/ 663892 w 2370773"/>
                <a:gd name="connsiteY2205" fmla="*/ 951547 h 1940242"/>
                <a:gd name="connsiteX2206" fmla="*/ 666750 w 2370773"/>
                <a:gd name="connsiteY2206" fmla="*/ 954404 h 1940242"/>
                <a:gd name="connsiteX2207" fmla="*/ 663892 w 2370773"/>
                <a:gd name="connsiteY2207" fmla="*/ 957262 h 1940242"/>
                <a:gd name="connsiteX2208" fmla="*/ 661035 w 2370773"/>
                <a:gd name="connsiteY2208" fmla="*/ 954404 h 1940242"/>
                <a:gd name="connsiteX2209" fmla="*/ 663892 w 2370773"/>
                <a:gd name="connsiteY2209" fmla="*/ 951547 h 1940242"/>
                <a:gd name="connsiteX2210" fmla="*/ 20003 w 2370773"/>
                <a:gd name="connsiteY2210" fmla="*/ 944879 h 1940242"/>
                <a:gd name="connsiteX2211" fmla="*/ 20955 w 2370773"/>
                <a:gd name="connsiteY2211" fmla="*/ 945832 h 1940242"/>
                <a:gd name="connsiteX2212" fmla="*/ 20003 w 2370773"/>
                <a:gd name="connsiteY2212" fmla="*/ 946784 h 1940242"/>
                <a:gd name="connsiteX2213" fmla="*/ 19050 w 2370773"/>
                <a:gd name="connsiteY2213" fmla="*/ 945832 h 1940242"/>
                <a:gd name="connsiteX2214" fmla="*/ 20003 w 2370773"/>
                <a:gd name="connsiteY2214" fmla="*/ 944879 h 1940242"/>
                <a:gd name="connsiteX2215" fmla="*/ 816293 w 2370773"/>
                <a:gd name="connsiteY2215" fmla="*/ 941070 h 1940242"/>
                <a:gd name="connsiteX2216" fmla="*/ 818198 w 2370773"/>
                <a:gd name="connsiteY2216" fmla="*/ 942975 h 1940242"/>
                <a:gd name="connsiteX2217" fmla="*/ 816293 w 2370773"/>
                <a:gd name="connsiteY2217" fmla="*/ 944880 h 1940242"/>
                <a:gd name="connsiteX2218" fmla="*/ 814388 w 2370773"/>
                <a:gd name="connsiteY2218" fmla="*/ 942975 h 1940242"/>
                <a:gd name="connsiteX2219" fmla="*/ 816293 w 2370773"/>
                <a:gd name="connsiteY2219" fmla="*/ 941070 h 1940242"/>
                <a:gd name="connsiteX2220" fmla="*/ 156210 w 2370773"/>
                <a:gd name="connsiteY2220" fmla="*/ 935354 h 1940242"/>
                <a:gd name="connsiteX2221" fmla="*/ 164783 w 2370773"/>
                <a:gd name="connsiteY2221" fmla="*/ 943927 h 1940242"/>
                <a:gd name="connsiteX2222" fmla="*/ 156210 w 2370773"/>
                <a:gd name="connsiteY2222" fmla="*/ 952499 h 1940242"/>
                <a:gd name="connsiteX2223" fmla="*/ 147638 w 2370773"/>
                <a:gd name="connsiteY2223" fmla="*/ 943927 h 1940242"/>
                <a:gd name="connsiteX2224" fmla="*/ 156210 w 2370773"/>
                <a:gd name="connsiteY2224" fmla="*/ 935354 h 1940242"/>
                <a:gd name="connsiteX2225" fmla="*/ 293370 w 2370773"/>
                <a:gd name="connsiteY2225" fmla="*/ 931545 h 1940242"/>
                <a:gd name="connsiteX2226" fmla="*/ 303848 w 2370773"/>
                <a:gd name="connsiteY2226" fmla="*/ 942022 h 1940242"/>
                <a:gd name="connsiteX2227" fmla="*/ 293370 w 2370773"/>
                <a:gd name="connsiteY2227" fmla="*/ 952500 h 1940242"/>
                <a:gd name="connsiteX2228" fmla="*/ 282893 w 2370773"/>
                <a:gd name="connsiteY2228" fmla="*/ 942022 h 1940242"/>
                <a:gd name="connsiteX2229" fmla="*/ 293370 w 2370773"/>
                <a:gd name="connsiteY2229" fmla="*/ 931545 h 1940242"/>
                <a:gd name="connsiteX2230" fmla="*/ 575311 w 2370773"/>
                <a:gd name="connsiteY2230" fmla="*/ 929639 h 1940242"/>
                <a:gd name="connsiteX2231" fmla="*/ 580073 w 2370773"/>
                <a:gd name="connsiteY2231" fmla="*/ 934402 h 1940242"/>
                <a:gd name="connsiteX2232" fmla="*/ 575311 w 2370773"/>
                <a:gd name="connsiteY2232" fmla="*/ 939164 h 1940242"/>
                <a:gd name="connsiteX2233" fmla="*/ 570548 w 2370773"/>
                <a:gd name="connsiteY2233" fmla="*/ 934402 h 1940242"/>
                <a:gd name="connsiteX2234" fmla="*/ 575311 w 2370773"/>
                <a:gd name="connsiteY2234" fmla="*/ 929639 h 1940242"/>
                <a:gd name="connsiteX2235" fmla="*/ 432436 w 2370773"/>
                <a:gd name="connsiteY2235" fmla="*/ 929639 h 1940242"/>
                <a:gd name="connsiteX2236" fmla="*/ 441008 w 2370773"/>
                <a:gd name="connsiteY2236" fmla="*/ 938212 h 1940242"/>
                <a:gd name="connsiteX2237" fmla="*/ 432436 w 2370773"/>
                <a:gd name="connsiteY2237" fmla="*/ 946784 h 1940242"/>
                <a:gd name="connsiteX2238" fmla="*/ 423863 w 2370773"/>
                <a:gd name="connsiteY2238" fmla="*/ 938212 h 1940242"/>
                <a:gd name="connsiteX2239" fmla="*/ 432436 w 2370773"/>
                <a:gd name="connsiteY2239" fmla="*/ 929639 h 1940242"/>
                <a:gd name="connsiteX2240" fmla="*/ 721995 w 2370773"/>
                <a:gd name="connsiteY2240" fmla="*/ 924877 h 1940242"/>
                <a:gd name="connsiteX2241" fmla="*/ 723900 w 2370773"/>
                <a:gd name="connsiteY2241" fmla="*/ 926782 h 1940242"/>
                <a:gd name="connsiteX2242" fmla="*/ 721995 w 2370773"/>
                <a:gd name="connsiteY2242" fmla="*/ 928687 h 1940242"/>
                <a:gd name="connsiteX2243" fmla="*/ 720090 w 2370773"/>
                <a:gd name="connsiteY2243" fmla="*/ 926782 h 1940242"/>
                <a:gd name="connsiteX2244" fmla="*/ 721995 w 2370773"/>
                <a:gd name="connsiteY2244" fmla="*/ 924877 h 1940242"/>
                <a:gd name="connsiteX2245" fmla="*/ 2319337 w 2370773"/>
                <a:gd name="connsiteY2245" fmla="*/ 914400 h 1940242"/>
                <a:gd name="connsiteX2246" fmla="*/ 2320290 w 2370773"/>
                <a:gd name="connsiteY2246" fmla="*/ 915352 h 1940242"/>
                <a:gd name="connsiteX2247" fmla="*/ 2319337 w 2370773"/>
                <a:gd name="connsiteY2247" fmla="*/ 916305 h 1940242"/>
                <a:gd name="connsiteX2248" fmla="*/ 2318384 w 2370773"/>
                <a:gd name="connsiteY2248" fmla="*/ 915352 h 1940242"/>
                <a:gd name="connsiteX2249" fmla="*/ 2319337 w 2370773"/>
                <a:gd name="connsiteY2249" fmla="*/ 914400 h 1940242"/>
                <a:gd name="connsiteX2250" fmla="*/ 2181225 w 2370773"/>
                <a:gd name="connsiteY2250" fmla="*/ 909637 h 1940242"/>
                <a:gd name="connsiteX2251" fmla="*/ 2184082 w 2370773"/>
                <a:gd name="connsiteY2251" fmla="*/ 912495 h 1940242"/>
                <a:gd name="connsiteX2252" fmla="*/ 2181225 w 2370773"/>
                <a:gd name="connsiteY2252" fmla="*/ 915352 h 1940242"/>
                <a:gd name="connsiteX2253" fmla="*/ 2178367 w 2370773"/>
                <a:gd name="connsiteY2253" fmla="*/ 912495 h 1940242"/>
                <a:gd name="connsiteX2254" fmla="*/ 2181225 w 2370773"/>
                <a:gd name="connsiteY2254" fmla="*/ 909637 h 1940242"/>
                <a:gd name="connsiteX2255" fmla="*/ 214313 w 2370773"/>
                <a:gd name="connsiteY2255" fmla="*/ 907732 h 1940242"/>
                <a:gd name="connsiteX2256" fmla="*/ 222885 w 2370773"/>
                <a:gd name="connsiteY2256" fmla="*/ 916304 h 1940242"/>
                <a:gd name="connsiteX2257" fmla="*/ 214313 w 2370773"/>
                <a:gd name="connsiteY2257" fmla="*/ 924877 h 1940242"/>
                <a:gd name="connsiteX2258" fmla="*/ 205740 w 2370773"/>
                <a:gd name="connsiteY2258" fmla="*/ 916304 h 1940242"/>
                <a:gd name="connsiteX2259" fmla="*/ 214313 w 2370773"/>
                <a:gd name="connsiteY2259" fmla="*/ 907732 h 1940242"/>
                <a:gd name="connsiteX2260" fmla="*/ 78106 w 2370773"/>
                <a:gd name="connsiteY2260" fmla="*/ 907732 h 1940242"/>
                <a:gd name="connsiteX2261" fmla="*/ 88583 w 2370773"/>
                <a:gd name="connsiteY2261" fmla="*/ 918209 h 1940242"/>
                <a:gd name="connsiteX2262" fmla="*/ 78106 w 2370773"/>
                <a:gd name="connsiteY2262" fmla="*/ 928687 h 1940242"/>
                <a:gd name="connsiteX2263" fmla="*/ 67628 w 2370773"/>
                <a:gd name="connsiteY2263" fmla="*/ 918209 h 1940242"/>
                <a:gd name="connsiteX2264" fmla="*/ 78106 w 2370773"/>
                <a:gd name="connsiteY2264" fmla="*/ 907732 h 1940242"/>
                <a:gd name="connsiteX2265" fmla="*/ 2249805 w 2370773"/>
                <a:gd name="connsiteY2265" fmla="*/ 906779 h 1940242"/>
                <a:gd name="connsiteX2266" fmla="*/ 2257425 w 2370773"/>
                <a:gd name="connsiteY2266" fmla="*/ 914399 h 1940242"/>
                <a:gd name="connsiteX2267" fmla="*/ 2249805 w 2370773"/>
                <a:gd name="connsiteY2267" fmla="*/ 922019 h 1940242"/>
                <a:gd name="connsiteX2268" fmla="*/ 2242185 w 2370773"/>
                <a:gd name="connsiteY2268" fmla="*/ 914399 h 1940242"/>
                <a:gd name="connsiteX2269" fmla="*/ 2249805 w 2370773"/>
                <a:gd name="connsiteY2269" fmla="*/ 906779 h 1940242"/>
                <a:gd name="connsiteX2270" fmla="*/ 632460 w 2370773"/>
                <a:gd name="connsiteY2270" fmla="*/ 904875 h 1940242"/>
                <a:gd name="connsiteX2271" fmla="*/ 634365 w 2370773"/>
                <a:gd name="connsiteY2271" fmla="*/ 906780 h 1940242"/>
                <a:gd name="connsiteX2272" fmla="*/ 632460 w 2370773"/>
                <a:gd name="connsiteY2272" fmla="*/ 908685 h 1940242"/>
                <a:gd name="connsiteX2273" fmla="*/ 630555 w 2370773"/>
                <a:gd name="connsiteY2273" fmla="*/ 906780 h 1940242"/>
                <a:gd name="connsiteX2274" fmla="*/ 632460 w 2370773"/>
                <a:gd name="connsiteY2274" fmla="*/ 904875 h 1940242"/>
                <a:gd name="connsiteX2275" fmla="*/ 490538 w 2370773"/>
                <a:gd name="connsiteY2275" fmla="*/ 904875 h 1940242"/>
                <a:gd name="connsiteX2276" fmla="*/ 496253 w 2370773"/>
                <a:gd name="connsiteY2276" fmla="*/ 910590 h 1940242"/>
                <a:gd name="connsiteX2277" fmla="*/ 490538 w 2370773"/>
                <a:gd name="connsiteY2277" fmla="*/ 916305 h 1940242"/>
                <a:gd name="connsiteX2278" fmla="*/ 484823 w 2370773"/>
                <a:gd name="connsiteY2278" fmla="*/ 910590 h 1940242"/>
                <a:gd name="connsiteX2279" fmla="*/ 490538 w 2370773"/>
                <a:gd name="connsiteY2279" fmla="*/ 904875 h 1940242"/>
                <a:gd name="connsiteX2280" fmla="*/ 350520 w 2370773"/>
                <a:gd name="connsiteY2280" fmla="*/ 902970 h 1940242"/>
                <a:gd name="connsiteX2281" fmla="*/ 361950 w 2370773"/>
                <a:gd name="connsiteY2281" fmla="*/ 914400 h 1940242"/>
                <a:gd name="connsiteX2282" fmla="*/ 350520 w 2370773"/>
                <a:gd name="connsiteY2282" fmla="*/ 925830 h 1940242"/>
                <a:gd name="connsiteX2283" fmla="*/ 339090 w 2370773"/>
                <a:gd name="connsiteY2283" fmla="*/ 914400 h 1940242"/>
                <a:gd name="connsiteX2284" fmla="*/ 350520 w 2370773"/>
                <a:gd name="connsiteY2284" fmla="*/ 902970 h 1940242"/>
                <a:gd name="connsiteX2285" fmla="*/ 2858 w 2370773"/>
                <a:gd name="connsiteY2285" fmla="*/ 887729 h 1940242"/>
                <a:gd name="connsiteX2286" fmla="*/ 5715 w 2370773"/>
                <a:gd name="connsiteY2286" fmla="*/ 890587 h 1940242"/>
                <a:gd name="connsiteX2287" fmla="*/ 2858 w 2370773"/>
                <a:gd name="connsiteY2287" fmla="*/ 893444 h 1940242"/>
                <a:gd name="connsiteX2288" fmla="*/ 0 w 2370773"/>
                <a:gd name="connsiteY2288" fmla="*/ 890587 h 1940242"/>
                <a:gd name="connsiteX2289" fmla="*/ 2858 w 2370773"/>
                <a:gd name="connsiteY2289" fmla="*/ 887729 h 1940242"/>
                <a:gd name="connsiteX2290" fmla="*/ 137160 w 2370773"/>
                <a:gd name="connsiteY2290" fmla="*/ 882014 h 1940242"/>
                <a:gd name="connsiteX2291" fmla="*/ 144780 w 2370773"/>
                <a:gd name="connsiteY2291" fmla="*/ 889634 h 1940242"/>
                <a:gd name="connsiteX2292" fmla="*/ 137160 w 2370773"/>
                <a:gd name="connsiteY2292" fmla="*/ 897254 h 1940242"/>
                <a:gd name="connsiteX2293" fmla="*/ 129540 w 2370773"/>
                <a:gd name="connsiteY2293" fmla="*/ 889634 h 1940242"/>
                <a:gd name="connsiteX2294" fmla="*/ 137160 w 2370773"/>
                <a:gd name="connsiteY2294" fmla="*/ 882014 h 1940242"/>
                <a:gd name="connsiteX2295" fmla="*/ 547688 w 2370773"/>
                <a:gd name="connsiteY2295" fmla="*/ 880110 h 1940242"/>
                <a:gd name="connsiteX2296" fmla="*/ 550545 w 2370773"/>
                <a:gd name="connsiteY2296" fmla="*/ 882967 h 1940242"/>
                <a:gd name="connsiteX2297" fmla="*/ 547688 w 2370773"/>
                <a:gd name="connsiteY2297" fmla="*/ 885825 h 1940242"/>
                <a:gd name="connsiteX2298" fmla="*/ 544830 w 2370773"/>
                <a:gd name="connsiteY2298" fmla="*/ 882967 h 1940242"/>
                <a:gd name="connsiteX2299" fmla="*/ 547688 w 2370773"/>
                <a:gd name="connsiteY2299" fmla="*/ 880110 h 1940242"/>
                <a:gd name="connsiteX2300" fmla="*/ 408623 w 2370773"/>
                <a:gd name="connsiteY2300" fmla="*/ 880110 h 1940242"/>
                <a:gd name="connsiteX2301" fmla="*/ 415290 w 2370773"/>
                <a:gd name="connsiteY2301" fmla="*/ 886777 h 1940242"/>
                <a:gd name="connsiteX2302" fmla="*/ 408623 w 2370773"/>
                <a:gd name="connsiteY2302" fmla="*/ 893445 h 1940242"/>
                <a:gd name="connsiteX2303" fmla="*/ 401955 w 2370773"/>
                <a:gd name="connsiteY2303" fmla="*/ 886777 h 1940242"/>
                <a:gd name="connsiteX2304" fmla="*/ 408623 w 2370773"/>
                <a:gd name="connsiteY2304" fmla="*/ 880110 h 1940242"/>
                <a:gd name="connsiteX2305" fmla="*/ 272415 w 2370773"/>
                <a:gd name="connsiteY2305" fmla="*/ 879157 h 1940242"/>
                <a:gd name="connsiteX2306" fmla="*/ 280988 w 2370773"/>
                <a:gd name="connsiteY2306" fmla="*/ 887729 h 1940242"/>
                <a:gd name="connsiteX2307" fmla="*/ 272415 w 2370773"/>
                <a:gd name="connsiteY2307" fmla="*/ 896302 h 1940242"/>
                <a:gd name="connsiteX2308" fmla="*/ 263843 w 2370773"/>
                <a:gd name="connsiteY2308" fmla="*/ 887729 h 1940242"/>
                <a:gd name="connsiteX2309" fmla="*/ 272415 w 2370773"/>
                <a:gd name="connsiteY2309" fmla="*/ 879157 h 1940242"/>
                <a:gd name="connsiteX2310" fmla="*/ 690563 w 2370773"/>
                <a:gd name="connsiteY2310" fmla="*/ 875347 h 1940242"/>
                <a:gd name="connsiteX2311" fmla="*/ 693420 w 2370773"/>
                <a:gd name="connsiteY2311" fmla="*/ 878204 h 1940242"/>
                <a:gd name="connsiteX2312" fmla="*/ 690563 w 2370773"/>
                <a:gd name="connsiteY2312" fmla="*/ 881062 h 1940242"/>
                <a:gd name="connsiteX2313" fmla="*/ 687705 w 2370773"/>
                <a:gd name="connsiteY2313" fmla="*/ 878204 h 1940242"/>
                <a:gd name="connsiteX2314" fmla="*/ 690563 w 2370773"/>
                <a:gd name="connsiteY2314" fmla="*/ 875347 h 1940242"/>
                <a:gd name="connsiteX2315" fmla="*/ 2338388 w 2370773"/>
                <a:gd name="connsiteY2315" fmla="*/ 860107 h 1940242"/>
                <a:gd name="connsiteX2316" fmla="*/ 2339340 w 2370773"/>
                <a:gd name="connsiteY2316" fmla="*/ 861059 h 1940242"/>
                <a:gd name="connsiteX2317" fmla="*/ 2338388 w 2370773"/>
                <a:gd name="connsiteY2317" fmla="*/ 862012 h 1940242"/>
                <a:gd name="connsiteX2318" fmla="*/ 2337435 w 2370773"/>
                <a:gd name="connsiteY2318" fmla="*/ 861059 h 1940242"/>
                <a:gd name="connsiteX2319" fmla="*/ 2338388 w 2370773"/>
                <a:gd name="connsiteY2319" fmla="*/ 860107 h 1940242"/>
                <a:gd name="connsiteX2320" fmla="*/ 61913 w 2370773"/>
                <a:gd name="connsiteY2320" fmla="*/ 859154 h 1940242"/>
                <a:gd name="connsiteX2321" fmla="*/ 64770 w 2370773"/>
                <a:gd name="connsiteY2321" fmla="*/ 862012 h 1940242"/>
                <a:gd name="connsiteX2322" fmla="*/ 61913 w 2370773"/>
                <a:gd name="connsiteY2322" fmla="*/ 864869 h 1940242"/>
                <a:gd name="connsiteX2323" fmla="*/ 59055 w 2370773"/>
                <a:gd name="connsiteY2323" fmla="*/ 862012 h 1940242"/>
                <a:gd name="connsiteX2324" fmla="*/ 61913 w 2370773"/>
                <a:gd name="connsiteY2324" fmla="*/ 859154 h 1940242"/>
                <a:gd name="connsiteX2325" fmla="*/ 2270760 w 2370773"/>
                <a:gd name="connsiteY2325" fmla="*/ 855345 h 1940242"/>
                <a:gd name="connsiteX2326" fmla="*/ 2275522 w 2370773"/>
                <a:gd name="connsiteY2326" fmla="*/ 860108 h 1940242"/>
                <a:gd name="connsiteX2327" fmla="*/ 2270760 w 2370773"/>
                <a:gd name="connsiteY2327" fmla="*/ 864870 h 1940242"/>
                <a:gd name="connsiteX2328" fmla="*/ 2265997 w 2370773"/>
                <a:gd name="connsiteY2328" fmla="*/ 860108 h 1940242"/>
                <a:gd name="connsiteX2329" fmla="*/ 2270760 w 2370773"/>
                <a:gd name="connsiteY2329" fmla="*/ 855345 h 1940242"/>
                <a:gd name="connsiteX2330" fmla="*/ 2134553 w 2370773"/>
                <a:gd name="connsiteY2330" fmla="*/ 855345 h 1940242"/>
                <a:gd name="connsiteX2331" fmla="*/ 2137410 w 2370773"/>
                <a:gd name="connsiteY2331" fmla="*/ 858202 h 1940242"/>
                <a:gd name="connsiteX2332" fmla="*/ 2134553 w 2370773"/>
                <a:gd name="connsiteY2332" fmla="*/ 861060 h 1940242"/>
                <a:gd name="connsiteX2333" fmla="*/ 2131695 w 2370773"/>
                <a:gd name="connsiteY2333" fmla="*/ 858202 h 1940242"/>
                <a:gd name="connsiteX2334" fmla="*/ 2134553 w 2370773"/>
                <a:gd name="connsiteY2334" fmla="*/ 855345 h 1940242"/>
                <a:gd name="connsiteX2335" fmla="*/ 2203133 w 2370773"/>
                <a:gd name="connsiteY2335" fmla="*/ 853439 h 1940242"/>
                <a:gd name="connsiteX2336" fmla="*/ 2209800 w 2370773"/>
                <a:gd name="connsiteY2336" fmla="*/ 860107 h 1940242"/>
                <a:gd name="connsiteX2337" fmla="*/ 2203133 w 2370773"/>
                <a:gd name="connsiteY2337" fmla="*/ 866774 h 1940242"/>
                <a:gd name="connsiteX2338" fmla="*/ 2196465 w 2370773"/>
                <a:gd name="connsiteY2338" fmla="*/ 860107 h 1940242"/>
                <a:gd name="connsiteX2339" fmla="*/ 2203133 w 2370773"/>
                <a:gd name="connsiteY2339" fmla="*/ 853439 h 1940242"/>
                <a:gd name="connsiteX2340" fmla="*/ 605790 w 2370773"/>
                <a:gd name="connsiteY2340" fmla="*/ 853439 h 1940242"/>
                <a:gd name="connsiteX2341" fmla="*/ 607695 w 2370773"/>
                <a:gd name="connsiteY2341" fmla="*/ 855344 h 1940242"/>
                <a:gd name="connsiteX2342" fmla="*/ 605790 w 2370773"/>
                <a:gd name="connsiteY2342" fmla="*/ 857249 h 1940242"/>
                <a:gd name="connsiteX2343" fmla="*/ 603885 w 2370773"/>
                <a:gd name="connsiteY2343" fmla="*/ 855344 h 1940242"/>
                <a:gd name="connsiteX2344" fmla="*/ 605790 w 2370773"/>
                <a:gd name="connsiteY2344" fmla="*/ 853439 h 1940242"/>
                <a:gd name="connsiteX2345" fmla="*/ 466725 w 2370773"/>
                <a:gd name="connsiteY2345" fmla="*/ 852487 h 1940242"/>
                <a:gd name="connsiteX2346" fmla="*/ 472440 w 2370773"/>
                <a:gd name="connsiteY2346" fmla="*/ 858202 h 1940242"/>
                <a:gd name="connsiteX2347" fmla="*/ 466725 w 2370773"/>
                <a:gd name="connsiteY2347" fmla="*/ 863917 h 1940242"/>
                <a:gd name="connsiteX2348" fmla="*/ 461010 w 2370773"/>
                <a:gd name="connsiteY2348" fmla="*/ 858202 h 1940242"/>
                <a:gd name="connsiteX2349" fmla="*/ 466725 w 2370773"/>
                <a:gd name="connsiteY2349" fmla="*/ 852487 h 1940242"/>
                <a:gd name="connsiteX2350" fmla="*/ 195262 w 2370773"/>
                <a:gd name="connsiteY2350" fmla="*/ 852487 h 1940242"/>
                <a:gd name="connsiteX2351" fmla="*/ 203835 w 2370773"/>
                <a:gd name="connsiteY2351" fmla="*/ 861060 h 1940242"/>
                <a:gd name="connsiteX2352" fmla="*/ 195262 w 2370773"/>
                <a:gd name="connsiteY2352" fmla="*/ 869632 h 1940242"/>
                <a:gd name="connsiteX2353" fmla="*/ 186690 w 2370773"/>
                <a:gd name="connsiteY2353" fmla="*/ 861060 h 1940242"/>
                <a:gd name="connsiteX2354" fmla="*/ 195262 w 2370773"/>
                <a:gd name="connsiteY2354" fmla="*/ 852487 h 1940242"/>
                <a:gd name="connsiteX2355" fmla="*/ 330518 w 2370773"/>
                <a:gd name="connsiteY2355" fmla="*/ 850582 h 1940242"/>
                <a:gd name="connsiteX2356" fmla="*/ 340043 w 2370773"/>
                <a:gd name="connsiteY2356" fmla="*/ 860107 h 1940242"/>
                <a:gd name="connsiteX2357" fmla="*/ 330518 w 2370773"/>
                <a:gd name="connsiteY2357" fmla="*/ 869632 h 1940242"/>
                <a:gd name="connsiteX2358" fmla="*/ 320993 w 2370773"/>
                <a:gd name="connsiteY2358" fmla="*/ 860107 h 1940242"/>
                <a:gd name="connsiteX2359" fmla="*/ 330518 w 2370773"/>
                <a:gd name="connsiteY2359" fmla="*/ 850582 h 1940242"/>
                <a:gd name="connsiteX2360" fmla="*/ 748665 w 2370773"/>
                <a:gd name="connsiteY2360" fmla="*/ 847725 h 1940242"/>
                <a:gd name="connsiteX2361" fmla="*/ 750570 w 2370773"/>
                <a:gd name="connsiteY2361" fmla="*/ 849630 h 1940242"/>
                <a:gd name="connsiteX2362" fmla="*/ 748665 w 2370773"/>
                <a:gd name="connsiteY2362" fmla="*/ 851535 h 1940242"/>
                <a:gd name="connsiteX2363" fmla="*/ 746760 w 2370773"/>
                <a:gd name="connsiteY2363" fmla="*/ 849630 h 1940242"/>
                <a:gd name="connsiteX2364" fmla="*/ 748665 w 2370773"/>
                <a:gd name="connsiteY2364" fmla="*/ 847725 h 1940242"/>
                <a:gd name="connsiteX2365" fmla="*/ 524828 w 2370773"/>
                <a:gd name="connsiteY2365" fmla="*/ 828675 h 1940242"/>
                <a:gd name="connsiteX2366" fmla="*/ 526733 w 2370773"/>
                <a:gd name="connsiteY2366" fmla="*/ 830580 h 1940242"/>
                <a:gd name="connsiteX2367" fmla="*/ 524828 w 2370773"/>
                <a:gd name="connsiteY2367" fmla="*/ 832485 h 1940242"/>
                <a:gd name="connsiteX2368" fmla="*/ 522923 w 2370773"/>
                <a:gd name="connsiteY2368" fmla="*/ 830580 h 1940242"/>
                <a:gd name="connsiteX2369" fmla="*/ 524828 w 2370773"/>
                <a:gd name="connsiteY2369" fmla="*/ 828675 h 1940242"/>
                <a:gd name="connsiteX2370" fmla="*/ 388620 w 2370773"/>
                <a:gd name="connsiteY2370" fmla="*/ 826770 h 1940242"/>
                <a:gd name="connsiteX2371" fmla="*/ 394335 w 2370773"/>
                <a:gd name="connsiteY2371" fmla="*/ 832485 h 1940242"/>
                <a:gd name="connsiteX2372" fmla="*/ 388620 w 2370773"/>
                <a:gd name="connsiteY2372" fmla="*/ 838200 h 1940242"/>
                <a:gd name="connsiteX2373" fmla="*/ 382905 w 2370773"/>
                <a:gd name="connsiteY2373" fmla="*/ 832485 h 1940242"/>
                <a:gd name="connsiteX2374" fmla="*/ 388620 w 2370773"/>
                <a:gd name="connsiteY2374" fmla="*/ 826770 h 1940242"/>
                <a:gd name="connsiteX2375" fmla="*/ 254318 w 2370773"/>
                <a:gd name="connsiteY2375" fmla="*/ 826770 h 1940242"/>
                <a:gd name="connsiteX2376" fmla="*/ 260985 w 2370773"/>
                <a:gd name="connsiteY2376" fmla="*/ 833437 h 1940242"/>
                <a:gd name="connsiteX2377" fmla="*/ 254318 w 2370773"/>
                <a:gd name="connsiteY2377" fmla="*/ 840105 h 1940242"/>
                <a:gd name="connsiteX2378" fmla="*/ 247650 w 2370773"/>
                <a:gd name="connsiteY2378" fmla="*/ 833437 h 1940242"/>
                <a:gd name="connsiteX2379" fmla="*/ 254318 w 2370773"/>
                <a:gd name="connsiteY2379" fmla="*/ 826770 h 1940242"/>
                <a:gd name="connsiteX2380" fmla="*/ 663893 w 2370773"/>
                <a:gd name="connsiteY2380" fmla="*/ 825817 h 1940242"/>
                <a:gd name="connsiteX2381" fmla="*/ 665798 w 2370773"/>
                <a:gd name="connsiteY2381" fmla="*/ 827722 h 1940242"/>
                <a:gd name="connsiteX2382" fmla="*/ 663893 w 2370773"/>
                <a:gd name="connsiteY2382" fmla="*/ 829627 h 1940242"/>
                <a:gd name="connsiteX2383" fmla="*/ 661988 w 2370773"/>
                <a:gd name="connsiteY2383" fmla="*/ 827722 h 1940242"/>
                <a:gd name="connsiteX2384" fmla="*/ 663893 w 2370773"/>
                <a:gd name="connsiteY2384" fmla="*/ 825817 h 1940242"/>
                <a:gd name="connsiteX2385" fmla="*/ 120968 w 2370773"/>
                <a:gd name="connsiteY2385" fmla="*/ 824864 h 1940242"/>
                <a:gd name="connsiteX2386" fmla="*/ 129540 w 2370773"/>
                <a:gd name="connsiteY2386" fmla="*/ 833437 h 1940242"/>
                <a:gd name="connsiteX2387" fmla="*/ 120968 w 2370773"/>
                <a:gd name="connsiteY2387" fmla="*/ 842009 h 1940242"/>
                <a:gd name="connsiteX2388" fmla="*/ 112395 w 2370773"/>
                <a:gd name="connsiteY2388" fmla="*/ 833437 h 1940242"/>
                <a:gd name="connsiteX2389" fmla="*/ 120968 w 2370773"/>
                <a:gd name="connsiteY2389" fmla="*/ 824864 h 1940242"/>
                <a:gd name="connsiteX2390" fmla="*/ 2354580 w 2370773"/>
                <a:gd name="connsiteY2390" fmla="*/ 803910 h 1940242"/>
                <a:gd name="connsiteX2391" fmla="*/ 2356485 w 2370773"/>
                <a:gd name="connsiteY2391" fmla="*/ 805815 h 1940242"/>
                <a:gd name="connsiteX2392" fmla="*/ 2354580 w 2370773"/>
                <a:gd name="connsiteY2392" fmla="*/ 807720 h 1940242"/>
                <a:gd name="connsiteX2393" fmla="*/ 2352675 w 2370773"/>
                <a:gd name="connsiteY2393" fmla="*/ 805815 h 1940242"/>
                <a:gd name="connsiteX2394" fmla="*/ 2354580 w 2370773"/>
                <a:gd name="connsiteY2394" fmla="*/ 803910 h 1940242"/>
                <a:gd name="connsiteX2395" fmla="*/ 47625 w 2370773"/>
                <a:gd name="connsiteY2395" fmla="*/ 802957 h 1940242"/>
                <a:gd name="connsiteX2396" fmla="*/ 51435 w 2370773"/>
                <a:gd name="connsiteY2396" fmla="*/ 806767 h 1940242"/>
                <a:gd name="connsiteX2397" fmla="*/ 47625 w 2370773"/>
                <a:gd name="connsiteY2397" fmla="*/ 810577 h 1940242"/>
                <a:gd name="connsiteX2398" fmla="*/ 43815 w 2370773"/>
                <a:gd name="connsiteY2398" fmla="*/ 806767 h 1940242"/>
                <a:gd name="connsiteX2399" fmla="*/ 47625 w 2370773"/>
                <a:gd name="connsiteY2399" fmla="*/ 802957 h 1940242"/>
                <a:gd name="connsiteX2400" fmla="*/ 2287905 w 2370773"/>
                <a:gd name="connsiteY2400" fmla="*/ 802004 h 1940242"/>
                <a:gd name="connsiteX2401" fmla="*/ 2290762 w 2370773"/>
                <a:gd name="connsiteY2401" fmla="*/ 804862 h 1940242"/>
                <a:gd name="connsiteX2402" fmla="*/ 2287905 w 2370773"/>
                <a:gd name="connsiteY2402" fmla="*/ 807719 h 1940242"/>
                <a:gd name="connsiteX2403" fmla="*/ 2285047 w 2370773"/>
                <a:gd name="connsiteY2403" fmla="*/ 804862 h 1940242"/>
                <a:gd name="connsiteX2404" fmla="*/ 2287905 w 2370773"/>
                <a:gd name="connsiteY2404" fmla="*/ 802004 h 1940242"/>
                <a:gd name="connsiteX2405" fmla="*/ 2154555 w 2370773"/>
                <a:gd name="connsiteY2405" fmla="*/ 802004 h 1940242"/>
                <a:gd name="connsiteX2406" fmla="*/ 2156460 w 2370773"/>
                <a:gd name="connsiteY2406" fmla="*/ 803909 h 1940242"/>
                <a:gd name="connsiteX2407" fmla="*/ 2154555 w 2370773"/>
                <a:gd name="connsiteY2407" fmla="*/ 805814 h 1940242"/>
                <a:gd name="connsiteX2408" fmla="*/ 2152650 w 2370773"/>
                <a:gd name="connsiteY2408" fmla="*/ 803909 h 1940242"/>
                <a:gd name="connsiteX2409" fmla="*/ 2154555 w 2370773"/>
                <a:gd name="connsiteY2409" fmla="*/ 802004 h 1940242"/>
                <a:gd name="connsiteX2410" fmla="*/ 2221230 w 2370773"/>
                <a:gd name="connsiteY2410" fmla="*/ 801052 h 1940242"/>
                <a:gd name="connsiteX2411" fmla="*/ 2225040 w 2370773"/>
                <a:gd name="connsiteY2411" fmla="*/ 804862 h 1940242"/>
                <a:gd name="connsiteX2412" fmla="*/ 2221230 w 2370773"/>
                <a:gd name="connsiteY2412" fmla="*/ 808672 h 1940242"/>
                <a:gd name="connsiteX2413" fmla="*/ 2217420 w 2370773"/>
                <a:gd name="connsiteY2413" fmla="*/ 804862 h 1940242"/>
                <a:gd name="connsiteX2414" fmla="*/ 2221230 w 2370773"/>
                <a:gd name="connsiteY2414" fmla="*/ 801052 h 1940242"/>
                <a:gd name="connsiteX2415" fmla="*/ 582930 w 2370773"/>
                <a:gd name="connsiteY2415" fmla="*/ 800100 h 1940242"/>
                <a:gd name="connsiteX2416" fmla="*/ 584835 w 2370773"/>
                <a:gd name="connsiteY2416" fmla="*/ 802005 h 1940242"/>
                <a:gd name="connsiteX2417" fmla="*/ 582930 w 2370773"/>
                <a:gd name="connsiteY2417" fmla="*/ 803910 h 1940242"/>
                <a:gd name="connsiteX2418" fmla="*/ 581025 w 2370773"/>
                <a:gd name="connsiteY2418" fmla="*/ 802005 h 1940242"/>
                <a:gd name="connsiteX2419" fmla="*/ 582930 w 2370773"/>
                <a:gd name="connsiteY2419" fmla="*/ 800100 h 1940242"/>
                <a:gd name="connsiteX2420" fmla="*/ 446722 w 2370773"/>
                <a:gd name="connsiteY2420" fmla="*/ 798195 h 1940242"/>
                <a:gd name="connsiteX2421" fmla="*/ 452437 w 2370773"/>
                <a:gd name="connsiteY2421" fmla="*/ 803910 h 1940242"/>
                <a:gd name="connsiteX2422" fmla="*/ 446722 w 2370773"/>
                <a:gd name="connsiteY2422" fmla="*/ 809625 h 1940242"/>
                <a:gd name="connsiteX2423" fmla="*/ 441007 w 2370773"/>
                <a:gd name="connsiteY2423" fmla="*/ 803910 h 1940242"/>
                <a:gd name="connsiteX2424" fmla="*/ 446722 w 2370773"/>
                <a:gd name="connsiteY2424" fmla="*/ 798195 h 1940242"/>
                <a:gd name="connsiteX2425" fmla="*/ 180023 w 2370773"/>
                <a:gd name="connsiteY2425" fmla="*/ 798195 h 1940242"/>
                <a:gd name="connsiteX2426" fmla="*/ 187643 w 2370773"/>
                <a:gd name="connsiteY2426" fmla="*/ 805815 h 1940242"/>
                <a:gd name="connsiteX2427" fmla="*/ 180023 w 2370773"/>
                <a:gd name="connsiteY2427" fmla="*/ 813435 h 1940242"/>
                <a:gd name="connsiteX2428" fmla="*/ 172403 w 2370773"/>
                <a:gd name="connsiteY2428" fmla="*/ 805815 h 1940242"/>
                <a:gd name="connsiteX2429" fmla="*/ 180023 w 2370773"/>
                <a:gd name="connsiteY2429" fmla="*/ 798195 h 1940242"/>
                <a:gd name="connsiteX2430" fmla="*/ 312420 w 2370773"/>
                <a:gd name="connsiteY2430" fmla="*/ 794385 h 1940242"/>
                <a:gd name="connsiteX2431" fmla="*/ 322898 w 2370773"/>
                <a:gd name="connsiteY2431" fmla="*/ 804862 h 1940242"/>
                <a:gd name="connsiteX2432" fmla="*/ 312420 w 2370773"/>
                <a:gd name="connsiteY2432" fmla="*/ 815340 h 1940242"/>
                <a:gd name="connsiteX2433" fmla="*/ 301943 w 2370773"/>
                <a:gd name="connsiteY2433" fmla="*/ 804862 h 1940242"/>
                <a:gd name="connsiteX2434" fmla="*/ 312420 w 2370773"/>
                <a:gd name="connsiteY2434" fmla="*/ 794385 h 1940242"/>
                <a:gd name="connsiteX2435" fmla="*/ 641032 w 2370773"/>
                <a:gd name="connsiteY2435" fmla="*/ 772477 h 1940242"/>
                <a:gd name="connsiteX2436" fmla="*/ 642937 w 2370773"/>
                <a:gd name="connsiteY2436" fmla="*/ 774382 h 1940242"/>
                <a:gd name="connsiteX2437" fmla="*/ 641032 w 2370773"/>
                <a:gd name="connsiteY2437" fmla="*/ 776287 h 1940242"/>
                <a:gd name="connsiteX2438" fmla="*/ 639127 w 2370773"/>
                <a:gd name="connsiteY2438" fmla="*/ 774382 h 1940242"/>
                <a:gd name="connsiteX2439" fmla="*/ 641032 w 2370773"/>
                <a:gd name="connsiteY2439" fmla="*/ 772477 h 1940242"/>
                <a:gd name="connsiteX2440" fmla="*/ 505777 w 2370773"/>
                <a:gd name="connsiteY2440" fmla="*/ 772477 h 1940242"/>
                <a:gd name="connsiteX2441" fmla="*/ 508635 w 2370773"/>
                <a:gd name="connsiteY2441" fmla="*/ 775335 h 1940242"/>
                <a:gd name="connsiteX2442" fmla="*/ 505777 w 2370773"/>
                <a:gd name="connsiteY2442" fmla="*/ 778192 h 1940242"/>
                <a:gd name="connsiteX2443" fmla="*/ 502920 w 2370773"/>
                <a:gd name="connsiteY2443" fmla="*/ 775335 h 1940242"/>
                <a:gd name="connsiteX2444" fmla="*/ 505777 w 2370773"/>
                <a:gd name="connsiteY2444" fmla="*/ 772477 h 1940242"/>
                <a:gd name="connsiteX2445" fmla="*/ 239078 w 2370773"/>
                <a:gd name="connsiteY2445" fmla="*/ 771525 h 1940242"/>
                <a:gd name="connsiteX2446" fmla="*/ 244793 w 2370773"/>
                <a:gd name="connsiteY2446" fmla="*/ 777240 h 1940242"/>
                <a:gd name="connsiteX2447" fmla="*/ 239078 w 2370773"/>
                <a:gd name="connsiteY2447" fmla="*/ 782955 h 1940242"/>
                <a:gd name="connsiteX2448" fmla="*/ 233363 w 2370773"/>
                <a:gd name="connsiteY2448" fmla="*/ 777240 h 1940242"/>
                <a:gd name="connsiteX2449" fmla="*/ 239078 w 2370773"/>
                <a:gd name="connsiteY2449" fmla="*/ 771525 h 1940242"/>
                <a:gd name="connsiteX2450" fmla="*/ 371475 w 2370773"/>
                <a:gd name="connsiteY2450" fmla="*/ 770572 h 1940242"/>
                <a:gd name="connsiteX2451" fmla="*/ 378142 w 2370773"/>
                <a:gd name="connsiteY2451" fmla="*/ 777239 h 1940242"/>
                <a:gd name="connsiteX2452" fmla="*/ 371475 w 2370773"/>
                <a:gd name="connsiteY2452" fmla="*/ 783907 h 1940242"/>
                <a:gd name="connsiteX2453" fmla="*/ 364807 w 2370773"/>
                <a:gd name="connsiteY2453" fmla="*/ 777239 h 1940242"/>
                <a:gd name="connsiteX2454" fmla="*/ 371475 w 2370773"/>
                <a:gd name="connsiteY2454" fmla="*/ 770572 h 1940242"/>
                <a:gd name="connsiteX2455" fmla="*/ 107633 w 2370773"/>
                <a:gd name="connsiteY2455" fmla="*/ 770572 h 1940242"/>
                <a:gd name="connsiteX2456" fmla="*/ 115253 w 2370773"/>
                <a:gd name="connsiteY2456" fmla="*/ 778192 h 1940242"/>
                <a:gd name="connsiteX2457" fmla="*/ 107633 w 2370773"/>
                <a:gd name="connsiteY2457" fmla="*/ 785812 h 1940242"/>
                <a:gd name="connsiteX2458" fmla="*/ 100013 w 2370773"/>
                <a:gd name="connsiteY2458" fmla="*/ 778192 h 1940242"/>
                <a:gd name="connsiteX2459" fmla="*/ 107633 w 2370773"/>
                <a:gd name="connsiteY2459" fmla="*/ 770572 h 1940242"/>
                <a:gd name="connsiteX2460" fmla="*/ 2236470 w 2370773"/>
                <a:gd name="connsiteY2460" fmla="*/ 748664 h 1940242"/>
                <a:gd name="connsiteX2461" fmla="*/ 2237422 w 2370773"/>
                <a:gd name="connsiteY2461" fmla="*/ 749616 h 1940242"/>
                <a:gd name="connsiteX2462" fmla="*/ 2236470 w 2370773"/>
                <a:gd name="connsiteY2462" fmla="*/ 750569 h 1940242"/>
                <a:gd name="connsiteX2463" fmla="*/ 2235517 w 2370773"/>
                <a:gd name="connsiteY2463" fmla="*/ 749616 h 1940242"/>
                <a:gd name="connsiteX2464" fmla="*/ 2236470 w 2370773"/>
                <a:gd name="connsiteY2464" fmla="*/ 748664 h 1940242"/>
                <a:gd name="connsiteX2465" fmla="*/ 2368868 w 2370773"/>
                <a:gd name="connsiteY2465" fmla="*/ 747712 h 1940242"/>
                <a:gd name="connsiteX2466" fmla="*/ 2370773 w 2370773"/>
                <a:gd name="connsiteY2466" fmla="*/ 749617 h 1940242"/>
                <a:gd name="connsiteX2467" fmla="*/ 2368868 w 2370773"/>
                <a:gd name="connsiteY2467" fmla="*/ 751522 h 1940242"/>
                <a:gd name="connsiteX2468" fmla="*/ 2366963 w 2370773"/>
                <a:gd name="connsiteY2468" fmla="*/ 749617 h 1940242"/>
                <a:gd name="connsiteX2469" fmla="*/ 2368868 w 2370773"/>
                <a:gd name="connsiteY2469" fmla="*/ 747712 h 1940242"/>
                <a:gd name="connsiteX2470" fmla="*/ 2303145 w 2370773"/>
                <a:gd name="connsiteY2470" fmla="*/ 746760 h 1940242"/>
                <a:gd name="connsiteX2471" fmla="*/ 2305050 w 2370773"/>
                <a:gd name="connsiteY2471" fmla="*/ 748665 h 1940242"/>
                <a:gd name="connsiteX2472" fmla="*/ 2303145 w 2370773"/>
                <a:gd name="connsiteY2472" fmla="*/ 750570 h 1940242"/>
                <a:gd name="connsiteX2473" fmla="*/ 2301240 w 2370773"/>
                <a:gd name="connsiteY2473" fmla="*/ 748665 h 1940242"/>
                <a:gd name="connsiteX2474" fmla="*/ 2303145 w 2370773"/>
                <a:gd name="connsiteY2474" fmla="*/ 746760 h 1940242"/>
                <a:gd name="connsiteX2475" fmla="*/ 36196 w 2370773"/>
                <a:gd name="connsiteY2475" fmla="*/ 746760 h 1940242"/>
                <a:gd name="connsiteX2476" fmla="*/ 39053 w 2370773"/>
                <a:gd name="connsiteY2476" fmla="*/ 749617 h 1940242"/>
                <a:gd name="connsiteX2477" fmla="*/ 36196 w 2370773"/>
                <a:gd name="connsiteY2477" fmla="*/ 752475 h 1940242"/>
                <a:gd name="connsiteX2478" fmla="*/ 33338 w 2370773"/>
                <a:gd name="connsiteY2478" fmla="*/ 749617 h 1940242"/>
                <a:gd name="connsiteX2479" fmla="*/ 36196 w 2370773"/>
                <a:gd name="connsiteY2479" fmla="*/ 746760 h 1940242"/>
                <a:gd name="connsiteX2480" fmla="*/ 699135 w 2370773"/>
                <a:gd name="connsiteY2480" fmla="*/ 745807 h 1940242"/>
                <a:gd name="connsiteX2481" fmla="*/ 700088 w 2370773"/>
                <a:gd name="connsiteY2481" fmla="*/ 746759 h 1940242"/>
                <a:gd name="connsiteX2482" fmla="*/ 699135 w 2370773"/>
                <a:gd name="connsiteY2482" fmla="*/ 747712 h 1940242"/>
                <a:gd name="connsiteX2483" fmla="*/ 698183 w 2370773"/>
                <a:gd name="connsiteY2483" fmla="*/ 746759 h 1940242"/>
                <a:gd name="connsiteX2484" fmla="*/ 699135 w 2370773"/>
                <a:gd name="connsiteY2484" fmla="*/ 745807 h 1940242"/>
                <a:gd name="connsiteX2485" fmla="*/ 563880 w 2370773"/>
                <a:gd name="connsiteY2485" fmla="*/ 745807 h 1940242"/>
                <a:gd name="connsiteX2486" fmla="*/ 565785 w 2370773"/>
                <a:gd name="connsiteY2486" fmla="*/ 747712 h 1940242"/>
                <a:gd name="connsiteX2487" fmla="*/ 563880 w 2370773"/>
                <a:gd name="connsiteY2487" fmla="*/ 749617 h 1940242"/>
                <a:gd name="connsiteX2488" fmla="*/ 561975 w 2370773"/>
                <a:gd name="connsiteY2488" fmla="*/ 747712 h 1940242"/>
                <a:gd name="connsiteX2489" fmla="*/ 563880 w 2370773"/>
                <a:gd name="connsiteY2489" fmla="*/ 745807 h 1940242"/>
                <a:gd name="connsiteX2490" fmla="*/ 430530 w 2370773"/>
                <a:gd name="connsiteY2490" fmla="*/ 744854 h 1940242"/>
                <a:gd name="connsiteX2491" fmla="*/ 434340 w 2370773"/>
                <a:gd name="connsiteY2491" fmla="*/ 748664 h 1940242"/>
                <a:gd name="connsiteX2492" fmla="*/ 430530 w 2370773"/>
                <a:gd name="connsiteY2492" fmla="*/ 752474 h 1940242"/>
                <a:gd name="connsiteX2493" fmla="*/ 426720 w 2370773"/>
                <a:gd name="connsiteY2493" fmla="*/ 748664 h 1940242"/>
                <a:gd name="connsiteX2494" fmla="*/ 430530 w 2370773"/>
                <a:gd name="connsiteY2494" fmla="*/ 744854 h 1940242"/>
                <a:gd name="connsiteX2495" fmla="*/ 166688 w 2370773"/>
                <a:gd name="connsiteY2495" fmla="*/ 742950 h 1940242"/>
                <a:gd name="connsiteX2496" fmla="*/ 173355 w 2370773"/>
                <a:gd name="connsiteY2496" fmla="*/ 749617 h 1940242"/>
                <a:gd name="connsiteX2497" fmla="*/ 166688 w 2370773"/>
                <a:gd name="connsiteY2497" fmla="*/ 756285 h 1940242"/>
                <a:gd name="connsiteX2498" fmla="*/ 160020 w 2370773"/>
                <a:gd name="connsiteY2498" fmla="*/ 749617 h 1940242"/>
                <a:gd name="connsiteX2499" fmla="*/ 166688 w 2370773"/>
                <a:gd name="connsiteY2499" fmla="*/ 742950 h 1940242"/>
                <a:gd name="connsiteX2500" fmla="*/ 298133 w 2370773"/>
                <a:gd name="connsiteY2500" fmla="*/ 741997 h 1940242"/>
                <a:gd name="connsiteX2501" fmla="*/ 305753 w 2370773"/>
                <a:gd name="connsiteY2501" fmla="*/ 749617 h 1940242"/>
                <a:gd name="connsiteX2502" fmla="*/ 298133 w 2370773"/>
                <a:gd name="connsiteY2502" fmla="*/ 757237 h 1940242"/>
                <a:gd name="connsiteX2503" fmla="*/ 290513 w 2370773"/>
                <a:gd name="connsiteY2503" fmla="*/ 749617 h 1940242"/>
                <a:gd name="connsiteX2504" fmla="*/ 298133 w 2370773"/>
                <a:gd name="connsiteY2504" fmla="*/ 741997 h 1940242"/>
                <a:gd name="connsiteX2505" fmla="*/ 622935 w 2370773"/>
                <a:gd name="connsiteY2505" fmla="*/ 717232 h 1940242"/>
                <a:gd name="connsiteX2506" fmla="*/ 624840 w 2370773"/>
                <a:gd name="connsiteY2506" fmla="*/ 719137 h 1940242"/>
                <a:gd name="connsiteX2507" fmla="*/ 622935 w 2370773"/>
                <a:gd name="connsiteY2507" fmla="*/ 721042 h 1940242"/>
                <a:gd name="connsiteX2508" fmla="*/ 621030 w 2370773"/>
                <a:gd name="connsiteY2508" fmla="*/ 719137 h 1940242"/>
                <a:gd name="connsiteX2509" fmla="*/ 622935 w 2370773"/>
                <a:gd name="connsiteY2509" fmla="*/ 717232 h 1940242"/>
                <a:gd name="connsiteX2510" fmla="*/ 489585 w 2370773"/>
                <a:gd name="connsiteY2510" fmla="*/ 717232 h 1940242"/>
                <a:gd name="connsiteX2511" fmla="*/ 492442 w 2370773"/>
                <a:gd name="connsiteY2511" fmla="*/ 720089 h 1940242"/>
                <a:gd name="connsiteX2512" fmla="*/ 489585 w 2370773"/>
                <a:gd name="connsiteY2512" fmla="*/ 722947 h 1940242"/>
                <a:gd name="connsiteX2513" fmla="*/ 486727 w 2370773"/>
                <a:gd name="connsiteY2513" fmla="*/ 720089 h 1940242"/>
                <a:gd name="connsiteX2514" fmla="*/ 489585 w 2370773"/>
                <a:gd name="connsiteY2514" fmla="*/ 717232 h 1940242"/>
                <a:gd name="connsiteX2515" fmla="*/ 358140 w 2370773"/>
                <a:gd name="connsiteY2515" fmla="*/ 716279 h 1940242"/>
                <a:gd name="connsiteX2516" fmla="*/ 362902 w 2370773"/>
                <a:gd name="connsiteY2516" fmla="*/ 721042 h 1940242"/>
                <a:gd name="connsiteX2517" fmla="*/ 358140 w 2370773"/>
                <a:gd name="connsiteY2517" fmla="*/ 725804 h 1940242"/>
                <a:gd name="connsiteX2518" fmla="*/ 353377 w 2370773"/>
                <a:gd name="connsiteY2518" fmla="*/ 721042 h 1940242"/>
                <a:gd name="connsiteX2519" fmla="*/ 358140 w 2370773"/>
                <a:gd name="connsiteY2519" fmla="*/ 716279 h 1940242"/>
                <a:gd name="connsiteX2520" fmla="*/ 226695 w 2370773"/>
                <a:gd name="connsiteY2520" fmla="*/ 715327 h 1940242"/>
                <a:gd name="connsiteX2521" fmla="*/ 232410 w 2370773"/>
                <a:gd name="connsiteY2521" fmla="*/ 721042 h 1940242"/>
                <a:gd name="connsiteX2522" fmla="*/ 226695 w 2370773"/>
                <a:gd name="connsiteY2522" fmla="*/ 726757 h 1940242"/>
                <a:gd name="connsiteX2523" fmla="*/ 220980 w 2370773"/>
                <a:gd name="connsiteY2523" fmla="*/ 721042 h 1940242"/>
                <a:gd name="connsiteX2524" fmla="*/ 226695 w 2370773"/>
                <a:gd name="connsiteY2524" fmla="*/ 715327 h 1940242"/>
                <a:gd name="connsiteX2525" fmla="*/ 96202 w 2370773"/>
                <a:gd name="connsiteY2525" fmla="*/ 713422 h 1940242"/>
                <a:gd name="connsiteX2526" fmla="*/ 103822 w 2370773"/>
                <a:gd name="connsiteY2526" fmla="*/ 721042 h 1940242"/>
                <a:gd name="connsiteX2527" fmla="*/ 96202 w 2370773"/>
                <a:gd name="connsiteY2527" fmla="*/ 728662 h 1940242"/>
                <a:gd name="connsiteX2528" fmla="*/ 88582 w 2370773"/>
                <a:gd name="connsiteY2528" fmla="*/ 721042 h 1940242"/>
                <a:gd name="connsiteX2529" fmla="*/ 96202 w 2370773"/>
                <a:gd name="connsiteY2529" fmla="*/ 713422 h 1940242"/>
                <a:gd name="connsiteX2530" fmla="*/ 27622 w 2370773"/>
                <a:gd name="connsiteY2530" fmla="*/ 691514 h 1940242"/>
                <a:gd name="connsiteX2531" fmla="*/ 29527 w 2370773"/>
                <a:gd name="connsiteY2531" fmla="*/ 693419 h 1940242"/>
                <a:gd name="connsiteX2532" fmla="*/ 27622 w 2370773"/>
                <a:gd name="connsiteY2532" fmla="*/ 695324 h 1940242"/>
                <a:gd name="connsiteX2533" fmla="*/ 25717 w 2370773"/>
                <a:gd name="connsiteY2533" fmla="*/ 693419 h 1940242"/>
                <a:gd name="connsiteX2534" fmla="*/ 27622 w 2370773"/>
                <a:gd name="connsiteY2534" fmla="*/ 691514 h 1940242"/>
                <a:gd name="connsiteX2535" fmla="*/ 2313622 w 2370773"/>
                <a:gd name="connsiteY2535" fmla="*/ 690562 h 1940242"/>
                <a:gd name="connsiteX2536" fmla="*/ 2315527 w 2370773"/>
                <a:gd name="connsiteY2536" fmla="*/ 692467 h 1940242"/>
                <a:gd name="connsiteX2537" fmla="*/ 2313622 w 2370773"/>
                <a:gd name="connsiteY2537" fmla="*/ 694372 h 1940242"/>
                <a:gd name="connsiteX2538" fmla="*/ 2311717 w 2370773"/>
                <a:gd name="connsiteY2538" fmla="*/ 692467 h 1940242"/>
                <a:gd name="connsiteX2539" fmla="*/ 2313622 w 2370773"/>
                <a:gd name="connsiteY2539" fmla="*/ 690562 h 1940242"/>
                <a:gd name="connsiteX2540" fmla="*/ 2248852 w 2370773"/>
                <a:gd name="connsiteY2540" fmla="*/ 690562 h 1940242"/>
                <a:gd name="connsiteX2541" fmla="*/ 2250757 w 2370773"/>
                <a:gd name="connsiteY2541" fmla="*/ 692467 h 1940242"/>
                <a:gd name="connsiteX2542" fmla="*/ 2248852 w 2370773"/>
                <a:gd name="connsiteY2542" fmla="*/ 694372 h 1940242"/>
                <a:gd name="connsiteX2543" fmla="*/ 2246947 w 2370773"/>
                <a:gd name="connsiteY2543" fmla="*/ 692467 h 1940242"/>
                <a:gd name="connsiteX2544" fmla="*/ 2248852 w 2370773"/>
                <a:gd name="connsiteY2544" fmla="*/ 690562 h 1940242"/>
                <a:gd name="connsiteX2545" fmla="*/ 548640 w 2370773"/>
                <a:gd name="connsiteY2545" fmla="*/ 690562 h 1940242"/>
                <a:gd name="connsiteX2546" fmla="*/ 550545 w 2370773"/>
                <a:gd name="connsiteY2546" fmla="*/ 692467 h 1940242"/>
                <a:gd name="connsiteX2547" fmla="*/ 548640 w 2370773"/>
                <a:gd name="connsiteY2547" fmla="*/ 694372 h 1940242"/>
                <a:gd name="connsiteX2548" fmla="*/ 546735 w 2370773"/>
                <a:gd name="connsiteY2548" fmla="*/ 692467 h 1940242"/>
                <a:gd name="connsiteX2549" fmla="*/ 548640 w 2370773"/>
                <a:gd name="connsiteY2549" fmla="*/ 690562 h 1940242"/>
                <a:gd name="connsiteX2550" fmla="*/ 418148 w 2370773"/>
                <a:gd name="connsiteY2550" fmla="*/ 688657 h 1940242"/>
                <a:gd name="connsiteX2551" fmla="*/ 421958 w 2370773"/>
                <a:gd name="connsiteY2551" fmla="*/ 692467 h 1940242"/>
                <a:gd name="connsiteX2552" fmla="*/ 418148 w 2370773"/>
                <a:gd name="connsiteY2552" fmla="*/ 696277 h 1940242"/>
                <a:gd name="connsiteX2553" fmla="*/ 414338 w 2370773"/>
                <a:gd name="connsiteY2553" fmla="*/ 692467 h 1940242"/>
                <a:gd name="connsiteX2554" fmla="*/ 418148 w 2370773"/>
                <a:gd name="connsiteY2554" fmla="*/ 688657 h 1940242"/>
                <a:gd name="connsiteX2555" fmla="*/ 157163 w 2370773"/>
                <a:gd name="connsiteY2555" fmla="*/ 688657 h 1940242"/>
                <a:gd name="connsiteX2556" fmla="*/ 161925 w 2370773"/>
                <a:gd name="connsiteY2556" fmla="*/ 693420 h 1940242"/>
                <a:gd name="connsiteX2557" fmla="*/ 157163 w 2370773"/>
                <a:gd name="connsiteY2557" fmla="*/ 698182 h 1940242"/>
                <a:gd name="connsiteX2558" fmla="*/ 152400 w 2370773"/>
                <a:gd name="connsiteY2558" fmla="*/ 693420 h 1940242"/>
                <a:gd name="connsiteX2559" fmla="*/ 157163 w 2370773"/>
                <a:gd name="connsiteY2559" fmla="*/ 688657 h 1940242"/>
                <a:gd name="connsiteX2560" fmla="*/ 287655 w 2370773"/>
                <a:gd name="connsiteY2560" fmla="*/ 686752 h 1940242"/>
                <a:gd name="connsiteX2561" fmla="*/ 294322 w 2370773"/>
                <a:gd name="connsiteY2561" fmla="*/ 693420 h 1940242"/>
                <a:gd name="connsiteX2562" fmla="*/ 287655 w 2370773"/>
                <a:gd name="connsiteY2562" fmla="*/ 700087 h 1940242"/>
                <a:gd name="connsiteX2563" fmla="*/ 280987 w 2370773"/>
                <a:gd name="connsiteY2563" fmla="*/ 693420 h 1940242"/>
                <a:gd name="connsiteX2564" fmla="*/ 287655 w 2370773"/>
                <a:gd name="connsiteY2564" fmla="*/ 686752 h 1940242"/>
                <a:gd name="connsiteX2565" fmla="*/ 608647 w 2370773"/>
                <a:gd name="connsiteY2565" fmla="*/ 661987 h 1940242"/>
                <a:gd name="connsiteX2566" fmla="*/ 610552 w 2370773"/>
                <a:gd name="connsiteY2566" fmla="*/ 663892 h 1940242"/>
                <a:gd name="connsiteX2567" fmla="*/ 608647 w 2370773"/>
                <a:gd name="connsiteY2567" fmla="*/ 665797 h 1940242"/>
                <a:gd name="connsiteX2568" fmla="*/ 606742 w 2370773"/>
                <a:gd name="connsiteY2568" fmla="*/ 663892 h 1940242"/>
                <a:gd name="connsiteX2569" fmla="*/ 608647 w 2370773"/>
                <a:gd name="connsiteY2569" fmla="*/ 661987 h 1940242"/>
                <a:gd name="connsiteX2570" fmla="*/ 478155 w 2370773"/>
                <a:gd name="connsiteY2570" fmla="*/ 661035 h 1940242"/>
                <a:gd name="connsiteX2571" fmla="*/ 481013 w 2370773"/>
                <a:gd name="connsiteY2571" fmla="*/ 663892 h 1940242"/>
                <a:gd name="connsiteX2572" fmla="*/ 478155 w 2370773"/>
                <a:gd name="connsiteY2572" fmla="*/ 666750 h 1940242"/>
                <a:gd name="connsiteX2573" fmla="*/ 475298 w 2370773"/>
                <a:gd name="connsiteY2573" fmla="*/ 663892 h 1940242"/>
                <a:gd name="connsiteX2574" fmla="*/ 478155 w 2370773"/>
                <a:gd name="connsiteY2574" fmla="*/ 661035 h 1940242"/>
                <a:gd name="connsiteX2575" fmla="*/ 347663 w 2370773"/>
                <a:gd name="connsiteY2575" fmla="*/ 659129 h 1940242"/>
                <a:gd name="connsiteX2576" fmla="*/ 352425 w 2370773"/>
                <a:gd name="connsiteY2576" fmla="*/ 663892 h 1940242"/>
                <a:gd name="connsiteX2577" fmla="*/ 347663 w 2370773"/>
                <a:gd name="connsiteY2577" fmla="*/ 668654 h 1940242"/>
                <a:gd name="connsiteX2578" fmla="*/ 342900 w 2370773"/>
                <a:gd name="connsiteY2578" fmla="*/ 663892 h 1940242"/>
                <a:gd name="connsiteX2579" fmla="*/ 347663 w 2370773"/>
                <a:gd name="connsiteY2579" fmla="*/ 659129 h 1940242"/>
                <a:gd name="connsiteX2580" fmla="*/ 88582 w 2370773"/>
                <a:gd name="connsiteY2580" fmla="*/ 658177 h 1940242"/>
                <a:gd name="connsiteX2581" fmla="*/ 95250 w 2370773"/>
                <a:gd name="connsiteY2581" fmla="*/ 664845 h 1940242"/>
                <a:gd name="connsiteX2582" fmla="*/ 88582 w 2370773"/>
                <a:gd name="connsiteY2582" fmla="*/ 671512 h 1940242"/>
                <a:gd name="connsiteX2583" fmla="*/ 81915 w 2370773"/>
                <a:gd name="connsiteY2583" fmla="*/ 664845 h 1940242"/>
                <a:gd name="connsiteX2584" fmla="*/ 88582 w 2370773"/>
                <a:gd name="connsiteY2584" fmla="*/ 658177 h 1940242"/>
                <a:gd name="connsiteX2585" fmla="*/ 218123 w 2370773"/>
                <a:gd name="connsiteY2585" fmla="*/ 657225 h 1940242"/>
                <a:gd name="connsiteX2586" fmla="*/ 225743 w 2370773"/>
                <a:gd name="connsiteY2586" fmla="*/ 663892 h 1940242"/>
                <a:gd name="connsiteX2587" fmla="*/ 218123 w 2370773"/>
                <a:gd name="connsiteY2587" fmla="*/ 671513 h 1940242"/>
                <a:gd name="connsiteX2588" fmla="*/ 210503 w 2370773"/>
                <a:gd name="connsiteY2588" fmla="*/ 664845 h 1940242"/>
                <a:gd name="connsiteX2589" fmla="*/ 218123 w 2370773"/>
                <a:gd name="connsiteY2589" fmla="*/ 657225 h 1940242"/>
                <a:gd name="connsiteX2590" fmla="*/ 2322195 w 2370773"/>
                <a:gd name="connsiteY2590" fmla="*/ 635317 h 1940242"/>
                <a:gd name="connsiteX2591" fmla="*/ 2323147 w 2370773"/>
                <a:gd name="connsiteY2591" fmla="*/ 636270 h 1940242"/>
                <a:gd name="connsiteX2592" fmla="*/ 2322195 w 2370773"/>
                <a:gd name="connsiteY2592" fmla="*/ 637222 h 1940242"/>
                <a:gd name="connsiteX2593" fmla="*/ 2321242 w 2370773"/>
                <a:gd name="connsiteY2593" fmla="*/ 636270 h 1940242"/>
                <a:gd name="connsiteX2594" fmla="*/ 2322195 w 2370773"/>
                <a:gd name="connsiteY2594" fmla="*/ 635317 h 1940242"/>
                <a:gd name="connsiteX2595" fmla="*/ 20955 w 2370773"/>
                <a:gd name="connsiteY2595" fmla="*/ 635317 h 1940242"/>
                <a:gd name="connsiteX2596" fmla="*/ 21908 w 2370773"/>
                <a:gd name="connsiteY2596" fmla="*/ 636270 h 1940242"/>
                <a:gd name="connsiteX2597" fmla="*/ 20955 w 2370773"/>
                <a:gd name="connsiteY2597" fmla="*/ 637222 h 1940242"/>
                <a:gd name="connsiteX2598" fmla="*/ 20003 w 2370773"/>
                <a:gd name="connsiteY2598" fmla="*/ 636270 h 1940242"/>
                <a:gd name="connsiteX2599" fmla="*/ 20955 w 2370773"/>
                <a:gd name="connsiteY2599" fmla="*/ 635317 h 1940242"/>
                <a:gd name="connsiteX2600" fmla="*/ 2192655 w 2370773"/>
                <a:gd name="connsiteY2600" fmla="*/ 634365 h 1940242"/>
                <a:gd name="connsiteX2601" fmla="*/ 2193608 w 2370773"/>
                <a:gd name="connsiteY2601" fmla="*/ 635317 h 1940242"/>
                <a:gd name="connsiteX2602" fmla="*/ 2192655 w 2370773"/>
                <a:gd name="connsiteY2602" fmla="*/ 636270 h 1940242"/>
                <a:gd name="connsiteX2603" fmla="*/ 2191703 w 2370773"/>
                <a:gd name="connsiteY2603" fmla="*/ 635317 h 1940242"/>
                <a:gd name="connsiteX2604" fmla="*/ 2192655 w 2370773"/>
                <a:gd name="connsiteY2604" fmla="*/ 634365 h 1940242"/>
                <a:gd name="connsiteX2605" fmla="*/ 2257425 w 2370773"/>
                <a:gd name="connsiteY2605" fmla="*/ 633412 h 1940242"/>
                <a:gd name="connsiteX2606" fmla="*/ 2259330 w 2370773"/>
                <a:gd name="connsiteY2606" fmla="*/ 635317 h 1940242"/>
                <a:gd name="connsiteX2607" fmla="*/ 2257425 w 2370773"/>
                <a:gd name="connsiteY2607" fmla="*/ 637222 h 1940242"/>
                <a:gd name="connsiteX2608" fmla="*/ 2255520 w 2370773"/>
                <a:gd name="connsiteY2608" fmla="*/ 635317 h 1940242"/>
                <a:gd name="connsiteX2609" fmla="*/ 2257425 w 2370773"/>
                <a:gd name="connsiteY2609" fmla="*/ 633412 h 1940242"/>
                <a:gd name="connsiteX2610" fmla="*/ 538163 w 2370773"/>
                <a:gd name="connsiteY2610" fmla="*/ 633412 h 1940242"/>
                <a:gd name="connsiteX2611" fmla="*/ 540068 w 2370773"/>
                <a:gd name="connsiteY2611" fmla="*/ 635317 h 1940242"/>
                <a:gd name="connsiteX2612" fmla="*/ 538163 w 2370773"/>
                <a:gd name="connsiteY2612" fmla="*/ 637222 h 1940242"/>
                <a:gd name="connsiteX2613" fmla="*/ 536258 w 2370773"/>
                <a:gd name="connsiteY2613" fmla="*/ 635317 h 1940242"/>
                <a:gd name="connsiteX2614" fmla="*/ 538163 w 2370773"/>
                <a:gd name="connsiteY2614" fmla="*/ 633412 h 1940242"/>
                <a:gd name="connsiteX2615" fmla="*/ 408623 w 2370773"/>
                <a:gd name="connsiteY2615" fmla="*/ 630554 h 1940242"/>
                <a:gd name="connsiteX2616" fmla="*/ 413385 w 2370773"/>
                <a:gd name="connsiteY2616" fmla="*/ 635317 h 1940242"/>
                <a:gd name="connsiteX2617" fmla="*/ 408623 w 2370773"/>
                <a:gd name="connsiteY2617" fmla="*/ 640079 h 1940242"/>
                <a:gd name="connsiteX2618" fmla="*/ 403860 w 2370773"/>
                <a:gd name="connsiteY2618" fmla="*/ 635317 h 1940242"/>
                <a:gd name="connsiteX2619" fmla="*/ 408623 w 2370773"/>
                <a:gd name="connsiteY2619" fmla="*/ 630554 h 1940242"/>
                <a:gd name="connsiteX2620" fmla="*/ 279083 w 2370773"/>
                <a:gd name="connsiteY2620" fmla="*/ 629602 h 1940242"/>
                <a:gd name="connsiteX2621" fmla="*/ 285750 w 2370773"/>
                <a:gd name="connsiteY2621" fmla="*/ 636270 h 1940242"/>
                <a:gd name="connsiteX2622" fmla="*/ 279083 w 2370773"/>
                <a:gd name="connsiteY2622" fmla="*/ 642937 h 1940242"/>
                <a:gd name="connsiteX2623" fmla="*/ 272415 w 2370773"/>
                <a:gd name="connsiteY2623" fmla="*/ 636270 h 1940242"/>
                <a:gd name="connsiteX2624" fmla="*/ 279083 w 2370773"/>
                <a:gd name="connsiteY2624" fmla="*/ 629602 h 1940242"/>
                <a:gd name="connsiteX2625" fmla="*/ 149543 w 2370773"/>
                <a:gd name="connsiteY2625" fmla="*/ 629602 h 1940242"/>
                <a:gd name="connsiteX2626" fmla="*/ 155258 w 2370773"/>
                <a:gd name="connsiteY2626" fmla="*/ 635317 h 1940242"/>
                <a:gd name="connsiteX2627" fmla="*/ 149543 w 2370773"/>
                <a:gd name="connsiteY2627" fmla="*/ 641032 h 1940242"/>
                <a:gd name="connsiteX2628" fmla="*/ 143828 w 2370773"/>
                <a:gd name="connsiteY2628" fmla="*/ 635317 h 1940242"/>
                <a:gd name="connsiteX2629" fmla="*/ 149543 w 2370773"/>
                <a:gd name="connsiteY2629" fmla="*/ 629602 h 1940242"/>
                <a:gd name="connsiteX2630" fmla="*/ 599122 w 2370773"/>
                <a:gd name="connsiteY2630" fmla="*/ 606742 h 1940242"/>
                <a:gd name="connsiteX2631" fmla="*/ 600075 w 2370773"/>
                <a:gd name="connsiteY2631" fmla="*/ 607695 h 1940242"/>
                <a:gd name="connsiteX2632" fmla="*/ 599122 w 2370773"/>
                <a:gd name="connsiteY2632" fmla="*/ 608647 h 1940242"/>
                <a:gd name="connsiteX2633" fmla="*/ 598170 w 2370773"/>
                <a:gd name="connsiteY2633" fmla="*/ 607695 h 1940242"/>
                <a:gd name="connsiteX2634" fmla="*/ 599122 w 2370773"/>
                <a:gd name="connsiteY2634" fmla="*/ 606742 h 1940242"/>
                <a:gd name="connsiteX2635" fmla="*/ 469582 w 2370773"/>
                <a:gd name="connsiteY2635" fmla="*/ 605789 h 1940242"/>
                <a:gd name="connsiteX2636" fmla="*/ 471487 w 2370773"/>
                <a:gd name="connsiteY2636" fmla="*/ 607694 h 1940242"/>
                <a:gd name="connsiteX2637" fmla="*/ 469582 w 2370773"/>
                <a:gd name="connsiteY2637" fmla="*/ 609599 h 1940242"/>
                <a:gd name="connsiteX2638" fmla="*/ 467677 w 2370773"/>
                <a:gd name="connsiteY2638" fmla="*/ 607694 h 1940242"/>
                <a:gd name="connsiteX2639" fmla="*/ 469582 w 2370773"/>
                <a:gd name="connsiteY2639" fmla="*/ 605789 h 1940242"/>
                <a:gd name="connsiteX2640" fmla="*/ 340995 w 2370773"/>
                <a:gd name="connsiteY2640" fmla="*/ 601979 h 1940242"/>
                <a:gd name="connsiteX2641" fmla="*/ 345757 w 2370773"/>
                <a:gd name="connsiteY2641" fmla="*/ 606742 h 1940242"/>
                <a:gd name="connsiteX2642" fmla="*/ 340995 w 2370773"/>
                <a:gd name="connsiteY2642" fmla="*/ 611504 h 1940242"/>
                <a:gd name="connsiteX2643" fmla="*/ 336232 w 2370773"/>
                <a:gd name="connsiteY2643" fmla="*/ 606742 h 1940242"/>
                <a:gd name="connsiteX2644" fmla="*/ 340995 w 2370773"/>
                <a:gd name="connsiteY2644" fmla="*/ 601979 h 1940242"/>
                <a:gd name="connsiteX2645" fmla="*/ 211455 w 2370773"/>
                <a:gd name="connsiteY2645" fmla="*/ 601979 h 1940242"/>
                <a:gd name="connsiteX2646" fmla="*/ 217170 w 2370773"/>
                <a:gd name="connsiteY2646" fmla="*/ 607694 h 1940242"/>
                <a:gd name="connsiteX2647" fmla="*/ 211455 w 2370773"/>
                <a:gd name="connsiteY2647" fmla="*/ 613409 h 1940242"/>
                <a:gd name="connsiteX2648" fmla="*/ 205740 w 2370773"/>
                <a:gd name="connsiteY2648" fmla="*/ 607694 h 1940242"/>
                <a:gd name="connsiteX2649" fmla="*/ 211455 w 2370773"/>
                <a:gd name="connsiteY2649" fmla="*/ 601979 h 1940242"/>
                <a:gd name="connsiteX2650" fmla="*/ 82868 w 2370773"/>
                <a:gd name="connsiteY2650" fmla="*/ 601027 h 1940242"/>
                <a:gd name="connsiteX2651" fmla="*/ 89535 w 2370773"/>
                <a:gd name="connsiteY2651" fmla="*/ 607695 h 1940242"/>
                <a:gd name="connsiteX2652" fmla="*/ 82868 w 2370773"/>
                <a:gd name="connsiteY2652" fmla="*/ 614362 h 1940242"/>
                <a:gd name="connsiteX2653" fmla="*/ 76200 w 2370773"/>
                <a:gd name="connsiteY2653" fmla="*/ 607695 h 1940242"/>
                <a:gd name="connsiteX2654" fmla="*/ 82868 w 2370773"/>
                <a:gd name="connsiteY2654" fmla="*/ 601027 h 1940242"/>
                <a:gd name="connsiteX2655" fmla="*/ 2262188 w 2370773"/>
                <a:gd name="connsiteY2655" fmla="*/ 576262 h 1940242"/>
                <a:gd name="connsiteX2656" fmla="*/ 2264093 w 2370773"/>
                <a:gd name="connsiteY2656" fmla="*/ 578167 h 1940242"/>
                <a:gd name="connsiteX2657" fmla="*/ 2262188 w 2370773"/>
                <a:gd name="connsiteY2657" fmla="*/ 580072 h 1940242"/>
                <a:gd name="connsiteX2658" fmla="*/ 2260283 w 2370773"/>
                <a:gd name="connsiteY2658" fmla="*/ 578167 h 1940242"/>
                <a:gd name="connsiteX2659" fmla="*/ 2262188 w 2370773"/>
                <a:gd name="connsiteY2659" fmla="*/ 576262 h 1940242"/>
                <a:gd name="connsiteX2660" fmla="*/ 531495 w 2370773"/>
                <a:gd name="connsiteY2660" fmla="*/ 576262 h 1940242"/>
                <a:gd name="connsiteX2661" fmla="*/ 533400 w 2370773"/>
                <a:gd name="connsiteY2661" fmla="*/ 578167 h 1940242"/>
                <a:gd name="connsiteX2662" fmla="*/ 531495 w 2370773"/>
                <a:gd name="connsiteY2662" fmla="*/ 580072 h 1940242"/>
                <a:gd name="connsiteX2663" fmla="*/ 529590 w 2370773"/>
                <a:gd name="connsiteY2663" fmla="*/ 578167 h 1940242"/>
                <a:gd name="connsiteX2664" fmla="*/ 531495 w 2370773"/>
                <a:gd name="connsiteY2664" fmla="*/ 576262 h 1940242"/>
                <a:gd name="connsiteX2665" fmla="*/ 402908 w 2370773"/>
                <a:gd name="connsiteY2665" fmla="*/ 574357 h 1940242"/>
                <a:gd name="connsiteX2666" fmla="*/ 406718 w 2370773"/>
                <a:gd name="connsiteY2666" fmla="*/ 578167 h 1940242"/>
                <a:gd name="connsiteX2667" fmla="*/ 402908 w 2370773"/>
                <a:gd name="connsiteY2667" fmla="*/ 581977 h 1940242"/>
                <a:gd name="connsiteX2668" fmla="*/ 399098 w 2370773"/>
                <a:gd name="connsiteY2668" fmla="*/ 578167 h 1940242"/>
                <a:gd name="connsiteX2669" fmla="*/ 402908 w 2370773"/>
                <a:gd name="connsiteY2669" fmla="*/ 574357 h 1940242"/>
                <a:gd name="connsiteX2670" fmla="*/ 145732 w 2370773"/>
                <a:gd name="connsiteY2670" fmla="*/ 573405 h 1940242"/>
                <a:gd name="connsiteX2671" fmla="*/ 150495 w 2370773"/>
                <a:gd name="connsiteY2671" fmla="*/ 578167 h 1940242"/>
                <a:gd name="connsiteX2672" fmla="*/ 145732 w 2370773"/>
                <a:gd name="connsiteY2672" fmla="*/ 582930 h 1940242"/>
                <a:gd name="connsiteX2673" fmla="*/ 140970 w 2370773"/>
                <a:gd name="connsiteY2673" fmla="*/ 578167 h 1940242"/>
                <a:gd name="connsiteX2674" fmla="*/ 145732 w 2370773"/>
                <a:gd name="connsiteY2674" fmla="*/ 573405 h 1940242"/>
                <a:gd name="connsiteX2675" fmla="*/ 274320 w 2370773"/>
                <a:gd name="connsiteY2675" fmla="*/ 571500 h 1940242"/>
                <a:gd name="connsiteX2676" fmla="*/ 280987 w 2370773"/>
                <a:gd name="connsiteY2676" fmla="*/ 578167 h 1940242"/>
                <a:gd name="connsiteX2677" fmla="*/ 274320 w 2370773"/>
                <a:gd name="connsiteY2677" fmla="*/ 584835 h 1940242"/>
                <a:gd name="connsiteX2678" fmla="*/ 267652 w 2370773"/>
                <a:gd name="connsiteY2678" fmla="*/ 578167 h 1940242"/>
                <a:gd name="connsiteX2679" fmla="*/ 274320 w 2370773"/>
                <a:gd name="connsiteY2679" fmla="*/ 571500 h 1940242"/>
                <a:gd name="connsiteX2680" fmla="*/ 465773 w 2370773"/>
                <a:gd name="connsiteY2680" fmla="*/ 548639 h 1940242"/>
                <a:gd name="connsiteX2681" fmla="*/ 466725 w 2370773"/>
                <a:gd name="connsiteY2681" fmla="*/ 549591 h 1940242"/>
                <a:gd name="connsiteX2682" fmla="*/ 465773 w 2370773"/>
                <a:gd name="connsiteY2682" fmla="*/ 550544 h 1940242"/>
                <a:gd name="connsiteX2683" fmla="*/ 464820 w 2370773"/>
                <a:gd name="connsiteY2683" fmla="*/ 549591 h 1940242"/>
                <a:gd name="connsiteX2684" fmla="*/ 465773 w 2370773"/>
                <a:gd name="connsiteY2684" fmla="*/ 548639 h 1940242"/>
                <a:gd name="connsiteX2685" fmla="*/ 337186 w 2370773"/>
                <a:gd name="connsiteY2685" fmla="*/ 544829 h 1940242"/>
                <a:gd name="connsiteX2686" fmla="*/ 341948 w 2370773"/>
                <a:gd name="connsiteY2686" fmla="*/ 549592 h 1940242"/>
                <a:gd name="connsiteX2687" fmla="*/ 337186 w 2370773"/>
                <a:gd name="connsiteY2687" fmla="*/ 554354 h 1940242"/>
                <a:gd name="connsiteX2688" fmla="*/ 332423 w 2370773"/>
                <a:gd name="connsiteY2688" fmla="*/ 549592 h 1940242"/>
                <a:gd name="connsiteX2689" fmla="*/ 337186 w 2370773"/>
                <a:gd name="connsiteY2689" fmla="*/ 544829 h 1940242"/>
                <a:gd name="connsiteX2690" fmla="*/ 80010 w 2370773"/>
                <a:gd name="connsiteY2690" fmla="*/ 544829 h 1940242"/>
                <a:gd name="connsiteX2691" fmla="*/ 84772 w 2370773"/>
                <a:gd name="connsiteY2691" fmla="*/ 549592 h 1940242"/>
                <a:gd name="connsiteX2692" fmla="*/ 80010 w 2370773"/>
                <a:gd name="connsiteY2692" fmla="*/ 554354 h 1940242"/>
                <a:gd name="connsiteX2693" fmla="*/ 75247 w 2370773"/>
                <a:gd name="connsiteY2693" fmla="*/ 549592 h 1940242"/>
                <a:gd name="connsiteX2694" fmla="*/ 80010 w 2370773"/>
                <a:gd name="connsiteY2694" fmla="*/ 544829 h 1940242"/>
                <a:gd name="connsiteX2695" fmla="*/ 208597 w 2370773"/>
                <a:gd name="connsiteY2695" fmla="*/ 543877 h 1940242"/>
                <a:gd name="connsiteX2696" fmla="*/ 214312 w 2370773"/>
                <a:gd name="connsiteY2696" fmla="*/ 549592 h 1940242"/>
                <a:gd name="connsiteX2697" fmla="*/ 208597 w 2370773"/>
                <a:gd name="connsiteY2697" fmla="*/ 555307 h 1940242"/>
                <a:gd name="connsiteX2698" fmla="*/ 202882 w 2370773"/>
                <a:gd name="connsiteY2698" fmla="*/ 549592 h 1940242"/>
                <a:gd name="connsiteX2699" fmla="*/ 208597 w 2370773"/>
                <a:gd name="connsiteY2699" fmla="*/ 543877 h 1940242"/>
                <a:gd name="connsiteX2700" fmla="*/ 529590 w 2370773"/>
                <a:gd name="connsiteY2700" fmla="*/ 520064 h 1940242"/>
                <a:gd name="connsiteX2701" fmla="*/ 530543 w 2370773"/>
                <a:gd name="connsiteY2701" fmla="*/ 521016 h 1940242"/>
                <a:gd name="connsiteX2702" fmla="*/ 529590 w 2370773"/>
                <a:gd name="connsiteY2702" fmla="*/ 521969 h 1940242"/>
                <a:gd name="connsiteX2703" fmla="*/ 528638 w 2370773"/>
                <a:gd name="connsiteY2703" fmla="*/ 521016 h 1940242"/>
                <a:gd name="connsiteX2704" fmla="*/ 529590 w 2370773"/>
                <a:gd name="connsiteY2704" fmla="*/ 520064 h 1940242"/>
                <a:gd name="connsiteX2705" fmla="*/ 401002 w 2370773"/>
                <a:gd name="connsiteY2705" fmla="*/ 518160 h 1940242"/>
                <a:gd name="connsiteX2706" fmla="*/ 403860 w 2370773"/>
                <a:gd name="connsiteY2706" fmla="*/ 521017 h 1940242"/>
                <a:gd name="connsiteX2707" fmla="*/ 401002 w 2370773"/>
                <a:gd name="connsiteY2707" fmla="*/ 523875 h 1940242"/>
                <a:gd name="connsiteX2708" fmla="*/ 398145 w 2370773"/>
                <a:gd name="connsiteY2708" fmla="*/ 521017 h 1940242"/>
                <a:gd name="connsiteX2709" fmla="*/ 401002 w 2370773"/>
                <a:gd name="connsiteY2709" fmla="*/ 518160 h 1940242"/>
                <a:gd name="connsiteX2710" fmla="*/ 143828 w 2370773"/>
                <a:gd name="connsiteY2710" fmla="*/ 516254 h 1940242"/>
                <a:gd name="connsiteX2711" fmla="*/ 148590 w 2370773"/>
                <a:gd name="connsiteY2711" fmla="*/ 521017 h 1940242"/>
                <a:gd name="connsiteX2712" fmla="*/ 143828 w 2370773"/>
                <a:gd name="connsiteY2712" fmla="*/ 525779 h 1940242"/>
                <a:gd name="connsiteX2713" fmla="*/ 139065 w 2370773"/>
                <a:gd name="connsiteY2713" fmla="*/ 521017 h 1940242"/>
                <a:gd name="connsiteX2714" fmla="*/ 143828 w 2370773"/>
                <a:gd name="connsiteY2714" fmla="*/ 516254 h 1940242"/>
                <a:gd name="connsiteX2715" fmla="*/ 272415 w 2370773"/>
                <a:gd name="connsiteY2715" fmla="*/ 514350 h 1940242"/>
                <a:gd name="connsiteX2716" fmla="*/ 279083 w 2370773"/>
                <a:gd name="connsiteY2716" fmla="*/ 521017 h 1940242"/>
                <a:gd name="connsiteX2717" fmla="*/ 272415 w 2370773"/>
                <a:gd name="connsiteY2717" fmla="*/ 527685 h 1940242"/>
                <a:gd name="connsiteX2718" fmla="*/ 265748 w 2370773"/>
                <a:gd name="connsiteY2718" fmla="*/ 521017 h 1940242"/>
                <a:gd name="connsiteX2719" fmla="*/ 272415 w 2370773"/>
                <a:gd name="connsiteY2719" fmla="*/ 514350 h 1940242"/>
                <a:gd name="connsiteX2720" fmla="*/ 465773 w 2370773"/>
                <a:gd name="connsiteY2720" fmla="*/ 489585 h 1940242"/>
                <a:gd name="connsiteX2721" fmla="*/ 467678 w 2370773"/>
                <a:gd name="connsiteY2721" fmla="*/ 491490 h 1940242"/>
                <a:gd name="connsiteX2722" fmla="*/ 465773 w 2370773"/>
                <a:gd name="connsiteY2722" fmla="*/ 493395 h 1940242"/>
                <a:gd name="connsiteX2723" fmla="*/ 463868 w 2370773"/>
                <a:gd name="connsiteY2723" fmla="*/ 491490 h 1940242"/>
                <a:gd name="connsiteX2724" fmla="*/ 465773 w 2370773"/>
                <a:gd name="connsiteY2724" fmla="*/ 489585 h 1940242"/>
                <a:gd name="connsiteX2725" fmla="*/ 337185 w 2370773"/>
                <a:gd name="connsiteY2725" fmla="*/ 488632 h 1940242"/>
                <a:gd name="connsiteX2726" fmla="*/ 340995 w 2370773"/>
                <a:gd name="connsiteY2726" fmla="*/ 492442 h 1940242"/>
                <a:gd name="connsiteX2727" fmla="*/ 337185 w 2370773"/>
                <a:gd name="connsiteY2727" fmla="*/ 496252 h 1940242"/>
                <a:gd name="connsiteX2728" fmla="*/ 333375 w 2370773"/>
                <a:gd name="connsiteY2728" fmla="*/ 492442 h 1940242"/>
                <a:gd name="connsiteX2729" fmla="*/ 337185 w 2370773"/>
                <a:gd name="connsiteY2729" fmla="*/ 488632 h 1940242"/>
                <a:gd name="connsiteX2730" fmla="*/ 80010 w 2370773"/>
                <a:gd name="connsiteY2730" fmla="*/ 487679 h 1940242"/>
                <a:gd name="connsiteX2731" fmla="*/ 83820 w 2370773"/>
                <a:gd name="connsiteY2731" fmla="*/ 491489 h 1940242"/>
                <a:gd name="connsiteX2732" fmla="*/ 80010 w 2370773"/>
                <a:gd name="connsiteY2732" fmla="*/ 495299 h 1940242"/>
                <a:gd name="connsiteX2733" fmla="*/ 76200 w 2370773"/>
                <a:gd name="connsiteY2733" fmla="*/ 491489 h 1940242"/>
                <a:gd name="connsiteX2734" fmla="*/ 80010 w 2370773"/>
                <a:gd name="connsiteY2734" fmla="*/ 487679 h 1940242"/>
                <a:gd name="connsiteX2735" fmla="*/ 208597 w 2370773"/>
                <a:gd name="connsiteY2735" fmla="*/ 485775 h 1940242"/>
                <a:gd name="connsiteX2736" fmla="*/ 214312 w 2370773"/>
                <a:gd name="connsiteY2736" fmla="*/ 491490 h 1940242"/>
                <a:gd name="connsiteX2737" fmla="*/ 208597 w 2370773"/>
                <a:gd name="connsiteY2737" fmla="*/ 497205 h 1940242"/>
                <a:gd name="connsiteX2738" fmla="*/ 202882 w 2370773"/>
                <a:gd name="connsiteY2738" fmla="*/ 491490 h 1940242"/>
                <a:gd name="connsiteX2739" fmla="*/ 208597 w 2370773"/>
                <a:gd name="connsiteY2739" fmla="*/ 485775 h 1940242"/>
                <a:gd name="connsiteX2740" fmla="*/ 402907 w 2370773"/>
                <a:gd name="connsiteY2740" fmla="*/ 460057 h 1940242"/>
                <a:gd name="connsiteX2741" fmla="*/ 405765 w 2370773"/>
                <a:gd name="connsiteY2741" fmla="*/ 462914 h 1940242"/>
                <a:gd name="connsiteX2742" fmla="*/ 402907 w 2370773"/>
                <a:gd name="connsiteY2742" fmla="*/ 465772 h 1940242"/>
                <a:gd name="connsiteX2743" fmla="*/ 400050 w 2370773"/>
                <a:gd name="connsiteY2743" fmla="*/ 462914 h 1940242"/>
                <a:gd name="connsiteX2744" fmla="*/ 402907 w 2370773"/>
                <a:gd name="connsiteY2744" fmla="*/ 460057 h 1940242"/>
                <a:gd name="connsiteX2745" fmla="*/ 145733 w 2370773"/>
                <a:gd name="connsiteY2745" fmla="*/ 458152 h 1940242"/>
                <a:gd name="connsiteX2746" fmla="*/ 150495 w 2370773"/>
                <a:gd name="connsiteY2746" fmla="*/ 462915 h 1940242"/>
                <a:gd name="connsiteX2747" fmla="*/ 145733 w 2370773"/>
                <a:gd name="connsiteY2747" fmla="*/ 467677 h 1940242"/>
                <a:gd name="connsiteX2748" fmla="*/ 140970 w 2370773"/>
                <a:gd name="connsiteY2748" fmla="*/ 462915 h 1940242"/>
                <a:gd name="connsiteX2749" fmla="*/ 145733 w 2370773"/>
                <a:gd name="connsiteY2749" fmla="*/ 458152 h 1940242"/>
                <a:gd name="connsiteX2750" fmla="*/ 274320 w 2370773"/>
                <a:gd name="connsiteY2750" fmla="*/ 457200 h 1940242"/>
                <a:gd name="connsiteX2751" fmla="*/ 280035 w 2370773"/>
                <a:gd name="connsiteY2751" fmla="*/ 462915 h 1940242"/>
                <a:gd name="connsiteX2752" fmla="*/ 274320 w 2370773"/>
                <a:gd name="connsiteY2752" fmla="*/ 468630 h 1940242"/>
                <a:gd name="connsiteX2753" fmla="*/ 268605 w 2370773"/>
                <a:gd name="connsiteY2753" fmla="*/ 462915 h 1940242"/>
                <a:gd name="connsiteX2754" fmla="*/ 274320 w 2370773"/>
                <a:gd name="connsiteY2754" fmla="*/ 457200 h 1940242"/>
                <a:gd name="connsiteX2755" fmla="*/ 469582 w 2370773"/>
                <a:gd name="connsiteY2755" fmla="*/ 432435 h 1940242"/>
                <a:gd name="connsiteX2756" fmla="*/ 471487 w 2370773"/>
                <a:gd name="connsiteY2756" fmla="*/ 434340 h 1940242"/>
                <a:gd name="connsiteX2757" fmla="*/ 469582 w 2370773"/>
                <a:gd name="connsiteY2757" fmla="*/ 436245 h 1940242"/>
                <a:gd name="connsiteX2758" fmla="*/ 467677 w 2370773"/>
                <a:gd name="connsiteY2758" fmla="*/ 434340 h 1940242"/>
                <a:gd name="connsiteX2759" fmla="*/ 469582 w 2370773"/>
                <a:gd name="connsiteY2759" fmla="*/ 432435 h 1940242"/>
                <a:gd name="connsiteX2760" fmla="*/ 82868 w 2370773"/>
                <a:gd name="connsiteY2760" fmla="*/ 432435 h 1940242"/>
                <a:gd name="connsiteX2761" fmla="*/ 84773 w 2370773"/>
                <a:gd name="connsiteY2761" fmla="*/ 434340 h 1940242"/>
                <a:gd name="connsiteX2762" fmla="*/ 82868 w 2370773"/>
                <a:gd name="connsiteY2762" fmla="*/ 436245 h 1940242"/>
                <a:gd name="connsiteX2763" fmla="*/ 80963 w 2370773"/>
                <a:gd name="connsiteY2763" fmla="*/ 434340 h 1940242"/>
                <a:gd name="connsiteX2764" fmla="*/ 82868 w 2370773"/>
                <a:gd name="connsiteY2764" fmla="*/ 432435 h 1940242"/>
                <a:gd name="connsiteX2765" fmla="*/ 340995 w 2370773"/>
                <a:gd name="connsiteY2765" fmla="*/ 431482 h 1940242"/>
                <a:gd name="connsiteX2766" fmla="*/ 343852 w 2370773"/>
                <a:gd name="connsiteY2766" fmla="*/ 434339 h 1940242"/>
                <a:gd name="connsiteX2767" fmla="*/ 340995 w 2370773"/>
                <a:gd name="connsiteY2767" fmla="*/ 437197 h 1940242"/>
                <a:gd name="connsiteX2768" fmla="*/ 338137 w 2370773"/>
                <a:gd name="connsiteY2768" fmla="*/ 434339 h 1940242"/>
                <a:gd name="connsiteX2769" fmla="*/ 340995 w 2370773"/>
                <a:gd name="connsiteY2769" fmla="*/ 431482 h 1940242"/>
                <a:gd name="connsiteX2770" fmla="*/ 211456 w 2370773"/>
                <a:gd name="connsiteY2770" fmla="*/ 429577 h 1940242"/>
                <a:gd name="connsiteX2771" fmla="*/ 216218 w 2370773"/>
                <a:gd name="connsiteY2771" fmla="*/ 434340 h 1940242"/>
                <a:gd name="connsiteX2772" fmla="*/ 211456 w 2370773"/>
                <a:gd name="connsiteY2772" fmla="*/ 439102 h 1940242"/>
                <a:gd name="connsiteX2773" fmla="*/ 206693 w 2370773"/>
                <a:gd name="connsiteY2773" fmla="*/ 434340 h 1940242"/>
                <a:gd name="connsiteX2774" fmla="*/ 211456 w 2370773"/>
                <a:gd name="connsiteY2774" fmla="*/ 429577 h 1940242"/>
                <a:gd name="connsiteX2775" fmla="*/ 408623 w 2370773"/>
                <a:gd name="connsiteY2775" fmla="*/ 402907 h 1940242"/>
                <a:gd name="connsiteX2776" fmla="*/ 411480 w 2370773"/>
                <a:gd name="connsiteY2776" fmla="*/ 405764 h 1940242"/>
                <a:gd name="connsiteX2777" fmla="*/ 408623 w 2370773"/>
                <a:gd name="connsiteY2777" fmla="*/ 408622 h 1940242"/>
                <a:gd name="connsiteX2778" fmla="*/ 405765 w 2370773"/>
                <a:gd name="connsiteY2778" fmla="*/ 405764 h 1940242"/>
                <a:gd name="connsiteX2779" fmla="*/ 408623 w 2370773"/>
                <a:gd name="connsiteY2779" fmla="*/ 402907 h 1940242"/>
                <a:gd name="connsiteX2780" fmla="*/ 149543 w 2370773"/>
                <a:gd name="connsiteY2780" fmla="*/ 401002 h 1940242"/>
                <a:gd name="connsiteX2781" fmla="*/ 154305 w 2370773"/>
                <a:gd name="connsiteY2781" fmla="*/ 405765 h 1940242"/>
                <a:gd name="connsiteX2782" fmla="*/ 149543 w 2370773"/>
                <a:gd name="connsiteY2782" fmla="*/ 410527 h 1940242"/>
                <a:gd name="connsiteX2783" fmla="*/ 144780 w 2370773"/>
                <a:gd name="connsiteY2783" fmla="*/ 405765 h 1940242"/>
                <a:gd name="connsiteX2784" fmla="*/ 149543 w 2370773"/>
                <a:gd name="connsiteY2784" fmla="*/ 401002 h 1940242"/>
                <a:gd name="connsiteX2785" fmla="*/ 279083 w 2370773"/>
                <a:gd name="connsiteY2785" fmla="*/ 400050 h 1940242"/>
                <a:gd name="connsiteX2786" fmla="*/ 284798 w 2370773"/>
                <a:gd name="connsiteY2786" fmla="*/ 404813 h 1940242"/>
                <a:gd name="connsiteX2787" fmla="*/ 279083 w 2370773"/>
                <a:gd name="connsiteY2787" fmla="*/ 410527 h 1940242"/>
                <a:gd name="connsiteX2788" fmla="*/ 273368 w 2370773"/>
                <a:gd name="connsiteY2788" fmla="*/ 405765 h 1940242"/>
                <a:gd name="connsiteX2789" fmla="*/ 279083 w 2370773"/>
                <a:gd name="connsiteY2789" fmla="*/ 400050 h 1940242"/>
                <a:gd name="connsiteX2790" fmla="*/ 347662 w 2370773"/>
                <a:gd name="connsiteY2790" fmla="*/ 372427 h 1940242"/>
                <a:gd name="connsiteX2791" fmla="*/ 351472 w 2370773"/>
                <a:gd name="connsiteY2791" fmla="*/ 376237 h 1940242"/>
                <a:gd name="connsiteX2792" fmla="*/ 347662 w 2370773"/>
                <a:gd name="connsiteY2792" fmla="*/ 380047 h 1940242"/>
                <a:gd name="connsiteX2793" fmla="*/ 343852 w 2370773"/>
                <a:gd name="connsiteY2793" fmla="*/ 376237 h 1940242"/>
                <a:gd name="connsiteX2794" fmla="*/ 347662 w 2370773"/>
                <a:gd name="connsiteY2794" fmla="*/ 372427 h 1940242"/>
                <a:gd name="connsiteX2795" fmla="*/ 218122 w 2370773"/>
                <a:gd name="connsiteY2795" fmla="*/ 370522 h 1940242"/>
                <a:gd name="connsiteX2796" fmla="*/ 224790 w 2370773"/>
                <a:gd name="connsiteY2796" fmla="*/ 377189 h 1940242"/>
                <a:gd name="connsiteX2797" fmla="*/ 218122 w 2370773"/>
                <a:gd name="connsiteY2797" fmla="*/ 383857 h 1940242"/>
                <a:gd name="connsiteX2798" fmla="*/ 211455 w 2370773"/>
                <a:gd name="connsiteY2798" fmla="*/ 377189 h 1940242"/>
                <a:gd name="connsiteX2799" fmla="*/ 218122 w 2370773"/>
                <a:gd name="connsiteY2799" fmla="*/ 370522 h 1940242"/>
                <a:gd name="connsiteX2800" fmla="*/ 418148 w 2370773"/>
                <a:gd name="connsiteY2800" fmla="*/ 346710 h 1940242"/>
                <a:gd name="connsiteX2801" fmla="*/ 420053 w 2370773"/>
                <a:gd name="connsiteY2801" fmla="*/ 348615 h 1940242"/>
                <a:gd name="connsiteX2802" fmla="*/ 418148 w 2370773"/>
                <a:gd name="connsiteY2802" fmla="*/ 350520 h 1940242"/>
                <a:gd name="connsiteX2803" fmla="*/ 416243 w 2370773"/>
                <a:gd name="connsiteY2803" fmla="*/ 348615 h 1940242"/>
                <a:gd name="connsiteX2804" fmla="*/ 418148 w 2370773"/>
                <a:gd name="connsiteY2804" fmla="*/ 346710 h 1940242"/>
                <a:gd name="connsiteX2805" fmla="*/ 157163 w 2370773"/>
                <a:gd name="connsiteY2805" fmla="*/ 344805 h 1940242"/>
                <a:gd name="connsiteX2806" fmla="*/ 160973 w 2370773"/>
                <a:gd name="connsiteY2806" fmla="*/ 348615 h 1940242"/>
                <a:gd name="connsiteX2807" fmla="*/ 157163 w 2370773"/>
                <a:gd name="connsiteY2807" fmla="*/ 352425 h 1940242"/>
                <a:gd name="connsiteX2808" fmla="*/ 153353 w 2370773"/>
                <a:gd name="connsiteY2808" fmla="*/ 348615 h 1940242"/>
                <a:gd name="connsiteX2809" fmla="*/ 157163 w 2370773"/>
                <a:gd name="connsiteY2809" fmla="*/ 344805 h 1940242"/>
                <a:gd name="connsiteX2810" fmla="*/ 287655 w 2370773"/>
                <a:gd name="connsiteY2810" fmla="*/ 342900 h 1940242"/>
                <a:gd name="connsiteX2811" fmla="*/ 293370 w 2370773"/>
                <a:gd name="connsiteY2811" fmla="*/ 348615 h 1940242"/>
                <a:gd name="connsiteX2812" fmla="*/ 287655 w 2370773"/>
                <a:gd name="connsiteY2812" fmla="*/ 354330 h 1940242"/>
                <a:gd name="connsiteX2813" fmla="*/ 281940 w 2370773"/>
                <a:gd name="connsiteY2813" fmla="*/ 348615 h 1940242"/>
                <a:gd name="connsiteX2814" fmla="*/ 287655 w 2370773"/>
                <a:gd name="connsiteY2814" fmla="*/ 342900 h 1940242"/>
                <a:gd name="connsiteX2815" fmla="*/ 489585 w 2370773"/>
                <a:gd name="connsiteY2815" fmla="*/ 320039 h 1940242"/>
                <a:gd name="connsiteX2816" fmla="*/ 490537 w 2370773"/>
                <a:gd name="connsiteY2816" fmla="*/ 320992 h 1940242"/>
                <a:gd name="connsiteX2817" fmla="*/ 489585 w 2370773"/>
                <a:gd name="connsiteY2817" fmla="*/ 321944 h 1940242"/>
                <a:gd name="connsiteX2818" fmla="*/ 488632 w 2370773"/>
                <a:gd name="connsiteY2818" fmla="*/ 320992 h 1940242"/>
                <a:gd name="connsiteX2819" fmla="*/ 489585 w 2370773"/>
                <a:gd name="connsiteY2819" fmla="*/ 320039 h 1940242"/>
                <a:gd name="connsiteX2820" fmla="*/ 358140 w 2370773"/>
                <a:gd name="connsiteY2820" fmla="*/ 318135 h 1940242"/>
                <a:gd name="connsiteX2821" fmla="*/ 360997 w 2370773"/>
                <a:gd name="connsiteY2821" fmla="*/ 320992 h 1940242"/>
                <a:gd name="connsiteX2822" fmla="*/ 358140 w 2370773"/>
                <a:gd name="connsiteY2822" fmla="*/ 323850 h 1940242"/>
                <a:gd name="connsiteX2823" fmla="*/ 355282 w 2370773"/>
                <a:gd name="connsiteY2823" fmla="*/ 320992 h 1940242"/>
                <a:gd name="connsiteX2824" fmla="*/ 358140 w 2370773"/>
                <a:gd name="connsiteY2824" fmla="*/ 318135 h 1940242"/>
                <a:gd name="connsiteX2825" fmla="*/ 226695 w 2370773"/>
                <a:gd name="connsiteY2825" fmla="*/ 315277 h 1940242"/>
                <a:gd name="connsiteX2826" fmla="*/ 231457 w 2370773"/>
                <a:gd name="connsiteY2826" fmla="*/ 320040 h 1940242"/>
                <a:gd name="connsiteX2827" fmla="*/ 226695 w 2370773"/>
                <a:gd name="connsiteY2827" fmla="*/ 324802 h 1940242"/>
                <a:gd name="connsiteX2828" fmla="*/ 221932 w 2370773"/>
                <a:gd name="connsiteY2828" fmla="*/ 320040 h 1940242"/>
                <a:gd name="connsiteX2829" fmla="*/ 226695 w 2370773"/>
                <a:gd name="connsiteY2829" fmla="*/ 315277 h 1940242"/>
                <a:gd name="connsiteX2830" fmla="*/ 430530 w 2370773"/>
                <a:gd name="connsiteY2830" fmla="*/ 292417 h 1940242"/>
                <a:gd name="connsiteX2831" fmla="*/ 431482 w 2370773"/>
                <a:gd name="connsiteY2831" fmla="*/ 293369 h 1940242"/>
                <a:gd name="connsiteX2832" fmla="*/ 430530 w 2370773"/>
                <a:gd name="connsiteY2832" fmla="*/ 294322 h 1940242"/>
                <a:gd name="connsiteX2833" fmla="*/ 429577 w 2370773"/>
                <a:gd name="connsiteY2833" fmla="*/ 293369 h 1940242"/>
                <a:gd name="connsiteX2834" fmla="*/ 430530 w 2370773"/>
                <a:gd name="connsiteY2834" fmla="*/ 292417 h 1940242"/>
                <a:gd name="connsiteX2835" fmla="*/ 166687 w 2370773"/>
                <a:gd name="connsiteY2835" fmla="*/ 289560 h 1940242"/>
                <a:gd name="connsiteX2836" fmla="*/ 168592 w 2370773"/>
                <a:gd name="connsiteY2836" fmla="*/ 291465 h 1940242"/>
                <a:gd name="connsiteX2837" fmla="*/ 166687 w 2370773"/>
                <a:gd name="connsiteY2837" fmla="*/ 293370 h 1940242"/>
                <a:gd name="connsiteX2838" fmla="*/ 164782 w 2370773"/>
                <a:gd name="connsiteY2838" fmla="*/ 291465 h 1940242"/>
                <a:gd name="connsiteX2839" fmla="*/ 166687 w 2370773"/>
                <a:gd name="connsiteY2839" fmla="*/ 289560 h 1940242"/>
                <a:gd name="connsiteX2840" fmla="*/ 298133 w 2370773"/>
                <a:gd name="connsiteY2840" fmla="*/ 288607 h 1940242"/>
                <a:gd name="connsiteX2841" fmla="*/ 301943 w 2370773"/>
                <a:gd name="connsiteY2841" fmla="*/ 292417 h 1940242"/>
                <a:gd name="connsiteX2842" fmla="*/ 298133 w 2370773"/>
                <a:gd name="connsiteY2842" fmla="*/ 296227 h 1940242"/>
                <a:gd name="connsiteX2843" fmla="*/ 294323 w 2370773"/>
                <a:gd name="connsiteY2843" fmla="*/ 292417 h 1940242"/>
                <a:gd name="connsiteX2844" fmla="*/ 298133 w 2370773"/>
                <a:gd name="connsiteY2844" fmla="*/ 288607 h 1940242"/>
                <a:gd name="connsiteX2845" fmla="*/ 371475 w 2370773"/>
                <a:gd name="connsiteY2845" fmla="*/ 261937 h 1940242"/>
                <a:gd name="connsiteX2846" fmla="*/ 374333 w 2370773"/>
                <a:gd name="connsiteY2846" fmla="*/ 264794 h 1940242"/>
                <a:gd name="connsiteX2847" fmla="*/ 371475 w 2370773"/>
                <a:gd name="connsiteY2847" fmla="*/ 267652 h 1940242"/>
                <a:gd name="connsiteX2848" fmla="*/ 368618 w 2370773"/>
                <a:gd name="connsiteY2848" fmla="*/ 264794 h 1940242"/>
                <a:gd name="connsiteX2849" fmla="*/ 371475 w 2370773"/>
                <a:gd name="connsiteY2849" fmla="*/ 261937 h 1940242"/>
                <a:gd name="connsiteX2850" fmla="*/ 239077 w 2370773"/>
                <a:gd name="connsiteY2850" fmla="*/ 260985 h 1940242"/>
                <a:gd name="connsiteX2851" fmla="*/ 241935 w 2370773"/>
                <a:gd name="connsiteY2851" fmla="*/ 263842 h 1940242"/>
                <a:gd name="connsiteX2852" fmla="*/ 239077 w 2370773"/>
                <a:gd name="connsiteY2852" fmla="*/ 266700 h 1940242"/>
                <a:gd name="connsiteX2853" fmla="*/ 236220 w 2370773"/>
                <a:gd name="connsiteY2853" fmla="*/ 263842 h 1940242"/>
                <a:gd name="connsiteX2854" fmla="*/ 239077 w 2370773"/>
                <a:gd name="connsiteY2854" fmla="*/ 260985 h 1940242"/>
                <a:gd name="connsiteX2855" fmla="*/ 446723 w 2370773"/>
                <a:gd name="connsiteY2855" fmla="*/ 235267 h 1940242"/>
                <a:gd name="connsiteX2856" fmla="*/ 448628 w 2370773"/>
                <a:gd name="connsiteY2856" fmla="*/ 237172 h 1940242"/>
                <a:gd name="connsiteX2857" fmla="*/ 446723 w 2370773"/>
                <a:gd name="connsiteY2857" fmla="*/ 239077 h 1940242"/>
                <a:gd name="connsiteX2858" fmla="*/ 444818 w 2370773"/>
                <a:gd name="connsiteY2858" fmla="*/ 237172 h 1940242"/>
                <a:gd name="connsiteX2859" fmla="*/ 446723 w 2370773"/>
                <a:gd name="connsiteY2859" fmla="*/ 235267 h 1940242"/>
                <a:gd name="connsiteX2860" fmla="*/ 312420 w 2370773"/>
                <a:gd name="connsiteY2860" fmla="*/ 231457 h 1940242"/>
                <a:gd name="connsiteX2861" fmla="*/ 317182 w 2370773"/>
                <a:gd name="connsiteY2861" fmla="*/ 236220 h 1940242"/>
                <a:gd name="connsiteX2862" fmla="*/ 312420 w 2370773"/>
                <a:gd name="connsiteY2862" fmla="*/ 240982 h 1940242"/>
                <a:gd name="connsiteX2863" fmla="*/ 307657 w 2370773"/>
                <a:gd name="connsiteY2863" fmla="*/ 236220 h 1940242"/>
                <a:gd name="connsiteX2864" fmla="*/ 312420 w 2370773"/>
                <a:gd name="connsiteY2864" fmla="*/ 231457 h 1940242"/>
                <a:gd name="connsiteX2865" fmla="*/ 388620 w 2370773"/>
                <a:gd name="connsiteY2865" fmla="*/ 207644 h 1940242"/>
                <a:gd name="connsiteX2866" fmla="*/ 390525 w 2370773"/>
                <a:gd name="connsiteY2866" fmla="*/ 209549 h 1940242"/>
                <a:gd name="connsiteX2867" fmla="*/ 388620 w 2370773"/>
                <a:gd name="connsiteY2867" fmla="*/ 211454 h 1940242"/>
                <a:gd name="connsiteX2868" fmla="*/ 386715 w 2370773"/>
                <a:gd name="connsiteY2868" fmla="*/ 209549 h 1940242"/>
                <a:gd name="connsiteX2869" fmla="*/ 388620 w 2370773"/>
                <a:gd name="connsiteY2869" fmla="*/ 207644 h 1940242"/>
                <a:gd name="connsiteX2870" fmla="*/ 254318 w 2370773"/>
                <a:gd name="connsiteY2870" fmla="*/ 205739 h 1940242"/>
                <a:gd name="connsiteX2871" fmla="*/ 257175 w 2370773"/>
                <a:gd name="connsiteY2871" fmla="*/ 208597 h 1940242"/>
                <a:gd name="connsiteX2872" fmla="*/ 254318 w 2370773"/>
                <a:gd name="connsiteY2872" fmla="*/ 211454 h 1940242"/>
                <a:gd name="connsiteX2873" fmla="*/ 251460 w 2370773"/>
                <a:gd name="connsiteY2873" fmla="*/ 208597 h 1940242"/>
                <a:gd name="connsiteX2874" fmla="*/ 254318 w 2370773"/>
                <a:gd name="connsiteY2874" fmla="*/ 205739 h 1940242"/>
                <a:gd name="connsiteX2875" fmla="*/ 330517 w 2370773"/>
                <a:gd name="connsiteY2875" fmla="*/ 178117 h 1940242"/>
                <a:gd name="connsiteX2876" fmla="*/ 333375 w 2370773"/>
                <a:gd name="connsiteY2876" fmla="*/ 180974 h 1940242"/>
                <a:gd name="connsiteX2877" fmla="*/ 330517 w 2370773"/>
                <a:gd name="connsiteY2877" fmla="*/ 183832 h 1940242"/>
                <a:gd name="connsiteX2878" fmla="*/ 327660 w 2370773"/>
                <a:gd name="connsiteY2878" fmla="*/ 180974 h 1940242"/>
                <a:gd name="connsiteX2879" fmla="*/ 330517 w 2370773"/>
                <a:gd name="connsiteY2879" fmla="*/ 178117 h 1940242"/>
                <a:gd name="connsiteX2880" fmla="*/ 408623 w 2370773"/>
                <a:gd name="connsiteY2880" fmla="*/ 152400 h 1940242"/>
                <a:gd name="connsiteX2881" fmla="*/ 411480 w 2370773"/>
                <a:gd name="connsiteY2881" fmla="*/ 155257 h 1940242"/>
                <a:gd name="connsiteX2882" fmla="*/ 408623 w 2370773"/>
                <a:gd name="connsiteY2882" fmla="*/ 158115 h 1940242"/>
                <a:gd name="connsiteX2883" fmla="*/ 405765 w 2370773"/>
                <a:gd name="connsiteY2883" fmla="*/ 155257 h 1940242"/>
                <a:gd name="connsiteX2884" fmla="*/ 408623 w 2370773"/>
                <a:gd name="connsiteY2884" fmla="*/ 152400 h 1940242"/>
                <a:gd name="connsiteX2885" fmla="*/ 272415 w 2370773"/>
                <a:gd name="connsiteY2885" fmla="*/ 150494 h 1940242"/>
                <a:gd name="connsiteX2886" fmla="*/ 275272 w 2370773"/>
                <a:gd name="connsiteY2886" fmla="*/ 153351 h 1940242"/>
                <a:gd name="connsiteX2887" fmla="*/ 272415 w 2370773"/>
                <a:gd name="connsiteY2887" fmla="*/ 156209 h 1940242"/>
                <a:gd name="connsiteX2888" fmla="*/ 269557 w 2370773"/>
                <a:gd name="connsiteY2888" fmla="*/ 153351 h 1940242"/>
                <a:gd name="connsiteX2889" fmla="*/ 272415 w 2370773"/>
                <a:gd name="connsiteY2889" fmla="*/ 150494 h 1940242"/>
                <a:gd name="connsiteX2890" fmla="*/ 490537 w 2370773"/>
                <a:gd name="connsiteY2890" fmla="*/ 129539 h 1940242"/>
                <a:gd name="connsiteX2891" fmla="*/ 491490 w 2370773"/>
                <a:gd name="connsiteY2891" fmla="*/ 130492 h 1940242"/>
                <a:gd name="connsiteX2892" fmla="*/ 490537 w 2370773"/>
                <a:gd name="connsiteY2892" fmla="*/ 131444 h 1940242"/>
                <a:gd name="connsiteX2893" fmla="*/ 489585 w 2370773"/>
                <a:gd name="connsiteY2893" fmla="*/ 130492 h 1940242"/>
                <a:gd name="connsiteX2894" fmla="*/ 490537 w 2370773"/>
                <a:gd name="connsiteY2894" fmla="*/ 129539 h 1940242"/>
                <a:gd name="connsiteX2895" fmla="*/ 350520 w 2370773"/>
                <a:gd name="connsiteY2895" fmla="*/ 125730 h 1940242"/>
                <a:gd name="connsiteX2896" fmla="*/ 352425 w 2370773"/>
                <a:gd name="connsiteY2896" fmla="*/ 127635 h 1940242"/>
                <a:gd name="connsiteX2897" fmla="*/ 350520 w 2370773"/>
                <a:gd name="connsiteY2897" fmla="*/ 129540 h 1940242"/>
                <a:gd name="connsiteX2898" fmla="*/ 348615 w 2370773"/>
                <a:gd name="connsiteY2898" fmla="*/ 127635 h 1940242"/>
                <a:gd name="connsiteX2899" fmla="*/ 350520 w 2370773"/>
                <a:gd name="connsiteY2899" fmla="*/ 125730 h 1940242"/>
                <a:gd name="connsiteX2900" fmla="*/ 432435 w 2370773"/>
                <a:gd name="connsiteY2900" fmla="*/ 99060 h 1940242"/>
                <a:gd name="connsiteX2901" fmla="*/ 436245 w 2370773"/>
                <a:gd name="connsiteY2901" fmla="*/ 102870 h 1940242"/>
                <a:gd name="connsiteX2902" fmla="*/ 432435 w 2370773"/>
                <a:gd name="connsiteY2902" fmla="*/ 106680 h 1940242"/>
                <a:gd name="connsiteX2903" fmla="*/ 428625 w 2370773"/>
                <a:gd name="connsiteY2903" fmla="*/ 102870 h 1940242"/>
                <a:gd name="connsiteX2904" fmla="*/ 432435 w 2370773"/>
                <a:gd name="connsiteY2904" fmla="*/ 99060 h 1940242"/>
                <a:gd name="connsiteX2905" fmla="*/ 293370 w 2370773"/>
                <a:gd name="connsiteY2905" fmla="*/ 97155 h 1940242"/>
                <a:gd name="connsiteX2906" fmla="*/ 295275 w 2370773"/>
                <a:gd name="connsiteY2906" fmla="*/ 99060 h 1940242"/>
                <a:gd name="connsiteX2907" fmla="*/ 293370 w 2370773"/>
                <a:gd name="connsiteY2907" fmla="*/ 100965 h 1940242"/>
                <a:gd name="connsiteX2908" fmla="*/ 291465 w 2370773"/>
                <a:gd name="connsiteY2908" fmla="*/ 99060 h 1940242"/>
                <a:gd name="connsiteX2909" fmla="*/ 293370 w 2370773"/>
                <a:gd name="connsiteY2909" fmla="*/ 97155 h 1940242"/>
                <a:gd name="connsiteX2910" fmla="*/ 374332 w 2370773"/>
                <a:gd name="connsiteY2910" fmla="*/ 71437 h 1940242"/>
                <a:gd name="connsiteX2911" fmla="*/ 377190 w 2370773"/>
                <a:gd name="connsiteY2911" fmla="*/ 74294 h 1940242"/>
                <a:gd name="connsiteX2912" fmla="*/ 374332 w 2370773"/>
                <a:gd name="connsiteY2912" fmla="*/ 77152 h 1940242"/>
                <a:gd name="connsiteX2913" fmla="*/ 371475 w 2370773"/>
                <a:gd name="connsiteY2913" fmla="*/ 74294 h 1940242"/>
                <a:gd name="connsiteX2914" fmla="*/ 374332 w 2370773"/>
                <a:gd name="connsiteY2914" fmla="*/ 71437 h 1940242"/>
                <a:gd name="connsiteX2915" fmla="*/ 459105 w 2370773"/>
                <a:gd name="connsiteY2915" fmla="*/ 49530 h 1940242"/>
                <a:gd name="connsiteX2916" fmla="*/ 461010 w 2370773"/>
                <a:gd name="connsiteY2916" fmla="*/ 51435 h 1940242"/>
                <a:gd name="connsiteX2917" fmla="*/ 459105 w 2370773"/>
                <a:gd name="connsiteY2917" fmla="*/ 53340 h 1940242"/>
                <a:gd name="connsiteX2918" fmla="*/ 457200 w 2370773"/>
                <a:gd name="connsiteY2918" fmla="*/ 51435 h 1940242"/>
                <a:gd name="connsiteX2919" fmla="*/ 459105 w 2370773"/>
                <a:gd name="connsiteY2919" fmla="*/ 49530 h 1940242"/>
                <a:gd name="connsiteX2920" fmla="*/ 546735 w 2370773"/>
                <a:gd name="connsiteY2920" fmla="*/ 29527 h 1940242"/>
                <a:gd name="connsiteX2921" fmla="*/ 547688 w 2370773"/>
                <a:gd name="connsiteY2921" fmla="*/ 30480 h 1940242"/>
                <a:gd name="connsiteX2922" fmla="*/ 546735 w 2370773"/>
                <a:gd name="connsiteY2922" fmla="*/ 31432 h 1940242"/>
                <a:gd name="connsiteX2923" fmla="*/ 545783 w 2370773"/>
                <a:gd name="connsiteY2923" fmla="*/ 30480 h 1940242"/>
                <a:gd name="connsiteX2924" fmla="*/ 546735 w 2370773"/>
                <a:gd name="connsiteY2924" fmla="*/ 29527 h 1940242"/>
                <a:gd name="connsiteX2925" fmla="*/ 401002 w 2370773"/>
                <a:gd name="connsiteY2925" fmla="*/ 20955 h 1940242"/>
                <a:gd name="connsiteX2926" fmla="*/ 403860 w 2370773"/>
                <a:gd name="connsiteY2926" fmla="*/ 23812 h 1940242"/>
                <a:gd name="connsiteX2927" fmla="*/ 401002 w 2370773"/>
                <a:gd name="connsiteY2927" fmla="*/ 26670 h 1940242"/>
                <a:gd name="connsiteX2928" fmla="*/ 398145 w 2370773"/>
                <a:gd name="connsiteY2928" fmla="*/ 23812 h 1940242"/>
                <a:gd name="connsiteX2929" fmla="*/ 401002 w 2370773"/>
                <a:gd name="connsiteY2929" fmla="*/ 20955 h 1940242"/>
                <a:gd name="connsiteX2930" fmla="*/ 488632 w 2370773"/>
                <a:gd name="connsiteY2930" fmla="*/ 0 h 1940242"/>
                <a:gd name="connsiteX2931" fmla="*/ 490537 w 2370773"/>
                <a:gd name="connsiteY2931" fmla="*/ 1905 h 1940242"/>
                <a:gd name="connsiteX2932" fmla="*/ 488632 w 2370773"/>
                <a:gd name="connsiteY2932" fmla="*/ 3810 h 1940242"/>
                <a:gd name="connsiteX2933" fmla="*/ 486727 w 2370773"/>
                <a:gd name="connsiteY2933" fmla="*/ 1905 h 1940242"/>
                <a:gd name="connsiteX2934" fmla="*/ 488632 w 2370773"/>
                <a:gd name="connsiteY2934" fmla="*/ 0 h 19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Lst>
              <a:rect l="l" t="t" r="r" b="b"/>
              <a:pathLst>
                <a:path w="2370773" h="1940242">
                  <a:moveTo>
                    <a:pt x="1386840" y="1929765"/>
                  </a:moveTo>
                  <a:cubicBezTo>
                    <a:pt x="1387892" y="1929765"/>
                    <a:pt x="1388745" y="1930618"/>
                    <a:pt x="1388745" y="1931670"/>
                  </a:cubicBezTo>
                  <a:cubicBezTo>
                    <a:pt x="1388745" y="1932722"/>
                    <a:pt x="1387892" y="1933575"/>
                    <a:pt x="1386840" y="1933575"/>
                  </a:cubicBezTo>
                  <a:cubicBezTo>
                    <a:pt x="1385788" y="1933575"/>
                    <a:pt x="1384935" y="1932722"/>
                    <a:pt x="1384935" y="1931670"/>
                  </a:cubicBezTo>
                  <a:cubicBezTo>
                    <a:pt x="1384935" y="1930618"/>
                    <a:pt x="1385788" y="1929765"/>
                    <a:pt x="1386840" y="1929765"/>
                  </a:cubicBezTo>
                  <a:close/>
                  <a:moveTo>
                    <a:pt x="860107" y="1929765"/>
                  </a:moveTo>
                  <a:cubicBezTo>
                    <a:pt x="861060" y="1929765"/>
                    <a:pt x="862012" y="1930717"/>
                    <a:pt x="862012" y="1931670"/>
                  </a:cubicBezTo>
                  <a:cubicBezTo>
                    <a:pt x="862012" y="1932622"/>
                    <a:pt x="861060" y="1933575"/>
                    <a:pt x="860107" y="1933575"/>
                  </a:cubicBezTo>
                  <a:cubicBezTo>
                    <a:pt x="859154" y="1933575"/>
                    <a:pt x="858202" y="1932622"/>
                    <a:pt x="858202" y="1931670"/>
                  </a:cubicBezTo>
                  <a:cubicBezTo>
                    <a:pt x="858202" y="1930717"/>
                    <a:pt x="859154" y="1929765"/>
                    <a:pt x="860107" y="1929765"/>
                  </a:cubicBezTo>
                  <a:close/>
                  <a:moveTo>
                    <a:pt x="1329690" y="1926907"/>
                  </a:moveTo>
                  <a:cubicBezTo>
                    <a:pt x="1333500" y="1926907"/>
                    <a:pt x="1336357" y="1929765"/>
                    <a:pt x="1336357" y="1933574"/>
                  </a:cubicBezTo>
                  <a:cubicBezTo>
                    <a:pt x="1336357" y="1937384"/>
                    <a:pt x="1333500" y="1940242"/>
                    <a:pt x="1329690" y="1940242"/>
                  </a:cubicBezTo>
                  <a:cubicBezTo>
                    <a:pt x="1325880" y="1940242"/>
                    <a:pt x="1323022" y="1937384"/>
                    <a:pt x="1323022" y="1933574"/>
                  </a:cubicBezTo>
                  <a:cubicBezTo>
                    <a:pt x="1323022" y="1929765"/>
                    <a:pt x="1325880" y="1926907"/>
                    <a:pt x="1329690" y="1926907"/>
                  </a:cubicBezTo>
                  <a:close/>
                  <a:moveTo>
                    <a:pt x="1271588" y="1926907"/>
                  </a:moveTo>
                  <a:cubicBezTo>
                    <a:pt x="1275270" y="1926907"/>
                    <a:pt x="1278255" y="1929892"/>
                    <a:pt x="1278255" y="1933575"/>
                  </a:cubicBezTo>
                  <a:cubicBezTo>
                    <a:pt x="1278255" y="1937257"/>
                    <a:pt x="1275270" y="1940242"/>
                    <a:pt x="1271588" y="1940242"/>
                  </a:cubicBezTo>
                  <a:cubicBezTo>
                    <a:pt x="1267905" y="1940242"/>
                    <a:pt x="1264920" y="1937257"/>
                    <a:pt x="1264920" y="1933575"/>
                  </a:cubicBezTo>
                  <a:cubicBezTo>
                    <a:pt x="1264920" y="1929892"/>
                    <a:pt x="1267905" y="1926907"/>
                    <a:pt x="1271588" y="1926907"/>
                  </a:cubicBezTo>
                  <a:close/>
                  <a:moveTo>
                    <a:pt x="1214437" y="1925002"/>
                  </a:moveTo>
                  <a:cubicBezTo>
                    <a:pt x="1217295" y="1925002"/>
                    <a:pt x="1220152" y="1927859"/>
                    <a:pt x="1220152" y="1930717"/>
                  </a:cubicBezTo>
                  <a:cubicBezTo>
                    <a:pt x="1220152" y="1933574"/>
                    <a:pt x="1217295" y="1936432"/>
                    <a:pt x="1214437" y="1936432"/>
                  </a:cubicBezTo>
                  <a:cubicBezTo>
                    <a:pt x="1211580" y="1936432"/>
                    <a:pt x="1208722" y="1934527"/>
                    <a:pt x="1208722" y="1930717"/>
                  </a:cubicBezTo>
                  <a:cubicBezTo>
                    <a:pt x="1208722" y="1927859"/>
                    <a:pt x="1211580" y="1925002"/>
                    <a:pt x="1214437" y="1925002"/>
                  </a:cubicBezTo>
                  <a:close/>
                  <a:moveTo>
                    <a:pt x="1156335" y="1920240"/>
                  </a:moveTo>
                  <a:cubicBezTo>
                    <a:pt x="1159192" y="1920240"/>
                    <a:pt x="1162050" y="1923097"/>
                    <a:pt x="1162050" y="1925955"/>
                  </a:cubicBezTo>
                  <a:cubicBezTo>
                    <a:pt x="1162050" y="1928812"/>
                    <a:pt x="1159192" y="1931670"/>
                    <a:pt x="1156335" y="1931670"/>
                  </a:cubicBezTo>
                  <a:cubicBezTo>
                    <a:pt x="1153478" y="1931670"/>
                    <a:pt x="1151572" y="1929765"/>
                    <a:pt x="1150620" y="1925955"/>
                  </a:cubicBezTo>
                  <a:cubicBezTo>
                    <a:pt x="1150620" y="1923097"/>
                    <a:pt x="1153478" y="1920240"/>
                    <a:pt x="1156335" y="1920240"/>
                  </a:cubicBezTo>
                  <a:close/>
                  <a:moveTo>
                    <a:pt x="1099185" y="1914525"/>
                  </a:moveTo>
                  <a:cubicBezTo>
                    <a:pt x="1102042" y="1914525"/>
                    <a:pt x="1104900" y="1917383"/>
                    <a:pt x="1104900" y="1920240"/>
                  </a:cubicBezTo>
                  <a:cubicBezTo>
                    <a:pt x="1104900" y="1923097"/>
                    <a:pt x="1102042" y="1925955"/>
                    <a:pt x="1099185" y="1925955"/>
                  </a:cubicBezTo>
                  <a:cubicBezTo>
                    <a:pt x="1096327" y="1925955"/>
                    <a:pt x="1093470" y="1923097"/>
                    <a:pt x="1093470" y="1920240"/>
                  </a:cubicBezTo>
                  <a:cubicBezTo>
                    <a:pt x="1093470" y="1917383"/>
                    <a:pt x="1096327" y="1914525"/>
                    <a:pt x="1099185" y="1914525"/>
                  </a:cubicBezTo>
                  <a:close/>
                  <a:moveTo>
                    <a:pt x="1042988" y="1903095"/>
                  </a:moveTo>
                  <a:cubicBezTo>
                    <a:pt x="1046798" y="1903095"/>
                    <a:pt x="1050608" y="1906905"/>
                    <a:pt x="1050608" y="1910715"/>
                  </a:cubicBezTo>
                  <a:cubicBezTo>
                    <a:pt x="1050608" y="1914525"/>
                    <a:pt x="1046798" y="1918335"/>
                    <a:pt x="1042988" y="1918335"/>
                  </a:cubicBezTo>
                  <a:cubicBezTo>
                    <a:pt x="1038225" y="1918335"/>
                    <a:pt x="1034415" y="1914525"/>
                    <a:pt x="1035368" y="1910715"/>
                  </a:cubicBezTo>
                  <a:cubicBezTo>
                    <a:pt x="1035368" y="1906905"/>
                    <a:pt x="1039178" y="1903095"/>
                    <a:pt x="1042988" y="1903095"/>
                  </a:cubicBezTo>
                  <a:close/>
                  <a:moveTo>
                    <a:pt x="985837" y="1887854"/>
                  </a:moveTo>
                  <a:cubicBezTo>
                    <a:pt x="991552" y="1887854"/>
                    <a:pt x="996315" y="1892617"/>
                    <a:pt x="996315" y="1898332"/>
                  </a:cubicBezTo>
                  <a:cubicBezTo>
                    <a:pt x="996315" y="1904046"/>
                    <a:pt x="991552" y="1908809"/>
                    <a:pt x="985837" y="1908809"/>
                  </a:cubicBezTo>
                  <a:cubicBezTo>
                    <a:pt x="980123" y="1908809"/>
                    <a:pt x="975360" y="1904046"/>
                    <a:pt x="975360" y="1898332"/>
                  </a:cubicBezTo>
                  <a:cubicBezTo>
                    <a:pt x="975360" y="1892617"/>
                    <a:pt x="980123" y="1887854"/>
                    <a:pt x="985837" y="1887854"/>
                  </a:cubicBezTo>
                  <a:close/>
                  <a:moveTo>
                    <a:pt x="930593" y="1878329"/>
                  </a:moveTo>
                  <a:cubicBezTo>
                    <a:pt x="934403" y="1878329"/>
                    <a:pt x="937260" y="1881187"/>
                    <a:pt x="937260" y="1884996"/>
                  </a:cubicBezTo>
                  <a:cubicBezTo>
                    <a:pt x="937260" y="1888807"/>
                    <a:pt x="934403" y="1891664"/>
                    <a:pt x="930593" y="1891664"/>
                  </a:cubicBezTo>
                  <a:cubicBezTo>
                    <a:pt x="926783" y="1891664"/>
                    <a:pt x="922973" y="1888807"/>
                    <a:pt x="923925" y="1884996"/>
                  </a:cubicBezTo>
                  <a:cubicBezTo>
                    <a:pt x="923925" y="1881187"/>
                    <a:pt x="926783" y="1878329"/>
                    <a:pt x="930593" y="1878329"/>
                  </a:cubicBezTo>
                  <a:close/>
                  <a:moveTo>
                    <a:pt x="1725930" y="1867852"/>
                  </a:moveTo>
                  <a:cubicBezTo>
                    <a:pt x="1725930" y="1867852"/>
                    <a:pt x="1726883" y="1867852"/>
                    <a:pt x="1726883" y="1868804"/>
                  </a:cubicBezTo>
                  <a:cubicBezTo>
                    <a:pt x="1726883" y="1868804"/>
                    <a:pt x="1726883" y="1869757"/>
                    <a:pt x="1725930" y="1869757"/>
                  </a:cubicBezTo>
                  <a:cubicBezTo>
                    <a:pt x="1725930" y="1869757"/>
                    <a:pt x="1724978" y="1868804"/>
                    <a:pt x="1724978" y="1868804"/>
                  </a:cubicBezTo>
                  <a:cubicBezTo>
                    <a:pt x="1724978" y="1868804"/>
                    <a:pt x="1724978" y="1867852"/>
                    <a:pt x="1725930" y="1867852"/>
                  </a:cubicBezTo>
                  <a:close/>
                  <a:moveTo>
                    <a:pt x="699135" y="1867852"/>
                  </a:moveTo>
                  <a:cubicBezTo>
                    <a:pt x="700088" y="1867852"/>
                    <a:pt x="701040" y="1868804"/>
                    <a:pt x="701040" y="1869757"/>
                  </a:cubicBezTo>
                  <a:cubicBezTo>
                    <a:pt x="701040" y="1870709"/>
                    <a:pt x="700088" y="1871662"/>
                    <a:pt x="699135" y="1871662"/>
                  </a:cubicBezTo>
                  <a:cubicBezTo>
                    <a:pt x="698183" y="1871662"/>
                    <a:pt x="697230" y="1870709"/>
                    <a:pt x="697230" y="1869757"/>
                  </a:cubicBezTo>
                  <a:cubicBezTo>
                    <a:pt x="697230" y="1868804"/>
                    <a:pt x="698183" y="1867852"/>
                    <a:pt x="699135" y="1867852"/>
                  </a:cubicBezTo>
                  <a:close/>
                  <a:moveTo>
                    <a:pt x="1285875" y="1851659"/>
                  </a:moveTo>
                  <a:cubicBezTo>
                    <a:pt x="1295400" y="1851659"/>
                    <a:pt x="1303973" y="1860232"/>
                    <a:pt x="1303973" y="1869757"/>
                  </a:cubicBezTo>
                  <a:cubicBezTo>
                    <a:pt x="1303973" y="1879282"/>
                    <a:pt x="1296353" y="1887854"/>
                    <a:pt x="1285875" y="1887854"/>
                  </a:cubicBezTo>
                  <a:cubicBezTo>
                    <a:pt x="1276350" y="1887854"/>
                    <a:pt x="1267778" y="1879282"/>
                    <a:pt x="1267778" y="1869757"/>
                  </a:cubicBezTo>
                  <a:cubicBezTo>
                    <a:pt x="1267778" y="1860232"/>
                    <a:pt x="1275398" y="1851659"/>
                    <a:pt x="1285875" y="1851659"/>
                  </a:cubicBezTo>
                  <a:close/>
                  <a:moveTo>
                    <a:pt x="1343978" y="1850707"/>
                  </a:moveTo>
                  <a:cubicBezTo>
                    <a:pt x="1353503" y="1850707"/>
                    <a:pt x="1362075" y="1858327"/>
                    <a:pt x="1362075" y="1868804"/>
                  </a:cubicBezTo>
                  <a:cubicBezTo>
                    <a:pt x="1362075" y="1878329"/>
                    <a:pt x="1354455" y="1886902"/>
                    <a:pt x="1343978" y="1886902"/>
                  </a:cubicBezTo>
                  <a:cubicBezTo>
                    <a:pt x="1333500" y="1886902"/>
                    <a:pt x="1325880" y="1879282"/>
                    <a:pt x="1325880" y="1868804"/>
                  </a:cubicBezTo>
                  <a:cubicBezTo>
                    <a:pt x="1325880" y="1859279"/>
                    <a:pt x="1333500" y="1850707"/>
                    <a:pt x="1343978" y="1850707"/>
                  </a:cubicBezTo>
                  <a:close/>
                  <a:moveTo>
                    <a:pt x="1401128" y="1847850"/>
                  </a:moveTo>
                  <a:cubicBezTo>
                    <a:pt x="1411605" y="1847850"/>
                    <a:pt x="1420178" y="1856422"/>
                    <a:pt x="1420178" y="1866900"/>
                  </a:cubicBezTo>
                  <a:cubicBezTo>
                    <a:pt x="1420178" y="1877378"/>
                    <a:pt x="1411605" y="1885950"/>
                    <a:pt x="1401128" y="1885950"/>
                  </a:cubicBezTo>
                  <a:cubicBezTo>
                    <a:pt x="1390650" y="1885950"/>
                    <a:pt x="1382078" y="1876425"/>
                    <a:pt x="1382078" y="1866900"/>
                  </a:cubicBezTo>
                  <a:cubicBezTo>
                    <a:pt x="1382078" y="1856422"/>
                    <a:pt x="1390650" y="1847850"/>
                    <a:pt x="1401128" y="1847850"/>
                  </a:cubicBezTo>
                  <a:close/>
                  <a:moveTo>
                    <a:pt x="1228725" y="1847850"/>
                  </a:moveTo>
                  <a:cubicBezTo>
                    <a:pt x="1240155" y="1847850"/>
                    <a:pt x="1248727" y="1856422"/>
                    <a:pt x="1248727" y="1867853"/>
                  </a:cubicBezTo>
                  <a:cubicBezTo>
                    <a:pt x="1248727" y="1879283"/>
                    <a:pt x="1240155" y="1887855"/>
                    <a:pt x="1228725" y="1887855"/>
                  </a:cubicBezTo>
                  <a:cubicBezTo>
                    <a:pt x="1217295" y="1887855"/>
                    <a:pt x="1208722" y="1879283"/>
                    <a:pt x="1208722" y="1867853"/>
                  </a:cubicBezTo>
                  <a:cubicBezTo>
                    <a:pt x="1208722" y="1856422"/>
                    <a:pt x="1217295" y="1847850"/>
                    <a:pt x="1228725" y="1847850"/>
                  </a:cubicBezTo>
                  <a:close/>
                  <a:moveTo>
                    <a:pt x="874395" y="1846897"/>
                  </a:moveTo>
                  <a:cubicBezTo>
                    <a:pt x="886495" y="1846897"/>
                    <a:pt x="896303" y="1856705"/>
                    <a:pt x="896303" y="1868804"/>
                  </a:cubicBezTo>
                  <a:cubicBezTo>
                    <a:pt x="896303" y="1880904"/>
                    <a:pt x="886495" y="1890712"/>
                    <a:pt x="874395" y="1890712"/>
                  </a:cubicBezTo>
                  <a:cubicBezTo>
                    <a:pt x="862296" y="1890712"/>
                    <a:pt x="852488" y="1880904"/>
                    <a:pt x="852488" y="1868804"/>
                  </a:cubicBezTo>
                  <a:cubicBezTo>
                    <a:pt x="852488" y="1856705"/>
                    <a:pt x="862296" y="1846897"/>
                    <a:pt x="874395" y="1846897"/>
                  </a:cubicBezTo>
                  <a:close/>
                  <a:moveTo>
                    <a:pt x="1170622" y="1843087"/>
                  </a:moveTo>
                  <a:cubicBezTo>
                    <a:pt x="1182052" y="1843087"/>
                    <a:pt x="1191577" y="1852612"/>
                    <a:pt x="1191577" y="1864042"/>
                  </a:cubicBezTo>
                  <a:cubicBezTo>
                    <a:pt x="1191577" y="1875472"/>
                    <a:pt x="1182052" y="1884997"/>
                    <a:pt x="1170622" y="1884997"/>
                  </a:cubicBezTo>
                  <a:cubicBezTo>
                    <a:pt x="1159192" y="1884997"/>
                    <a:pt x="1149667" y="1875472"/>
                    <a:pt x="1149667" y="1864042"/>
                  </a:cubicBezTo>
                  <a:cubicBezTo>
                    <a:pt x="1149667" y="1852612"/>
                    <a:pt x="1159192" y="1843087"/>
                    <a:pt x="1170622" y="1843087"/>
                  </a:cubicBezTo>
                  <a:close/>
                  <a:moveTo>
                    <a:pt x="646747" y="1843087"/>
                  </a:moveTo>
                  <a:cubicBezTo>
                    <a:pt x="647700" y="1843087"/>
                    <a:pt x="648652" y="1844040"/>
                    <a:pt x="648652" y="1844992"/>
                  </a:cubicBezTo>
                  <a:cubicBezTo>
                    <a:pt x="648652" y="1845945"/>
                    <a:pt x="647700" y="1846897"/>
                    <a:pt x="646747" y="1846897"/>
                  </a:cubicBezTo>
                  <a:cubicBezTo>
                    <a:pt x="645795" y="1846897"/>
                    <a:pt x="644842" y="1846897"/>
                    <a:pt x="644842" y="1844992"/>
                  </a:cubicBezTo>
                  <a:cubicBezTo>
                    <a:pt x="644842" y="1844040"/>
                    <a:pt x="645795" y="1843087"/>
                    <a:pt x="646747" y="1843087"/>
                  </a:cubicBezTo>
                  <a:close/>
                  <a:moveTo>
                    <a:pt x="1459230" y="1841182"/>
                  </a:moveTo>
                  <a:cubicBezTo>
                    <a:pt x="1469708" y="1841182"/>
                    <a:pt x="1478280" y="1849754"/>
                    <a:pt x="1478280" y="1860232"/>
                  </a:cubicBezTo>
                  <a:cubicBezTo>
                    <a:pt x="1478280" y="1870709"/>
                    <a:pt x="1469708" y="1879282"/>
                    <a:pt x="1459230" y="1879282"/>
                  </a:cubicBezTo>
                  <a:cubicBezTo>
                    <a:pt x="1447800" y="1879282"/>
                    <a:pt x="1440180" y="1870709"/>
                    <a:pt x="1440180" y="1860232"/>
                  </a:cubicBezTo>
                  <a:cubicBezTo>
                    <a:pt x="1440180" y="1849754"/>
                    <a:pt x="1448753" y="1841182"/>
                    <a:pt x="1459230" y="1841182"/>
                  </a:cubicBezTo>
                  <a:close/>
                  <a:moveTo>
                    <a:pt x="1515428" y="1837372"/>
                  </a:moveTo>
                  <a:cubicBezTo>
                    <a:pt x="1524001" y="1837372"/>
                    <a:pt x="1530668" y="1844040"/>
                    <a:pt x="1530668" y="1852612"/>
                  </a:cubicBezTo>
                  <a:cubicBezTo>
                    <a:pt x="1530668" y="1861185"/>
                    <a:pt x="1524001" y="1867852"/>
                    <a:pt x="1515428" y="1867852"/>
                  </a:cubicBezTo>
                  <a:cubicBezTo>
                    <a:pt x="1507808" y="1867852"/>
                    <a:pt x="1500188" y="1861185"/>
                    <a:pt x="1500188" y="1852612"/>
                  </a:cubicBezTo>
                  <a:cubicBezTo>
                    <a:pt x="1500188" y="1844040"/>
                    <a:pt x="1506855" y="1837372"/>
                    <a:pt x="1515428" y="1837372"/>
                  </a:cubicBezTo>
                  <a:close/>
                  <a:moveTo>
                    <a:pt x="1113472" y="1837372"/>
                  </a:moveTo>
                  <a:cubicBezTo>
                    <a:pt x="1123950" y="1837372"/>
                    <a:pt x="1133475" y="1845945"/>
                    <a:pt x="1133475" y="1857375"/>
                  </a:cubicBezTo>
                  <a:cubicBezTo>
                    <a:pt x="1133475" y="1867852"/>
                    <a:pt x="1124902" y="1877377"/>
                    <a:pt x="1113472" y="1877377"/>
                  </a:cubicBezTo>
                  <a:cubicBezTo>
                    <a:pt x="1102995" y="1877377"/>
                    <a:pt x="1093470" y="1867852"/>
                    <a:pt x="1093470" y="1857375"/>
                  </a:cubicBezTo>
                  <a:cubicBezTo>
                    <a:pt x="1093470" y="1846897"/>
                    <a:pt x="1102042" y="1837372"/>
                    <a:pt x="1113472" y="1837372"/>
                  </a:cubicBezTo>
                  <a:close/>
                  <a:moveTo>
                    <a:pt x="820103" y="1832609"/>
                  </a:moveTo>
                  <a:cubicBezTo>
                    <a:pt x="829628" y="1832609"/>
                    <a:pt x="837248" y="1840229"/>
                    <a:pt x="837248" y="1849754"/>
                  </a:cubicBezTo>
                  <a:cubicBezTo>
                    <a:pt x="837248" y="1859279"/>
                    <a:pt x="829628" y="1866899"/>
                    <a:pt x="820103" y="1866899"/>
                  </a:cubicBezTo>
                  <a:cubicBezTo>
                    <a:pt x="810578" y="1866899"/>
                    <a:pt x="802958" y="1859279"/>
                    <a:pt x="802958" y="1849754"/>
                  </a:cubicBezTo>
                  <a:cubicBezTo>
                    <a:pt x="802958" y="1840229"/>
                    <a:pt x="810578" y="1832609"/>
                    <a:pt x="820103" y="1832609"/>
                  </a:cubicBezTo>
                  <a:close/>
                  <a:moveTo>
                    <a:pt x="1572578" y="1831657"/>
                  </a:moveTo>
                  <a:cubicBezTo>
                    <a:pt x="1578292" y="1831657"/>
                    <a:pt x="1583055" y="1836420"/>
                    <a:pt x="1583055" y="1842134"/>
                  </a:cubicBezTo>
                  <a:cubicBezTo>
                    <a:pt x="1583055" y="1847849"/>
                    <a:pt x="1578292" y="1852612"/>
                    <a:pt x="1572578" y="1852612"/>
                  </a:cubicBezTo>
                  <a:cubicBezTo>
                    <a:pt x="1566863" y="1852612"/>
                    <a:pt x="1562100" y="1847849"/>
                    <a:pt x="1562100" y="1842134"/>
                  </a:cubicBezTo>
                  <a:cubicBezTo>
                    <a:pt x="1562100" y="1836420"/>
                    <a:pt x="1566863" y="1831657"/>
                    <a:pt x="1572578" y="1831657"/>
                  </a:cubicBezTo>
                  <a:close/>
                  <a:moveTo>
                    <a:pt x="1057275" y="1826895"/>
                  </a:moveTo>
                  <a:cubicBezTo>
                    <a:pt x="1068705" y="1826895"/>
                    <a:pt x="1077278" y="1836420"/>
                    <a:pt x="1077278" y="1846897"/>
                  </a:cubicBezTo>
                  <a:cubicBezTo>
                    <a:pt x="1077278" y="1858328"/>
                    <a:pt x="1067753" y="1866900"/>
                    <a:pt x="1057275" y="1866900"/>
                  </a:cubicBezTo>
                  <a:cubicBezTo>
                    <a:pt x="1045846" y="1866900"/>
                    <a:pt x="1037273" y="1858328"/>
                    <a:pt x="1037273" y="1846897"/>
                  </a:cubicBezTo>
                  <a:cubicBezTo>
                    <a:pt x="1037273" y="1835467"/>
                    <a:pt x="1046798" y="1826895"/>
                    <a:pt x="1057275" y="1826895"/>
                  </a:cubicBezTo>
                  <a:close/>
                  <a:moveTo>
                    <a:pt x="1628775" y="1823084"/>
                  </a:moveTo>
                  <a:cubicBezTo>
                    <a:pt x="1632585" y="1823084"/>
                    <a:pt x="1634490" y="1825942"/>
                    <a:pt x="1634490" y="1828799"/>
                  </a:cubicBezTo>
                  <a:cubicBezTo>
                    <a:pt x="1634490" y="1831657"/>
                    <a:pt x="1631633" y="1834514"/>
                    <a:pt x="1628775" y="1834514"/>
                  </a:cubicBezTo>
                  <a:cubicBezTo>
                    <a:pt x="1625918" y="1834514"/>
                    <a:pt x="1623060" y="1832609"/>
                    <a:pt x="1623060" y="1828799"/>
                  </a:cubicBezTo>
                  <a:cubicBezTo>
                    <a:pt x="1623060" y="1825942"/>
                    <a:pt x="1625918" y="1823084"/>
                    <a:pt x="1628775" y="1823084"/>
                  </a:cubicBezTo>
                  <a:close/>
                  <a:moveTo>
                    <a:pt x="766763" y="1820227"/>
                  </a:moveTo>
                  <a:cubicBezTo>
                    <a:pt x="771525" y="1820227"/>
                    <a:pt x="775335" y="1824037"/>
                    <a:pt x="775335" y="1828799"/>
                  </a:cubicBezTo>
                  <a:cubicBezTo>
                    <a:pt x="775335" y="1833562"/>
                    <a:pt x="771525" y="1837372"/>
                    <a:pt x="766763" y="1837372"/>
                  </a:cubicBezTo>
                  <a:cubicBezTo>
                    <a:pt x="762000" y="1837372"/>
                    <a:pt x="758190" y="1833562"/>
                    <a:pt x="758190" y="1828799"/>
                  </a:cubicBezTo>
                  <a:cubicBezTo>
                    <a:pt x="758190" y="1824037"/>
                    <a:pt x="762000" y="1820227"/>
                    <a:pt x="766763" y="1820227"/>
                  </a:cubicBezTo>
                  <a:close/>
                  <a:moveTo>
                    <a:pt x="1684020" y="1813559"/>
                  </a:moveTo>
                  <a:cubicBezTo>
                    <a:pt x="1684020" y="1813559"/>
                    <a:pt x="1684972" y="1813559"/>
                    <a:pt x="1684972" y="1814512"/>
                  </a:cubicBezTo>
                  <a:cubicBezTo>
                    <a:pt x="1684972" y="1814512"/>
                    <a:pt x="1684972" y="1815464"/>
                    <a:pt x="1684020" y="1815464"/>
                  </a:cubicBezTo>
                  <a:cubicBezTo>
                    <a:pt x="1684020" y="1815464"/>
                    <a:pt x="1683067" y="1814512"/>
                    <a:pt x="1683067" y="1814512"/>
                  </a:cubicBezTo>
                  <a:cubicBezTo>
                    <a:pt x="1683067" y="1814512"/>
                    <a:pt x="1683067" y="1813559"/>
                    <a:pt x="1684020" y="1813559"/>
                  </a:cubicBezTo>
                  <a:close/>
                  <a:moveTo>
                    <a:pt x="1000125" y="1813559"/>
                  </a:moveTo>
                  <a:cubicBezTo>
                    <a:pt x="1012507" y="1813559"/>
                    <a:pt x="1022032" y="1823084"/>
                    <a:pt x="1022032" y="1835467"/>
                  </a:cubicBezTo>
                  <a:cubicBezTo>
                    <a:pt x="1022032" y="1847849"/>
                    <a:pt x="1012507" y="1857374"/>
                    <a:pt x="1000125" y="1857374"/>
                  </a:cubicBezTo>
                  <a:cubicBezTo>
                    <a:pt x="988695" y="1857374"/>
                    <a:pt x="978217" y="1847849"/>
                    <a:pt x="978217" y="1835467"/>
                  </a:cubicBezTo>
                  <a:cubicBezTo>
                    <a:pt x="978217" y="1823084"/>
                    <a:pt x="987742" y="1813559"/>
                    <a:pt x="1000125" y="1813559"/>
                  </a:cubicBezTo>
                  <a:close/>
                  <a:moveTo>
                    <a:pt x="944880" y="1799272"/>
                  </a:moveTo>
                  <a:cubicBezTo>
                    <a:pt x="957263" y="1799272"/>
                    <a:pt x="966788" y="1808797"/>
                    <a:pt x="966788" y="1821180"/>
                  </a:cubicBezTo>
                  <a:cubicBezTo>
                    <a:pt x="966788" y="1833562"/>
                    <a:pt x="957263" y="1843087"/>
                    <a:pt x="944880" y="1843087"/>
                  </a:cubicBezTo>
                  <a:cubicBezTo>
                    <a:pt x="932498" y="1843087"/>
                    <a:pt x="922973" y="1833562"/>
                    <a:pt x="922973" y="1821180"/>
                  </a:cubicBezTo>
                  <a:cubicBezTo>
                    <a:pt x="922973" y="1808797"/>
                    <a:pt x="932498" y="1799272"/>
                    <a:pt x="944880" y="1799272"/>
                  </a:cubicBezTo>
                  <a:close/>
                  <a:moveTo>
                    <a:pt x="544829" y="1789747"/>
                  </a:moveTo>
                  <a:cubicBezTo>
                    <a:pt x="544829" y="1789747"/>
                    <a:pt x="545782" y="1789747"/>
                    <a:pt x="545782" y="1790700"/>
                  </a:cubicBezTo>
                  <a:cubicBezTo>
                    <a:pt x="545782" y="1790700"/>
                    <a:pt x="545782" y="1791652"/>
                    <a:pt x="544829" y="1791652"/>
                  </a:cubicBezTo>
                  <a:cubicBezTo>
                    <a:pt x="544829" y="1791652"/>
                    <a:pt x="543877" y="1791652"/>
                    <a:pt x="543877" y="1790700"/>
                  </a:cubicBezTo>
                  <a:cubicBezTo>
                    <a:pt x="543877" y="1790700"/>
                    <a:pt x="543877" y="1789747"/>
                    <a:pt x="544829" y="1789747"/>
                  </a:cubicBezTo>
                  <a:close/>
                  <a:moveTo>
                    <a:pt x="1243012" y="1787842"/>
                  </a:moveTo>
                  <a:cubicBezTo>
                    <a:pt x="1252537" y="1787842"/>
                    <a:pt x="1260157" y="1795462"/>
                    <a:pt x="1260157" y="1804987"/>
                  </a:cubicBezTo>
                  <a:cubicBezTo>
                    <a:pt x="1260157" y="1814512"/>
                    <a:pt x="1252537" y="1822132"/>
                    <a:pt x="1243012" y="1822132"/>
                  </a:cubicBezTo>
                  <a:cubicBezTo>
                    <a:pt x="1233487" y="1822132"/>
                    <a:pt x="1225867" y="1813559"/>
                    <a:pt x="1225867" y="1804987"/>
                  </a:cubicBezTo>
                  <a:cubicBezTo>
                    <a:pt x="1225867" y="1795462"/>
                    <a:pt x="1233487" y="1787842"/>
                    <a:pt x="1243012" y="1787842"/>
                  </a:cubicBezTo>
                  <a:close/>
                  <a:moveTo>
                    <a:pt x="1300163" y="1786890"/>
                  </a:moveTo>
                  <a:cubicBezTo>
                    <a:pt x="1310641" y="1786890"/>
                    <a:pt x="1319213" y="1795462"/>
                    <a:pt x="1319213" y="1805940"/>
                  </a:cubicBezTo>
                  <a:cubicBezTo>
                    <a:pt x="1319213" y="1816417"/>
                    <a:pt x="1310641" y="1824990"/>
                    <a:pt x="1300163" y="1824990"/>
                  </a:cubicBezTo>
                  <a:cubicBezTo>
                    <a:pt x="1289685" y="1824990"/>
                    <a:pt x="1281113" y="1816417"/>
                    <a:pt x="1281113" y="1805940"/>
                  </a:cubicBezTo>
                  <a:cubicBezTo>
                    <a:pt x="1281113" y="1795462"/>
                    <a:pt x="1289685" y="1786890"/>
                    <a:pt x="1300163" y="1786890"/>
                  </a:cubicBezTo>
                  <a:close/>
                  <a:moveTo>
                    <a:pt x="1739266" y="1785937"/>
                  </a:moveTo>
                  <a:cubicBezTo>
                    <a:pt x="1744980" y="1785937"/>
                    <a:pt x="1749743" y="1790700"/>
                    <a:pt x="1749743" y="1796415"/>
                  </a:cubicBezTo>
                  <a:cubicBezTo>
                    <a:pt x="1749743" y="1802129"/>
                    <a:pt x="1744980" y="1806892"/>
                    <a:pt x="1739266" y="1806892"/>
                  </a:cubicBezTo>
                  <a:cubicBezTo>
                    <a:pt x="1733551" y="1806892"/>
                    <a:pt x="1729741" y="1802129"/>
                    <a:pt x="1728788" y="1796415"/>
                  </a:cubicBezTo>
                  <a:cubicBezTo>
                    <a:pt x="1728788" y="1790700"/>
                    <a:pt x="1733551" y="1785937"/>
                    <a:pt x="1739266" y="1785937"/>
                  </a:cubicBezTo>
                  <a:close/>
                  <a:moveTo>
                    <a:pt x="1358265" y="1785937"/>
                  </a:moveTo>
                  <a:cubicBezTo>
                    <a:pt x="1368742" y="1785937"/>
                    <a:pt x="1377315" y="1794509"/>
                    <a:pt x="1377315" y="1804987"/>
                  </a:cubicBezTo>
                  <a:cubicBezTo>
                    <a:pt x="1377315" y="1815465"/>
                    <a:pt x="1368742" y="1824037"/>
                    <a:pt x="1358265" y="1824037"/>
                  </a:cubicBezTo>
                  <a:cubicBezTo>
                    <a:pt x="1347787" y="1824037"/>
                    <a:pt x="1339215" y="1815465"/>
                    <a:pt x="1339215" y="1804987"/>
                  </a:cubicBezTo>
                  <a:cubicBezTo>
                    <a:pt x="1339215" y="1794509"/>
                    <a:pt x="1347787" y="1785937"/>
                    <a:pt x="1358265" y="1785937"/>
                  </a:cubicBezTo>
                  <a:close/>
                  <a:moveTo>
                    <a:pt x="888683" y="1785937"/>
                  </a:moveTo>
                  <a:cubicBezTo>
                    <a:pt x="899160" y="1785937"/>
                    <a:pt x="908685" y="1794509"/>
                    <a:pt x="908685" y="1805940"/>
                  </a:cubicBezTo>
                  <a:cubicBezTo>
                    <a:pt x="908685" y="1816417"/>
                    <a:pt x="900113" y="1825942"/>
                    <a:pt x="888683" y="1825942"/>
                  </a:cubicBezTo>
                  <a:cubicBezTo>
                    <a:pt x="878205" y="1825942"/>
                    <a:pt x="868680" y="1816417"/>
                    <a:pt x="868680" y="1805940"/>
                  </a:cubicBezTo>
                  <a:cubicBezTo>
                    <a:pt x="868680" y="1795462"/>
                    <a:pt x="877253" y="1785937"/>
                    <a:pt x="888683" y="1785937"/>
                  </a:cubicBezTo>
                  <a:close/>
                  <a:moveTo>
                    <a:pt x="713423" y="1783079"/>
                  </a:moveTo>
                  <a:cubicBezTo>
                    <a:pt x="725805" y="1783079"/>
                    <a:pt x="736283" y="1793557"/>
                    <a:pt x="736283" y="1805939"/>
                  </a:cubicBezTo>
                  <a:cubicBezTo>
                    <a:pt x="736283" y="1818321"/>
                    <a:pt x="725805" y="1828799"/>
                    <a:pt x="713423" y="1828799"/>
                  </a:cubicBezTo>
                  <a:cubicBezTo>
                    <a:pt x="701040" y="1828799"/>
                    <a:pt x="690563" y="1819274"/>
                    <a:pt x="690563" y="1805939"/>
                  </a:cubicBezTo>
                  <a:cubicBezTo>
                    <a:pt x="690563" y="1793557"/>
                    <a:pt x="701040" y="1783079"/>
                    <a:pt x="713423" y="1783079"/>
                  </a:cubicBezTo>
                  <a:close/>
                  <a:moveTo>
                    <a:pt x="1415415" y="1782127"/>
                  </a:moveTo>
                  <a:cubicBezTo>
                    <a:pt x="1424940" y="1782127"/>
                    <a:pt x="1433512" y="1789747"/>
                    <a:pt x="1433512" y="1800224"/>
                  </a:cubicBezTo>
                  <a:cubicBezTo>
                    <a:pt x="1433512" y="1809749"/>
                    <a:pt x="1425892" y="1818322"/>
                    <a:pt x="1415415" y="1818322"/>
                  </a:cubicBezTo>
                  <a:cubicBezTo>
                    <a:pt x="1405890" y="1818322"/>
                    <a:pt x="1397317" y="1810702"/>
                    <a:pt x="1397317" y="1800224"/>
                  </a:cubicBezTo>
                  <a:cubicBezTo>
                    <a:pt x="1397317" y="1790699"/>
                    <a:pt x="1404937" y="1782127"/>
                    <a:pt x="1415415" y="1782127"/>
                  </a:cubicBezTo>
                  <a:close/>
                  <a:moveTo>
                    <a:pt x="1185863" y="1780222"/>
                  </a:moveTo>
                  <a:cubicBezTo>
                    <a:pt x="1197293" y="1780222"/>
                    <a:pt x="1205865" y="1789747"/>
                    <a:pt x="1205865" y="1800225"/>
                  </a:cubicBezTo>
                  <a:cubicBezTo>
                    <a:pt x="1205865" y="1811655"/>
                    <a:pt x="1196340" y="1820227"/>
                    <a:pt x="1185863" y="1820227"/>
                  </a:cubicBezTo>
                  <a:cubicBezTo>
                    <a:pt x="1174433" y="1820227"/>
                    <a:pt x="1165860" y="1811655"/>
                    <a:pt x="1165860" y="1800225"/>
                  </a:cubicBezTo>
                  <a:cubicBezTo>
                    <a:pt x="1165860" y="1788795"/>
                    <a:pt x="1175385" y="1780222"/>
                    <a:pt x="1185863" y="1780222"/>
                  </a:cubicBezTo>
                  <a:close/>
                  <a:moveTo>
                    <a:pt x="1472565" y="1776412"/>
                  </a:moveTo>
                  <a:cubicBezTo>
                    <a:pt x="1482090" y="1776412"/>
                    <a:pt x="1490662" y="1784032"/>
                    <a:pt x="1490662" y="1794509"/>
                  </a:cubicBezTo>
                  <a:cubicBezTo>
                    <a:pt x="1490662" y="1804034"/>
                    <a:pt x="1483042" y="1812607"/>
                    <a:pt x="1472565" y="1812607"/>
                  </a:cubicBezTo>
                  <a:cubicBezTo>
                    <a:pt x="1463040" y="1812607"/>
                    <a:pt x="1454467" y="1804034"/>
                    <a:pt x="1454467" y="1794509"/>
                  </a:cubicBezTo>
                  <a:cubicBezTo>
                    <a:pt x="1454467" y="1784984"/>
                    <a:pt x="1462087" y="1776412"/>
                    <a:pt x="1472565" y="1776412"/>
                  </a:cubicBezTo>
                  <a:close/>
                  <a:moveTo>
                    <a:pt x="1127760" y="1776412"/>
                  </a:moveTo>
                  <a:cubicBezTo>
                    <a:pt x="1137285" y="1776412"/>
                    <a:pt x="1144905" y="1784032"/>
                    <a:pt x="1144905" y="1793557"/>
                  </a:cubicBezTo>
                  <a:cubicBezTo>
                    <a:pt x="1144905" y="1803082"/>
                    <a:pt x="1137285" y="1810702"/>
                    <a:pt x="1127760" y="1810702"/>
                  </a:cubicBezTo>
                  <a:cubicBezTo>
                    <a:pt x="1119188" y="1810702"/>
                    <a:pt x="1111567" y="1803082"/>
                    <a:pt x="1110615" y="1793557"/>
                  </a:cubicBezTo>
                  <a:cubicBezTo>
                    <a:pt x="1110615" y="1784032"/>
                    <a:pt x="1118235" y="1776412"/>
                    <a:pt x="1127760" y="1776412"/>
                  </a:cubicBezTo>
                  <a:close/>
                  <a:moveTo>
                    <a:pt x="1529715" y="1769745"/>
                  </a:moveTo>
                  <a:cubicBezTo>
                    <a:pt x="1538288" y="1769745"/>
                    <a:pt x="1544955" y="1776412"/>
                    <a:pt x="1544955" y="1784985"/>
                  </a:cubicBezTo>
                  <a:cubicBezTo>
                    <a:pt x="1544955" y="1793558"/>
                    <a:pt x="1538288" y="1800225"/>
                    <a:pt x="1529715" y="1800225"/>
                  </a:cubicBezTo>
                  <a:cubicBezTo>
                    <a:pt x="1521142" y="1800225"/>
                    <a:pt x="1514475" y="1793558"/>
                    <a:pt x="1514475" y="1784985"/>
                  </a:cubicBezTo>
                  <a:cubicBezTo>
                    <a:pt x="1514475" y="1776412"/>
                    <a:pt x="1521142" y="1769745"/>
                    <a:pt x="1529715" y="1769745"/>
                  </a:cubicBezTo>
                  <a:close/>
                  <a:moveTo>
                    <a:pt x="834390" y="1766887"/>
                  </a:moveTo>
                  <a:cubicBezTo>
                    <a:pt x="844868" y="1766887"/>
                    <a:pt x="854393" y="1776412"/>
                    <a:pt x="854393" y="1786890"/>
                  </a:cubicBezTo>
                  <a:cubicBezTo>
                    <a:pt x="854393" y="1797367"/>
                    <a:pt x="845821" y="1806892"/>
                    <a:pt x="834390" y="1806892"/>
                  </a:cubicBezTo>
                  <a:cubicBezTo>
                    <a:pt x="822961" y="1806892"/>
                    <a:pt x="814388" y="1797367"/>
                    <a:pt x="814388" y="1786890"/>
                  </a:cubicBezTo>
                  <a:cubicBezTo>
                    <a:pt x="814388" y="1776412"/>
                    <a:pt x="823913" y="1766887"/>
                    <a:pt x="834390" y="1766887"/>
                  </a:cubicBezTo>
                  <a:close/>
                  <a:moveTo>
                    <a:pt x="1793558" y="1765934"/>
                  </a:moveTo>
                  <a:cubicBezTo>
                    <a:pt x="1799272" y="1765934"/>
                    <a:pt x="1804035" y="1770697"/>
                    <a:pt x="1804035" y="1776412"/>
                  </a:cubicBezTo>
                  <a:cubicBezTo>
                    <a:pt x="1804035" y="1782127"/>
                    <a:pt x="1799272" y="1786889"/>
                    <a:pt x="1793558" y="1786889"/>
                  </a:cubicBezTo>
                  <a:cubicBezTo>
                    <a:pt x="1787843" y="1786889"/>
                    <a:pt x="1783080" y="1782127"/>
                    <a:pt x="1783080" y="1776412"/>
                  </a:cubicBezTo>
                  <a:cubicBezTo>
                    <a:pt x="1783080" y="1770697"/>
                    <a:pt x="1787843" y="1765934"/>
                    <a:pt x="1793558" y="1765934"/>
                  </a:cubicBezTo>
                  <a:close/>
                  <a:moveTo>
                    <a:pt x="1071563" y="1764029"/>
                  </a:moveTo>
                  <a:cubicBezTo>
                    <a:pt x="1082993" y="1764029"/>
                    <a:pt x="1092518" y="1773554"/>
                    <a:pt x="1092518" y="1784984"/>
                  </a:cubicBezTo>
                  <a:cubicBezTo>
                    <a:pt x="1092518" y="1796414"/>
                    <a:pt x="1082993" y="1805939"/>
                    <a:pt x="1071563" y="1805939"/>
                  </a:cubicBezTo>
                  <a:cubicBezTo>
                    <a:pt x="1059180" y="1805939"/>
                    <a:pt x="1049655" y="1796414"/>
                    <a:pt x="1050608" y="1784984"/>
                  </a:cubicBezTo>
                  <a:cubicBezTo>
                    <a:pt x="1050608" y="1773554"/>
                    <a:pt x="1060133" y="1764029"/>
                    <a:pt x="1071563" y="1764029"/>
                  </a:cubicBezTo>
                  <a:close/>
                  <a:moveTo>
                    <a:pt x="661035" y="1762125"/>
                  </a:moveTo>
                  <a:cubicBezTo>
                    <a:pt x="671512" y="1762125"/>
                    <a:pt x="680085" y="1770697"/>
                    <a:pt x="680085" y="1781175"/>
                  </a:cubicBezTo>
                  <a:cubicBezTo>
                    <a:pt x="680085" y="1791653"/>
                    <a:pt x="671512" y="1800225"/>
                    <a:pt x="661035" y="1800225"/>
                  </a:cubicBezTo>
                  <a:cubicBezTo>
                    <a:pt x="651510" y="1800225"/>
                    <a:pt x="642937" y="1791653"/>
                    <a:pt x="641985" y="1781175"/>
                  </a:cubicBezTo>
                  <a:cubicBezTo>
                    <a:pt x="641985" y="1770697"/>
                    <a:pt x="650558" y="1762125"/>
                    <a:pt x="661035" y="1762125"/>
                  </a:cubicBezTo>
                  <a:close/>
                  <a:moveTo>
                    <a:pt x="1586865" y="1756409"/>
                  </a:moveTo>
                  <a:cubicBezTo>
                    <a:pt x="1596390" y="1756409"/>
                    <a:pt x="1604009" y="1764029"/>
                    <a:pt x="1604009" y="1773554"/>
                  </a:cubicBezTo>
                  <a:cubicBezTo>
                    <a:pt x="1604009" y="1783079"/>
                    <a:pt x="1596390" y="1790699"/>
                    <a:pt x="1586865" y="1790699"/>
                  </a:cubicBezTo>
                  <a:cubicBezTo>
                    <a:pt x="1577340" y="1790699"/>
                    <a:pt x="1568767" y="1783079"/>
                    <a:pt x="1569720" y="1773554"/>
                  </a:cubicBezTo>
                  <a:cubicBezTo>
                    <a:pt x="1569720" y="1764029"/>
                    <a:pt x="1577340" y="1756409"/>
                    <a:pt x="1586865" y="1756409"/>
                  </a:cubicBezTo>
                  <a:close/>
                  <a:moveTo>
                    <a:pt x="1846898" y="1751647"/>
                  </a:moveTo>
                  <a:cubicBezTo>
                    <a:pt x="1847850" y="1751647"/>
                    <a:pt x="1849755" y="1752600"/>
                    <a:pt x="1849755" y="1754505"/>
                  </a:cubicBezTo>
                  <a:cubicBezTo>
                    <a:pt x="1849755" y="1755457"/>
                    <a:pt x="1848803" y="1757362"/>
                    <a:pt x="1846898" y="1757362"/>
                  </a:cubicBezTo>
                  <a:cubicBezTo>
                    <a:pt x="1844993" y="1757362"/>
                    <a:pt x="1843088" y="1756410"/>
                    <a:pt x="1844040" y="1754505"/>
                  </a:cubicBezTo>
                  <a:cubicBezTo>
                    <a:pt x="1844040" y="1753552"/>
                    <a:pt x="1845945" y="1751647"/>
                    <a:pt x="1846898" y="1751647"/>
                  </a:cubicBezTo>
                  <a:close/>
                  <a:moveTo>
                    <a:pt x="1014413" y="1749742"/>
                  </a:moveTo>
                  <a:cubicBezTo>
                    <a:pt x="1027748" y="1749742"/>
                    <a:pt x="1038225" y="1760220"/>
                    <a:pt x="1038225" y="1773555"/>
                  </a:cubicBezTo>
                  <a:cubicBezTo>
                    <a:pt x="1038225" y="1786890"/>
                    <a:pt x="1027748" y="1797367"/>
                    <a:pt x="1014413" y="1797367"/>
                  </a:cubicBezTo>
                  <a:cubicBezTo>
                    <a:pt x="1001077" y="1797367"/>
                    <a:pt x="990600" y="1786890"/>
                    <a:pt x="990600" y="1773555"/>
                  </a:cubicBezTo>
                  <a:cubicBezTo>
                    <a:pt x="990600" y="1760220"/>
                    <a:pt x="1001077" y="1749742"/>
                    <a:pt x="1014413" y="1749742"/>
                  </a:cubicBezTo>
                  <a:close/>
                  <a:moveTo>
                    <a:pt x="610552" y="1746884"/>
                  </a:moveTo>
                  <a:cubicBezTo>
                    <a:pt x="613410" y="1746884"/>
                    <a:pt x="616267" y="1749742"/>
                    <a:pt x="616267" y="1753552"/>
                  </a:cubicBezTo>
                  <a:cubicBezTo>
                    <a:pt x="616267" y="1757362"/>
                    <a:pt x="614362" y="1760219"/>
                    <a:pt x="610552" y="1760219"/>
                  </a:cubicBezTo>
                  <a:cubicBezTo>
                    <a:pt x="606742" y="1760219"/>
                    <a:pt x="604837" y="1757362"/>
                    <a:pt x="603885" y="1753552"/>
                  </a:cubicBezTo>
                  <a:cubicBezTo>
                    <a:pt x="603885" y="1749742"/>
                    <a:pt x="606742" y="1746884"/>
                    <a:pt x="610552" y="1746884"/>
                  </a:cubicBezTo>
                  <a:close/>
                  <a:moveTo>
                    <a:pt x="781050" y="1744027"/>
                  </a:moveTo>
                  <a:cubicBezTo>
                    <a:pt x="793432" y="1744027"/>
                    <a:pt x="802957" y="1753552"/>
                    <a:pt x="802957" y="1765934"/>
                  </a:cubicBezTo>
                  <a:cubicBezTo>
                    <a:pt x="802957" y="1778317"/>
                    <a:pt x="793432" y="1787842"/>
                    <a:pt x="781050" y="1787842"/>
                  </a:cubicBezTo>
                  <a:cubicBezTo>
                    <a:pt x="768667" y="1787842"/>
                    <a:pt x="759142" y="1778317"/>
                    <a:pt x="759142" y="1765934"/>
                  </a:cubicBezTo>
                  <a:cubicBezTo>
                    <a:pt x="759142" y="1753552"/>
                    <a:pt x="768667" y="1744027"/>
                    <a:pt x="781050" y="1744027"/>
                  </a:cubicBezTo>
                  <a:close/>
                  <a:moveTo>
                    <a:pt x="1642111" y="1743075"/>
                  </a:moveTo>
                  <a:cubicBezTo>
                    <a:pt x="1651054" y="1743075"/>
                    <a:pt x="1658303" y="1750325"/>
                    <a:pt x="1658303" y="1759267"/>
                  </a:cubicBezTo>
                  <a:cubicBezTo>
                    <a:pt x="1658303" y="1768210"/>
                    <a:pt x="1651054" y="1775460"/>
                    <a:pt x="1642111" y="1775460"/>
                  </a:cubicBezTo>
                  <a:cubicBezTo>
                    <a:pt x="1633168" y="1775460"/>
                    <a:pt x="1625918" y="1768210"/>
                    <a:pt x="1625918" y="1759267"/>
                  </a:cubicBezTo>
                  <a:cubicBezTo>
                    <a:pt x="1625918" y="1750325"/>
                    <a:pt x="1633168" y="1743075"/>
                    <a:pt x="1642111" y="1743075"/>
                  </a:cubicBezTo>
                  <a:close/>
                  <a:moveTo>
                    <a:pt x="959168" y="1736407"/>
                  </a:moveTo>
                  <a:cubicBezTo>
                    <a:pt x="971550" y="1736407"/>
                    <a:pt x="982028" y="1746884"/>
                    <a:pt x="982028" y="1759267"/>
                  </a:cubicBezTo>
                  <a:cubicBezTo>
                    <a:pt x="982028" y="1771649"/>
                    <a:pt x="971550" y="1782127"/>
                    <a:pt x="959168" y="1782127"/>
                  </a:cubicBezTo>
                  <a:cubicBezTo>
                    <a:pt x="946785" y="1782127"/>
                    <a:pt x="936308" y="1771649"/>
                    <a:pt x="936308" y="1759267"/>
                  </a:cubicBezTo>
                  <a:cubicBezTo>
                    <a:pt x="936308" y="1746884"/>
                    <a:pt x="946785" y="1736407"/>
                    <a:pt x="959168" y="1736407"/>
                  </a:cubicBezTo>
                  <a:close/>
                  <a:moveTo>
                    <a:pt x="1697355" y="1726882"/>
                  </a:moveTo>
                  <a:cubicBezTo>
                    <a:pt x="1705928" y="1726882"/>
                    <a:pt x="1713548" y="1734502"/>
                    <a:pt x="1713548" y="1743074"/>
                  </a:cubicBezTo>
                  <a:cubicBezTo>
                    <a:pt x="1713548" y="1751647"/>
                    <a:pt x="1705928" y="1759267"/>
                    <a:pt x="1697355" y="1759267"/>
                  </a:cubicBezTo>
                  <a:cubicBezTo>
                    <a:pt x="1688783" y="1759267"/>
                    <a:pt x="1681163" y="1751647"/>
                    <a:pt x="1681163" y="1743074"/>
                  </a:cubicBezTo>
                  <a:cubicBezTo>
                    <a:pt x="1681163" y="1734502"/>
                    <a:pt x="1688783" y="1726882"/>
                    <a:pt x="1697355" y="1726882"/>
                  </a:cubicBezTo>
                  <a:close/>
                  <a:moveTo>
                    <a:pt x="1200150" y="1722120"/>
                  </a:moveTo>
                  <a:cubicBezTo>
                    <a:pt x="1208567" y="1722120"/>
                    <a:pt x="1215390" y="1728943"/>
                    <a:pt x="1215390" y="1737360"/>
                  </a:cubicBezTo>
                  <a:cubicBezTo>
                    <a:pt x="1215390" y="1745777"/>
                    <a:pt x="1208567" y="1752600"/>
                    <a:pt x="1200150" y="1752600"/>
                  </a:cubicBezTo>
                  <a:cubicBezTo>
                    <a:pt x="1191733" y="1752600"/>
                    <a:pt x="1184910" y="1745777"/>
                    <a:pt x="1184910" y="1737360"/>
                  </a:cubicBezTo>
                  <a:cubicBezTo>
                    <a:pt x="1184910" y="1728943"/>
                    <a:pt x="1191733" y="1722120"/>
                    <a:pt x="1200150" y="1722120"/>
                  </a:cubicBezTo>
                  <a:close/>
                  <a:moveTo>
                    <a:pt x="728663" y="1721167"/>
                  </a:moveTo>
                  <a:cubicBezTo>
                    <a:pt x="740093" y="1721167"/>
                    <a:pt x="749618" y="1730692"/>
                    <a:pt x="749618" y="1742122"/>
                  </a:cubicBezTo>
                  <a:cubicBezTo>
                    <a:pt x="749618" y="1753552"/>
                    <a:pt x="740093" y="1763077"/>
                    <a:pt x="728663" y="1763077"/>
                  </a:cubicBezTo>
                  <a:cubicBezTo>
                    <a:pt x="717233" y="1763077"/>
                    <a:pt x="707708" y="1753552"/>
                    <a:pt x="707708" y="1742122"/>
                  </a:cubicBezTo>
                  <a:cubicBezTo>
                    <a:pt x="707708" y="1730692"/>
                    <a:pt x="717233" y="1721167"/>
                    <a:pt x="728663" y="1721167"/>
                  </a:cubicBezTo>
                  <a:close/>
                  <a:moveTo>
                    <a:pt x="1899285" y="1720215"/>
                  </a:moveTo>
                  <a:cubicBezTo>
                    <a:pt x="1904048" y="1720215"/>
                    <a:pt x="1908810" y="1724978"/>
                    <a:pt x="1908810" y="1729740"/>
                  </a:cubicBezTo>
                  <a:cubicBezTo>
                    <a:pt x="1908810" y="1734503"/>
                    <a:pt x="1905000" y="1739265"/>
                    <a:pt x="1899285" y="1739265"/>
                  </a:cubicBezTo>
                  <a:cubicBezTo>
                    <a:pt x="1893570" y="1739265"/>
                    <a:pt x="1889760" y="1734503"/>
                    <a:pt x="1889760" y="1729740"/>
                  </a:cubicBezTo>
                  <a:cubicBezTo>
                    <a:pt x="1889760" y="1724978"/>
                    <a:pt x="1893570" y="1720215"/>
                    <a:pt x="1899285" y="1720215"/>
                  </a:cubicBezTo>
                  <a:close/>
                  <a:moveTo>
                    <a:pt x="903923" y="1720215"/>
                  </a:moveTo>
                  <a:cubicBezTo>
                    <a:pt x="916548" y="1720215"/>
                    <a:pt x="926783" y="1730450"/>
                    <a:pt x="926783" y="1743075"/>
                  </a:cubicBezTo>
                  <a:cubicBezTo>
                    <a:pt x="926783" y="1755700"/>
                    <a:pt x="916548" y="1765935"/>
                    <a:pt x="903923" y="1765935"/>
                  </a:cubicBezTo>
                  <a:cubicBezTo>
                    <a:pt x="891298" y="1765935"/>
                    <a:pt x="881063" y="1755700"/>
                    <a:pt x="881063" y="1743075"/>
                  </a:cubicBezTo>
                  <a:cubicBezTo>
                    <a:pt x="881063" y="1730450"/>
                    <a:pt x="891298" y="1720215"/>
                    <a:pt x="903923" y="1720215"/>
                  </a:cubicBezTo>
                  <a:close/>
                  <a:moveTo>
                    <a:pt x="1315403" y="1719262"/>
                  </a:moveTo>
                  <a:cubicBezTo>
                    <a:pt x="1327785" y="1719262"/>
                    <a:pt x="1337310" y="1728787"/>
                    <a:pt x="1337310" y="1741170"/>
                  </a:cubicBezTo>
                  <a:cubicBezTo>
                    <a:pt x="1337310" y="1753552"/>
                    <a:pt x="1327785" y="1763077"/>
                    <a:pt x="1315403" y="1763077"/>
                  </a:cubicBezTo>
                  <a:cubicBezTo>
                    <a:pt x="1303020" y="1763077"/>
                    <a:pt x="1293495" y="1753552"/>
                    <a:pt x="1293495" y="1741170"/>
                  </a:cubicBezTo>
                  <a:cubicBezTo>
                    <a:pt x="1293495" y="1728787"/>
                    <a:pt x="1303020" y="1719262"/>
                    <a:pt x="1315403" y="1719262"/>
                  </a:cubicBezTo>
                  <a:close/>
                  <a:moveTo>
                    <a:pt x="1257300" y="1719262"/>
                  </a:moveTo>
                  <a:cubicBezTo>
                    <a:pt x="1268730" y="1719262"/>
                    <a:pt x="1278255" y="1728787"/>
                    <a:pt x="1278255" y="1740217"/>
                  </a:cubicBezTo>
                  <a:cubicBezTo>
                    <a:pt x="1278255" y="1751647"/>
                    <a:pt x="1268730" y="1761172"/>
                    <a:pt x="1257300" y="1761172"/>
                  </a:cubicBezTo>
                  <a:cubicBezTo>
                    <a:pt x="1245870" y="1761172"/>
                    <a:pt x="1236345" y="1751647"/>
                    <a:pt x="1236345" y="1740217"/>
                  </a:cubicBezTo>
                  <a:cubicBezTo>
                    <a:pt x="1236345" y="1728787"/>
                    <a:pt x="1245870" y="1719262"/>
                    <a:pt x="1257300" y="1719262"/>
                  </a:cubicBezTo>
                  <a:close/>
                  <a:moveTo>
                    <a:pt x="1372553" y="1717357"/>
                  </a:moveTo>
                  <a:cubicBezTo>
                    <a:pt x="1384935" y="1717357"/>
                    <a:pt x="1394460" y="1726882"/>
                    <a:pt x="1394460" y="1739265"/>
                  </a:cubicBezTo>
                  <a:cubicBezTo>
                    <a:pt x="1394460" y="1751647"/>
                    <a:pt x="1384935" y="1761172"/>
                    <a:pt x="1372553" y="1761172"/>
                  </a:cubicBezTo>
                  <a:cubicBezTo>
                    <a:pt x="1360170" y="1761172"/>
                    <a:pt x="1350645" y="1751647"/>
                    <a:pt x="1350645" y="1739265"/>
                  </a:cubicBezTo>
                  <a:cubicBezTo>
                    <a:pt x="1350645" y="1726882"/>
                    <a:pt x="1360170" y="1717357"/>
                    <a:pt x="1372553" y="1717357"/>
                  </a:cubicBezTo>
                  <a:close/>
                  <a:moveTo>
                    <a:pt x="1429703" y="1714500"/>
                  </a:moveTo>
                  <a:cubicBezTo>
                    <a:pt x="1441133" y="1714500"/>
                    <a:pt x="1449705" y="1723072"/>
                    <a:pt x="1449705" y="1734503"/>
                  </a:cubicBezTo>
                  <a:cubicBezTo>
                    <a:pt x="1449705" y="1745933"/>
                    <a:pt x="1441133" y="1754505"/>
                    <a:pt x="1429703" y="1754505"/>
                  </a:cubicBezTo>
                  <a:cubicBezTo>
                    <a:pt x="1419225" y="1754505"/>
                    <a:pt x="1410653" y="1744980"/>
                    <a:pt x="1409700" y="1734503"/>
                  </a:cubicBezTo>
                  <a:cubicBezTo>
                    <a:pt x="1409700" y="1723072"/>
                    <a:pt x="1418272" y="1714500"/>
                    <a:pt x="1429703" y="1714500"/>
                  </a:cubicBezTo>
                  <a:close/>
                  <a:moveTo>
                    <a:pt x="1142047" y="1714500"/>
                  </a:moveTo>
                  <a:cubicBezTo>
                    <a:pt x="1151572" y="1714500"/>
                    <a:pt x="1159192" y="1722120"/>
                    <a:pt x="1159192" y="1731645"/>
                  </a:cubicBezTo>
                  <a:cubicBezTo>
                    <a:pt x="1159192" y="1741170"/>
                    <a:pt x="1151572" y="1748790"/>
                    <a:pt x="1142047" y="1748790"/>
                  </a:cubicBezTo>
                  <a:cubicBezTo>
                    <a:pt x="1132522" y="1748790"/>
                    <a:pt x="1124902" y="1741170"/>
                    <a:pt x="1124902" y="1731645"/>
                  </a:cubicBezTo>
                  <a:cubicBezTo>
                    <a:pt x="1124902" y="1722120"/>
                    <a:pt x="1132522" y="1714500"/>
                    <a:pt x="1142047" y="1714500"/>
                  </a:cubicBezTo>
                  <a:close/>
                  <a:moveTo>
                    <a:pt x="561022" y="1713547"/>
                  </a:moveTo>
                  <a:cubicBezTo>
                    <a:pt x="566737" y="1713547"/>
                    <a:pt x="572452" y="1718310"/>
                    <a:pt x="572452" y="1724977"/>
                  </a:cubicBezTo>
                  <a:cubicBezTo>
                    <a:pt x="572452" y="1730692"/>
                    <a:pt x="567690" y="1736407"/>
                    <a:pt x="561022" y="1736407"/>
                  </a:cubicBezTo>
                  <a:cubicBezTo>
                    <a:pt x="554355" y="1736407"/>
                    <a:pt x="548640" y="1731645"/>
                    <a:pt x="549592" y="1724977"/>
                  </a:cubicBezTo>
                  <a:cubicBezTo>
                    <a:pt x="549592" y="1719262"/>
                    <a:pt x="554355" y="1713547"/>
                    <a:pt x="561022" y="1713547"/>
                  </a:cubicBezTo>
                  <a:close/>
                  <a:moveTo>
                    <a:pt x="1751648" y="1708784"/>
                  </a:moveTo>
                  <a:cubicBezTo>
                    <a:pt x="1760221" y="1708784"/>
                    <a:pt x="1766888" y="1715452"/>
                    <a:pt x="1766888" y="1724024"/>
                  </a:cubicBezTo>
                  <a:cubicBezTo>
                    <a:pt x="1766888" y="1732597"/>
                    <a:pt x="1760221" y="1739264"/>
                    <a:pt x="1751648" y="1739264"/>
                  </a:cubicBezTo>
                  <a:cubicBezTo>
                    <a:pt x="1743075" y="1739264"/>
                    <a:pt x="1736408" y="1732597"/>
                    <a:pt x="1736408" y="1724024"/>
                  </a:cubicBezTo>
                  <a:cubicBezTo>
                    <a:pt x="1736408" y="1715452"/>
                    <a:pt x="1743075" y="1708784"/>
                    <a:pt x="1751648" y="1708784"/>
                  </a:cubicBezTo>
                  <a:close/>
                  <a:moveTo>
                    <a:pt x="1486853" y="1707832"/>
                  </a:moveTo>
                  <a:cubicBezTo>
                    <a:pt x="1497330" y="1707832"/>
                    <a:pt x="1505903" y="1716404"/>
                    <a:pt x="1505903" y="1726882"/>
                  </a:cubicBezTo>
                  <a:cubicBezTo>
                    <a:pt x="1505903" y="1737359"/>
                    <a:pt x="1497330" y="1745932"/>
                    <a:pt x="1486853" y="1745932"/>
                  </a:cubicBezTo>
                  <a:cubicBezTo>
                    <a:pt x="1477328" y="1745932"/>
                    <a:pt x="1468755" y="1737359"/>
                    <a:pt x="1467803" y="1726882"/>
                  </a:cubicBezTo>
                  <a:cubicBezTo>
                    <a:pt x="1467803" y="1716404"/>
                    <a:pt x="1476375" y="1707832"/>
                    <a:pt x="1486853" y="1707832"/>
                  </a:cubicBezTo>
                  <a:close/>
                  <a:moveTo>
                    <a:pt x="848677" y="1704975"/>
                  </a:moveTo>
                  <a:cubicBezTo>
                    <a:pt x="859154" y="1704975"/>
                    <a:pt x="867727" y="1713547"/>
                    <a:pt x="867727" y="1724025"/>
                  </a:cubicBezTo>
                  <a:cubicBezTo>
                    <a:pt x="867727" y="1734503"/>
                    <a:pt x="859154" y="1743075"/>
                    <a:pt x="848677" y="1743075"/>
                  </a:cubicBezTo>
                  <a:cubicBezTo>
                    <a:pt x="838200" y="1743075"/>
                    <a:pt x="829627" y="1734503"/>
                    <a:pt x="829627" y="1724025"/>
                  </a:cubicBezTo>
                  <a:cubicBezTo>
                    <a:pt x="829627" y="1713547"/>
                    <a:pt x="838200" y="1704975"/>
                    <a:pt x="848677" y="1704975"/>
                  </a:cubicBezTo>
                  <a:close/>
                  <a:moveTo>
                    <a:pt x="1085850" y="1702117"/>
                  </a:moveTo>
                  <a:cubicBezTo>
                    <a:pt x="1097280" y="1702117"/>
                    <a:pt x="1106805" y="1711642"/>
                    <a:pt x="1106805" y="1723072"/>
                  </a:cubicBezTo>
                  <a:cubicBezTo>
                    <a:pt x="1106805" y="1734502"/>
                    <a:pt x="1097280" y="1744027"/>
                    <a:pt x="1085850" y="1744027"/>
                  </a:cubicBezTo>
                  <a:cubicBezTo>
                    <a:pt x="1073467" y="1744027"/>
                    <a:pt x="1063942" y="1734502"/>
                    <a:pt x="1064895" y="1723072"/>
                  </a:cubicBezTo>
                  <a:cubicBezTo>
                    <a:pt x="1064895" y="1711642"/>
                    <a:pt x="1074420" y="1702117"/>
                    <a:pt x="1085850" y="1702117"/>
                  </a:cubicBezTo>
                  <a:close/>
                  <a:moveTo>
                    <a:pt x="1949768" y="1699259"/>
                  </a:moveTo>
                  <a:cubicBezTo>
                    <a:pt x="1951673" y="1699259"/>
                    <a:pt x="1953578" y="1701164"/>
                    <a:pt x="1953578" y="1703069"/>
                  </a:cubicBezTo>
                  <a:cubicBezTo>
                    <a:pt x="1953578" y="1704974"/>
                    <a:pt x="1951673" y="1706879"/>
                    <a:pt x="1949768" y="1706879"/>
                  </a:cubicBezTo>
                  <a:cubicBezTo>
                    <a:pt x="1947863" y="1706879"/>
                    <a:pt x="1946910" y="1704974"/>
                    <a:pt x="1945958" y="1703069"/>
                  </a:cubicBezTo>
                  <a:cubicBezTo>
                    <a:pt x="1945958" y="1701164"/>
                    <a:pt x="1947863" y="1699259"/>
                    <a:pt x="1949768" y="1699259"/>
                  </a:cubicBezTo>
                  <a:close/>
                  <a:moveTo>
                    <a:pt x="1544003" y="1699259"/>
                  </a:moveTo>
                  <a:cubicBezTo>
                    <a:pt x="1553528" y="1699259"/>
                    <a:pt x="1562100" y="1706879"/>
                    <a:pt x="1562100" y="1717357"/>
                  </a:cubicBezTo>
                  <a:cubicBezTo>
                    <a:pt x="1562100" y="1726882"/>
                    <a:pt x="1554480" y="1735454"/>
                    <a:pt x="1544003" y="1735454"/>
                  </a:cubicBezTo>
                  <a:cubicBezTo>
                    <a:pt x="1533525" y="1735454"/>
                    <a:pt x="1525905" y="1726882"/>
                    <a:pt x="1525905" y="1717357"/>
                  </a:cubicBezTo>
                  <a:cubicBezTo>
                    <a:pt x="1525905" y="1707832"/>
                    <a:pt x="1533525" y="1699259"/>
                    <a:pt x="1544003" y="1699259"/>
                  </a:cubicBezTo>
                  <a:close/>
                  <a:moveTo>
                    <a:pt x="676275" y="1696402"/>
                  </a:moveTo>
                  <a:cubicBezTo>
                    <a:pt x="687705" y="1696402"/>
                    <a:pt x="697230" y="1705927"/>
                    <a:pt x="697230" y="1717357"/>
                  </a:cubicBezTo>
                  <a:cubicBezTo>
                    <a:pt x="697230" y="1728787"/>
                    <a:pt x="687705" y="1738312"/>
                    <a:pt x="676275" y="1738312"/>
                  </a:cubicBezTo>
                  <a:cubicBezTo>
                    <a:pt x="664845" y="1738312"/>
                    <a:pt x="655320" y="1728787"/>
                    <a:pt x="655320" y="1717357"/>
                  </a:cubicBezTo>
                  <a:cubicBezTo>
                    <a:pt x="655320" y="1705927"/>
                    <a:pt x="664845" y="1696402"/>
                    <a:pt x="676275" y="1696402"/>
                  </a:cubicBezTo>
                  <a:close/>
                  <a:moveTo>
                    <a:pt x="512445" y="1690687"/>
                  </a:moveTo>
                  <a:cubicBezTo>
                    <a:pt x="514351" y="1690687"/>
                    <a:pt x="515303" y="1691640"/>
                    <a:pt x="515303" y="1693545"/>
                  </a:cubicBezTo>
                  <a:cubicBezTo>
                    <a:pt x="515303" y="1695450"/>
                    <a:pt x="514351" y="1696402"/>
                    <a:pt x="512445" y="1696402"/>
                  </a:cubicBezTo>
                  <a:cubicBezTo>
                    <a:pt x="510540" y="1696402"/>
                    <a:pt x="509588" y="1695450"/>
                    <a:pt x="509588" y="1693545"/>
                  </a:cubicBezTo>
                  <a:cubicBezTo>
                    <a:pt x="509588" y="1691640"/>
                    <a:pt x="510540" y="1690687"/>
                    <a:pt x="512445" y="1690687"/>
                  </a:cubicBezTo>
                  <a:close/>
                  <a:moveTo>
                    <a:pt x="1028700" y="1689734"/>
                  </a:moveTo>
                  <a:cubicBezTo>
                    <a:pt x="1040130" y="1689734"/>
                    <a:pt x="1049655" y="1699259"/>
                    <a:pt x="1049655" y="1710689"/>
                  </a:cubicBezTo>
                  <a:cubicBezTo>
                    <a:pt x="1049655" y="1722119"/>
                    <a:pt x="1040130" y="1731644"/>
                    <a:pt x="1028700" y="1731644"/>
                  </a:cubicBezTo>
                  <a:cubicBezTo>
                    <a:pt x="1017270" y="1731644"/>
                    <a:pt x="1007745" y="1722119"/>
                    <a:pt x="1007745" y="1710689"/>
                  </a:cubicBezTo>
                  <a:cubicBezTo>
                    <a:pt x="1007745" y="1699259"/>
                    <a:pt x="1017270" y="1689734"/>
                    <a:pt x="1028700" y="1689734"/>
                  </a:cubicBezTo>
                  <a:close/>
                  <a:moveTo>
                    <a:pt x="1805940" y="1688782"/>
                  </a:moveTo>
                  <a:cubicBezTo>
                    <a:pt x="1813305" y="1688782"/>
                    <a:pt x="1819275" y="1694752"/>
                    <a:pt x="1819275" y="1702117"/>
                  </a:cubicBezTo>
                  <a:cubicBezTo>
                    <a:pt x="1819275" y="1709482"/>
                    <a:pt x="1813305" y="1715452"/>
                    <a:pt x="1805940" y="1715452"/>
                  </a:cubicBezTo>
                  <a:cubicBezTo>
                    <a:pt x="1798575" y="1715452"/>
                    <a:pt x="1792605" y="1709482"/>
                    <a:pt x="1792605" y="1702117"/>
                  </a:cubicBezTo>
                  <a:cubicBezTo>
                    <a:pt x="1792605" y="1694752"/>
                    <a:pt x="1798575" y="1688782"/>
                    <a:pt x="1805940" y="1688782"/>
                  </a:cubicBezTo>
                  <a:close/>
                  <a:moveTo>
                    <a:pt x="1600200" y="1685925"/>
                  </a:moveTo>
                  <a:cubicBezTo>
                    <a:pt x="1609725" y="1685925"/>
                    <a:pt x="1618298" y="1694497"/>
                    <a:pt x="1618298" y="1704022"/>
                  </a:cubicBezTo>
                  <a:cubicBezTo>
                    <a:pt x="1618298" y="1713547"/>
                    <a:pt x="1610678" y="1722120"/>
                    <a:pt x="1600200" y="1722120"/>
                  </a:cubicBezTo>
                  <a:cubicBezTo>
                    <a:pt x="1589723" y="1722120"/>
                    <a:pt x="1582103" y="1713547"/>
                    <a:pt x="1582103" y="1704022"/>
                  </a:cubicBezTo>
                  <a:cubicBezTo>
                    <a:pt x="1582103" y="1694497"/>
                    <a:pt x="1589723" y="1685925"/>
                    <a:pt x="1600200" y="1685925"/>
                  </a:cubicBezTo>
                  <a:close/>
                  <a:moveTo>
                    <a:pt x="795338" y="1680210"/>
                  </a:moveTo>
                  <a:cubicBezTo>
                    <a:pt x="807437" y="1680210"/>
                    <a:pt x="817245" y="1690018"/>
                    <a:pt x="817245" y="1702117"/>
                  </a:cubicBezTo>
                  <a:cubicBezTo>
                    <a:pt x="817245" y="1714217"/>
                    <a:pt x="807437" y="1724025"/>
                    <a:pt x="795338" y="1724025"/>
                  </a:cubicBezTo>
                  <a:cubicBezTo>
                    <a:pt x="783238" y="1724025"/>
                    <a:pt x="773430" y="1714217"/>
                    <a:pt x="773430" y="1702117"/>
                  </a:cubicBezTo>
                  <a:cubicBezTo>
                    <a:pt x="773430" y="1690018"/>
                    <a:pt x="783238" y="1680210"/>
                    <a:pt x="795338" y="1680210"/>
                  </a:cubicBezTo>
                  <a:close/>
                  <a:moveTo>
                    <a:pt x="973455" y="1675447"/>
                  </a:moveTo>
                  <a:cubicBezTo>
                    <a:pt x="985837" y="1675447"/>
                    <a:pt x="995362" y="1684972"/>
                    <a:pt x="995362" y="1697355"/>
                  </a:cubicBezTo>
                  <a:cubicBezTo>
                    <a:pt x="995362" y="1709737"/>
                    <a:pt x="985837" y="1719262"/>
                    <a:pt x="973455" y="1719262"/>
                  </a:cubicBezTo>
                  <a:cubicBezTo>
                    <a:pt x="961072" y="1719262"/>
                    <a:pt x="950595" y="1708785"/>
                    <a:pt x="951547" y="1697355"/>
                  </a:cubicBezTo>
                  <a:cubicBezTo>
                    <a:pt x="951547" y="1684972"/>
                    <a:pt x="961072" y="1675447"/>
                    <a:pt x="973455" y="1675447"/>
                  </a:cubicBezTo>
                  <a:close/>
                  <a:moveTo>
                    <a:pt x="2000250" y="1670684"/>
                  </a:moveTo>
                  <a:cubicBezTo>
                    <a:pt x="2002155" y="1670684"/>
                    <a:pt x="2004060" y="1672589"/>
                    <a:pt x="2004060" y="1674494"/>
                  </a:cubicBezTo>
                  <a:cubicBezTo>
                    <a:pt x="2004060" y="1676399"/>
                    <a:pt x="2002155" y="1678304"/>
                    <a:pt x="2000250" y="1678304"/>
                  </a:cubicBezTo>
                  <a:cubicBezTo>
                    <a:pt x="1997392" y="1678304"/>
                    <a:pt x="1996440" y="1676399"/>
                    <a:pt x="1996440" y="1674494"/>
                  </a:cubicBezTo>
                  <a:cubicBezTo>
                    <a:pt x="1996440" y="1672589"/>
                    <a:pt x="1998345" y="1670684"/>
                    <a:pt x="2000250" y="1670684"/>
                  </a:cubicBezTo>
                  <a:close/>
                  <a:moveTo>
                    <a:pt x="1655445" y="1669732"/>
                  </a:moveTo>
                  <a:cubicBezTo>
                    <a:pt x="1665922" y="1669732"/>
                    <a:pt x="1673542" y="1678304"/>
                    <a:pt x="1673542" y="1687829"/>
                  </a:cubicBezTo>
                  <a:cubicBezTo>
                    <a:pt x="1673542" y="1698307"/>
                    <a:pt x="1664970" y="1705927"/>
                    <a:pt x="1655445" y="1705927"/>
                  </a:cubicBezTo>
                  <a:cubicBezTo>
                    <a:pt x="1645920" y="1705927"/>
                    <a:pt x="1638300" y="1698307"/>
                    <a:pt x="1637347" y="1687829"/>
                  </a:cubicBezTo>
                  <a:cubicBezTo>
                    <a:pt x="1637347" y="1677352"/>
                    <a:pt x="1645920" y="1669732"/>
                    <a:pt x="1655445" y="1669732"/>
                  </a:cubicBezTo>
                  <a:close/>
                  <a:moveTo>
                    <a:pt x="625792" y="1666875"/>
                  </a:moveTo>
                  <a:cubicBezTo>
                    <a:pt x="638175" y="1666875"/>
                    <a:pt x="647700" y="1676400"/>
                    <a:pt x="647700" y="1688783"/>
                  </a:cubicBezTo>
                  <a:cubicBezTo>
                    <a:pt x="647700" y="1701165"/>
                    <a:pt x="638175" y="1710690"/>
                    <a:pt x="625792" y="1710690"/>
                  </a:cubicBezTo>
                  <a:cubicBezTo>
                    <a:pt x="614362" y="1710690"/>
                    <a:pt x="604837" y="1701165"/>
                    <a:pt x="603885" y="1688783"/>
                  </a:cubicBezTo>
                  <a:cubicBezTo>
                    <a:pt x="603885" y="1676400"/>
                    <a:pt x="613410" y="1666875"/>
                    <a:pt x="625792" y="1666875"/>
                  </a:cubicBezTo>
                  <a:close/>
                  <a:moveTo>
                    <a:pt x="1858328" y="1663065"/>
                  </a:moveTo>
                  <a:cubicBezTo>
                    <a:pt x="1866901" y="1663065"/>
                    <a:pt x="1873568" y="1669732"/>
                    <a:pt x="1873568" y="1678305"/>
                  </a:cubicBezTo>
                  <a:cubicBezTo>
                    <a:pt x="1873568" y="1686878"/>
                    <a:pt x="1866901" y="1693545"/>
                    <a:pt x="1858328" y="1693545"/>
                  </a:cubicBezTo>
                  <a:cubicBezTo>
                    <a:pt x="1849755" y="1693545"/>
                    <a:pt x="1843088" y="1686878"/>
                    <a:pt x="1843088" y="1678305"/>
                  </a:cubicBezTo>
                  <a:cubicBezTo>
                    <a:pt x="1843088" y="1669732"/>
                    <a:pt x="1849755" y="1663065"/>
                    <a:pt x="1858328" y="1663065"/>
                  </a:cubicBezTo>
                  <a:close/>
                  <a:moveTo>
                    <a:pt x="918210" y="1660207"/>
                  </a:moveTo>
                  <a:cubicBezTo>
                    <a:pt x="929640" y="1660207"/>
                    <a:pt x="938213" y="1668779"/>
                    <a:pt x="938213" y="1680209"/>
                  </a:cubicBezTo>
                  <a:cubicBezTo>
                    <a:pt x="938213" y="1691640"/>
                    <a:pt x="929640" y="1700212"/>
                    <a:pt x="918210" y="1700212"/>
                  </a:cubicBezTo>
                  <a:cubicBezTo>
                    <a:pt x="906780" y="1700212"/>
                    <a:pt x="898208" y="1690687"/>
                    <a:pt x="898208" y="1680209"/>
                  </a:cubicBezTo>
                  <a:cubicBezTo>
                    <a:pt x="898208" y="1668779"/>
                    <a:pt x="906780" y="1660207"/>
                    <a:pt x="918210" y="1660207"/>
                  </a:cubicBezTo>
                  <a:close/>
                  <a:moveTo>
                    <a:pt x="1329690" y="1659254"/>
                  </a:moveTo>
                  <a:cubicBezTo>
                    <a:pt x="1339215" y="1659254"/>
                    <a:pt x="1347787" y="1666874"/>
                    <a:pt x="1347787" y="1677352"/>
                  </a:cubicBezTo>
                  <a:cubicBezTo>
                    <a:pt x="1347787" y="1686877"/>
                    <a:pt x="1340167" y="1695449"/>
                    <a:pt x="1329690" y="1695449"/>
                  </a:cubicBezTo>
                  <a:cubicBezTo>
                    <a:pt x="1319212" y="1695449"/>
                    <a:pt x="1310640" y="1686877"/>
                    <a:pt x="1311592" y="1677352"/>
                  </a:cubicBezTo>
                  <a:cubicBezTo>
                    <a:pt x="1311592" y="1667827"/>
                    <a:pt x="1319212" y="1659254"/>
                    <a:pt x="1329690" y="1659254"/>
                  </a:cubicBezTo>
                  <a:close/>
                  <a:moveTo>
                    <a:pt x="1271588" y="1657350"/>
                  </a:moveTo>
                  <a:cubicBezTo>
                    <a:pt x="1282065" y="1657350"/>
                    <a:pt x="1291590" y="1665922"/>
                    <a:pt x="1291590" y="1677353"/>
                  </a:cubicBezTo>
                  <a:cubicBezTo>
                    <a:pt x="1291590" y="1687830"/>
                    <a:pt x="1283018" y="1697355"/>
                    <a:pt x="1271588" y="1697355"/>
                  </a:cubicBezTo>
                  <a:cubicBezTo>
                    <a:pt x="1260158" y="1697355"/>
                    <a:pt x="1251585" y="1687830"/>
                    <a:pt x="1251585" y="1677353"/>
                  </a:cubicBezTo>
                  <a:cubicBezTo>
                    <a:pt x="1251585" y="1666875"/>
                    <a:pt x="1260158" y="1657350"/>
                    <a:pt x="1271588" y="1657350"/>
                  </a:cubicBezTo>
                  <a:close/>
                  <a:moveTo>
                    <a:pt x="742950" y="1657350"/>
                  </a:moveTo>
                  <a:cubicBezTo>
                    <a:pt x="754380" y="1657350"/>
                    <a:pt x="763905" y="1666875"/>
                    <a:pt x="763905" y="1678305"/>
                  </a:cubicBezTo>
                  <a:cubicBezTo>
                    <a:pt x="763905" y="1689735"/>
                    <a:pt x="754380" y="1699260"/>
                    <a:pt x="742950" y="1699260"/>
                  </a:cubicBezTo>
                  <a:cubicBezTo>
                    <a:pt x="731520" y="1699260"/>
                    <a:pt x="721995" y="1689735"/>
                    <a:pt x="721995" y="1678305"/>
                  </a:cubicBezTo>
                  <a:cubicBezTo>
                    <a:pt x="721995" y="1666875"/>
                    <a:pt x="731520" y="1657350"/>
                    <a:pt x="742950" y="1657350"/>
                  </a:cubicBezTo>
                  <a:close/>
                  <a:moveTo>
                    <a:pt x="357187" y="1657350"/>
                  </a:moveTo>
                  <a:cubicBezTo>
                    <a:pt x="357187" y="1657350"/>
                    <a:pt x="358140" y="1657350"/>
                    <a:pt x="358140" y="1658303"/>
                  </a:cubicBezTo>
                  <a:cubicBezTo>
                    <a:pt x="358140" y="1658303"/>
                    <a:pt x="358140" y="1659255"/>
                    <a:pt x="357187" y="1659255"/>
                  </a:cubicBezTo>
                  <a:cubicBezTo>
                    <a:pt x="356235" y="1659255"/>
                    <a:pt x="355282" y="1658303"/>
                    <a:pt x="356235" y="1658303"/>
                  </a:cubicBezTo>
                  <a:cubicBezTo>
                    <a:pt x="356235" y="1658303"/>
                    <a:pt x="356235" y="1657350"/>
                    <a:pt x="357187" y="1657350"/>
                  </a:cubicBezTo>
                  <a:close/>
                  <a:moveTo>
                    <a:pt x="1386840" y="1655445"/>
                  </a:moveTo>
                  <a:cubicBezTo>
                    <a:pt x="1397317" y="1655445"/>
                    <a:pt x="1405890" y="1664017"/>
                    <a:pt x="1405890" y="1674495"/>
                  </a:cubicBezTo>
                  <a:cubicBezTo>
                    <a:pt x="1405890" y="1684972"/>
                    <a:pt x="1397317" y="1693545"/>
                    <a:pt x="1386840" y="1693545"/>
                  </a:cubicBezTo>
                  <a:cubicBezTo>
                    <a:pt x="1376362" y="1693545"/>
                    <a:pt x="1367790" y="1684972"/>
                    <a:pt x="1367790" y="1674495"/>
                  </a:cubicBezTo>
                  <a:cubicBezTo>
                    <a:pt x="1367790" y="1664017"/>
                    <a:pt x="1376362" y="1655445"/>
                    <a:pt x="1386840" y="1655445"/>
                  </a:cubicBezTo>
                  <a:close/>
                  <a:moveTo>
                    <a:pt x="1214438" y="1654492"/>
                  </a:moveTo>
                  <a:cubicBezTo>
                    <a:pt x="1224916" y="1654492"/>
                    <a:pt x="1233488" y="1663065"/>
                    <a:pt x="1233488" y="1673542"/>
                  </a:cubicBezTo>
                  <a:cubicBezTo>
                    <a:pt x="1233488" y="1684020"/>
                    <a:pt x="1224916" y="1692592"/>
                    <a:pt x="1214438" y="1692592"/>
                  </a:cubicBezTo>
                  <a:cubicBezTo>
                    <a:pt x="1203960" y="1692592"/>
                    <a:pt x="1195388" y="1684020"/>
                    <a:pt x="1195388" y="1673542"/>
                  </a:cubicBezTo>
                  <a:cubicBezTo>
                    <a:pt x="1195388" y="1663065"/>
                    <a:pt x="1203960" y="1654492"/>
                    <a:pt x="1214438" y="1654492"/>
                  </a:cubicBezTo>
                  <a:close/>
                  <a:moveTo>
                    <a:pt x="1710691" y="1652587"/>
                  </a:moveTo>
                  <a:cubicBezTo>
                    <a:pt x="1720686" y="1652587"/>
                    <a:pt x="1728788" y="1660690"/>
                    <a:pt x="1728788" y="1670684"/>
                  </a:cubicBezTo>
                  <a:cubicBezTo>
                    <a:pt x="1728788" y="1680679"/>
                    <a:pt x="1720685" y="1688782"/>
                    <a:pt x="1710691" y="1688782"/>
                  </a:cubicBezTo>
                  <a:cubicBezTo>
                    <a:pt x="1700696" y="1688782"/>
                    <a:pt x="1692593" y="1680679"/>
                    <a:pt x="1692593" y="1670684"/>
                  </a:cubicBezTo>
                  <a:cubicBezTo>
                    <a:pt x="1692593" y="1660689"/>
                    <a:pt x="1700696" y="1652587"/>
                    <a:pt x="1710691" y="1652587"/>
                  </a:cubicBezTo>
                  <a:close/>
                  <a:moveTo>
                    <a:pt x="1443990" y="1648777"/>
                  </a:moveTo>
                  <a:cubicBezTo>
                    <a:pt x="1454467" y="1648777"/>
                    <a:pt x="1463040" y="1657349"/>
                    <a:pt x="1463040" y="1667827"/>
                  </a:cubicBezTo>
                  <a:cubicBezTo>
                    <a:pt x="1463040" y="1678304"/>
                    <a:pt x="1454467" y="1686877"/>
                    <a:pt x="1443990" y="1686877"/>
                  </a:cubicBezTo>
                  <a:cubicBezTo>
                    <a:pt x="1433512" y="1686877"/>
                    <a:pt x="1425892" y="1678304"/>
                    <a:pt x="1424940" y="1667827"/>
                  </a:cubicBezTo>
                  <a:cubicBezTo>
                    <a:pt x="1424940" y="1657349"/>
                    <a:pt x="1433512" y="1648777"/>
                    <a:pt x="1443990" y="1648777"/>
                  </a:cubicBezTo>
                  <a:close/>
                  <a:moveTo>
                    <a:pt x="1156335" y="1648777"/>
                  </a:moveTo>
                  <a:cubicBezTo>
                    <a:pt x="1166813" y="1648777"/>
                    <a:pt x="1175385" y="1657349"/>
                    <a:pt x="1175385" y="1667827"/>
                  </a:cubicBezTo>
                  <a:cubicBezTo>
                    <a:pt x="1175385" y="1678304"/>
                    <a:pt x="1166813" y="1686877"/>
                    <a:pt x="1156335" y="1686877"/>
                  </a:cubicBezTo>
                  <a:cubicBezTo>
                    <a:pt x="1146810" y="1686877"/>
                    <a:pt x="1138238" y="1678304"/>
                    <a:pt x="1137285" y="1667827"/>
                  </a:cubicBezTo>
                  <a:cubicBezTo>
                    <a:pt x="1137285" y="1657349"/>
                    <a:pt x="1145858" y="1648777"/>
                    <a:pt x="1156335" y="1648777"/>
                  </a:cubicBezTo>
                  <a:close/>
                  <a:moveTo>
                    <a:pt x="1100138" y="1642109"/>
                  </a:moveTo>
                  <a:cubicBezTo>
                    <a:pt x="1109663" y="1642109"/>
                    <a:pt x="1118235" y="1649729"/>
                    <a:pt x="1118235" y="1660207"/>
                  </a:cubicBezTo>
                  <a:cubicBezTo>
                    <a:pt x="1118235" y="1669732"/>
                    <a:pt x="1110615" y="1678304"/>
                    <a:pt x="1100138" y="1678304"/>
                  </a:cubicBezTo>
                  <a:cubicBezTo>
                    <a:pt x="1089660" y="1678304"/>
                    <a:pt x="1081088" y="1669732"/>
                    <a:pt x="1082040" y="1660207"/>
                  </a:cubicBezTo>
                  <a:cubicBezTo>
                    <a:pt x="1082040" y="1650682"/>
                    <a:pt x="1089660" y="1642109"/>
                    <a:pt x="1100138" y="1642109"/>
                  </a:cubicBezTo>
                  <a:close/>
                  <a:moveTo>
                    <a:pt x="1909763" y="1640204"/>
                  </a:moveTo>
                  <a:cubicBezTo>
                    <a:pt x="1916430" y="1640204"/>
                    <a:pt x="1921193" y="1645919"/>
                    <a:pt x="1921193" y="1651634"/>
                  </a:cubicBezTo>
                  <a:cubicBezTo>
                    <a:pt x="1921193" y="1658302"/>
                    <a:pt x="1915478" y="1663064"/>
                    <a:pt x="1909763" y="1663064"/>
                  </a:cubicBezTo>
                  <a:cubicBezTo>
                    <a:pt x="1903096" y="1663064"/>
                    <a:pt x="1898333" y="1658302"/>
                    <a:pt x="1898333" y="1651634"/>
                  </a:cubicBezTo>
                  <a:cubicBezTo>
                    <a:pt x="1898333" y="1644967"/>
                    <a:pt x="1904048" y="1640204"/>
                    <a:pt x="1909763" y="1640204"/>
                  </a:cubicBezTo>
                  <a:close/>
                  <a:moveTo>
                    <a:pt x="1501140" y="1640204"/>
                  </a:moveTo>
                  <a:cubicBezTo>
                    <a:pt x="1511617" y="1640204"/>
                    <a:pt x="1520190" y="1648777"/>
                    <a:pt x="1520190" y="1659254"/>
                  </a:cubicBezTo>
                  <a:cubicBezTo>
                    <a:pt x="1520190" y="1669732"/>
                    <a:pt x="1511617" y="1678304"/>
                    <a:pt x="1501140" y="1678304"/>
                  </a:cubicBezTo>
                  <a:cubicBezTo>
                    <a:pt x="1490662" y="1678304"/>
                    <a:pt x="1483042" y="1669732"/>
                    <a:pt x="1482090" y="1659254"/>
                  </a:cubicBezTo>
                  <a:cubicBezTo>
                    <a:pt x="1482090" y="1648777"/>
                    <a:pt x="1490662" y="1640204"/>
                    <a:pt x="1501140" y="1640204"/>
                  </a:cubicBezTo>
                  <a:close/>
                  <a:moveTo>
                    <a:pt x="464820" y="1640204"/>
                  </a:moveTo>
                  <a:cubicBezTo>
                    <a:pt x="476250" y="1640204"/>
                    <a:pt x="484823" y="1649729"/>
                    <a:pt x="484823" y="1660207"/>
                  </a:cubicBezTo>
                  <a:cubicBezTo>
                    <a:pt x="484823" y="1671637"/>
                    <a:pt x="475298" y="1680209"/>
                    <a:pt x="464820" y="1680209"/>
                  </a:cubicBezTo>
                  <a:cubicBezTo>
                    <a:pt x="454343" y="1680209"/>
                    <a:pt x="445770" y="1671637"/>
                    <a:pt x="444818" y="1660207"/>
                  </a:cubicBezTo>
                  <a:cubicBezTo>
                    <a:pt x="444818" y="1648777"/>
                    <a:pt x="454343" y="1640204"/>
                    <a:pt x="464820" y="1640204"/>
                  </a:cubicBezTo>
                  <a:close/>
                  <a:moveTo>
                    <a:pt x="2048828" y="1639252"/>
                  </a:moveTo>
                  <a:cubicBezTo>
                    <a:pt x="2050932" y="1639252"/>
                    <a:pt x="2052638" y="1640958"/>
                    <a:pt x="2052638" y="1643062"/>
                  </a:cubicBezTo>
                  <a:cubicBezTo>
                    <a:pt x="2052638" y="1645166"/>
                    <a:pt x="2050932" y="1646872"/>
                    <a:pt x="2048828" y="1646872"/>
                  </a:cubicBezTo>
                  <a:cubicBezTo>
                    <a:pt x="2046724" y="1646872"/>
                    <a:pt x="2045018" y="1645166"/>
                    <a:pt x="2045018" y="1643062"/>
                  </a:cubicBezTo>
                  <a:cubicBezTo>
                    <a:pt x="2045018" y="1640958"/>
                    <a:pt x="2046724" y="1639252"/>
                    <a:pt x="2048828" y="1639252"/>
                  </a:cubicBezTo>
                  <a:close/>
                  <a:moveTo>
                    <a:pt x="863918" y="1639252"/>
                  </a:moveTo>
                  <a:cubicBezTo>
                    <a:pt x="875348" y="1639252"/>
                    <a:pt x="884873" y="1648777"/>
                    <a:pt x="884873" y="1660207"/>
                  </a:cubicBezTo>
                  <a:cubicBezTo>
                    <a:pt x="884873" y="1671637"/>
                    <a:pt x="875348" y="1681162"/>
                    <a:pt x="863918" y="1681162"/>
                  </a:cubicBezTo>
                  <a:cubicBezTo>
                    <a:pt x="852488" y="1681162"/>
                    <a:pt x="842963" y="1671637"/>
                    <a:pt x="842963" y="1660207"/>
                  </a:cubicBezTo>
                  <a:cubicBezTo>
                    <a:pt x="842963" y="1648777"/>
                    <a:pt x="852488" y="1639252"/>
                    <a:pt x="863918" y="1639252"/>
                  </a:cubicBezTo>
                  <a:close/>
                  <a:moveTo>
                    <a:pt x="576263" y="1637347"/>
                  </a:moveTo>
                  <a:cubicBezTo>
                    <a:pt x="588645" y="1637347"/>
                    <a:pt x="598170" y="1646872"/>
                    <a:pt x="598170" y="1659255"/>
                  </a:cubicBezTo>
                  <a:cubicBezTo>
                    <a:pt x="598170" y="1671637"/>
                    <a:pt x="588645" y="1681162"/>
                    <a:pt x="576263" y="1681162"/>
                  </a:cubicBezTo>
                  <a:cubicBezTo>
                    <a:pt x="564833" y="1681162"/>
                    <a:pt x="554355" y="1671637"/>
                    <a:pt x="554355" y="1659255"/>
                  </a:cubicBezTo>
                  <a:cubicBezTo>
                    <a:pt x="554355" y="1646872"/>
                    <a:pt x="563880" y="1637347"/>
                    <a:pt x="576263" y="1637347"/>
                  </a:cubicBezTo>
                  <a:close/>
                  <a:moveTo>
                    <a:pt x="1764030" y="1634490"/>
                  </a:moveTo>
                  <a:cubicBezTo>
                    <a:pt x="1772603" y="1634490"/>
                    <a:pt x="1779270" y="1641157"/>
                    <a:pt x="1779270" y="1649730"/>
                  </a:cubicBezTo>
                  <a:cubicBezTo>
                    <a:pt x="1779270" y="1658303"/>
                    <a:pt x="1772603" y="1664970"/>
                    <a:pt x="1764030" y="1664970"/>
                  </a:cubicBezTo>
                  <a:cubicBezTo>
                    <a:pt x="1756410" y="1664970"/>
                    <a:pt x="1749742" y="1658303"/>
                    <a:pt x="1748790" y="1649730"/>
                  </a:cubicBezTo>
                  <a:cubicBezTo>
                    <a:pt x="1748790" y="1641157"/>
                    <a:pt x="1755457" y="1634490"/>
                    <a:pt x="1764030" y="1634490"/>
                  </a:cubicBezTo>
                  <a:close/>
                  <a:moveTo>
                    <a:pt x="691515" y="1632584"/>
                  </a:moveTo>
                  <a:cubicBezTo>
                    <a:pt x="701992" y="1632584"/>
                    <a:pt x="710565" y="1641157"/>
                    <a:pt x="710565" y="1651634"/>
                  </a:cubicBezTo>
                  <a:cubicBezTo>
                    <a:pt x="710565" y="1662112"/>
                    <a:pt x="701992" y="1670684"/>
                    <a:pt x="691515" y="1670684"/>
                  </a:cubicBezTo>
                  <a:cubicBezTo>
                    <a:pt x="681038" y="1670684"/>
                    <a:pt x="673417" y="1662112"/>
                    <a:pt x="672465" y="1651634"/>
                  </a:cubicBezTo>
                  <a:cubicBezTo>
                    <a:pt x="672465" y="1641157"/>
                    <a:pt x="681038" y="1632584"/>
                    <a:pt x="691515" y="1632584"/>
                  </a:cubicBezTo>
                  <a:close/>
                  <a:moveTo>
                    <a:pt x="1042987" y="1627822"/>
                  </a:moveTo>
                  <a:cubicBezTo>
                    <a:pt x="1054417" y="1627822"/>
                    <a:pt x="1062990" y="1636395"/>
                    <a:pt x="1062990" y="1647825"/>
                  </a:cubicBezTo>
                  <a:cubicBezTo>
                    <a:pt x="1062990" y="1659255"/>
                    <a:pt x="1054417" y="1667827"/>
                    <a:pt x="1042987" y="1667827"/>
                  </a:cubicBezTo>
                  <a:cubicBezTo>
                    <a:pt x="1032510" y="1667827"/>
                    <a:pt x="1022985" y="1659255"/>
                    <a:pt x="1022985" y="1647825"/>
                  </a:cubicBezTo>
                  <a:cubicBezTo>
                    <a:pt x="1022985" y="1636395"/>
                    <a:pt x="1031558" y="1627822"/>
                    <a:pt x="1042987" y="1627822"/>
                  </a:cubicBezTo>
                  <a:close/>
                  <a:moveTo>
                    <a:pt x="1558290" y="1626870"/>
                  </a:moveTo>
                  <a:cubicBezTo>
                    <a:pt x="1569720" y="1626870"/>
                    <a:pt x="1579245" y="1636395"/>
                    <a:pt x="1579245" y="1647825"/>
                  </a:cubicBezTo>
                  <a:cubicBezTo>
                    <a:pt x="1579245" y="1659255"/>
                    <a:pt x="1569720" y="1668780"/>
                    <a:pt x="1558290" y="1668780"/>
                  </a:cubicBezTo>
                  <a:cubicBezTo>
                    <a:pt x="1546860" y="1668780"/>
                    <a:pt x="1537335" y="1659255"/>
                    <a:pt x="1537335" y="1647825"/>
                  </a:cubicBezTo>
                  <a:cubicBezTo>
                    <a:pt x="1537335" y="1636395"/>
                    <a:pt x="1546860" y="1626870"/>
                    <a:pt x="1558290" y="1626870"/>
                  </a:cubicBezTo>
                  <a:close/>
                  <a:moveTo>
                    <a:pt x="810578" y="1617345"/>
                  </a:moveTo>
                  <a:cubicBezTo>
                    <a:pt x="822008" y="1617345"/>
                    <a:pt x="831533" y="1626870"/>
                    <a:pt x="831533" y="1638300"/>
                  </a:cubicBezTo>
                  <a:cubicBezTo>
                    <a:pt x="831533" y="1649730"/>
                    <a:pt x="822008" y="1659255"/>
                    <a:pt x="810578" y="1659255"/>
                  </a:cubicBezTo>
                  <a:cubicBezTo>
                    <a:pt x="798195" y="1659255"/>
                    <a:pt x="788670" y="1650683"/>
                    <a:pt x="789623" y="1638300"/>
                  </a:cubicBezTo>
                  <a:cubicBezTo>
                    <a:pt x="789623" y="1626870"/>
                    <a:pt x="799148" y="1617345"/>
                    <a:pt x="810578" y="1617345"/>
                  </a:cubicBezTo>
                  <a:close/>
                  <a:moveTo>
                    <a:pt x="1613535" y="1614487"/>
                  </a:moveTo>
                  <a:cubicBezTo>
                    <a:pt x="1624013" y="1614487"/>
                    <a:pt x="1633538" y="1623059"/>
                    <a:pt x="1633538" y="1634490"/>
                  </a:cubicBezTo>
                  <a:cubicBezTo>
                    <a:pt x="1633538" y="1644967"/>
                    <a:pt x="1624966" y="1654492"/>
                    <a:pt x="1613535" y="1654492"/>
                  </a:cubicBezTo>
                  <a:cubicBezTo>
                    <a:pt x="1602105" y="1654492"/>
                    <a:pt x="1593533" y="1644967"/>
                    <a:pt x="1593533" y="1634490"/>
                  </a:cubicBezTo>
                  <a:cubicBezTo>
                    <a:pt x="1593533" y="1624012"/>
                    <a:pt x="1602105" y="1614487"/>
                    <a:pt x="1613535" y="1614487"/>
                  </a:cubicBezTo>
                  <a:close/>
                  <a:moveTo>
                    <a:pt x="419100" y="1614487"/>
                  </a:moveTo>
                  <a:cubicBezTo>
                    <a:pt x="425768" y="1614487"/>
                    <a:pt x="430530" y="1619250"/>
                    <a:pt x="430530" y="1625917"/>
                  </a:cubicBezTo>
                  <a:cubicBezTo>
                    <a:pt x="430530" y="1632584"/>
                    <a:pt x="425768" y="1637347"/>
                    <a:pt x="419100" y="1637347"/>
                  </a:cubicBezTo>
                  <a:cubicBezTo>
                    <a:pt x="413385" y="1637347"/>
                    <a:pt x="407670" y="1631632"/>
                    <a:pt x="407670" y="1625917"/>
                  </a:cubicBezTo>
                  <a:cubicBezTo>
                    <a:pt x="407670" y="1619250"/>
                    <a:pt x="412433" y="1614487"/>
                    <a:pt x="419100" y="1614487"/>
                  </a:cubicBezTo>
                  <a:close/>
                  <a:moveTo>
                    <a:pt x="987742" y="1613534"/>
                  </a:moveTo>
                  <a:cubicBezTo>
                    <a:pt x="999173" y="1613534"/>
                    <a:pt x="1007745" y="1623059"/>
                    <a:pt x="1007745" y="1633537"/>
                  </a:cubicBezTo>
                  <a:cubicBezTo>
                    <a:pt x="1007745" y="1644967"/>
                    <a:pt x="998220" y="1653539"/>
                    <a:pt x="987742" y="1653539"/>
                  </a:cubicBezTo>
                  <a:cubicBezTo>
                    <a:pt x="976313" y="1653539"/>
                    <a:pt x="967740" y="1644967"/>
                    <a:pt x="967740" y="1633537"/>
                  </a:cubicBezTo>
                  <a:cubicBezTo>
                    <a:pt x="967740" y="1622107"/>
                    <a:pt x="977265" y="1613534"/>
                    <a:pt x="987742" y="1613534"/>
                  </a:cubicBezTo>
                  <a:close/>
                  <a:moveTo>
                    <a:pt x="1817370" y="1611629"/>
                  </a:moveTo>
                  <a:cubicBezTo>
                    <a:pt x="1825943" y="1611629"/>
                    <a:pt x="1832610" y="1618296"/>
                    <a:pt x="1832610" y="1626869"/>
                  </a:cubicBezTo>
                  <a:cubicBezTo>
                    <a:pt x="1832610" y="1635442"/>
                    <a:pt x="1825943" y="1642109"/>
                    <a:pt x="1817370" y="1642109"/>
                  </a:cubicBezTo>
                  <a:cubicBezTo>
                    <a:pt x="1808797" y="1642109"/>
                    <a:pt x="1802130" y="1635442"/>
                    <a:pt x="1802130" y="1626869"/>
                  </a:cubicBezTo>
                  <a:cubicBezTo>
                    <a:pt x="1802130" y="1618296"/>
                    <a:pt x="1808797" y="1611629"/>
                    <a:pt x="1817370" y="1611629"/>
                  </a:cubicBezTo>
                  <a:close/>
                  <a:moveTo>
                    <a:pt x="1959293" y="1610677"/>
                  </a:moveTo>
                  <a:cubicBezTo>
                    <a:pt x="1965960" y="1610677"/>
                    <a:pt x="1971675" y="1616392"/>
                    <a:pt x="1971675" y="1623059"/>
                  </a:cubicBezTo>
                  <a:cubicBezTo>
                    <a:pt x="1971675" y="1629727"/>
                    <a:pt x="1965960" y="1635442"/>
                    <a:pt x="1959293" y="1635442"/>
                  </a:cubicBezTo>
                  <a:cubicBezTo>
                    <a:pt x="1952625" y="1635442"/>
                    <a:pt x="1947863" y="1630679"/>
                    <a:pt x="1946910" y="1623059"/>
                  </a:cubicBezTo>
                  <a:cubicBezTo>
                    <a:pt x="1946910" y="1616392"/>
                    <a:pt x="1952625" y="1610677"/>
                    <a:pt x="1959293" y="1610677"/>
                  </a:cubicBezTo>
                  <a:close/>
                  <a:moveTo>
                    <a:pt x="2095500" y="1608772"/>
                  </a:moveTo>
                  <a:cubicBezTo>
                    <a:pt x="2096453" y="1608772"/>
                    <a:pt x="2097405" y="1609725"/>
                    <a:pt x="2097405" y="1610677"/>
                  </a:cubicBezTo>
                  <a:cubicBezTo>
                    <a:pt x="2097405" y="1611630"/>
                    <a:pt x="2096453" y="1612582"/>
                    <a:pt x="2095500" y="1612582"/>
                  </a:cubicBezTo>
                  <a:cubicBezTo>
                    <a:pt x="2094547" y="1612582"/>
                    <a:pt x="2093595" y="1611630"/>
                    <a:pt x="2093595" y="1610677"/>
                  </a:cubicBezTo>
                  <a:cubicBezTo>
                    <a:pt x="2093595" y="1609725"/>
                    <a:pt x="2094547" y="1608772"/>
                    <a:pt x="2095500" y="1608772"/>
                  </a:cubicBezTo>
                  <a:close/>
                  <a:moveTo>
                    <a:pt x="528637" y="1605915"/>
                  </a:moveTo>
                  <a:cubicBezTo>
                    <a:pt x="541020" y="1605915"/>
                    <a:pt x="550545" y="1615440"/>
                    <a:pt x="550545" y="1627822"/>
                  </a:cubicBezTo>
                  <a:cubicBezTo>
                    <a:pt x="550545" y="1640205"/>
                    <a:pt x="541020" y="1649730"/>
                    <a:pt x="528637" y="1649730"/>
                  </a:cubicBezTo>
                  <a:cubicBezTo>
                    <a:pt x="516255" y="1649730"/>
                    <a:pt x="506730" y="1639253"/>
                    <a:pt x="506730" y="1627822"/>
                  </a:cubicBezTo>
                  <a:cubicBezTo>
                    <a:pt x="506730" y="1615440"/>
                    <a:pt x="516255" y="1605915"/>
                    <a:pt x="528637" y="1605915"/>
                  </a:cubicBezTo>
                  <a:close/>
                  <a:moveTo>
                    <a:pt x="641985" y="1604009"/>
                  </a:moveTo>
                  <a:cubicBezTo>
                    <a:pt x="652462" y="1604009"/>
                    <a:pt x="661035" y="1612582"/>
                    <a:pt x="661035" y="1623059"/>
                  </a:cubicBezTo>
                  <a:cubicBezTo>
                    <a:pt x="661035" y="1633537"/>
                    <a:pt x="652462" y="1642109"/>
                    <a:pt x="641985" y="1642109"/>
                  </a:cubicBezTo>
                  <a:cubicBezTo>
                    <a:pt x="631508" y="1642109"/>
                    <a:pt x="622935" y="1633537"/>
                    <a:pt x="622935" y="1623059"/>
                  </a:cubicBezTo>
                  <a:cubicBezTo>
                    <a:pt x="622935" y="1612582"/>
                    <a:pt x="631508" y="1604009"/>
                    <a:pt x="641985" y="1604009"/>
                  </a:cubicBezTo>
                  <a:close/>
                  <a:moveTo>
                    <a:pt x="1668780" y="1598295"/>
                  </a:moveTo>
                  <a:cubicBezTo>
                    <a:pt x="1679258" y="1598295"/>
                    <a:pt x="1687830" y="1606867"/>
                    <a:pt x="1687830" y="1617345"/>
                  </a:cubicBezTo>
                  <a:cubicBezTo>
                    <a:pt x="1687830" y="1627822"/>
                    <a:pt x="1679258" y="1636395"/>
                    <a:pt x="1668780" y="1636395"/>
                  </a:cubicBezTo>
                  <a:cubicBezTo>
                    <a:pt x="1658303" y="1636395"/>
                    <a:pt x="1649730" y="1627822"/>
                    <a:pt x="1649730" y="1617345"/>
                  </a:cubicBezTo>
                  <a:cubicBezTo>
                    <a:pt x="1649730" y="1606867"/>
                    <a:pt x="1658303" y="1598295"/>
                    <a:pt x="1668780" y="1598295"/>
                  </a:cubicBezTo>
                  <a:close/>
                  <a:moveTo>
                    <a:pt x="932497" y="1597342"/>
                  </a:moveTo>
                  <a:cubicBezTo>
                    <a:pt x="942975" y="1597342"/>
                    <a:pt x="952500" y="1605915"/>
                    <a:pt x="952500" y="1617345"/>
                  </a:cubicBezTo>
                  <a:cubicBezTo>
                    <a:pt x="952500" y="1627822"/>
                    <a:pt x="943927" y="1637347"/>
                    <a:pt x="932497" y="1637347"/>
                  </a:cubicBezTo>
                  <a:cubicBezTo>
                    <a:pt x="921067" y="1637347"/>
                    <a:pt x="911542" y="1627822"/>
                    <a:pt x="912495" y="1617345"/>
                  </a:cubicBezTo>
                  <a:cubicBezTo>
                    <a:pt x="912495" y="1606867"/>
                    <a:pt x="921067" y="1597342"/>
                    <a:pt x="932497" y="1597342"/>
                  </a:cubicBezTo>
                  <a:close/>
                  <a:moveTo>
                    <a:pt x="1285875" y="1596390"/>
                  </a:moveTo>
                  <a:cubicBezTo>
                    <a:pt x="1295400" y="1596390"/>
                    <a:pt x="1303020" y="1604010"/>
                    <a:pt x="1303020" y="1613535"/>
                  </a:cubicBezTo>
                  <a:cubicBezTo>
                    <a:pt x="1303020" y="1623060"/>
                    <a:pt x="1295400" y="1630680"/>
                    <a:pt x="1285875" y="1630680"/>
                  </a:cubicBezTo>
                  <a:cubicBezTo>
                    <a:pt x="1276350" y="1630680"/>
                    <a:pt x="1268730" y="1622107"/>
                    <a:pt x="1268730" y="1613535"/>
                  </a:cubicBezTo>
                  <a:cubicBezTo>
                    <a:pt x="1268730" y="1604010"/>
                    <a:pt x="1276350" y="1596390"/>
                    <a:pt x="1285875" y="1596390"/>
                  </a:cubicBezTo>
                  <a:close/>
                  <a:moveTo>
                    <a:pt x="1343978" y="1595437"/>
                  </a:moveTo>
                  <a:cubicBezTo>
                    <a:pt x="1353503" y="1595437"/>
                    <a:pt x="1361123" y="1603057"/>
                    <a:pt x="1361123" y="1612582"/>
                  </a:cubicBezTo>
                  <a:cubicBezTo>
                    <a:pt x="1361123" y="1622107"/>
                    <a:pt x="1353503" y="1629727"/>
                    <a:pt x="1343978" y="1629727"/>
                  </a:cubicBezTo>
                  <a:cubicBezTo>
                    <a:pt x="1334453" y="1629727"/>
                    <a:pt x="1326833" y="1622107"/>
                    <a:pt x="1326833" y="1612582"/>
                  </a:cubicBezTo>
                  <a:cubicBezTo>
                    <a:pt x="1326833" y="1603057"/>
                    <a:pt x="1334453" y="1595437"/>
                    <a:pt x="1343978" y="1595437"/>
                  </a:cubicBezTo>
                  <a:close/>
                  <a:moveTo>
                    <a:pt x="758190" y="1592579"/>
                  </a:moveTo>
                  <a:cubicBezTo>
                    <a:pt x="769620" y="1592579"/>
                    <a:pt x="779145" y="1602104"/>
                    <a:pt x="779145" y="1613534"/>
                  </a:cubicBezTo>
                  <a:cubicBezTo>
                    <a:pt x="779145" y="1624964"/>
                    <a:pt x="769620" y="1634489"/>
                    <a:pt x="758190" y="1634489"/>
                  </a:cubicBezTo>
                  <a:cubicBezTo>
                    <a:pt x="746760" y="1634489"/>
                    <a:pt x="737235" y="1624964"/>
                    <a:pt x="737235" y="1613534"/>
                  </a:cubicBezTo>
                  <a:cubicBezTo>
                    <a:pt x="737235" y="1602104"/>
                    <a:pt x="746760" y="1592579"/>
                    <a:pt x="758190" y="1592579"/>
                  </a:cubicBezTo>
                  <a:close/>
                  <a:moveTo>
                    <a:pt x="1401128" y="1590675"/>
                  </a:moveTo>
                  <a:cubicBezTo>
                    <a:pt x="1410653" y="1590675"/>
                    <a:pt x="1418273" y="1598295"/>
                    <a:pt x="1418273" y="1607820"/>
                  </a:cubicBezTo>
                  <a:cubicBezTo>
                    <a:pt x="1418273" y="1617345"/>
                    <a:pt x="1410653" y="1624965"/>
                    <a:pt x="1401128" y="1624965"/>
                  </a:cubicBezTo>
                  <a:cubicBezTo>
                    <a:pt x="1391603" y="1624965"/>
                    <a:pt x="1383983" y="1617345"/>
                    <a:pt x="1383983" y="1607820"/>
                  </a:cubicBezTo>
                  <a:cubicBezTo>
                    <a:pt x="1383983" y="1598295"/>
                    <a:pt x="1391603" y="1590675"/>
                    <a:pt x="1401128" y="1590675"/>
                  </a:cubicBezTo>
                  <a:close/>
                  <a:moveTo>
                    <a:pt x="1228725" y="1590675"/>
                  </a:moveTo>
                  <a:cubicBezTo>
                    <a:pt x="1239203" y="1590675"/>
                    <a:pt x="1247775" y="1599247"/>
                    <a:pt x="1247775" y="1609725"/>
                  </a:cubicBezTo>
                  <a:cubicBezTo>
                    <a:pt x="1247775" y="1620203"/>
                    <a:pt x="1239203" y="1628775"/>
                    <a:pt x="1228725" y="1628775"/>
                  </a:cubicBezTo>
                  <a:cubicBezTo>
                    <a:pt x="1218247" y="1628775"/>
                    <a:pt x="1209675" y="1621155"/>
                    <a:pt x="1209675" y="1609725"/>
                  </a:cubicBezTo>
                  <a:cubicBezTo>
                    <a:pt x="1209675" y="1599247"/>
                    <a:pt x="1218247" y="1590675"/>
                    <a:pt x="1228725" y="1590675"/>
                  </a:cubicBezTo>
                  <a:close/>
                  <a:moveTo>
                    <a:pt x="1171575" y="1588770"/>
                  </a:moveTo>
                  <a:cubicBezTo>
                    <a:pt x="1180148" y="1588770"/>
                    <a:pt x="1187768" y="1596390"/>
                    <a:pt x="1187768" y="1604962"/>
                  </a:cubicBezTo>
                  <a:cubicBezTo>
                    <a:pt x="1187768" y="1613535"/>
                    <a:pt x="1180148" y="1621155"/>
                    <a:pt x="1171575" y="1621155"/>
                  </a:cubicBezTo>
                  <a:cubicBezTo>
                    <a:pt x="1162050" y="1621155"/>
                    <a:pt x="1155383" y="1613535"/>
                    <a:pt x="1155383" y="1604962"/>
                  </a:cubicBezTo>
                  <a:cubicBezTo>
                    <a:pt x="1155383" y="1596390"/>
                    <a:pt x="1163003" y="1588770"/>
                    <a:pt x="1171575" y="1588770"/>
                  </a:cubicBezTo>
                  <a:close/>
                  <a:moveTo>
                    <a:pt x="1868805" y="1587817"/>
                  </a:moveTo>
                  <a:cubicBezTo>
                    <a:pt x="1876425" y="1587817"/>
                    <a:pt x="1882140" y="1593532"/>
                    <a:pt x="1882140" y="1601152"/>
                  </a:cubicBezTo>
                  <a:cubicBezTo>
                    <a:pt x="1882140" y="1608772"/>
                    <a:pt x="1876425" y="1614487"/>
                    <a:pt x="1868805" y="1614487"/>
                  </a:cubicBezTo>
                  <a:cubicBezTo>
                    <a:pt x="1861185" y="1614487"/>
                    <a:pt x="1855470" y="1608772"/>
                    <a:pt x="1855470" y="1601152"/>
                  </a:cubicBezTo>
                  <a:cubicBezTo>
                    <a:pt x="1855470" y="1593532"/>
                    <a:pt x="1861185" y="1587817"/>
                    <a:pt x="1868805" y="1587817"/>
                  </a:cubicBezTo>
                  <a:close/>
                  <a:moveTo>
                    <a:pt x="1458278" y="1585912"/>
                  </a:moveTo>
                  <a:cubicBezTo>
                    <a:pt x="1466851" y="1585912"/>
                    <a:pt x="1473518" y="1592579"/>
                    <a:pt x="1473518" y="1601152"/>
                  </a:cubicBezTo>
                  <a:cubicBezTo>
                    <a:pt x="1473518" y="1609725"/>
                    <a:pt x="1466851" y="1616392"/>
                    <a:pt x="1458278" y="1616392"/>
                  </a:cubicBezTo>
                  <a:cubicBezTo>
                    <a:pt x="1450658" y="1616392"/>
                    <a:pt x="1443991" y="1609725"/>
                    <a:pt x="1443038" y="1601152"/>
                  </a:cubicBezTo>
                  <a:cubicBezTo>
                    <a:pt x="1443038" y="1592579"/>
                    <a:pt x="1449705" y="1585912"/>
                    <a:pt x="1458278" y="1585912"/>
                  </a:cubicBezTo>
                  <a:close/>
                  <a:moveTo>
                    <a:pt x="2008822" y="1584007"/>
                  </a:moveTo>
                  <a:cubicBezTo>
                    <a:pt x="2013585" y="1584007"/>
                    <a:pt x="2017395" y="1587817"/>
                    <a:pt x="2017395" y="1592579"/>
                  </a:cubicBezTo>
                  <a:cubicBezTo>
                    <a:pt x="2017395" y="1597342"/>
                    <a:pt x="2013585" y="1601152"/>
                    <a:pt x="2008822" y="1601152"/>
                  </a:cubicBezTo>
                  <a:cubicBezTo>
                    <a:pt x="2004060" y="1601152"/>
                    <a:pt x="2000250" y="1597342"/>
                    <a:pt x="2000250" y="1592579"/>
                  </a:cubicBezTo>
                  <a:cubicBezTo>
                    <a:pt x="2000250" y="1587817"/>
                    <a:pt x="2004060" y="1584007"/>
                    <a:pt x="2008822" y="1584007"/>
                  </a:cubicBezTo>
                  <a:close/>
                  <a:moveTo>
                    <a:pt x="1114425" y="1580197"/>
                  </a:moveTo>
                  <a:cubicBezTo>
                    <a:pt x="1122998" y="1580197"/>
                    <a:pt x="1130618" y="1587817"/>
                    <a:pt x="1130618" y="1596390"/>
                  </a:cubicBezTo>
                  <a:cubicBezTo>
                    <a:pt x="1130618" y="1604962"/>
                    <a:pt x="1122998" y="1612582"/>
                    <a:pt x="1114425" y="1612582"/>
                  </a:cubicBezTo>
                  <a:cubicBezTo>
                    <a:pt x="1104900" y="1612582"/>
                    <a:pt x="1098233" y="1605915"/>
                    <a:pt x="1098233" y="1596390"/>
                  </a:cubicBezTo>
                  <a:cubicBezTo>
                    <a:pt x="1098233" y="1587817"/>
                    <a:pt x="1105853" y="1580197"/>
                    <a:pt x="1114425" y="1580197"/>
                  </a:cubicBezTo>
                  <a:close/>
                  <a:moveTo>
                    <a:pt x="1723072" y="1579245"/>
                  </a:moveTo>
                  <a:cubicBezTo>
                    <a:pt x="1732597" y="1579245"/>
                    <a:pt x="1741170" y="1586865"/>
                    <a:pt x="1741170" y="1597342"/>
                  </a:cubicBezTo>
                  <a:cubicBezTo>
                    <a:pt x="1741170" y="1606867"/>
                    <a:pt x="1733550" y="1615440"/>
                    <a:pt x="1723072" y="1615440"/>
                  </a:cubicBezTo>
                  <a:cubicBezTo>
                    <a:pt x="1712595" y="1615440"/>
                    <a:pt x="1704975" y="1606867"/>
                    <a:pt x="1704975" y="1597342"/>
                  </a:cubicBezTo>
                  <a:cubicBezTo>
                    <a:pt x="1704975" y="1587817"/>
                    <a:pt x="1713547" y="1579245"/>
                    <a:pt x="1723072" y="1579245"/>
                  </a:cubicBezTo>
                  <a:close/>
                  <a:moveTo>
                    <a:pt x="878204" y="1577340"/>
                  </a:moveTo>
                  <a:cubicBezTo>
                    <a:pt x="888682" y="1577340"/>
                    <a:pt x="898207" y="1585912"/>
                    <a:pt x="898207" y="1597342"/>
                  </a:cubicBezTo>
                  <a:cubicBezTo>
                    <a:pt x="898207" y="1607820"/>
                    <a:pt x="889635" y="1617345"/>
                    <a:pt x="878204" y="1617345"/>
                  </a:cubicBezTo>
                  <a:cubicBezTo>
                    <a:pt x="866775" y="1617345"/>
                    <a:pt x="858202" y="1608772"/>
                    <a:pt x="858202" y="1597342"/>
                  </a:cubicBezTo>
                  <a:cubicBezTo>
                    <a:pt x="858202" y="1586865"/>
                    <a:pt x="867727" y="1577340"/>
                    <a:pt x="878204" y="1577340"/>
                  </a:cubicBezTo>
                  <a:close/>
                  <a:moveTo>
                    <a:pt x="375285" y="1575434"/>
                  </a:moveTo>
                  <a:cubicBezTo>
                    <a:pt x="382905" y="1575434"/>
                    <a:pt x="388620" y="1581149"/>
                    <a:pt x="388620" y="1588769"/>
                  </a:cubicBezTo>
                  <a:cubicBezTo>
                    <a:pt x="388620" y="1596389"/>
                    <a:pt x="382905" y="1602104"/>
                    <a:pt x="375285" y="1602104"/>
                  </a:cubicBezTo>
                  <a:cubicBezTo>
                    <a:pt x="367665" y="1602104"/>
                    <a:pt x="361950" y="1596389"/>
                    <a:pt x="361950" y="1588769"/>
                  </a:cubicBezTo>
                  <a:cubicBezTo>
                    <a:pt x="361950" y="1581149"/>
                    <a:pt x="367665" y="1575434"/>
                    <a:pt x="375285" y="1575434"/>
                  </a:cubicBezTo>
                  <a:close/>
                  <a:moveTo>
                    <a:pt x="1515428" y="1574482"/>
                  </a:moveTo>
                  <a:cubicBezTo>
                    <a:pt x="1524953" y="1574482"/>
                    <a:pt x="1532573" y="1582102"/>
                    <a:pt x="1532573" y="1591627"/>
                  </a:cubicBezTo>
                  <a:cubicBezTo>
                    <a:pt x="1532573" y="1601152"/>
                    <a:pt x="1524953" y="1608772"/>
                    <a:pt x="1515428" y="1608772"/>
                  </a:cubicBezTo>
                  <a:cubicBezTo>
                    <a:pt x="1505903" y="1608772"/>
                    <a:pt x="1498283" y="1601152"/>
                    <a:pt x="1498283" y="1591627"/>
                  </a:cubicBezTo>
                  <a:cubicBezTo>
                    <a:pt x="1498283" y="1582102"/>
                    <a:pt x="1505903" y="1574482"/>
                    <a:pt x="1515428" y="1574482"/>
                  </a:cubicBezTo>
                  <a:close/>
                  <a:moveTo>
                    <a:pt x="592454" y="1573529"/>
                  </a:moveTo>
                  <a:cubicBezTo>
                    <a:pt x="603885" y="1573529"/>
                    <a:pt x="612457" y="1582102"/>
                    <a:pt x="612457" y="1593532"/>
                  </a:cubicBezTo>
                  <a:cubicBezTo>
                    <a:pt x="612457" y="1604962"/>
                    <a:pt x="603885" y="1613534"/>
                    <a:pt x="592454" y="1613534"/>
                  </a:cubicBezTo>
                  <a:cubicBezTo>
                    <a:pt x="581977" y="1613534"/>
                    <a:pt x="572452" y="1604009"/>
                    <a:pt x="572452" y="1593532"/>
                  </a:cubicBezTo>
                  <a:cubicBezTo>
                    <a:pt x="572452" y="1582102"/>
                    <a:pt x="581025" y="1573529"/>
                    <a:pt x="592454" y="1573529"/>
                  </a:cubicBezTo>
                  <a:close/>
                  <a:moveTo>
                    <a:pt x="481965" y="1569720"/>
                  </a:moveTo>
                  <a:cubicBezTo>
                    <a:pt x="494348" y="1569720"/>
                    <a:pt x="504825" y="1580197"/>
                    <a:pt x="504825" y="1592580"/>
                  </a:cubicBezTo>
                  <a:cubicBezTo>
                    <a:pt x="504825" y="1604962"/>
                    <a:pt x="494348" y="1615440"/>
                    <a:pt x="481965" y="1615440"/>
                  </a:cubicBezTo>
                  <a:cubicBezTo>
                    <a:pt x="469582" y="1615440"/>
                    <a:pt x="460057" y="1605915"/>
                    <a:pt x="459105" y="1592580"/>
                  </a:cubicBezTo>
                  <a:cubicBezTo>
                    <a:pt x="459105" y="1580197"/>
                    <a:pt x="469582" y="1569720"/>
                    <a:pt x="481965" y="1569720"/>
                  </a:cubicBezTo>
                  <a:close/>
                  <a:moveTo>
                    <a:pt x="1057275" y="1566862"/>
                  </a:moveTo>
                  <a:cubicBezTo>
                    <a:pt x="1067752" y="1566862"/>
                    <a:pt x="1075372" y="1575434"/>
                    <a:pt x="1075372" y="1584959"/>
                  </a:cubicBezTo>
                  <a:cubicBezTo>
                    <a:pt x="1075372" y="1595437"/>
                    <a:pt x="1066800" y="1603057"/>
                    <a:pt x="1057275" y="1603057"/>
                  </a:cubicBezTo>
                  <a:cubicBezTo>
                    <a:pt x="1047750" y="1603057"/>
                    <a:pt x="1040129" y="1595437"/>
                    <a:pt x="1039177" y="1584959"/>
                  </a:cubicBezTo>
                  <a:cubicBezTo>
                    <a:pt x="1039177" y="1574482"/>
                    <a:pt x="1047750" y="1566862"/>
                    <a:pt x="1057275" y="1566862"/>
                  </a:cubicBezTo>
                  <a:close/>
                  <a:moveTo>
                    <a:pt x="706755" y="1565909"/>
                  </a:moveTo>
                  <a:cubicBezTo>
                    <a:pt x="718185" y="1565909"/>
                    <a:pt x="727710" y="1575434"/>
                    <a:pt x="727710" y="1586864"/>
                  </a:cubicBezTo>
                  <a:cubicBezTo>
                    <a:pt x="727710" y="1598294"/>
                    <a:pt x="718185" y="1607819"/>
                    <a:pt x="706755" y="1607819"/>
                  </a:cubicBezTo>
                  <a:cubicBezTo>
                    <a:pt x="695325" y="1607819"/>
                    <a:pt x="685800" y="1598294"/>
                    <a:pt x="685800" y="1586864"/>
                  </a:cubicBezTo>
                  <a:cubicBezTo>
                    <a:pt x="685800" y="1575434"/>
                    <a:pt x="695325" y="1565909"/>
                    <a:pt x="706755" y="1565909"/>
                  </a:cubicBezTo>
                  <a:close/>
                  <a:moveTo>
                    <a:pt x="1919288" y="1560195"/>
                  </a:moveTo>
                  <a:cubicBezTo>
                    <a:pt x="1926908" y="1560195"/>
                    <a:pt x="1932623" y="1565910"/>
                    <a:pt x="1932623" y="1573530"/>
                  </a:cubicBezTo>
                  <a:cubicBezTo>
                    <a:pt x="1932623" y="1581150"/>
                    <a:pt x="1926908" y="1586865"/>
                    <a:pt x="1919288" y="1586865"/>
                  </a:cubicBezTo>
                  <a:cubicBezTo>
                    <a:pt x="1911668" y="1586865"/>
                    <a:pt x="1905953" y="1580197"/>
                    <a:pt x="1905953" y="1573530"/>
                  </a:cubicBezTo>
                  <a:cubicBezTo>
                    <a:pt x="1905953" y="1565910"/>
                    <a:pt x="1911668" y="1560195"/>
                    <a:pt x="1919288" y="1560195"/>
                  </a:cubicBezTo>
                  <a:close/>
                  <a:moveTo>
                    <a:pt x="1571625" y="1560195"/>
                  </a:moveTo>
                  <a:cubicBezTo>
                    <a:pt x="1581150" y="1560195"/>
                    <a:pt x="1589723" y="1567815"/>
                    <a:pt x="1589723" y="1578292"/>
                  </a:cubicBezTo>
                  <a:cubicBezTo>
                    <a:pt x="1589723" y="1587817"/>
                    <a:pt x="1582103" y="1596390"/>
                    <a:pt x="1571625" y="1596390"/>
                  </a:cubicBezTo>
                  <a:cubicBezTo>
                    <a:pt x="1561148" y="1596390"/>
                    <a:pt x="1553528" y="1588770"/>
                    <a:pt x="1553528" y="1578292"/>
                  </a:cubicBezTo>
                  <a:cubicBezTo>
                    <a:pt x="1553528" y="1568767"/>
                    <a:pt x="1561148" y="1560195"/>
                    <a:pt x="1571625" y="1560195"/>
                  </a:cubicBezTo>
                  <a:close/>
                  <a:moveTo>
                    <a:pt x="2055495" y="1558290"/>
                  </a:moveTo>
                  <a:cubicBezTo>
                    <a:pt x="2056447" y="1558290"/>
                    <a:pt x="2057400" y="1559242"/>
                    <a:pt x="2057400" y="1560195"/>
                  </a:cubicBezTo>
                  <a:cubicBezTo>
                    <a:pt x="2057400" y="1561147"/>
                    <a:pt x="2056447" y="1562100"/>
                    <a:pt x="2055495" y="1562100"/>
                  </a:cubicBezTo>
                  <a:cubicBezTo>
                    <a:pt x="2054542" y="1562100"/>
                    <a:pt x="2053590" y="1561147"/>
                    <a:pt x="2053590" y="1560195"/>
                  </a:cubicBezTo>
                  <a:cubicBezTo>
                    <a:pt x="2053590" y="1559242"/>
                    <a:pt x="2054542" y="1558290"/>
                    <a:pt x="2055495" y="1558290"/>
                  </a:cubicBezTo>
                  <a:close/>
                  <a:moveTo>
                    <a:pt x="1776412" y="1557337"/>
                  </a:moveTo>
                  <a:cubicBezTo>
                    <a:pt x="1785937" y="1557337"/>
                    <a:pt x="1793557" y="1564957"/>
                    <a:pt x="1793557" y="1574482"/>
                  </a:cubicBezTo>
                  <a:cubicBezTo>
                    <a:pt x="1793557" y="1584007"/>
                    <a:pt x="1785937" y="1591627"/>
                    <a:pt x="1776412" y="1591627"/>
                  </a:cubicBezTo>
                  <a:cubicBezTo>
                    <a:pt x="1766887" y="1591627"/>
                    <a:pt x="1759267" y="1584007"/>
                    <a:pt x="1759267" y="1574482"/>
                  </a:cubicBezTo>
                  <a:cubicBezTo>
                    <a:pt x="1759267" y="1564957"/>
                    <a:pt x="1766887" y="1557337"/>
                    <a:pt x="1776412" y="1557337"/>
                  </a:cubicBezTo>
                  <a:close/>
                  <a:moveTo>
                    <a:pt x="824865" y="1553527"/>
                  </a:moveTo>
                  <a:cubicBezTo>
                    <a:pt x="836295" y="1553527"/>
                    <a:pt x="845820" y="1563052"/>
                    <a:pt x="845820" y="1574482"/>
                  </a:cubicBezTo>
                  <a:cubicBezTo>
                    <a:pt x="845820" y="1585912"/>
                    <a:pt x="836295" y="1595437"/>
                    <a:pt x="824865" y="1595437"/>
                  </a:cubicBezTo>
                  <a:cubicBezTo>
                    <a:pt x="813435" y="1595437"/>
                    <a:pt x="803910" y="1585912"/>
                    <a:pt x="803910" y="1574482"/>
                  </a:cubicBezTo>
                  <a:cubicBezTo>
                    <a:pt x="803910" y="1563052"/>
                    <a:pt x="813435" y="1553527"/>
                    <a:pt x="824865" y="1553527"/>
                  </a:cubicBezTo>
                  <a:close/>
                  <a:moveTo>
                    <a:pt x="1002029" y="1550670"/>
                  </a:moveTo>
                  <a:cubicBezTo>
                    <a:pt x="1013460" y="1550670"/>
                    <a:pt x="1022032" y="1559242"/>
                    <a:pt x="1022032" y="1570672"/>
                  </a:cubicBezTo>
                  <a:cubicBezTo>
                    <a:pt x="1022032" y="1582103"/>
                    <a:pt x="1013460" y="1590675"/>
                    <a:pt x="1002029" y="1590675"/>
                  </a:cubicBezTo>
                  <a:cubicBezTo>
                    <a:pt x="990600" y="1590675"/>
                    <a:pt x="982027" y="1582103"/>
                    <a:pt x="982027" y="1570672"/>
                  </a:cubicBezTo>
                  <a:cubicBezTo>
                    <a:pt x="982027" y="1559242"/>
                    <a:pt x="990600" y="1550670"/>
                    <a:pt x="1002029" y="1550670"/>
                  </a:cubicBezTo>
                  <a:close/>
                  <a:moveTo>
                    <a:pt x="1626870" y="1544002"/>
                  </a:moveTo>
                  <a:cubicBezTo>
                    <a:pt x="1637347" y="1544002"/>
                    <a:pt x="1645920" y="1552574"/>
                    <a:pt x="1645920" y="1563052"/>
                  </a:cubicBezTo>
                  <a:cubicBezTo>
                    <a:pt x="1645920" y="1573529"/>
                    <a:pt x="1637347" y="1582102"/>
                    <a:pt x="1626870" y="1582102"/>
                  </a:cubicBezTo>
                  <a:cubicBezTo>
                    <a:pt x="1616392" y="1582102"/>
                    <a:pt x="1607820" y="1573529"/>
                    <a:pt x="1607820" y="1563052"/>
                  </a:cubicBezTo>
                  <a:cubicBezTo>
                    <a:pt x="1607820" y="1552574"/>
                    <a:pt x="1616392" y="1544002"/>
                    <a:pt x="1626870" y="1544002"/>
                  </a:cubicBezTo>
                  <a:close/>
                  <a:moveTo>
                    <a:pt x="545782" y="1539240"/>
                  </a:moveTo>
                  <a:cubicBezTo>
                    <a:pt x="557212" y="1539240"/>
                    <a:pt x="566737" y="1548765"/>
                    <a:pt x="566737" y="1560195"/>
                  </a:cubicBezTo>
                  <a:cubicBezTo>
                    <a:pt x="566737" y="1571625"/>
                    <a:pt x="557212" y="1581150"/>
                    <a:pt x="545782" y="1581150"/>
                  </a:cubicBezTo>
                  <a:cubicBezTo>
                    <a:pt x="534352" y="1581150"/>
                    <a:pt x="524827" y="1571625"/>
                    <a:pt x="524827" y="1560195"/>
                  </a:cubicBezTo>
                  <a:cubicBezTo>
                    <a:pt x="524827" y="1548765"/>
                    <a:pt x="534352" y="1539240"/>
                    <a:pt x="545782" y="1539240"/>
                  </a:cubicBezTo>
                  <a:close/>
                  <a:moveTo>
                    <a:pt x="657225" y="1538287"/>
                  </a:moveTo>
                  <a:cubicBezTo>
                    <a:pt x="668655" y="1538287"/>
                    <a:pt x="677228" y="1546859"/>
                    <a:pt x="677228" y="1558290"/>
                  </a:cubicBezTo>
                  <a:cubicBezTo>
                    <a:pt x="677228" y="1569720"/>
                    <a:pt x="668655" y="1578292"/>
                    <a:pt x="657225" y="1578292"/>
                  </a:cubicBezTo>
                  <a:cubicBezTo>
                    <a:pt x="645796" y="1578292"/>
                    <a:pt x="637223" y="1568767"/>
                    <a:pt x="637223" y="1558290"/>
                  </a:cubicBezTo>
                  <a:cubicBezTo>
                    <a:pt x="637223" y="1546859"/>
                    <a:pt x="645796" y="1538287"/>
                    <a:pt x="657225" y="1538287"/>
                  </a:cubicBezTo>
                  <a:close/>
                  <a:moveTo>
                    <a:pt x="437198" y="1538287"/>
                  </a:moveTo>
                  <a:cubicBezTo>
                    <a:pt x="447675" y="1538287"/>
                    <a:pt x="456248" y="1546859"/>
                    <a:pt x="456248" y="1557337"/>
                  </a:cubicBezTo>
                  <a:cubicBezTo>
                    <a:pt x="456248" y="1567815"/>
                    <a:pt x="447675" y="1576387"/>
                    <a:pt x="437198" y="1576387"/>
                  </a:cubicBezTo>
                  <a:cubicBezTo>
                    <a:pt x="426720" y="1576387"/>
                    <a:pt x="418148" y="1567815"/>
                    <a:pt x="418148" y="1557337"/>
                  </a:cubicBezTo>
                  <a:cubicBezTo>
                    <a:pt x="418148" y="1546859"/>
                    <a:pt x="426720" y="1538287"/>
                    <a:pt x="437198" y="1538287"/>
                  </a:cubicBezTo>
                  <a:close/>
                  <a:moveTo>
                    <a:pt x="1300163" y="1534477"/>
                  </a:moveTo>
                  <a:cubicBezTo>
                    <a:pt x="1307783" y="1534477"/>
                    <a:pt x="1314450" y="1541144"/>
                    <a:pt x="1314450" y="1548765"/>
                  </a:cubicBezTo>
                  <a:cubicBezTo>
                    <a:pt x="1314450" y="1556384"/>
                    <a:pt x="1307783" y="1563052"/>
                    <a:pt x="1300163" y="1563052"/>
                  </a:cubicBezTo>
                  <a:cubicBezTo>
                    <a:pt x="1292542" y="1563052"/>
                    <a:pt x="1285875" y="1556384"/>
                    <a:pt x="1285875" y="1548765"/>
                  </a:cubicBezTo>
                  <a:cubicBezTo>
                    <a:pt x="1285875" y="1541144"/>
                    <a:pt x="1292542" y="1534477"/>
                    <a:pt x="1300163" y="1534477"/>
                  </a:cubicBezTo>
                  <a:close/>
                  <a:moveTo>
                    <a:pt x="946785" y="1534477"/>
                  </a:moveTo>
                  <a:cubicBezTo>
                    <a:pt x="957262" y="1534477"/>
                    <a:pt x="965835" y="1543049"/>
                    <a:pt x="965835" y="1553527"/>
                  </a:cubicBezTo>
                  <a:cubicBezTo>
                    <a:pt x="965835" y="1564004"/>
                    <a:pt x="957262" y="1572577"/>
                    <a:pt x="946785" y="1572577"/>
                  </a:cubicBezTo>
                  <a:cubicBezTo>
                    <a:pt x="936308" y="1572577"/>
                    <a:pt x="927735" y="1564004"/>
                    <a:pt x="927735" y="1553527"/>
                  </a:cubicBezTo>
                  <a:cubicBezTo>
                    <a:pt x="927735" y="1543049"/>
                    <a:pt x="936308" y="1534477"/>
                    <a:pt x="946785" y="1534477"/>
                  </a:cubicBezTo>
                  <a:close/>
                  <a:moveTo>
                    <a:pt x="1827848" y="1532572"/>
                  </a:moveTo>
                  <a:cubicBezTo>
                    <a:pt x="1837373" y="1532572"/>
                    <a:pt x="1844993" y="1540192"/>
                    <a:pt x="1844993" y="1549717"/>
                  </a:cubicBezTo>
                  <a:cubicBezTo>
                    <a:pt x="1844993" y="1559242"/>
                    <a:pt x="1837373" y="1566862"/>
                    <a:pt x="1827848" y="1566862"/>
                  </a:cubicBezTo>
                  <a:cubicBezTo>
                    <a:pt x="1819275" y="1566862"/>
                    <a:pt x="1810703" y="1559242"/>
                    <a:pt x="1810703" y="1549717"/>
                  </a:cubicBezTo>
                  <a:cubicBezTo>
                    <a:pt x="1810703" y="1540192"/>
                    <a:pt x="1818323" y="1532572"/>
                    <a:pt x="1827848" y="1532572"/>
                  </a:cubicBezTo>
                  <a:close/>
                  <a:moveTo>
                    <a:pt x="1358266" y="1532572"/>
                  </a:moveTo>
                  <a:cubicBezTo>
                    <a:pt x="1365885" y="1532572"/>
                    <a:pt x="1372553" y="1539240"/>
                    <a:pt x="1372553" y="1546860"/>
                  </a:cubicBezTo>
                  <a:cubicBezTo>
                    <a:pt x="1372553" y="1554480"/>
                    <a:pt x="1365885" y="1561147"/>
                    <a:pt x="1358266" y="1561147"/>
                  </a:cubicBezTo>
                  <a:cubicBezTo>
                    <a:pt x="1350645" y="1561147"/>
                    <a:pt x="1343978" y="1554480"/>
                    <a:pt x="1343978" y="1546860"/>
                  </a:cubicBezTo>
                  <a:cubicBezTo>
                    <a:pt x="1343978" y="1539240"/>
                    <a:pt x="1350645" y="1532572"/>
                    <a:pt x="1358266" y="1532572"/>
                  </a:cubicBezTo>
                  <a:close/>
                  <a:moveTo>
                    <a:pt x="1243012" y="1531620"/>
                  </a:moveTo>
                  <a:cubicBezTo>
                    <a:pt x="1251585" y="1531620"/>
                    <a:pt x="1258252" y="1538287"/>
                    <a:pt x="1258252" y="1546860"/>
                  </a:cubicBezTo>
                  <a:cubicBezTo>
                    <a:pt x="1258252" y="1555433"/>
                    <a:pt x="1251585" y="1562100"/>
                    <a:pt x="1243012" y="1562100"/>
                  </a:cubicBezTo>
                  <a:cubicBezTo>
                    <a:pt x="1234440" y="1562100"/>
                    <a:pt x="1227772" y="1555433"/>
                    <a:pt x="1227772" y="1546860"/>
                  </a:cubicBezTo>
                  <a:cubicBezTo>
                    <a:pt x="1227772" y="1538287"/>
                    <a:pt x="1234440" y="1531620"/>
                    <a:pt x="1243012" y="1531620"/>
                  </a:cubicBezTo>
                  <a:close/>
                  <a:moveTo>
                    <a:pt x="332423" y="1530667"/>
                  </a:moveTo>
                  <a:cubicBezTo>
                    <a:pt x="342900" y="1530667"/>
                    <a:pt x="351473" y="1539240"/>
                    <a:pt x="351473" y="1549717"/>
                  </a:cubicBezTo>
                  <a:cubicBezTo>
                    <a:pt x="351473" y="1560195"/>
                    <a:pt x="342900" y="1568767"/>
                    <a:pt x="332423" y="1568767"/>
                  </a:cubicBezTo>
                  <a:cubicBezTo>
                    <a:pt x="321945" y="1568767"/>
                    <a:pt x="313373" y="1560195"/>
                    <a:pt x="313373" y="1549717"/>
                  </a:cubicBezTo>
                  <a:cubicBezTo>
                    <a:pt x="313373" y="1539240"/>
                    <a:pt x="321945" y="1530667"/>
                    <a:pt x="332423" y="1530667"/>
                  </a:cubicBezTo>
                  <a:close/>
                  <a:moveTo>
                    <a:pt x="1415415" y="1529715"/>
                  </a:moveTo>
                  <a:cubicBezTo>
                    <a:pt x="1422254" y="1529715"/>
                    <a:pt x="1427798" y="1535259"/>
                    <a:pt x="1427798" y="1542097"/>
                  </a:cubicBezTo>
                  <a:cubicBezTo>
                    <a:pt x="1427798" y="1548936"/>
                    <a:pt x="1422254" y="1554480"/>
                    <a:pt x="1415415" y="1554480"/>
                  </a:cubicBezTo>
                  <a:cubicBezTo>
                    <a:pt x="1408577" y="1554480"/>
                    <a:pt x="1403033" y="1548936"/>
                    <a:pt x="1403033" y="1542097"/>
                  </a:cubicBezTo>
                  <a:cubicBezTo>
                    <a:pt x="1403033" y="1535259"/>
                    <a:pt x="1408577" y="1529715"/>
                    <a:pt x="1415415" y="1529715"/>
                  </a:cubicBezTo>
                  <a:close/>
                  <a:moveTo>
                    <a:pt x="773429" y="1529715"/>
                  </a:moveTo>
                  <a:cubicBezTo>
                    <a:pt x="784860" y="1529715"/>
                    <a:pt x="793432" y="1539240"/>
                    <a:pt x="793432" y="1549717"/>
                  </a:cubicBezTo>
                  <a:cubicBezTo>
                    <a:pt x="793432" y="1561147"/>
                    <a:pt x="783907" y="1569720"/>
                    <a:pt x="773429" y="1569720"/>
                  </a:cubicBezTo>
                  <a:cubicBezTo>
                    <a:pt x="762000" y="1569720"/>
                    <a:pt x="753427" y="1560195"/>
                    <a:pt x="753427" y="1549717"/>
                  </a:cubicBezTo>
                  <a:cubicBezTo>
                    <a:pt x="753427" y="1538287"/>
                    <a:pt x="762952" y="1529715"/>
                    <a:pt x="773429" y="1529715"/>
                  </a:cubicBezTo>
                  <a:close/>
                  <a:moveTo>
                    <a:pt x="1967866" y="1528762"/>
                  </a:moveTo>
                  <a:cubicBezTo>
                    <a:pt x="1975485" y="1528762"/>
                    <a:pt x="1982153" y="1535429"/>
                    <a:pt x="1982153" y="1543050"/>
                  </a:cubicBezTo>
                  <a:cubicBezTo>
                    <a:pt x="1982153" y="1550670"/>
                    <a:pt x="1976438" y="1557337"/>
                    <a:pt x="1967866" y="1557337"/>
                  </a:cubicBezTo>
                  <a:cubicBezTo>
                    <a:pt x="1960245" y="1557337"/>
                    <a:pt x="1953578" y="1550670"/>
                    <a:pt x="1953578" y="1543050"/>
                  </a:cubicBezTo>
                  <a:cubicBezTo>
                    <a:pt x="1953578" y="1535429"/>
                    <a:pt x="1959293" y="1528762"/>
                    <a:pt x="1967866" y="1528762"/>
                  </a:cubicBezTo>
                  <a:close/>
                  <a:moveTo>
                    <a:pt x="1185862" y="1528762"/>
                  </a:moveTo>
                  <a:cubicBezTo>
                    <a:pt x="1193482" y="1528762"/>
                    <a:pt x="1200150" y="1534477"/>
                    <a:pt x="1200150" y="1543050"/>
                  </a:cubicBezTo>
                  <a:cubicBezTo>
                    <a:pt x="1200150" y="1550670"/>
                    <a:pt x="1194435" y="1557337"/>
                    <a:pt x="1185862" y="1557337"/>
                  </a:cubicBezTo>
                  <a:cubicBezTo>
                    <a:pt x="1177290" y="1557337"/>
                    <a:pt x="1170622" y="1550670"/>
                    <a:pt x="1171575" y="1543050"/>
                  </a:cubicBezTo>
                  <a:cubicBezTo>
                    <a:pt x="1171575" y="1535429"/>
                    <a:pt x="1178242" y="1528762"/>
                    <a:pt x="1185862" y="1528762"/>
                  </a:cubicBezTo>
                  <a:close/>
                  <a:moveTo>
                    <a:pt x="1681162" y="1526857"/>
                  </a:moveTo>
                  <a:cubicBezTo>
                    <a:pt x="1690687" y="1526857"/>
                    <a:pt x="1698307" y="1534477"/>
                    <a:pt x="1698307" y="1544002"/>
                  </a:cubicBezTo>
                  <a:cubicBezTo>
                    <a:pt x="1698307" y="1553527"/>
                    <a:pt x="1690687" y="1561147"/>
                    <a:pt x="1681162" y="1561147"/>
                  </a:cubicBezTo>
                  <a:cubicBezTo>
                    <a:pt x="1672590" y="1561147"/>
                    <a:pt x="1664970" y="1553527"/>
                    <a:pt x="1664017" y="1544002"/>
                  </a:cubicBezTo>
                  <a:cubicBezTo>
                    <a:pt x="1664017" y="1534477"/>
                    <a:pt x="1671637" y="1526857"/>
                    <a:pt x="1681162" y="1526857"/>
                  </a:cubicBezTo>
                  <a:close/>
                  <a:moveTo>
                    <a:pt x="1472566" y="1522095"/>
                  </a:moveTo>
                  <a:cubicBezTo>
                    <a:pt x="1479233" y="1522095"/>
                    <a:pt x="1484948" y="1527810"/>
                    <a:pt x="1484948" y="1534478"/>
                  </a:cubicBezTo>
                  <a:cubicBezTo>
                    <a:pt x="1484948" y="1541145"/>
                    <a:pt x="1479233" y="1546860"/>
                    <a:pt x="1472566" y="1546860"/>
                  </a:cubicBezTo>
                  <a:cubicBezTo>
                    <a:pt x="1465898" y="1546860"/>
                    <a:pt x="1460183" y="1541145"/>
                    <a:pt x="1460183" y="1534478"/>
                  </a:cubicBezTo>
                  <a:cubicBezTo>
                    <a:pt x="1460183" y="1527810"/>
                    <a:pt x="1465898" y="1522095"/>
                    <a:pt x="1472566" y="1522095"/>
                  </a:cubicBezTo>
                  <a:close/>
                  <a:moveTo>
                    <a:pt x="2101215" y="1519237"/>
                  </a:moveTo>
                  <a:cubicBezTo>
                    <a:pt x="2104072" y="1519237"/>
                    <a:pt x="2106930" y="1522095"/>
                    <a:pt x="2106930" y="1524952"/>
                  </a:cubicBezTo>
                  <a:cubicBezTo>
                    <a:pt x="2106930" y="1527809"/>
                    <a:pt x="2104072" y="1530667"/>
                    <a:pt x="2101215" y="1530667"/>
                  </a:cubicBezTo>
                  <a:cubicBezTo>
                    <a:pt x="2098358" y="1530667"/>
                    <a:pt x="2096453" y="1528762"/>
                    <a:pt x="2095500" y="1524952"/>
                  </a:cubicBezTo>
                  <a:cubicBezTo>
                    <a:pt x="2095500" y="1522095"/>
                    <a:pt x="2098358" y="1519237"/>
                    <a:pt x="2101215" y="1519237"/>
                  </a:cubicBezTo>
                  <a:close/>
                  <a:moveTo>
                    <a:pt x="1128712" y="1516379"/>
                  </a:moveTo>
                  <a:cubicBezTo>
                    <a:pt x="1138237" y="1516379"/>
                    <a:pt x="1145857" y="1523999"/>
                    <a:pt x="1145857" y="1533524"/>
                  </a:cubicBezTo>
                  <a:cubicBezTo>
                    <a:pt x="1145857" y="1543049"/>
                    <a:pt x="1138237" y="1550669"/>
                    <a:pt x="1128712" y="1550669"/>
                  </a:cubicBezTo>
                  <a:cubicBezTo>
                    <a:pt x="1119187" y="1550669"/>
                    <a:pt x="1111567" y="1543049"/>
                    <a:pt x="1111567" y="1533524"/>
                  </a:cubicBezTo>
                  <a:cubicBezTo>
                    <a:pt x="1111567" y="1523999"/>
                    <a:pt x="1119187" y="1516379"/>
                    <a:pt x="1128712" y="1516379"/>
                  </a:cubicBezTo>
                  <a:close/>
                  <a:moveTo>
                    <a:pt x="892492" y="1515427"/>
                  </a:moveTo>
                  <a:cubicBezTo>
                    <a:pt x="902017" y="1515427"/>
                    <a:pt x="910590" y="1523999"/>
                    <a:pt x="910590" y="1533524"/>
                  </a:cubicBezTo>
                  <a:cubicBezTo>
                    <a:pt x="910590" y="1543049"/>
                    <a:pt x="902970" y="1551622"/>
                    <a:pt x="892492" y="1551622"/>
                  </a:cubicBezTo>
                  <a:cubicBezTo>
                    <a:pt x="882967" y="1551622"/>
                    <a:pt x="874395" y="1543049"/>
                    <a:pt x="874395" y="1533524"/>
                  </a:cubicBezTo>
                  <a:cubicBezTo>
                    <a:pt x="874395" y="1523999"/>
                    <a:pt x="882015" y="1515427"/>
                    <a:pt x="892492" y="1515427"/>
                  </a:cubicBezTo>
                  <a:close/>
                  <a:moveTo>
                    <a:pt x="1529715" y="1509712"/>
                  </a:moveTo>
                  <a:cubicBezTo>
                    <a:pt x="1537335" y="1509712"/>
                    <a:pt x="1543050" y="1515427"/>
                    <a:pt x="1543050" y="1523047"/>
                  </a:cubicBezTo>
                  <a:cubicBezTo>
                    <a:pt x="1543050" y="1530667"/>
                    <a:pt x="1537335" y="1536382"/>
                    <a:pt x="1529715" y="1536382"/>
                  </a:cubicBezTo>
                  <a:cubicBezTo>
                    <a:pt x="1522095" y="1536382"/>
                    <a:pt x="1516380" y="1529715"/>
                    <a:pt x="1516380" y="1523047"/>
                  </a:cubicBezTo>
                  <a:cubicBezTo>
                    <a:pt x="1516380" y="1515427"/>
                    <a:pt x="1522095" y="1509712"/>
                    <a:pt x="1529715" y="1509712"/>
                  </a:cubicBezTo>
                  <a:close/>
                  <a:moveTo>
                    <a:pt x="1071563" y="1507807"/>
                  </a:moveTo>
                  <a:cubicBezTo>
                    <a:pt x="1080136" y="1507807"/>
                    <a:pt x="1086803" y="1514474"/>
                    <a:pt x="1086803" y="1523047"/>
                  </a:cubicBezTo>
                  <a:cubicBezTo>
                    <a:pt x="1086803" y="1531620"/>
                    <a:pt x="1080136" y="1538287"/>
                    <a:pt x="1071563" y="1538287"/>
                  </a:cubicBezTo>
                  <a:cubicBezTo>
                    <a:pt x="1062990" y="1538287"/>
                    <a:pt x="1056323" y="1531620"/>
                    <a:pt x="1056323" y="1523047"/>
                  </a:cubicBezTo>
                  <a:cubicBezTo>
                    <a:pt x="1056323" y="1514474"/>
                    <a:pt x="1062990" y="1507807"/>
                    <a:pt x="1071563" y="1507807"/>
                  </a:cubicBezTo>
                  <a:close/>
                  <a:moveTo>
                    <a:pt x="1878330" y="1504950"/>
                  </a:moveTo>
                  <a:cubicBezTo>
                    <a:pt x="1887855" y="1504950"/>
                    <a:pt x="1895475" y="1512570"/>
                    <a:pt x="1895475" y="1522095"/>
                  </a:cubicBezTo>
                  <a:cubicBezTo>
                    <a:pt x="1895475" y="1531620"/>
                    <a:pt x="1887855" y="1539240"/>
                    <a:pt x="1878330" y="1539240"/>
                  </a:cubicBezTo>
                  <a:cubicBezTo>
                    <a:pt x="1869758" y="1539240"/>
                    <a:pt x="1861185" y="1531620"/>
                    <a:pt x="1861185" y="1522095"/>
                  </a:cubicBezTo>
                  <a:cubicBezTo>
                    <a:pt x="1861185" y="1512570"/>
                    <a:pt x="1868805" y="1504950"/>
                    <a:pt x="1878330" y="1504950"/>
                  </a:cubicBezTo>
                  <a:close/>
                  <a:moveTo>
                    <a:pt x="1735455" y="1504950"/>
                  </a:moveTo>
                  <a:cubicBezTo>
                    <a:pt x="1744980" y="1504950"/>
                    <a:pt x="1752600" y="1512570"/>
                    <a:pt x="1752600" y="1522095"/>
                  </a:cubicBezTo>
                  <a:cubicBezTo>
                    <a:pt x="1752600" y="1531620"/>
                    <a:pt x="1744980" y="1539240"/>
                    <a:pt x="1735455" y="1539240"/>
                  </a:cubicBezTo>
                  <a:cubicBezTo>
                    <a:pt x="1725930" y="1539240"/>
                    <a:pt x="1718310" y="1531620"/>
                    <a:pt x="1718310" y="1522095"/>
                  </a:cubicBezTo>
                  <a:cubicBezTo>
                    <a:pt x="1718310" y="1512570"/>
                    <a:pt x="1725930" y="1504950"/>
                    <a:pt x="1735455" y="1504950"/>
                  </a:cubicBezTo>
                  <a:close/>
                  <a:moveTo>
                    <a:pt x="608647" y="1504950"/>
                  </a:moveTo>
                  <a:cubicBezTo>
                    <a:pt x="620077" y="1504950"/>
                    <a:pt x="629602" y="1514475"/>
                    <a:pt x="629602" y="1525905"/>
                  </a:cubicBezTo>
                  <a:cubicBezTo>
                    <a:pt x="629602" y="1537335"/>
                    <a:pt x="620077" y="1546860"/>
                    <a:pt x="608647" y="1546860"/>
                  </a:cubicBezTo>
                  <a:cubicBezTo>
                    <a:pt x="597217" y="1546860"/>
                    <a:pt x="588645" y="1538288"/>
                    <a:pt x="587692" y="1525905"/>
                  </a:cubicBezTo>
                  <a:cubicBezTo>
                    <a:pt x="587692" y="1514475"/>
                    <a:pt x="597217" y="1504950"/>
                    <a:pt x="608647" y="1504950"/>
                  </a:cubicBezTo>
                  <a:close/>
                  <a:moveTo>
                    <a:pt x="499110" y="1504950"/>
                  </a:moveTo>
                  <a:cubicBezTo>
                    <a:pt x="510540" y="1504950"/>
                    <a:pt x="520065" y="1514475"/>
                    <a:pt x="520065" y="1525905"/>
                  </a:cubicBezTo>
                  <a:cubicBezTo>
                    <a:pt x="520065" y="1537335"/>
                    <a:pt x="510540" y="1546860"/>
                    <a:pt x="499110" y="1546860"/>
                  </a:cubicBezTo>
                  <a:cubicBezTo>
                    <a:pt x="487680" y="1546860"/>
                    <a:pt x="478155" y="1537335"/>
                    <a:pt x="478155" y="1525905"/>
                  </a:cubicBezTo>
                  <a:cubicBezTo>
                    <a:pt x="478155" y="1514475"/>
                    <a:pt x="487680" y="1504950"/>
                    <a:pt x="499110" y="1504950"/>
                  </a:cubicBezTo>
                  <a:close/>
                  <a:moveTo>
                    <a:pt x="291465" y="1504950"/>
                  </a:moveTo>
                  <a:cubicBezTo>
                    <a:pt x="294323" y="1504950"/>
                    <a:pt x="296228" y="1506855"/>
                    <a:pt x="296228" y="1509713"/>
                  </a:cubicBezTo>
                  <a:cubicBezTo>
                    <a:pt x="296228" y="1512570"/>
                    <a:pt x="294323" y="1514475"/>
                    <a:pt x="291465" y="1514475"/>
                  </a:cubicBezTo>
                  <a:cubicBezTo>
                    <a:pt x="288608" y="1514475"/>
                    <a:pt x="285750" y="1512570"/>
                    <a:pt x="286703" y="1509713"/>
                  </a:cubicBezTo>
                  <a:cubicBezTo>
                    <a:pt x="286703" y="1506855"/>
                    <a:pt x="288608" y="1504950"/>
                    <a:pt x="291465" y="1504950"/>
                  </a:cubicBezTo>
                  <a:close/>
                  <a:moveTo>
                    <a:pt x="721995" y="1501140"/>
                  </a:moveTo>
                  <a:cubicBezTo>
                    <a:pt x="733425" y="1501140"/>
                    <a:pt x="742950" y="1510665"/>
                    <a:pt x="742950" y="1522095"/>
                  </a:cubicBezTo>
                  <a:cubicBezTo>
                    <a:pt x="742950" y="1533525"/>
                    <a:pt x="733425" y="1543050"/>
                    <a:pt x="721995" y="1543050"/>
                  </a:cubicBezTo>
                  <a:cubicBezTo>
                    <a:pt x="710565" y="1543050"/>
                    <a:pt x="701992" y="1533525"/>
                    <a:pt x="701040" y="1522095"/>
                  </a:cubicBezTo>
                  <a:cubicBezTo>
                    <a:pt x="701040" y="1510665"/>
                    <a:pt x="710565" y="1501140"/>
                    <a:pt x="721995" y="1501140"/>
                  </a:cubicBezTo>
                  <a:close/>
                  <a:moveTo>
                    <a:pt x="393382" y="1498282"/>
                  </a:moveTo>
                  <a:cubicBezTo>
                    <a:pt x="404812" y="1498282"/>
                    <a:pt x="414337" y="1507807"/>
                    <a:pt x="414337" y="1519237"/>
                  </a:cubicBezTo>
                  <a:cubicBezTo>
                    <a:pt x="414337" y="1530667"/>
                    <a:pt x="404812" y="1540192"/>
                    <a:pt x="393382" y="1540192"/>
                  </a:cubicBezTo>
                  <a:cubicBezTo>
                    <a:pt x="381952" y="1540192"/>
                    <a:pt x="372427" y="1530667"/>
                    <a:pt x="372427" y="1519237"/>
                  </a:cubicBezTo>
                  <a:cubicBezTo>
                    <a:pt x="372427" y="1507807"/>
                    <a:pt x="381952" y="1498282"/>
                    <a:pt x="393382" y="1498282"/>
                  </a:cubicBezTo>
                  <a:close/>
                  <a:moveTo>
                    <a:pt x="2015491" y="1495425"/>
                  </a:moveTo>
                  <a:cubicBezTo>
                    <a:pt x="2023110" y="1495425"/>
                    <a:pt x="2029778" y="1502092"/>
                    <a:pt x="2029778" y="1509713"/>
                  </a:cubicBezTo>
                  <a:cubicBezTo>
                    <a:pt x="2029778" y="1517333"/>
                    <a:pt x="2023110" y="1524000"/>
                    <a:pt x="2015491" y="1524000"/>
                  </a:cubicBezTo>
                  <a:cubicBezTo>
                    <a:pt x="2007870" y="1524000"/>
                    <a:pt x="2001203" y="1518285"/>
                    <a:pt x="2001203" y="1509713"/>
                  </a:cubicBezTo>
                  <a:cubicBezTo>
                    <a:pt x="2001203" y="1502092"/>
                    <a:pt x="2007870" y="1495425"/>
                    <a:pt x="2015491" y="1495425"/>
                  </a:cubicBezTo>
                  <a:close/>
                  <a:moveTo>
                    <a:pt x="1584960" y="1495425"/>
                  </a:moveTo>
                  <a:cubicBezTo>
                    <a:pt x="1591628" y="1495425"/>
                    <a:pt x="1597343" y="1501140"/>
                    <a:pt x="1597343" y="1507808"/>
                  </a:cubicBezTo>
                  <a:cubicBezTo>
                    <a:pt x="1597343" y="1514475"/>
                    <a:pt x="1591628" y="1520190"/>
                    <a:pt x="1584960" y="1520190"/>
                  </a:cubicBezTo>
                  <a:cubicBezTo>
                    <a:pt x="1578293" y="1520190"/>
                    <a:pt x="1572578" y="1515428"/>
                    <a:pt x="1572578" y="1507808"/>
                  </a:cubicBezTo>
                  <a:cubicBezTo>
                    <a:pt x="1572578" y="1501140"/>
                    <a:pt x="1578293" y="1495425"/>
                    <a:pt x="1584960" y="1495425"/>
                  </a:cubicBezTo>
                  <a:close/>
                  <a:moveTo>
                    <a:pt x="840105" y="1492567"/>
                  </a:moveTo>
                  <a:cubicBezTo>
                    <a:pt x="849630" y="1492567"/>
                    <a:pt x="858203" y="1500187"/>
                    <a:pt x="858203" y="1510665"/>
                  </a:cubicBezTo>
                  <a:cubicBezTo>
                    <a:pt x="858203" y="1520190"/>
                    <a:pt x="850583" y="1528762"/>
                    <a:pt x="840105" y="1528762"/>
                  </a:cubicBezTo>
                  <a:cubicBezTo>
                    <a:pt x="829628" y="1528762"/>
                    <a:pt x="822008" y="1521142"/>
                    <a:pt x="822008" y="1510665"/>
                  </a:cubicBezTo>
                  <a:cubicBezTo>
                    <a:pt x="822008" y="1501140"/>
                    <a:pt x="829628" y="1492567"/>
                    <a:pt x="840105" y="1492567"/>
                  </a:cubicBezTo>
                  <a:close/>
                  <a:moveTo>
                    <a:pt x="1016317" y="1491615"/>
                  </a:moveTo>
                  <a:cubicBezTo>
                    <a:pt x="1024890" y="1491615"/>
                    <a:pt x="1032510" y="1499235"/>
                    <a:pt x="1032510" y="1507807"/>
                  </a:cubicBezTo>
                  <a:cubicBezTo>
                    <a:pt x="1032510" y="1516380"/>
                    <a:pt x="1024890" y="1524000"/>
                    <a:pt x="1016317" y="1524000"/>
                  </a:cubicBezTo>
                  <a:cubicBezTo>
                    <a:pt x="1006792" y="1524000"/>
                    <a:pt x="1000125" y="1517332"/>
                    <a:pt x="1000125" y="1507807"/>
                  </a:cubicBezTo>
                  <a:cubicBezTo>
                    <a:pt x="1000125" y="1499235"/>
                    <a:pt x="1007745" y="1491615"/>
                    <a:pt x="1016317" y="1491615"/>
                  </a:cubicBezTo>
                  <a:close/>
                  <a:moveTo>
                    <a:pt x="2145982" y="1483995"/>
                  </a:moveTo>
                  <a:cubicBezTo>
                    <a:pt x="2147887" y="1483995"/>
                    <a:pt x="2149792" y="1485900"/>
                    <a:pt x="2149792" y="1487805"/>
                  </a:cubicBezTo>
                  <a:cubicBezTo>
                    <a:pt x="2149792" y="1489710"/>
                    <a:pt x="2147887" y="1491615"/>
                    <a:pt x="2145982" y="1491615"/>
                  </a:cubicBezTo>
                  <a:cubicBezTo>
                    <a:pt x="2144077" y="1491615"/>
                    <a:pt x="2142172" y="1490662"/>
                    <a:pt x="2142172" y="1487805"/>
                  </a:cubicBezTo>
                  <a:cubicBezTo>
                    <a:pt x="2142172" y="1485900"/>
                    <a:pt x="2144077" y="1483995"/>
                    <a:pt x="2145982" y="1483995"/>
                  </a:cubicBezTo>
                  <a:close/>
                  <a:moveTo>
                    <a:pt x="1787842" y="1481137"/>
                  </a:moveTo>
                  <a:cubicBezTo>
                    <a:pt x="1797367" y="1481137"/>
                    <a:pt x="1804987" y="1488757"/>
                    <a:pt x="1804987" y="1498282"/>
                  </a:cubicBezTo>
                  <a:cubicBezTo>
                    <a:pt x="1804987" y="1507807"/>
                    <a:pt x="1797367" y="1515427"/>
                    <a:pt x="1787842" y="1515427"/>
                  </a:cubicBezTo>
                  <a:cubicBezTo>
                    <a:pt x="1778317" y="1515427"/>
                    <a:pt x="1770697" y="1507807"/>
                    <a:pt x="1770697" y="1498282"/>
                  </a:cubicBezTo>
                  <a:cubicBezTo>
                    <a:pt x="1770697" y="1488757"/>
                    <a:pt x="1778317" y="1481137"/>
                    <a:pt x="1787842" y="1481137"/>
                  </a:cubicBezTo>
                  <a:close/>
                  <a:moveTo>
                    <a:pt x="1640205" y="1479232"/>
                  </a:moveTo>
                  <a:cubicBezTo>
                    <a:pt x="1646872" y="1479232"/>
                    <a:pt x="1651635" y="1483995"/>
                    <a:pt x="1651635" y="1490662"/>
                  </a:cubicBezTo>
                  <a:cubicBezTo>
                    <a:pt x="1651635" y="1497329"/>
                    <a:pt x="1646872" y="1502092"/>
                    <a:pt x="1640205" y="1502092"/>
                  </a:cubicBezTo>
                  <a:cubicBezTo>
                    <a:pt x="1633538" y="1502092"/>
                    <a:pt x="1628775" y="1497329"/>
                    <a:pt x="1628775" y="1490662"/>
                  </a:cubicBezTo>
                  <a:cubicBezTo>
                    <a:pt x="1628775" y="1483995"/>
                    <a:pt x="1633538" y="1479232"/>
                    <a:pt x="1640205" y="1479232"/>
                  </a:cubicBezTo>
                  <a:close/>
                  <a:moveTo>
                    <a:pt x="1927860" y="1478279"/>
                  </a:moveTo>
                  <a:cubicBezTo>
                    <a:pt x="1935480" y="1478279"/>
                    <a:pt x="1942147" y="1483994"/>
                    <a:pt x="1942147" y="1492567"/>
                  </a:cubicBezTo>
                  <a:cubicBezTo>
                    <a:pt x="1942147" y="1500187"/>
                    <a:pt x="1936432" y="1506854"/>
                    <a:pt x="1927860" y="1506854"/>
                  </a:cubicBezTo>
                  <a:cubicBezTo>
                    <a:pt x="1920240" y="1506854"/>
                    <a:pt x="1913572" y="1500187"/>
                    <a:pt x="1913572" y="1492567"/>
                  </a:cubicBezTo>
                  <a:cubicBezTo>
                    <a:pt x="1913572" y="1484946"/>
                    <a:pt x="1919287" y="1478279"/>
                    <a:pt x="1927860" y="1478279"/>
                  </a:cubicBezTo>
                  <a:close/>
                  <a:moveTo>
                    <a:pt x="961073" y="1476375"/>
                  </a:moveTo>
                  <a:cubicBezTo>
                    <a:pt x="969646" y="1476375"/>
                    <a:pt x="976313" y="1483042"/>
                    <a:pt x="976313" y="1491615"/>
                  </a:cubicBezTo>
                  <a:cubicBezTo>
                    <a:pt x="976313" y="1500188"/>
                    <a:pt x="969646" y="1506855"/>
                    <a:pt x="961073" y="1506855"/>
                  </a:cubicBezTo>
                  <a:cubicBezTo>
                    <a:pt x="952500" y="1506855"/>
                    <a:pt x="945833" y="1499235"/>
                    <a:pt x="945833" y="1491615"/>
                  </a:cubicBezTo>
                  <a:cubicBezTo>
                    <a:pt x="945833" y="1483042"/>
                    <a:pt x="952500" y="1476375"/>
                    <a:pt x="961073" y="1476375"/>
                  </a:cubicBezTo>
                  <a:close/>
                  <a:moveTo>
                    <a:pt x="1315403" y="1475422"/>
                  </a:moveTo>
                  <a:cubicBezTo>
                    <a:pt x="1320165" y="1475422"/>
                    <a:pt x="1323975" y="1479232"/>
                    <a:pt x="1323975" y="1483995"/>
                  </a:cubicBezTo>
                  <a:cubicBezTo>
                    <a:pt x="1323975" y="1488757"/>
                    <a:pt x="1320165" y="1492567"/>
                    <a:pt x="1315403" y="1492567"/>
                  </a:cubicBezTo>
                  <a:cubicBezTo>
                    <a:pt x="1310640" y="1492567"/>
                    <a:pt x="1306830" y="1488757"/>
                    <a:pt x="1306830" y="1483995"/>
                  </a:cubicBezTo>
                  <a:cubicBezTo>
                    <a:pt x="1306830" y="1479232"/>
                    <a:pt x="1310640" y="1475422"/>
                    <a:pt x="1315403" y="1475422"/>
                  </a:cubicBezTo>
                  <a:close/>
                  <a:moveTo>
                    <a:pt x="1372553" y="1474470"/>
                  </a:moveTo>
                  <a:cubicBezTo>
                    <a:pt x="1376363" y="1474470"/>
                    <a:pt x="1380173" y="1478280"/>
                    <a:pt x="1380173" y="1482090"/>
                  </a:cubicBezTo>
                  <a:cubicBezTo>
                    <a:pt x="1380173" y="1485900"/>
                    <a:pt x="1376363" y="1489710"/>
                    <a:pt x="1372553" y="1489710"/>
                  </a:cubicBezTo>
                  <a:cubicBezTo>
                    <a:pt x="1368743" y="1489710"/>
                    <a:pt x="1364933" y="1485900"/>
                    <a:pt x="1364933" y="1482090"/>
                  </a:cubicBezTo>
                  <a:cubicBezTo>
                    <a:pt x="1364933" y="1478280"/>
                    <a:pt x="1368743" y="1474470"/>
                    <a:pt x="1372553" y="1474470"/>
                  </a:cubicBezTo>
                  <a:close/>
                  <a:moveTo>
                    <a:pt x="1257300" y="1473517"/>
                  </a:moveTo>
                  <a:cubicBezTo>
                    <a:pt x="1263015" y="1473517"/>
                    <a:pt x="1267777" y="1478280"/>
                    <a:pt x="1267777" y="1483995"/>
                  </a:cubicBezTo>
                  <a:cubicBezTo>
                    <a:pt x="1267777" y="1489709"/>
                    <a:pt x="1263015" y="1494472"/>
                    <a:pt x="1257300" y="1494472"/>
                  </a:cubicBezTo>
                  <a:cubicBezTo>
                    <a:pt x="1251585" y="1494472"/>
                    <a:pt x="1246822" y="1489709"/>
                    <a:pt x="1246822" y="1483995"/>
                  </a:cubicBezTo>
                  <a:cubicBezTo>
                    <a:pt x="1246822" y="1478280"/>
                    <a:pt x="1251585" y="1473517"/>
                    <a:pt x="1257300" y="1473517"/>
                  </a:cubicBezTo>
                  <a:close/>
                  <a:moveTo>
                    <a:pt x="673418" y="1471612"/>
                  </a:moveTo>
                  <a:cubicBezTo>
                    <a:pt x="684848" y="1471612"/>
                    <a:pt x="694373" y="1481137"/>
                    <a:pt x="694373" y="1492567"/>
                  </a:cubicBezTo>
                  <a:cubicBezTo>
                    <a:pt x="694373" y="1503997"/>
                    <a:pt x="684848" y="1513522"/>
                    <a:pt x="673418" y="1513522"/>
                  </a:cubicBezTo>
                  <a:cubicBezTo>
                    <a:pt x="661988" y="1513522"/>
                    <a:pt x="652463" y="1503997"/>
                    <a:pt x="652463" y="1492567"/>
                  </a:cubicBezTo>
                  <a:cubicBezTo>
                    <a:pt x="652463" y="1481137"/>
                    <a:pt x="661988" y="1471612"/>
                    <a:pt x="673418" y="1471612"/>
                  </a:cubicBezTo>
                  <a:close/>
                  <a:moveTo>
                    <a:pt x="561975" y="1471612"/>
                  </a:moveTo>
                  <a:cubicBezTo>
                    <a:pt x="573405" y="1471612"/>
                    <a:pt x="582930" y="1481137"/>
                    <a:pt x="582930" y="1492567"/>
                  </a:cubicBezTo>
                  <a:cubicBezTo>
                    <a:pt x="582930" y="1503997"/>
                    <a:pt x="573405" y="1513522"/>
                    <a:pt x="561975" y="1513522"/>
                  </a:cubicBezTo>
                  <a:cubicBezTo>
                    <a:pt x="550545" y="1513522"/>
                    <a:pt x="541972" y="1503997"/>
                    <a:pt x="541020" y="1492567"/>
                  </a:cubicBezTo>
                  <a:cubicBezTo>
                    <a:pt x="541020" y="1481137"/>
                    <a:pt x="550545" y="1471612"/>
                    <a:pt x="561975" y="1471612"/>
                  </a:cubicBezTo>
                  <a:close/>
                  <a:moveTo>
                    <a:pt x="1429703" y="1469707"/>
                  </a:moveTo>
                  <a:cubicBezTo>
                    <a:pt x="1433513" y="1469707"/>
                    <a:pt x="1436370" y="1472565"/>
                    <a:pt x="1436370" y="1476374"/>
                  </a:cubicBezTo>
                  <a:cubicBezTo>
                    <a:pt x="1436370" y="1480184"/>
                    <a:pt x="1433513" y="1483042"/>
                    <a:pt x="1429703" y="1483042"/>
                  </a:cubicBezTo>
                  <a:cubicBezTo>
                    <a:pt x="1425893" y="1483042"/>
                    <a:pt x="1423035" y="1479232"/>
                    <a:pt x="1423035" y="1476374"/>
                  </a:cubicBezTo>
                  <a:cubicBezTo>
                    <a:pt x="1423035" y="1472565"/>
                    <a:pt x="1425893" y="1469707"/>
                    <a:pt x="1429703" y="1469707"/>
                  </a:cubicBezTo>
                  <a:close/>
                  <a:moveTo>
                    <a:pt x="1200150" y="1468754"/>
                  </a:moveTo>
                  <a:cubicBezTo>
                    <a:pt x="1205865" y="1468754"/>
                    <a:pt x="1210627" y="1473517"/>
                    <a:pt x="1210627" y="1479232"/>
                  </a:cubicBezTo>
                  <a:cubicBezTo>
                    <a:pt x="1210627" y="1484946"/>
                    <a:pt x="1205865" y="1489709"/>
                    <a:pt x="1200150" y="1489709"/>
                  </a:cubicBezTo>
                  <a:cubicBezTo>
                    <a:pt x="1193482" y="1489709"/>
                    <a:pt x="1188720" y="1484946"/>
                    <a:pt x="1189672" y="1479232"/>
                  </a:cubicBezTo>
                  <a:cubicBezTo>
                    <a:pt x="1189672" y="1473517"/>
                    <a:pt x="1194435" y="1468754"/>
                    <a:pt x="1200150" y="1468754"/>
                  </a:cubicBezTo>
                  <a:close/>
                  <a:moveTo>
                    <a:pt x="455295" y="1467802"/>
                  </a:moveTo>
                  <a:cubicBezTo>
                    <a:pt x="466725" y="1467802"/>
                    <a:pt x="476250" y="1477327"/>
                    <a:pt x="476250" y="1488757"/>
                  </a:cubicBezTo>
                  <a:cubicBezTo>
                    <a:pt x="476250" y="1500187"/>
                    <a:pt x="466725" y="1509712"/>
                    <a:pt x="455295" y="1509712"/>
                  </a:cubicBezTo>
                  <a:cubicBezTo>
                    <a:pt x="443865" y="1509712"/>
                    <a:pt x="434340" y="1500187"/>
                    <a:pt x="434340" y="1488757"/>
                  </a:cubicBezTo>
                  <a:cubicBezTo>
                    <a:pt x="434340" y="1477327"/>
                    <a:pt x="443865" y="1467802"/>
                    <a:pt x="455295" y="1467802"/>
                  </a:cubicBezTo>
                  <a:close/>
                  <a:moveTo>
                    <a:pt x="787717" y="1466850"/>
                  </a:moveTo>
                  <a:cubicBezTo>
                    <a:pt x="798195" y="1466850"/>
                    <a:pt x="805815" y="1475422"/>
                    <a:pt x="805815" y="1484947"/>
                  </a:cubicBezTo>
                  <a:cubicBezTo>
                    <a:pt x="805815" y="1495425"/>
                    <a:pt x="797242" y="1503045"/>
                    <a:pt x="787717" y="1503045"/>
                  </a:cubicBezTo>
                  <a:cubicBezTo>
                    <a:pt x="778192" y="1503045"/>
                    <a:pt x="770572" y="1495425"/>
                    <a:pt x="769620" y="1484947"/>
                  </a:cubicBezTo>
                  <a:cubicBezTo>
                    <a:pt x="769620" y="1474470"/>
                    <a:pt x="778192" y="1466850"/>
                    <a:pt x="787717" y="1466850"/>
                  </a:cubicBezTo>
                  <a:close/>
                  <a:moveTo>
                    <a:pt x="251460" y="1465897"/>
                  </a:moveTo>
                  <a:cubicBezTo>
                    <a:pt x="252412" y="1465897"/>
                    <a:pt x="253365" y="1466850"/>
                    <a:pt x="253365" y="1467802"/>
                  </a:cubicBezTo>
                  <a:cubicBezTo>
                    <a:pt x="253365" y="1468755"/>
                    <a:pt x="252412" y="1469707"/>
                    <a:pt x="251460" y="1469707"/>
                  </a:cubicBezTo>
                  <a:cubicBezTo>
                    <a:pt x="250507" y="1469707"/>
                    <a:pt x="249555" y="1468755"/>
                    <a:pt x="249555" y="1467802"/>
                  </a:cubicBezTo>
                  <a:cubicBezTo>
                    <a:pt x="249555" y="1466850"/>
                    <a:pt x="250507" y="1465897"/>
                    <a:pt x="251460" y="1465897"/>
                  </a:cubicBezTo>
                  <a:close/>
                  <a:moveTo>
                    <a:pt x="2061210" y="1463992"/>
                  </a:moveTo>
                  <a:cubicBezTo>
                    <a:pt x="2066925" y="1463992"/>
                    <a:pt x="2071688" y="1468755"/>
                    <a:pt x="2071688" y="1474470"/>
                  </a:cubicBezTo>
                  <a:cubicBezTo>
                    <a:pt x="2071688" y="1480184"/>
                    <a:pt x="2066925" y="1484947"/>
                    <a:pt x="2061210" y="1484947"/>
                  </a:cubicBezTo>
                  <a:cubicBezTo>
                    <a:pt x="2056448" y="1484947"/>
                    <a:pt x="2051685" y="1480184"/>
                    <a:pt x="2050733" y="1474470"/>
                  </a:cubicBezTo>
                  <a:cubicBezTo>
                    <a:pt x="2050733" y="1468755"/>
                    <a:pt x="2055496" y="1463992"/>
                    <a:pt x="2061210" y="1463992"/>
                  </a:cubicBezTo>
                  <a:close/>
                  <a:moveTo>
                    <a:pt x="1693546" y="1458277"/>
                  </a:moveTo>
                  <a:cubicBezTo>
                    <a:pt x="1700213" y="1458277"/>
                    <a:pt x="1705928" y="1463992"/>
                    <a:pt x="1705928" y="1470659"/>
                  </a:cubicBezTo>
                  <a:cubicBezTo>
                    <a:pt x="1705928" y="1477327"/>
                    <a:pt x="1700213" y="1483042"/>
                    <a:pt x="1693546" y="1483042"/>
                  </a:cubicBezTo>
                  <a:cubicBezTo>
                    <a:pt x="1686878" y="1483042"/>
                    <a:pt x="1681163" y="1477327"/>
                    <a:pt x="1681163" y="1470659"/>
                  </a:cubicBezTo>
                  <a:cubicBezTo>
                    <a:pt x="1681163" y="1463992"/>
                    <a:pt x="1686878" y="1458277"/>
                    <a:pt x="1693546" y="1458277"/>
                  </a:cubicBezTo>
                  <a:close/>
                  <a:moveTo>
                    <a:pt x="1486853" y="1458277"/>
                  </a:moveTo>
                  <a:cubicBezTo>
                    <a:pt x="1491616" y="1458277"/>
                    <a:pt x="1494473" y="1462087"/>
                    <a:pt x="1494473" y="1465897"/>
                  </a:cubicBezTo>
                  <a:cubicBezTo>
                    <a:pt x="1494473" y="1469707"/>
                    <a:pt x="1490663" y="1473517"/>
                    <a:pt x="1486853" y="1473517"/>
                  </a:cubicBezTo>
                  <a:cubicBezTo>
                    <a:pt x="1483043" y="1473517"/>
                    <a:pt x="1479233" y="1470659"/>
                    <a:pt x="1479233" y="1465897"/>
                  </a:cubicBezTo>
                  <a:cubicBezTo>
                    <a:pt x="1479233" y="1462087"/>
                    <a:pt x="1483043" y="1458277"/>
                    <a:pt x="1486853" y="1458277"/>
                  </a:cubicBezTo>
                  <a:close/>
                  <a:moveTo>
                    <a:pt x="1143000" y="1458277"/>
                  </a:moveTo>
                  <a:cubicBezTo>
                    <a:pt x="1149667" y="1458277"/>
                    <a:pt x="1155382" y="1463992"/>
                    <a:pt x="1155382" y="1470659"/>
                  </a:cubicBezTo>
                  <a:cubicBezTo>
                    <a:pt x="1155382" y="1477327"/>
                    <a:pt x="1149667" y="1483042"/>
                    <a:pt x="1143000" y="1483042"/>
                  </a:cubicBezTo>
                  <a:cubicBezTo>
                    <a:pt x="1136332" y="1483042"/>
                    <a:pt x="1130617" y="1478279"/>
                    <a:pt x="1130617" y="1470659"/>
                  </a:cubicBezTo>
                  <a:cubicBezTo>
                    <a:pt x="1130617" y="1463992"/>
                    <a:pt x="1136332" y="1458277"/>
                    <a:pt x="1143000" y="1458277"/>
                  </a:cubicBezTo>
                  <a:close/>
                  <a:moveTo>
                    <a:pt x="351473" y="1457325"/>
                  </a:moveTo>
                  <a:cubicBezTo>
                    <a:pt x="363855" y="1457325"/>
                    <a:pt x="373380" y="1466850"/>
                    <a:pt x="373380" y="1479233"/>
                  </a:cubicBezTo>
                  <a:cubicBezTo>
                    <a:pt x="373380" y="1491615"/>
                    <a:pt x="363855" y="1501140"/>
                    <a:pt x="351473" y="1501140"/>
                  </a:cubicBezTo>
                  <a:cubicBezTo>
                    <a:pt x="340043" y="1501140"/>
                    <a:pt x="329565" y="1491615"/>
                    <a:pt x="329565" y="1479233"/>
                  </a:cubicBezTo>
                  <a:cubicBezTo>
                    <a:pt x="329565" y="1466850"/>
                    <a:pt x="339090" y="1457325"/>
                    <a:pt x="351473" y="1457325"/>
                  </a:cubicBezTo>
                  <a:close/>
                  <a:moveTo>
                    <a:pt x="906780" y="1455420"/>
                  </a:moveTo>
                  <a:cubicBezTo>
                    <a:pt x="915353" y="1455420"/>
                    <a:pt x="922020" y="1462087"/>
                    <a:pt x="922020" y="1470660"/>
                  </a:cubicBezTo>
                  <a:cubicBezTo>
                    <a:pt x="922020" y="1479233"/>
                    <a:pt x="915353" y="1485900"/>
                    <a:pt x="906780" y="1485900"/>
                  </a:cubicBezTo>
                  <a:cubicBezTo>
                    <a:pt x="898208" y="1485900"/>
                    <a:pt x="891540" y="1479233"/>
                    <a:pt x="891540" y="1470660"/>
                  </a:cubicBezTo>
                  <a:cubicBezTo>
                    <a:pt x="891540" y="1462087"/>
                    <a:pt x="898208" y="1455420"/>
                    <a:pt x="906780" y="1455420"/>
                  </a:cubicBezTo>
                  <a:close/>
                  <a:moveTo>
                    <a:pt x="1838325" y="1454467"/>
                  </a:moveTo>
                  <a:cubicBezTo>
                    <a:pt x="1847850" y="1454467"/>
                    <a:pt x="1854518" y="1462087"/>
                    <a:pt x="1854518" y="1470659"/>
                  </a:cubicBezTo>
                  <a:cubicBezTo>
                    <a:pt x="1854518" y="1480184"/>
                    <a:pt x="1846898" y="1486852"/>
                    <a:pt x="1838325" y="1486852"/>
                  </a:cubicBezTo>
                  <a:cubicBezTo>
                    <a:pt x="1829753" y="1486852"/>
                    <a:pt x="1822133" y="1480184"/>
                    <a:pt x="1822133" y="1470659"/>
                  </a:cubicBezTo>
                  <a:cubicBezTo>
                    <a:pt x="1822133" y="1461134"/>
                    <a:pt x="1828800" y="1454467"/>
                    <a:pt x="1838325" y="1454467"/>
                  </a:cubicBezTo>
                  <a:close/>
                  <a:moveTo>
                    <a:pt x="1085850" y="1446847"/>
                  </a:moveTo>
                  <a:cubicBezTo>
                    <a:pt x="1093470" y="1446847"/>
                    <a:pt x="1099185" y="1452562"/>
                    <a:pt x="1099185" y="1460182"/>
                  </a:cubicBezTo>
                  <a:cubicBezTo>
                    <a:pt x="1099185" y="1467802"/>
                    <a:pt x="1093470" y="1473517"/>
                    <a:pt x="1085850" y="1473517"/>
                  </a:cubicBezTo>
                  <a:cubicBezTo>
                    <a:pt x="1079183" y="1473517"/>
                    <a:pt x="1072515" y="1467802"/>
                    <a:pt x="1072515" y="1460182"/>
                  </a:cubicBezTo>
                  <a:cubicBezTo>
                    <a:pt x="1072515" y="1452562"/>
                    <a:pt x="1078230" y="1446847"/>
                    <a:pt x="1085850" y="1446847"/>
                  </a:cubicBezTo>
                  <a:close/>
                  <a:moveTo>
                    <a:pt x="1975485" y="1443037"/>
                  </a:moveTo>
                  <a:cubicBezTo>
                    <a:pt x="1985010" y="1443037"/>
                    <a:pt x="1992630" y="1450657"/>
                    <a:pt x="1992630" y="1460182"/>
                  </a:cubicBezTo>
                  <a:cubicBezTo>
                    <a:pt x="1992630" y="1469707"/>
                    <a:pt x="1985010" y="1477327"/>
                    <a:pt x="1975485" y="1477327"/>
                  </a:cubicBezTo>
                  <a:cubicBezTo>
                    <a:pt x="1965960" y="1477327"/>
                    <a:pt x="1958340" y="1469707"/>
                    <a:pt x="1958340" y="1460182"/>
                  </a:cubicBezTo>
                  <a:cubicBezTo>
                    <a:pt x="1958340" y="1450657"/>
                    <a:pt x="1965960" y="1443037"/>
                    <a:pt x="1975485" y="1443037"/>
                  </a:cubicBezTo>
                  <a:close/>
                  <a:moveTo>
                    <a:pt x="1543050" y="1443037"/>
                  </a:moveTo>
                  <a:cubicBezTo>
                    <a:pt x="1548765" y="1443037"/>
                    <a:pt x="1552575" y="1447800"/>
                    <a:pt x="1552575" y="1452562"/>
                  </a:cubicBezTo>
                  <a:cubicBezTo>
                    <a:pt x="1552575" y="1458277"/>
                    <a:pt x="1547813" y="1462087"/>
                    <a:pt x="1543050" y="1462087"/>
                  </a:cubicBezTo>
                  <a:cubicBezTo>
                    <a:pt x="1538288" y="1462087"/>
                    <a:pt x="1533525" y="1458277"/>
                    <a:pt x="1533525" y="1452562"/>
                  </a:cubicBezTo>
                  <a:cubicBezTo>
                    <a:pt x="1533525" y="1446847"/>
                    <a:pt x="1538288" y="1443037"/>
                    <a:pt x="1543050" y="1443037"/>
                  </a:cubicBezTo>
                  <a:close/>
                  <a:moveTo>
                    <a:pt x="625792" y="1439227"/>
                  </a:moveTo>
                  <a:cubicBezTo>
                    <a:pt x="637223" y="1439227"/>
                    <a:pt x="645795" y="1448752"/>
                    <a:pt x="645795" y="1459229"/>
                  </a:cubicBezTo>
                  <a:cubicBezTo>
                    <a:pt x="645795" y="1470659"/>
                    <a:pt x="636270" y="1479232"/>
                    <a:pt x="625792" y="1479232"/>
                  </a:cubicBezTo>
                  <a:cubicBezTo>
                    <a:pt x="614363" y="1479232"/>
                    <a:pt x="605790" y="1470659"/>
                    <a:pt x="605790" y="1459229"/>
                  </a:cubicBezTo>
                  <a:cubicBezTo>
                    <a:pt x="605790" y="1447799"/>
                    <a:pt x="615315" y="1439227"/>
                    <a:pt x="625792" y="1439227"/>
                  </a:cubicBezTo>
                  <a:close/>
                  <a:moveTo>
                    <a:pt x="517207" y="1437322"/>
                  </a:moveTo>
                  <a:cubicBezTo>
                    <a:pt x="527685" y="1437322"/>
                    <a:pt x="537210" y="1445895"/>
                    <a:pt x="537210" y="1457325"/>
                  </a:cubicBezTo>
                  <a:cubicBezTo>
                    <a:pt x="537210" y="1467802"/>
                    <a:pt x="528637" y="1477327"/>
                    <a:pt x="517207" y="1477327"/>
                  </a:cubicBezTo>
                  <a:cubicBezTo>
                    <a:pt x="505777" y="1477327"/>
                    <a:pt x="497205" y="1467802"/>
                    <a:pt x="497205" y="1457325"/>
                  </a:cubicBezTo>
                  <a:cubicBezTo>
                    <a:pt x="497205" y="1446847"/>
                    <a:pt x="505777" y="1437322"/>
                    <a:pt x="517207" y="1437322"/>
                  </a:cubicBezTo>
                  <a:close/>
                  <a:moveTo>
                    <a:pt x="738188" y="1435417"/>
                  </a:moveTo>
                  <a:cubicBezTo>
                    <a:pt x="749618" y="1435417"/>
                    <a:pt x="759143" y="1444942"/>
                    <a:pt x="759143" y="1456372"/>
                  </a:cubicBezTo>
                  <a:cubicBezTo>
                    <a:pt x="759143" y="1467802"/>
                    <a:pt x="749618" y="1477327"/>
                    <a:pt x="738188" y="1477327"/>
                  </a:cubicBezTo>
                  <a:cubicBezTo>
                    <a:pt x="726758" y="1477327"/>
                    <a:pt x="717233" y="1467802"/>
                    <a:pt x="717233" y="1456372"/>
                  </a:cubicBezTo>
                  <a:cubicBezTo>
                    <a:pt x="717233" y="1444942"/>
                    <a:pt x="726758" y="1435417"/>
                    <a:pt x="738188" y="1435417"/>
                  </a:cubicBezTo>
                  <a:close/>
                  <a:moveTo>
                    <a:pt x="1030605" y="1432559"/>
                  </a:moveTo>
                  <a:cubicBezTo>
                    <a:pt x="1038225" y="1432559"/>
                    <a:pt x="1043940" y="1438274"/>
                    <a:pt x="1043940" y="1445894"/>
                  </a:cubicBezTo>
                  <a:cubicBezTo>
                    <a:pt x="1043940" y="1453514"/>
                    <a:pt x="1038225" y="1459229"/>
                    <a:pt x="1030605" y="1459229"/>
                  </a:cubicBezTo>
                  <a:cubicBezTo>
                    <a:pt x="1022985" y="1459229"/>
                    <a:pt x="1017270" y="1452562"/>
                    <a:pt x="1017270" y="1445894"/>
                  </a:cubicBezTo>
                  <a:cubicBezTo>
                    <a:pt x="1017270" y="1438274"/>
                    <a:pt x="1022985" y="1432559"/>
                    <a:pt x="1030605" y="1432559"/>
                  </a:cubicBezTo>
                  <a:close/>
                  <a:moveTo>
                    <a:pt x="1746885" y="1431607"/>
                  </a:moveTo>
                  <a:cubicBezTo>
                    <a:pt x="1755458" y="1431607"/>
                    <a:pt x="1762125" y="1438274"/>
                    <a:pt x="1762125" y="1446847"/>
                  </a:cubicBezTo>
                  <a:cubicBezTo>
                    <a:pt x="1762125" y="1455420"/>
                    <a:pt x="1755458" y="1462087"/>
                    <a:pt x="1746885" y="1462087"/>
                  </a:cubicBezTo>
                  <a:cubicBezTo>
                    <a:pt x="1738312" y="1462087"/>
                    <a:pt x="1731645" y="1455420"/>
                    <a:pt x="1731645" y="1446847"/>
                  </a:cubicBezTo>
                  <a:cubicBezTo>
                    <a:pt x="1731645" y="1438274"/>
                    <a:pt x="1738312" y="1431607"/>
                    <a:pt x="1746885" y="1431607"/>
                  </a:cubicBezTo>
                  <a:close/>
                  <a:moveTo>
                    <a:pt x="854393" y="1428750"/>
                  </a:moveTo>
                  <a:cubicBezTo>
                    <a:pt x="863918" y="1428750"/>
                    <a:pt x="871538" y="1436370"/>
                    <a:pt x="871538" y="1445895"/>
                  </a:cubicBezTo>
                  <a:cubicBezTo>
                    <a:pt x="871538" y="1455420"/>
                    <a:pt x="863918" y="1463040"/>
                    <a:pt x="854393" y="1463040"/>
                  </a:cubicBezTo>
                  <a:cubicBezTo>
                    <a:pt x="845821" y="1463040"/>
                    <a:pt x="838200" y="1456372"/>
                    <a:pt x="837248" y="1445895"/>
                  </a:cubicBezTo>
                  <a:cubicBezTo>
                    <a:pt x="837248" y="1436370"/>
                    <a:pt x="844868" y="1428750"/>
                    <a:pt x="854393" y="1428750"/>
                  </a:cubicBezTo>
                  <a:close/>
                  <a:moveTo>
                    <a:pt x="1598295" y="1427797"/>
                  </a:moveTo>
                  <a:cubicBezTo>
                    <a:pt x="1604010" y="1427797"/>
                    <a:pt x="1607820" y="1432560"/>
                    <a:pt x="1607820" y="1437322"/>
                  </a:cubicBezTo>
                  <a:cubicBezTo>
                    <a:pt x="1607820" y="1443037"/>
                    <a:pt x="1603058" y="1446847"/>
                    <a:pt x="1598295" y="1446847"/>
                  </a:cubicBezTo>
                  <a:cubicBezTo>
                    <a:pt x="1593533" y="1446847"/>
                    <a:pt x="1588770" y="1442085"/>
                    <a:pt x="1588770" y="1437322"/>
                  </a:cubicBezTo>
                  <a:cubicBezTo>
                    <a:pt x="1588770" y="1431607"/>
                    <a:pt x="1593533" y="1427797"/>
                    <a:pt x="1598295" y="1427797"/>
                  </a:cubicBezTo>
                  <a:close/>
                  <a:moveTo>
                    <a:pt x="412432" y="1427797"/>
                  </a:moveTo>
                  <a:cubicBezTo>
                    <a:pt x="424815" y="1427797"/>
                    <a:pt x="434340" y="1437322"/>
                    <a:pt x="434340" y="1449705"/>
                  </a:cubicBezTo>
                  <a:cubicBezTo>
                    <a:pt x="434340" y="1462087"/>
                    <a:pt x="424815" y="1471612"/>
                    <a:pt x="412432" y="1471612"/>
                  </a:cubicBezTo>
                  <a:cubicBezTo>
                    <a:pt x="401002" y="1471612"/>
                    <a:pt x="390525" y="1461135"/>
                    <a:pt x="390525" y="1449705"/>
                  </a:cubicBezTo>
                  <a:cubicBezTo>
                    <a:pt x="390525" y="1437322"/>
                    <a:pt x="400050" y="1427797"/>
                    <a:pt x="412432" y="1427797"/>
                  </a:cubicBezTo>
                  <a:close/>
                  <a:moveTo>
                    <a:pt x="2105978" y="1426845"/>
                  </a:moveTo>
                  <a:cubicBezTo>
                    <a:pt x="2111692" y="1426845"/>
                    <a:pt x="2116455" y="1431608"/>
                    <a:pt x="2116455" y="1437322"/>
                  </a:cubicBezTo>
                  <a:cubicBezTo>
                    <a:pt x="2116455" y="1443037"/>
                    <a:pt x="2111692" y="1447800"/>
                    <a:pt x="2105978" y="1447800"/>
                  </a:cubicBezTo>
                  <a:cubicBezTo>
                    <a:pt x="2100263" y="1447800"/>
                    <a:pt x="2095500" y="1443990"/>
                    <a:pt x="2095500" y="1437322"/>
                  </a:cubicBezTo>
                  <a:cubicBezTo>
                    <a:pt x="2095500" y="1431608"/>
                    <a:pt x="2100263" y="1426845"/>
                    <a:pt x="2105978" y="1426845"/>
                  </a:cubicBezTo>
                  <a:close/>
                  <a:moveTo>
                    <a:pt x="1887855" y="1426845"/>
                  </a:moveTo>
                  <a:cubicBezTo>
                    <a:pt x="1896427" y="1426845"/>
                    <a:pt x="1903095" y="1433512"/>
                    <a:pt x="1903095" y="1442085"/>
                  </a:cubicBezTo>
                  <a:cubicBezTo>
                    <a:pt x="1903095" y="1450658"/>
                    <a:pt x="1896427" y="1457325"/>
                    <a:pt x="1887855" y="1457325"/>
                  </a:cubicBezTo>
                  <a:cubicBezTo>
                    <a:pt x="1879282" y="1457325"/>
                    <a:pt x="1871662" y="1450658"/>
                    <a:pt x="1872615" y="1442085"/>
                  </a:cubicBezTo>
                  <a:cubicBezTo>
                    <a:pt x="1872615" y="1433512"/>
                    <a:pt x="1879282" y="1426845"/>
                    <a:pt x="1887855" y="1426845"/>
                  </a:cubicBezTo>
                  <a:close/>
                  <a:moveTo>
                    <a:pt x="311468" y="1421129"/>
                  </a:moveTo>
                  <a:cubicBezTo>
                    <a:pt x="320993" y="1421129"/>
                    <a:pt x="328613" y="1428749"/>
                    <a:pt x="328613" y="1438274"/>
                  </a:cubicBezTo>
                  <a:cubicBezTo>
                    <a:pt x="328613" y="1447799"/>
                    <a:pt x="320993" y="1455419"/>
                    <a:pt x="311468" y="1455419"/>
                  </a:cubicBezTo>
                  <a:cubicBezTo>
                    <a:pt x="301943" y="1455419"/>
                    <a:pt x="295275" y="1447799"/>
                    <a:pt x="294323" y="1438274"/>
                  </a:cubicBezTo>
                  <a:cubicBezTo>
                    <a:pt x="294323" y="1428749"/>
                    <a:pt x="301943" y="1421129"/>
                    <a:pt x="311468" y="1421129"/>
                  </a:cubicBezTo>
                  <a:close/>
                  <a:moveTo>
                    <a:pt x="213360" y="1416367"/>
                  </a:moveTo>
                  <a:cubicBezTo>
                    <a:pt x="217170" y="1416367"/>
                    <a:pt x="220980" y="1420177"/>
                    <a:pt x="220980" y="1423987"/>
                  </a:cubicBezTo>
                  <a:cubicBezTo>
                    <a:pt x="220980" y="1427797"/>
                    <a:pt x="217170" y="1431607"/>
                    <a:pt x="213360" y="1431607"/>
                  </a:cubicBezTo>
                  <a:cubicBezTo>
                    <a:pt x="209550" y="1431607"/>
                    <a:pt x="206693" y="1428750"/>
                    <a:pt x="205740" y="1423987"/>
                  </a:cubicBezTo>
                  <a:cubicBezTo>
                    <a:pt x="205740" y="1420177"/>
                    <a:pt x="209550" y="1416367"/>
                    <a:pt x="213360" y="1416367"/>
                  </a:cubicBezTo>
                  <a:close/>
                  <a:moveTo>
                    <a:pt x="1329691" y="1415415"/>
                  </a:moveTo>
                  <a:cubicBezTo>
                    <a:pt x="1332548" y="1415415"/>
                    <a:pt x="1334453" y="1417320"/>
                    <a:pt x="1334453" y="1420178"/>
                  </a:cubicBezTo>
                  <a:cubicBezTo>
                    <a:pt x="1334453" y="1423035"/>
                    <a:pt x="1332548" y="1424940"/>
                    <a:pt x="1329691" y="1424940"/>
                  </a:cubicBezTo>
                  <a:cubicBezTo>
                    <a:pt x="1326833" y="1424940"/>
                    <a:pt x="1324928" y="1422082"/>
                    <a:pt x="1324928" y="1420178"/>
                  </a:cubicBezTo>
                  <a:cubicBezTo>
                    <a:pt x="1324928" y="1417320"/>
                    <a:pt x="1326833" y="1415415"/>
                    <a:pt x="1329691" y="1415415"/>
                  </a:cubicBezTo>
                  <a:close/>
                  <a:moveTo>
                    <a:pt x="1271587" y="1413509"/>
                  </a:moveTo>
                  <a:cubicBezTo>
                    <a:pt x="1275397" y="1413509"/>
                    <a:pt x="1278255" y="1416367"/>
                    <a:pt x="1278255" y="1420177"/>
                  </a:cubicBezTo>
                  <a:cubicBezTo>
                    <a:pt x="1278255" y="1423987"/>
                    <a:pt x="1275397" y="1426844"/>
                    <a:pt x="1271587" y="1426844"/>
                  </a:cubicBezTo>
                  <a:cubicBezTo>
                    <a:pt x="1267778" y="1426844"/>
                    <a:pt x="1264920" y="1423034"/>
                    <a:pt x="1264920" y="1420177"/>
                  </a:cubicBezTo>
                  <a:cubicBezTo>
                    <a:pt x="1264920" y="1416367"/>
                    <a:pt x="1267778" y="1413509"/>
                    <a:pt x="1271587" y="1413509"/>
                  </a:cubicBezTo>
                  <a:close/>
                  <a:moveTo>
                    <a:pt x="975360" y="1412557"/>
                  </a:moveTo>
                  <a:cubicBezTo>
                    <a:pt x="983933" y="1412557"/>
                    <a:pt x="990600" y="1419224"/>
                    <a:pt x="990600" y="1427797"/>
                  </a:cubicBezTo>
                  <a:cubicBezTo>
                    <a:pt x="990600" y="1436370"/>
                    <a:pt x="983933" y="1443037"/>
                    <a:pt x="975360" y="1443037"/>
                  </a:cubicBezTo>
                  <a:cubicBezTo>
                    <a:pt x="966787" y="1443037"/>
                    <a:pt x="960120" y="1436370"/>
                    <a:pt x="960120" y="1427797"/>
                  </a:cubicBezTo>
                  <a:cubicBezTo>
                    <a:pt x="960120" y="1419224"/>
                    <a:pt x="966787" y="1412557"/>
                    <a:pt x="975360" y="1412557"/>
                  </a:cubicBezTo>
                  <a:close/>
                  <a:moveTo>
                    <a:pt x="2021205" y="1411604"/>
                  </a:moveTo>
                  <a:cubicBezTo>
                    <a:pt x="2027872" y="1411604"/>
                    <a:pt x="2033587" y="1417319"/>
                    <a:pt x="2033587" y="1423987"/>
                  </a:cubicBezTo>
                  <a:cubicBezTo>
                    <a:pt x="2033587" y="1430654"/>
                    <a:pt x="2027872" y="1436369"/>
                    <a:pt x="2021205" y="1436369"/>
                  </a:cubicBezTo>
                  <a:cubicBezTo>
                    <a:pt x="2014537" y="1436369"/>
                    <a:pt x="2009775" y="1431607"/>
                    <a:pt x="2008822" y="1423987"/>
                  </a:cubicBezTo>
                  <a:cubicBezTo>
                    <a:pt x="2008822" y="1417319"/>
                    <a:pt x="2014537" y="1411604"/>
                    <a:pt x="2021205" y="1411604"/>
                  </a:cubicBezTo>
                  <a:close/>
                  <a:moveTo>
                    <a:pt x="1386840" y="1409700"/>
                  </a:moveTo>
                  <a:cubicBezTo>
                    <a:pt x="1390650" y="1409700"/>
                    <a:pt x="1393507" y="1412558"/>
                    <a:pt x="1393507" y="1416367"/>
                  </a:cubicBezTo>
                  <a:cubicBezTo>
                    <a:pt x="1393507" y="1420178"/>
                    <a:pt x="1390650" y="1423035"/>
                    <a:pt x="1386840" y="1423035"/>
                  </a:cubicBezTo>
                  <a:cubicBezTo>
                    <a:pt x="1383030" y="1423035"/>
                    <a:pt x="1380172" y="1420178"/>
                    <a:pt x="1380172" y="1416367"/>
                  </a:cubicBezTo>
                  <a:cubicBezTo>
                    <a:pt x="1380172" y="1412558"/>
                    <a:pt x="1383030" y="1409700"/>
                    <a:pt x="1386840" y="1409700"/>
                  </a:cubicBezTo>
                  <a:close/>
                  <a:moveTo>
                    <a:pt x="1214437" y="1408747"/>
                  </a:moveTo>
                  <a:cubicBezTo>
                    <a:pt x="1218247" y="1408747"/>
                    <a:pt x="1222057" y="1412557"/>
                    <a:pt x="1222057" y="1416367"/>
                  </a:cubicBezTo>
                  <a:cubicBezTo>
                    <a:pt x="1222057" y="1420177"/>
                    <a:pt x="1218247" y="1423987"/>
                    <a:pt x="1214437" y="1423987"/>
                  </a:cubicBezTo>
                  <a:cubicBezTo>
                    <a:pt x="1209675" y="1423987"/>
                    <a:pt x="1206817" y="1420177"/>
                    <a:pt x="1206817" y="1416367"/>
                  </a:cubicBezTo>
                  <a:cubicBezTo>
                    <a:pt x="1206817" y="1412557"/>
                    <a:pt x="1210627" y="1408747"/>
                    <a:pt x="1214437" y="1408747"/>
                  </a:cubicBezTo>
                  <a:close/>
                  <a:moveTo>
                    <a:pt x="1797368" y="1407795"/>
                  </a:moveTo>
                  <a:cubicBezTo>
                    <a:pt x="1804035" y="1407795"/>
                    <a:pt x="1809750" y="1413510"/>
                    <a:pt x="1809750" y="1420178"/>
                  </a:cubicBezTo>
                  <a:cubicBezTo>
                    <a:pt x="1809750" y="1426845"/>
                    <a:pt x="1804035" y="1432560"/>
                    <a:pt x="1797368" y="1432560"/>
                  </a:cubicBezTo>
                  <a:cubicBezTo>
                    <a:pt x="1790700" y="1432560"/>
                    <a:pt x="1785938" y="1426845"/>
                    <a:pt x="1784985" y="1420178"/>
                  </a:cubicBezTo>
                  <a:cubicBezTo>
                    <a:pt x="1784985" y="1413510"/>
                    <a:pt x="1790700" y="1407795"/>
                    <a:pt x="1797368" y="1407795"/>
                  </a:cubicBezTo>
                  <a:close/>
                  <a:moveTo>
                    <a:pt x="1652588" y="1407795"/>
                  </a:moveTo>
                  <a:cubicBezTo>
                    <a:pt x="1658303" y="1407795"/>
                    <a:pt x="1662113" y="1411605"/>
                    <a:pt x="1662113" y="1417320"/>
                  </a:cubicBezTo>
                  <a:cubicBezTo>
                    <a:pt x="1662113" y="1423035"/>
                    <a:pt x="1657351" y="1426845"/>
                    <a:pt x="1652588" y="1426845"/>
                  </a:cubicBezTo>
                  <a:cubicBezTo>
                    <a:pt x="1647826" y="1426845"/>
                    <a:pt x="1643063" y="1423035"/>
                    <a:pt x="1643063" y="1417320"/>
                  </a:cubicBezTo>
                  <a:cubicBezTo>
                    <a:pt x="1643063" y="1411605"/>
                    <a:pt x="1647826" y="1407795"/>
                    <a:pt x="1652588" y="1407795"/>
                  </a:cubicBezTo>
                  <a:close/>
                  <a:moveTo>
                    <a:pt x="689610" y="1406842"/>
                  </a:moveTo>
                  <a:cubicBezTo>
                    <a:pt x="700087" y="1406842"/>
                    <a:pt x="708660" y="1415415"/>
                    <a:pt x="708660" y="1425892"/>
                  </a:cubicBezTo>
                  <a:cubicBezTo>
                    <a:pt x="708660" y="1436370"/>
                    <a:pt x="700087" y="1444942"/>
                    <a:pt x="689610" y="1444942"/>
                  </a:cubicBezTo>
                  <a:cubicBezTo>
                    <a:pt x="679133" y="1444942"/>
                    <a:pt x="670560" y="1436370"/>
                    <a:pt x="670560" y="1425892"/>
                  </a:cubicBezTo>
                  <a:cubicBezTo>
                    <a:pt x="670560" y="1415415"/>
                    <a:pt x="679133" y="1406842"/>
                    <a:pt x="689610" y="1406842"/>
                  </a:cubicBezTo>
                  <a:close/>
                  <a:moveTo>
                    <a:pt x="2228850" y="1405890"/>
                  </a:moveTo>
                  <a:cubicBezTo>
                    <a:pt x="2229803" y="1405890"/>
                    <a:pt x="2230755" y="1406842"/>
                    <a:pt x="2230755" y="1407795"/>
                  </a:cubicBezTo>
                  <a:cubicBezTo>
                    <a:pt x="2230755" y="1408747"/>
                    <a:pt x="2229803" y="1409700"/>
                    <a:pt x="2228850" y="1409700"/>
                  </a:cubicBezTo>
                  <a:cubicBezTo>
                    <a:pt x="2228850" y="1409700"/>
                    <a:pt x="2227897" y="1409700"/>
                    <a:pt x="2226945" y="1407795"/>
                  </a:cubicBezTo>
                  <a:cubicBezTo>
                    <a:pt x="2226945" y="1406842"/>
                    <a:pt x="2227897" y="1405890"/>
                    <a:pt x="2228850" y="1405890"/>
                  </a:cubicBezTo>
                  <a:close/>
                  <a:moveTo>
                    <a:pt x="579120" y="1405890"/>
                  </a:moveTo>
                  <a:cubicBezTo>
                    <a:pt x="589597" y="1405890"/>
                    <a:pt x="598170" y="1414462"/>
                    <a:pt x="598170" y="1424940"/>
                  </a:cubicBezTo>
                  <a:cubicBezTo>
                    <a:pt x="598170" y="1435417"/>
                    <a:pt x="589597" y="1443990"/>
                    <a:pt x="579120" y="1443990"/>
                  </a:cubicBezTo>
                  <a:cubicBezTo>
                    <a:pt x="568642" y="1443990"/>
                    <a:pt x="560070" y="1435417"/>
                    <a:pt x="560070" y="1424940"/>
                  </a:cubicBezTo>
                  <a:cubicBezTo>
                    <a:pt x="560070" y="1414462"/>
                    <a:pt x="568642" y="1405890"/>
                    <a:pt x="579120" y="1405890"/>
                  </a:cubicBezTo>
                  <a:close/>
                  <a:moveTo>
                    <a:pt x="1443990" y="1403032"/>
                  </a:moveTo>
                  <a:cubicBezTo>
                    <a:pt x="1446847" y="1403032"/>
                    <a:pt x="1449705" y="1405890"/>
                    <a:pt x="1449705" y="1408747"/>
                  </a:cubicBezTo>
                  <a:cubicBezTo>
                    <a:pt x="1449705" y="1411604"/>
                    <a:pt x="1446847" y="1414462"/>
                    <a:pt x="1443990" y="1414462"/>
                  </a:cubicBezTo>
                  <a:cubicBezTo>
                    <a:pt x="1441133" y="1414462"/>
                    <a:pt x="1438275" y="1411604"/>
                    <a:pt x="1438275" y="1408747"/>
                  </a:cubicBezTo>
                  <a:cubicBezTo>
                    <a:pt x="1438275" y="1405890"/>
                    <a:pt x="1441133" y="1403032"/>
                    <a:pt x="1443990" y="1403032"/>
                  </a:cubicBezTo>
                  <a:close/>
                  <a:moveTo>
                    <a:pt x="802958" y="1403032"/>
                  </a:moveTo>
                  <a:cubicBezTo>
                    <a:pt x="811530" y="1403032"/>
                    <a:pt x="819151" y="1410652"/>
                    <a:pt x="819151" y="1420177"/>
                  </a:cubicBezTo>
                  <a:cubicBezTo>
                    <a:pt x="819151" y="1429702"/>
                    <a:pt x="812483" y="1437322"/>
                    <a:pt x="802958" y="1437322"/>
                  </a:cubicBezTo>
                  <a:cubicBezTo>
                    <a:pt x="794386" y="1437322"/>
                    <a:pt x="786765" y="1429702"/>
                    <a:pt x="785813" y="1420177"/>
                  </a:cubicBezTo>
                  <a:cubicBezTo>
                    <a:pt x="785813" y="1410652"/>
                    <a:pt x="793433" y="1403032"/>
                    <a:pt x="802958" y="1403032"/>
                  </a:cubicBezTo>
                  <a:close/>
                  <a:moveTo>
                    <a:pt x="1157287" y="1401127"/>
                  </a:moveTo>
                  <a:cubicBezTo>
                    <a:pt x="1161097" y="1401127"/>
                    <a:pt x="1164907" y="1404937"/>
                    <a:pt x="1164907" y="1408747"/>
                  </a:cubicBezTo>
                  <a:cubicBezTo>
                    <a:pt x="1164907" y="1412557"/>
                    <a:pt x="1161097" y="1416367"/>
                    <a:pt x="1157287" y="1416367"/>
                  </a:cubicBezTo>
                  <a:cubicBezTo>
                    <a:pt x="1152525" y="1416367"/>
                    <a:pt x="1149667" y="1412557"/>
                    <a:pt x="1149667" y="1408747"/>
                  </a:cubicBezTo>
                  <a:cubicBezTo>
                    <a:pt x="1149667" y="1404937"/>
                    <a:pt x="1153477" y="1401127"/>
                    <a:pt x="1157287" y="1401127"/>
                  </a:cubicBezTo>
                  <a:close/>
                  <a:moveTo>
                    <a:pt x="473393" y="1399222"/>
                  </a:moveTo>
                  <a:cubicBezTo>
                    <a:pt x="484823" y="1399222"/>
                    <a:pt x="493395" y="1407795"/>
                    <a:pt x="493395" y="1419225"/>
                  </a:cubicBezTo>
                  <a:cubicBezTo>
                    <a:pt x="493395" y="1430655"/>
                    <a:pt x="484823" y="1439227"/>
                    <a:pt x="473393" y="1439227"/>
                  </a:cubicBezTo>
                  <a:cubicBezTo>
                    <a:pt x="462915" y="1439227"/>
                    <a:pt x="453390" y="1429702"/>
                    <a:pt x="453390" y="1419225"/>
                  </a:cubicBezTo>
                  <a:cubicBezTo>
                    <a:pt x="453390" y="1407795"/>
                    <a:pt x="461963" y="1399222"/>
                    <a:pt x="473393" y="1399222"/>
                  </a:cubicBezTo>
                  <a:close/>
                  <a:moveTo>
                    <a:pt x="1935480" y="1394459"/>
                  </a:moveTo>
                  <a:cubicBezTo>
                    <a:pt x="1943100" y="1394459"/>
                    <a:pt x="1949767" y="1401127"/>
                    <a:pt x="1949767" y="1408747"/>
                  </a:cubicBezTo>
                  <a:cubicBezTo>
                    <a:pt x="1949767" y="1416367"/>
                    <a:pt x="1943100" y="1423034"/>
                    <a:pt x="1935480" y="1423034"/>
                  </a:cubicBezTo>
                  <a:cubicBezTo>
                    <a:pt x="1927859" y="1423034"/>
                    <a:pt x="1921192" y="1417319"/>
                    <a:pt x="1921192" y="1408747"/>
                  </a:cubicBezTo>
                  <a:cubicBezTo>
                    <a:pt x="1921192" y="1401127"/>
                    <a:pt x="1927859" y="1394459"/>
                    <a:pt x="1935480" y="1394459"/>
                  </a:cubicBezTo>
                  <a:close/>
                  <a:moveTo>
                    <a:pt x="922021" y="1392554"/>
                  </a:moveTo>
                  <a:cubicBezTo>
                    <a:pt x="929640" y="1392554"/>
                    <a:pt x="936308" y="1399221"/>
                    <a:pt x="936308" y="1406842"/>
                  </a:cubicBezTo>
                  <a:cubicBezTo>
                    <a:pt x="936308" y="1414462"/>
                    <a:pt x="929640" y="1421129"/>
                    <a:pt x="922021" y="1421129"/>
                  </a:cubicBezTo>
                  <a:cubicBezTo>
                    <a:pt x="913448" y="1421129"/>
                    <a:pt x="907733" y="1414462"/>
                    <a:pt x="907733" y="1406842"/>
                  </a:cubicBezTo>
                  <a:cubicBezTo>
                    <a:pt x="907733" y="1399221"/>
                    <a:pt x="914400" y="1392554"/>
                    <a:pt x="922021" y="1392554"/>
                  </a:cubicBezTo>
                  <a:close/>
                  <a:moveTo>
                    <a:pt x="2147887" y="1391602"/>
                  </a:moveTo>
                  <a:cubicBezTo>
                    <a:pt x="2151697" y="1391602"/>
                    <a:pt x="2155507" y="1395412"/>
                    <a:pt x="2155507" y="1399222"/>
                  </a:cubicBezTo>
                  <a:cubicBezTo>
                    <a:pt x="2155507" y="1403032"/>
                    <a:pt x="2151697" y="1406842"/>
                    <a:pt x="2147887" y="1406842"/>
                  </a:cubicBezTo>
                  <a:cubicBezTo>
                    <a:pt x="2144077" y="1406842"/>
                    <a:pt x="2140267" y="1403032"/>
                    <a:pt x="2140267" y="1399222"/>
                  </a:cubicBezTo>
                  <a:cubicBezTo>
                    <a:pt x="2140267" y="1395412"/>
                    <a:pt x="2144077" y="1391602"/>
                    <a:pt x="2147887" y="1391602"/>
                  </a:cubicBezTo>
                  <a:close/>
                  <a:moveTo>
                    <a:pt x="1501140" y="1391602"/>
                  </a:moveTo>
                  <a:cubicBezTo>
                    <a:pt x="1503997" y="1391602"/>
                    <a:pt x="1506855" y="1394459"/>
                    <a:pt x="1506855" y="1397317"/>
                  </a:cubicBezTo>
                  <a:cubicBezTo>
                    <a:pt x="1506855" y="1400174"/>
                    <a:pt x="1503997" y="1403032"/>
                    <a:pt x="1501140" y="1403032"/>
                  </a:cubicBezTo>
                  <a:cubicBezTo>
                    <a:pt x="1497330" y="1403032"/>
                    <a:pt x="1495425" y="1400174"/>
                    <a:pt x="1495425" y="1397317"/>
                  </a:cubicBezTo>
                  <a:cubicBezTo>
                    <a:pt x="1495425" y="1394459"/>
                    <a:pt x="1498283" y="1391602"/>
                    <a:pt x="1501140" y="1391602"/>
                  </a:cubicBezTo>
                  <a:close/>
                  <a:moveTo>
                    <a:pt x="1100138" y="1388745"/>
                  </a:moveTo>
                  <a:cubicBezTo>
                    <a:pt x="1104900" y="1388745"/>
                    <a:pt x="1108710" y="1392555"/>
                    <a:pt x="1108710" y="1397317"/>
                  </a:cubicBezTo>
                  <a:cubicBezTo>
                    <a:pt x="1108710" y="1402080"/>
                    <a:pt x="1104900" y="1405890"/>
                    <a:pt x="1100138" y="1405890"/>
                  </a:cubicBezTo>
                  <a:cubicBezTo>
                    <a:pt x="1096328" y="1405890"/>
                    <a:pt x="1092517" y="1402080"/>
                    <a:pt x="1091565" y="1397317"/>
                  </a:cubicBezTo>
                  <a:cubicBezTo>
                    <a:pt x="1091565" y="1392555"/>
                    <a:pt x="1095375" y="1388745"/>
                    <a:pt x="1100138" y="1388745"/>
                  </a:cubicBezTo>
                  <a:close/>
                  <a:moveTo>
                    <a:pt x="371475" y="1387792"/>
                  </a:moveTo>
                  <a:cubicBezTo>
                    <a:pt x="383048" y="1387792"/>
                    <a:pt x="392430" y="1397174"/>
                    <a:pt x="392430" y="1408747"/>
                  </a:cubicBezTo>
                  <a:cubicBezTo>
                    <a:pt x="392430" y="1420320"/>
                    <a:pt x="383048" y="1429702"/>
                    <a:pt x="371475" y="1429702"/>
                  </a:cubicBezTo>
                  <a:cubicBezTo>
                    <a:pt x="359902" y="1429702"/>
                    <a:pt x="350520" y="1420320"/>
                    <a:pt x="350520" y="1408747"/>
                  </a:cubicBezTo>
                  <a:cubicBezTo>
                    <a:pt x="350520" y="1397174"/>
                    <a:pt x="359902" y="1387792"/>
                    <a:pt x="371475" y="1387792"/>
                  </a:cubicBezTo>
                  <a:close/>
                  <a:moveTo>
                    <a:pt x="1705927" y="1384935"/>
                  </a:moveTo>
                  <a:cubicBezTo>
                    <a:pt x="1711714" y="1384935"/>
                    <a:pt x="1716405" y="1389626"/>
                    <a:pt x="1716405" y="1395413"/>
                  </a:cubicBezTo>
                  <a:cubicBezTo>
                    <a:pt x="1716405" y="1401199"/>
                    <a:pt x="1711714" y="1405890"/>
                    <a:pt x="1705927" y="1405890"/>
                  </a:cubicBezTo>
                  <a:cubicBezTo>
                    <a:pt x="1700141" y="1405890"/>
                    <a:pt x="1695450" y="1401199"/>
                    <a:pt x="1695450" y="1395413"/>
                  </a:cubicBezTo>
                  <a:cubicBezTo>
                    <a:pt x="1695450" y="1389626"/>
                    <a:pt x="1700141" y="1384935"/>
                    <a:pt x="1705927" y="1384935"/>
                  </a:cubicBezTo>
                  <a:close/>
                  <a:moveTo>
                    <a:pt x="1847850" y="1381125"/>
                  </a:moveTo>
                  <a:cubicBezTo>
                    <a:pt x="1853565" y="1381125"/>
                    <a:pt x="1858327" y="1385888"/>
                    <a:pt x="1858327" y="1391603"/>
                  </a:cubicBezTo>
                  <a:cubicBezTo>
                    <a:pt x="1858327" y="1397317"/>
                    <a:pt x="1853565" y="1402080"/>
                    <a:pt x="1847850" y="1402080"/>
                  </a:cubicBezTo>
                  <a:cubicBezTo>
                    <a:pt x="1841182" y="1402080"/>
                    <a:pt x="1836420" y="1397317"/>
                    <a:pt x="1837372" y="1391603"/>
                  </a:cubicBezTo>
                  <a:cubicBezTo>
                    <a:pt x="1837372" y="1385888"/>
                    <a:pt x="1842135" y="1381125"/>
                    <a:pt x="1847850" y="1381125"/>
                  </a:cubicBezTo>
                  <a:close/>
                  <a:moveTo>
                    <a:pt x="273368" y="1374457"/>
                  </a:moveTo>
                  <a:cubicBezTo>
                    <a:pt x="284798" y="1374457"/>
                    <a:pt x="294323" y="1383982"/>
                    <a:pt x="294323" y="1395412"/>
                  </a:cubicBezTo>
                  <a:cubicBezTo>
                    <a:pt x="294323" y="1406842"/>
                    <a:pt x="284798" y="1416367"/>
                    <a:pt x="273368" y="1416367"/>
                  </a:cubicBezTo>
                  <a:cubicBezTo>
                    <a:pt x="261938" y="1416367"/>
                    <a:pt x="252413" y="1406842"/>
                    <a:pt x="252413" y="1395412"/>
                  </a:cubicBezTo>
                  <a:cubicBezTo>
                    <a:pt x="252413" y="1383982"/>
                    <a:pt x="261938" y="1374457"/>
                    <a:pt x="273368" y="1374457"/>
                  </a:cubicBezTo>
                  <a:close/>
                  <a:moveTo>
                    <a:pt x="2065973" y="1373504"/>
                  </a:moveTo>
                  <a:cubicBezTo>
                    <a:pt x="2073593" y="1373504"/>
                    <a:pt x="2080260" y="1380171"/>
                    <a:pt x="2080260" y="1387792"/>
                  </a:cubicBezTo>
                  <a:cubicBezTo>
                    <a:pt x="2080260" y="1395412"/>
                    <a:pt x="2073593" y="1402079"/>
                    <a:pt x="2065973" y="1402079"/>
                  </a:cubicBezTo>
                  <a:cubicBezTo>
                    <a:pt x="2058353" y="1402079"/>
                    <a:pt x="2051685" y="1395412"/>
                    <a:pt x="2051685" y="1387792"/>
                  </a:cubicBezTo>
                  <a:cubicBezTo>
                    <a:pt x="2051685" y="1380171"/>
                    <a:pt x="2058353" y="1373504"/>
                    <a:pt x="2065973" y="1373504"/>
                  </a:cubicBezTo>
                  <a:close/>
                  <a:moveTo>
                    <a:pt x="1556385" y="1373504"/>
                  </a:moveTo>
                  <a:cubicBezTo>
                    <a:pt x="1562100" y="1373504"/>
                    <a:pt x="1565910" y="1377314"/>
                    <a:pt x="1565910" y="1383029"/>
                  </a:cubicBezTo>
                  <a:cubicBezTo>
                    <a:pt x="1565910" y="1388744"/>
                    <a:pt x="1561148" y="1392554"/>
                    <a:pt x="1556385" y="1392554"/>
                  </a:cubicBezTo>
                  <a:cubicBezTo>
                    <a:pt x="1551623" y="1392554"/>
                    <a:pt x="1546860" y="1388744"/>
                    <a:pt x="1546860" y="1383029"/>
                  </a:cubicBezTo>
                  <a:cubicBezTo>
                    <a:pt x="1546860" y="1377314"/>
                    <a:pt x="1551623" y="1373504"/>
                    <a:pt x="1556385" y="1373504"/>
                  </a:cubicBezTo>
                  <a:close/>
                  <a:moveTo>
                    <a:pt x="641985" y="1373504"/>
                  </a:moveTo>
                  <a:cubicBezTo>
                    <a:pt x="652462" y="1373504"/>
                    <a:pt x="661035" y="1382077"/>
                    <a:pt x="661035" y="1392554"/>
                  </a:cubicBezTo>
                  <a:cubicBezTo>
                    <a:pt x="661035" y="1403032"/>
                    <a:pt x="652462" y="1411604"/>
                    <a:pt x="641985" y="1411604"/>
                  </a:cubicBezTo>
                  <a:cubicBezTo>
                    <a:pt x="631508" y="1411604"/>
                    <a:pt x="622935" y="1403032"/>
                    <a:pt x="622935" y="1392554"/>
                  </a:cubicBezTo>
                  <a:cubicBezTo>
                    <a:pt x="622935" y="1382077"/>
                    <a:pt x="631508" y="1373504"/>
                    <a:pt x="641985" y="1373504"/>
                  </a:cubicBezTo>
                  <a:close/>
                  <a:moveTo>
                    <a:pt x="1044892" y="1372552"/>
                  </a:moveTo>
                  <a:cubicBezTo>
                    <a:pt x="1050608" y="1372552"/>
                    <a:pt x="1055370" y="1377315"/>
                    <a:pt x="1055370" y="1383029"/>
                  </a:cubicBezTo>
                  <a:cubicBezTo>
                    <a:pt x="1055370" y="1388744"/>
                    <a:pt x="1050608" y="1393507"/>
                    <a:pt x="1044892" y="1393507"/>
                  </a:cubicBezTo>
                  <a:cubicBezTo>
                    <a:pt x="1039178" y="1393507"/>
                    <a:pt x="1034415" y="1388744"/>
                    <a:pt x="1034415" y="1383029"/>
                  </a:cubicBezTo>
                  <a:cubicBezTo>
                    <a:pt x="1034415" y="1377315"/>
                    <a:pt x="1039178" y="1372552"/>
                    <a:pt x="1044892" y="1372552"/>
                  </a:cubicBezTo>
                  <a:close/>
                  <a:moveTo>
                    <a:pt x="753428" y="1372552"/>
                  </a:moveTo>
                  <a:cubicBezTo>
                    <a:pt x="763905" y="1372552"/>
                    <a:pt x="771525" y="1381124"/>
                    <a:pt x="771525" y="1390649"/>
                  </a:cubicBezTo>
                  <a:cubicBezTo>
                    <a:pt x="771525" y="1401127"/>
                    <a:pt x="762953" y="1408747"/>
                    <a:pt x="753428" y="1408747"/>
                  </a:cubicBezTo>
                  <a:cubicBezTo>
                    <a:pt x="743903" y="1408747"/>
                    <a:pt x="735330" y="1401127"/>
                    <a:pt x="735330" y="1390649"/>
                  </a:cubicBezTo>
                  <a:cubicBezTo>
                    <a:pt x="735330" y="1380172"/>
                    <a:pt x="743903" y="1372552"/>
                    <a:pt x="753428" y="1372552"/>
                  </a:cubicBezTo>
                  <a:close/>
                  <a:moveTo>
                    <a:pt x="535304" y="1367790"/>
                  </a:moveTo>
                  <a:cubicBezTo>
                    <a:pt x="546735" y="1367790"/>
                    <a:pt x="555307" y="1377315"/>
                    <a:pt x="555307" y="1387792"/>
                  </a:cubicBezTo>
                  <a:cubicBezTo>
                    <a:pt x="555307" y="1399222"/>
                    <a:pt x="545782" y="1407795"/>
                    <a:pt x="535304" y="1407795"/>
                  </a:cubicBezTo>
                  <a:cubicBezTo>
                    <a:pt x="524827" y="1407795"/>
                    <a:pt x="515302" y="1398270"/>
                    <a:pt x="515302" y="1387792"/>
                  </a:cubicBezTo>
                  <a:cubicBezTo>
                    <a:pt x="515302" y="1376362"/>
                    <a:pt x="523875" y="1367790"/>
                    <a:pt x="535304" y="1367790"/>
                  </a:cubicBezTo>
                  <a:close/>
                  <a:moveTo>
                    <a:pt x="869633" y="1364932"/>
                  </a:moveTo>
                  <a:cubicBezTo>
                    <a:pt x="879158" y="1364932"/>
                    <a:pt x="886778" y="1372552"/>
                    <a:pt x="886778" y="1382077"/>
                  </a:cubicBezTo>
                  <a:cubicBezTo>
                    <a:pt x="886778" y="1391602"/>
                    <a:pt x="879158" y="1399222"/>
                    <a:pt x="869633" y="1399222"/>
                  </a:cubicBezTo>
                  <a:cubicBezTo>
                    <a:pt x="860108" y="1399222"/>
                    <a:pt x="852488" y="1391602"/>
                    <a:pt x="852488" y="1382077"/>
                  </a:cubicBezTo>
                  <a:cubicBezTo>
                    <a:pt x="852488" y="1372552"/>
                    <a:pt x="860108" y="1364932"/>
                    <a:pt x="869633" y="1364932"/>
                  </a:cubicBezTo>
                  <a:close/>
                  <a:moveTo>
                    <a:pt x="1981201" y="1360170"/>
                  </a:moveTo>
                  <a:cubicBezTo>
                    <a:pt x="1988821" y="1360170"/>
                    <a:pt x="1995488" y="1366837"/>
                    <a:pt x="1995488" y="1374458"/>
                  </a:cubicBezTo>
                  <a:cubicBezTo>
                    <a:pt x="1995488" y="1382078"/>
                    <a:pt x="1988821" y="1388745"/>
                    <a:pt x="1981201" y="1388745"/>
                  </a:cubicBezTo>
                  <a:cubicBezTo>
                    <a:pt x="1973580" y="1388745"/>
                    <a:pt x="1966913" y="1382078"/>
                    <a:pt x="1966913" y="1374458"/>
                  </a:cubicBezTo>
                  <a:cubicBezTo>
                    <a:pt x="1966913" y="1366837"/>
                    <a:pt x="1973580" y="1360170"/>
                    <a:pt x="1981201" y="1360170"/>
                  </a:cubicBezTo>
                  <a:close/>
                  <a:moveTo>
                    <a:pt x="432435" y="1357312"/>
                  </a:moveTo>
                  <a:cubicBezTo>
                    <a:pt x="444008" y="1357312"/>
                    <a:pt x="453390" y="1366694"/>
                    <a:pt x="453390" y="1378267"/>
                  </a:cubicBezTo>
                  <a:cubicBezTo>
                    <a:pt x="453390" y="1389840"/>
                    <a:pt x="444008" y="1399222"/>
                    <a:pt x="432435" y="1399222"/>
                  </a:cubicBezTo>
                  <a:cubicBezTo>
                    <a:pt x="420862" y="1399222"/>
                    <a:pt x="411480" y="1389840"/>
                    <a:pt x="411480" y="1378267"/>
                  </a:cubicBezTo>
                  <a:cubicBezTo>
                    <a:pt x="411480" y="1366694"/>
                    <a:pt x="420862" y="1357312"/>
                    <a:pt x="432435" y="1357312"/>
                  </a:cubicBezTo>
                  <a:close/>
                  <a:moveTo>
                    <a:pt x="1757363" y="1356359"/>
                  </a:moveTo>
                  <a:cubicBezTo>
                    <a:pt x="1764030" y="1356359"/>
                    <a:pt x="1769745" y="1362074"/>
                    <a:pt x="1769745" y="1368742"/>
                  </a:cubicBezTo>
                  <a:cubicBezTo>
                    <a:pt x="1769745" y="1375409"/>
                    <a:pt x="1764030" y="1381124"/>
                    <a:pt x="1757363" y="1381124"/>
                  </a:cubicBezTo>
                  <a:cubicBezTo>
                    <a:pt x="1750695" y="1381124"/>
                    <a:pt x="1744980" y="1376362"/>
                    <a:pt x="1744980" y="1368742"/>
                  </a:cubicBezTo>
                  <a:cubicBezTo>
                    <a:pt x="1744980" y="1362074"/>
                    <a:pt x="1750695" y="1356359"/>
                    <a:pt x="1757363" y="1356359"/>
                  </a:cubicBezTo>
                  <a:close/>
                  <a:moveTo>
                    <a:pt x="2188845" y="1354454"/>
                  </a:moveTo>
                  <a:cubicBezTo>
                    <a:pt x="2190750" y="1354454"/>
                    <a:pt x="2192655" y="1356359"/>
                    <a:pt x="2192655" y="1358264"/>
                  </a:cubicBezTo>
                  <a:cubicBezTo>
                    <a:pt x="2192655" y="1360169"/>
                    <a:pt x="2190750" y="1362074"/>
                    <a:pt x="2188845" y="1362074"/>
                  </a:cubicBezTo>
                  <a:cubicBezTo>
                    <a:pt x="2186940" y="1362074"/>
                    <a:pt x="2185035" y="1360169"/>
                    <a:pt x="2185035" y="1358264"/>
                  </a:cubicBezTo>
                  <a:cubicBezTo>
                    <a:pt x="2185035" y="1356359"/>
                    <a:pt x="2186940" y="1354454"/>
                    <a:pt x="2188845" y="1354454"/>
                  </a:cubicBezTo>
                  <a:close/>
                  <a:moveTo>
                    <a:pt x="1611630" y="1354454"/>
                  </a:moveTo>
                  <a:cubicBezTo>
                    <a:pt x="1617345" y="1354454"/>
                    <a:pt x="1621155" y="1359217"/>
                    <a:pt x="1621155" y="1363979"/>
                  </a:cubicBezTo>
                  <a:cubicBezTo>
                    <a:pt x="1621155" y="1369694"/>
                    <a:pt x="1616393" y="1373504"/>
                    <a:pt x="1611630" y="1373504"/>
                  </a:cubicBezTo>
                  <a:cubicBezTo>
                    <a:pt x="1605915" y="1373504"/>
                    <a:pt x="1602105" y="1369694"/>
                    <a:pt x="1602105" y="1363979"/>
                  </a:cubicBezTo>
                  <a:cubicBezTo>
                    <a:pt x="1602105" y="1358264"/>
                    <a:pt x="1605915" y="1354454"/>
                    <a:pt x="1611630" y="1354454"/>
                  </a:cubicBezTo>
                  <a:close/>
                  <a:moveTo>
                    <a:pt x="989648" y="1352550"/>
                  </a:moveTo>
                  <a:cubicBezTo>
                    <a:pt x="996315" y="1352550"/>
                    <a:pt x="1002030" y="1358265"/>
                    <a:pt x="1002030" y="1364933"/>
                  </a:cubicBezTo>
                  <a:cubicBezTo>
                    <a:pt x="1002030" y="1371600"/>
                    <a:pt x="996315" y="1377315"/>
                    <a:pt x="989648" y="1377315"/>
                  </a:cubicBezTo>
                  <a:cubicBezTo>
                    <a:pt x="982980" y="1377315"/>
                    <a:pt x="978217" y="1371600"/>
                    <a:pt x="977265" y="1364933"/>
                  </a:cubicBezTo>
                  <a:cubicBezTo>
                    <a:pt x="977265" y="1358265"/>
                    <a:pt x="982980" y="1352550"/>
                    <a:pt x="989648" y="1352550"/>
                  </a:cubicBezTo>
                  <a:close/>
                  <a:moveTo>
                    <a:pt x="1285875" y="1351597"/>
                  </a:moveTo>
                  <a:cubicBezTo>
                    <a:pt x="1287780" y="1351597"/>
                    <a:pt x="1289685" y="1353502"/>
                    <a:pt x="1289685" y="1355407"/>
                  </a:cubicBezTo>
                  <a:cubicBezTo>
                    <a:pt x="1289685" y="1357312"/>
                    <a:pt x="1287780" y="1359217"/>
                    <a:pt x="1285875" y="1359217"/>
                  </a:cubicBezTo>
                  <a:cubicBezTo>
                    <a:pt x="1283970" y="1359217"/>
                    <a:pt x="1283017" y="1357312"/>
                    <a:pt x="1282065" y="1355407"/>
                  </a:cubicBezTo>
                  <a:cubicBezTo>
                    <a:pt x="1282065" y="1353502"/>
                    <a:pt x="1283970" y="1351597"/>
                    <a:pt x="1285875" y="1351597"/>
                  </a:cubicBezTo>
                  <a:close/>
                  <a:moveTo>
                    <a:pt x="1343977" y="1350645"/>
                  </a:moveTo>
                  <a:cubicBezTo>
                    <a:pt x="1345882" y="1350645"/>
                    <a:pt x="1347787" y="1352550"/>
                    <a:pt x="1347787" y="1354455"/>
                  </a:cubicBezTo>
                  <a:cubicBezTo>
                    <a:pt x="1347787" y="1356360"/>
                    <a:pt x="1345882" y="1358265"/>
                    <a:pt x="1343977" y="1358265"/>
                  </a:cubicBezTo>
                  <a:cubicBezTo>
                    <a:pt x="1342072" y="1358265"/>
                    <a:pt x="1340167" y="1356360"/>
                    <a:pt x="1340167" y="1354455"/>
                  </a:cubicBezTo>
                  <a:cubicBezTo>
                    <a:pt x="1340167" y="1352550"/>
                    <a:pt x="1342072" y="1350645"/>
                    <a:pt x="1343977" y="1350645"/>
                  </a:cubicBezTo>
                  <a:close/>
                  <a:moveTo>
                    <a:pt x="1895475" y="1348740"/>
                  </a:moveTo>
                  <a:cubicBezTo>
                    <a:pt x="1901190" y="1348740"/>
                    <a:pt x="1905952" y="1353503"/>
                    <a:pt x="1905952" y="1359217"/>
                  </a:cubicBezTo>
                  <a:cubicBezTo>
                    <a:pt x="1905952" y="1364932"/>
                    <a:pt x="1901190" y="1369695"/>
                    <a:pt x="1895475" y="1369695"/>
                  </a:cubicBezTo>
                  <a:cubicBezTo>
                    <a:pt x="1889760" y="1369695"/>
                    <a:pt x="1884997" y="1364932"/>
                    <a:pt x="1884997" y="1359217"/>
                  </a:cubicBezTo>
                  <a:cubicBezTo>
                    <a:pt x="1884997" y="1353503"/>
                    <a:pt x="1889760" y="1348740"/>
                    <a:pt x="1895475" y="1348740"/>
                  </a:cubicBezTo>
                  <a:close/>
                  <a:moveTo>
                    <a:pt x="1228726" y="1347787"/>
                  </a:moveTo>
                  <a:cubicBezTo>
                    <a:pt x="1231583" y="1347787"/>
                    <a:pt x="1233488" y="1349692"/>
                    <a:pt x="1233488" y="1352550"/>
                  </a:cubicBezTo>
                  <a:cubicBezTo>
                    <a:pt x="1233488" y="1355407"/>
                    <a:pt x="1231583" y="1357312"/>
                    <a:pt x="1228726" y="1357312"/>
                  </a:cubicBezTo>
                  <a:cubicBezTo>
                    <a:pt x="1225868" y="1357312"/>
                    <a:pt x="1223963" y="1355407"/>
                    <a:pt x="1223963" y="1352550"/>
                  </a:cubicBezTo>
                  <a:cubicBezTo>
                    <a:pt x="1223963" y="1349692"/>
                    <a:pt x="1225868" y="1347787"/>
                    <a:pt x="1228726" y="1347787"/>
                  </a:cubicBezTo>
                  <a:close/>
                  <a:moveTo>
                    <a:pt x="1401128" y="1344929"/>
                  </a:moveTo>
                  <a:cubicBezTo>
                    <a:pt x="1403985" y="1344929"/>
                    <a:pt x="1405890" y="1346834"/>
                    <a:pt x="1405890" y="1349692"/>
                  </a:cubicBezTo>
                  <a:cubicBezTo>
                    <a:pt x="1405890" y="1352549"/>
                    <a:pt x="1403985" y="1354454"/>
                    <a:pt x="1401128" y="1354454"/>
                  </a:cubicBezTo>
                  <a:cubicBezTo>
                    <a:pt x="1398270" y="1354454"/>
                    <a:pt x="1396365" y="1352549"/>
                    <a:pt x="1396365" y="1349692"/>
                  </a:cubicBezTo>
                  <a:cubicBezTo>
                    <a:pt x="1396365" y="1346834"/>
                    <a:pt x="1398270" y="1344929"/>
                    <a:pt x="1401128" y="1344929"/>
                  </a:cubicBezTo>
                  <a:close/>
                  <a:moveTo>
                    <a:pt x="333375" y="1344929"/>
                  </a:moveTo>
                  <a:cubicBezTo>
                    <a:pt x="344805" y="1344929"/>
                    <a:pt x="354330" y="1354454"/>
                    <a:pt x="354330" y="1365884"/>
                  </a:cubicBezTo>
                  <a:cubicBezTo>
                    <a:pt x="354330" y="1377314"/>
                    <a:pt x="344805" y="1386839"/>
                    <a:pt x="333375" y="1386839"/>
                  </a:cubicBezTo>
                  <a:cubicBezTo>
                    <a:pt x="320993" y="1386839"/>
                    <a:pt x="312420" y="1377314"/>
                    <a:pt x="312420" y="1365884"/>
                  </a:cubicBezTo>
                  <a:cubicBezTo>
                    <a:pt x="312420" y="1354454"/>
                    <a:pt x="321945" y="1344929"/>
                    <a:pt x="333375" y="1344929"/>
                  </a:cubicBezTo>
                  <a:close/>
                  <a:moveTo>
                    <a:pt x="705802" y="1342072"/>
                  </a:moveTo>
                  <a:cubicBezTo>
                    <a:pt x="715327" y="1342072"/>
                    <a:pt x="721995" y="1349692"/>
                    <a:pt x="721995" y="1358265"/>
                  </a:cubicBezTo>
                  <a:cubicBezTo>
                    <a:pt x="721995" y="1367790"/>
                    <a:pt x="714375" y="1374457"/>
                    <a:pt x="705802" y="1374457"/>
                  </a:cubicBezTo>
                  <a:cubicBezTo>
                    <a:pt x="697230" y="1374457"/>
                    <a:pt x="689610" y="1367790"/>
                    <a:pt x="689610" y="1358265"/>
                  </a:cubicBezTo>
                  <a:cubicBezTo>
                    <a:pt x="689610" y="1348740"/>
                    <a:pt x="697230" y="1342072"/>
                    <a:pt x="705802" y="1342072"/>
                  </a:cubicBezTo>
                  <a:close/>
                  <a:moveTo>
                    <a:pt x="1171575" y="1340167"/>
                  </a:moveTo>
                  <a:cubicBezTo>
                    <a:pt x="1174433" y="1340167"/>
                    <a:pt x="1177290" y="1343025"/>
                    <a:pt x="1177290" y="1345882"/>
                  </a:cubicBezTo>
                  <a:cubicBezTo>
                    <a:pt x="1177290" y="1348740"/>
                    <a:pt x="1174433" y="1351597"/>
                    <a:pt x="1171575" y="1351597"/>
                  </a:cubicBezTo>
                  <a:cubicBezTo>
                    <a:pt x="1168718" y="1351597"/>
                    <a:pt x="1165860" y="1348740"/>
                    <a:pt x="1165860" y="1345882"/>
                  </a:cubicBezTo>
                  <a:cubicBezTo>
                    <a:pt x="1165860" y="1343025"/>
                    <a:pt x="1168718" y="1340167"/>
                    <a:pt x="1171575" y="1340167"/>
                  </a:cubicBezTo>
                  <a:close/>
                  <a:moveTo>
                    <a:pt x="819150" y="1340167"/>
                  </a:moveTo>
                  <a:cubicBezTo>
                    <a:pt x="827723" y="1340167"/>
                    <a:pt x="834390" y="1346834"/>
                    <a:pt x="834390" y="1355407"/>
                  </a:cubicBezTo>
                  <a:cubicBezTo>
                    <a:pt x="834390" y="1363980"/>
                    <a:pt x="827723" y="1370647"/>
                    <a:pt x="819150" y="1370647"/>
                  </a:cubicBezTo>
                  <a:cubicBezTo>
                    <a:pt x="810577" y="1370647"/>
                    <a:pt x="803910" y="1363980"/>
                    <a:pt x="803910" y="1355407"/>
                  </a:cubicBezTo>
                  <a:cubicBezTo>
                    <a:pt x="803910" y="1346834"/>
                    <a:pt x="810577" y="1340167"/>
                    <a:pt x="819150" y="1340167"/>
                  </a:cubicBezTo>
                  <a:close/>
                  <a:moveTo>
                    <a:pt x="597218" y="1339215"/>
                  </a:moveTo>
                  <a:cubicBezTo>
                    <a:pt x="606743" y="1339215"/>
                    <a:pt x="614363" y="1346835"/>
                    <a:pt x="614363" y="1356360"/>
                  </a:cubicBezTo>
                  <a:cubicBezTo>
                    <a:pt x="614363" y="1365885"/>
                    <a:pt x="606743" y="1373505"/>
                    <a:pt x="597218" y="1373505"/>
                  </a:cubicBezTo>
                  <a:cubicBezTo>
                    <a:pt x="587693" y="1373505"/>
                    <a:pt x="580073" y="1365885"/>
                    <a:pt x="580073" y="1356360"/>
                  </a:cubicBezTo>
                  <a:cubicBezTo>
                    <a:pt x="580073" y="1346835"/>
                    <a:pt x="587693" y="1339215"/>
                    <a:pt x="597218" y="1339215"/>
                  </a:cubicBezTo>
                  <a:close/>
                  <a:moveTo>
                    <a:pt x="1458278" y="1338262"/>
                  </a:moveTo>
                  <a:cubicBezTo>
                    <a:pt x="1460183" y="1338262"/>
                    <a:pt x="1461135" y="1339215"/>
                    <a:pt x="1461135" y="1341120"/>
                  </a:cubicBezTo>
                  <a:cubicBezTo>
                    <a:pt x="1461135" y="1343025"/>
                    <a:pt x="1460183" y="1343977"/>
                    <a:pt x="1458278" y="1343977"/>
                  </a:cubicBezTo>
                  <a:cubicBezTo>
                    <a:pt x="1456372" y="1343977"/>
                    <a:pt x="1455420" y="1342072"/>
                    <a:pt x="1455420" y="1341120"/>
                  </a:cubicBezTo>
                  <a:cubicBezTo>
                    <a:pt x="1455420" y="1339215"/>
                    <a:pt x="1456372" y="1338262"/>
                    <a:pt x="1458278" y="1338262"/>
                  </a:cubicBezTo>
                  <a:close/>
                  <a:moveTo>
                    <a:pt x="1664970" y="1336357"/>
                  </a:moveTo>
                  <a:cubicBezTo>
                    <a:pt x="1668780" y="1336357"/>
                    <a:pt x="1671638" y="1339215"/>
                    <a:pt x="1671638" y="1343024"/>
                  </a:cubicBezTo>
                  <a:cubicBezTo>
                    <a:pt x="1671638" y="1346834"/>
                    <a:pt x="1668780" y="1349692"/>
                    <a:pt x="1664970" y="1349692"/>
                  </a:cubicBezTo>
                  <a:cubicBezTo>
                    <a:pt x="1661160" y="1349692"/>
                    <a:pt x="1658303" y="1346834"/>
                    <a:pt x="1658303" y="1343024"/>
                  </a:cubicBezTo>
                  <a:cubicBezTo>
                    <a:pt x="1658303" y="1339215"/>
                    <a:pt x="1661160" y="1336357"/>
                    <a:pt x="1664970" y="1336357"/>
                  </a:cubicBezTo>
                  <a:close/>
                  <a:moveTo>
                    <a:pt x="2107883" y="1335404"/>
                  </a:moveTo>
                  <a:cubicBezTo>
                    <a:pt x="2114550" y="1335404"/>
                    <a:pt x="2120265" y="1341119"/>
                    <a:pt x="2120265" y="1347787"/>
                  </a:cubicBezTo>
                  <a:cubicBezTo>
                    <a:pt x="2120265" y="1354454"/>
                    <a:pt x="2114550" y="1360169"/>
                    <a:pt x="2107883" y="1360169"/>
                  </a:cubicBezTo>
                  <a:cubicBezTo>
                    <a:pt x="2101215" y="1360169"/>
                    <a:pt x="2096453" y="1355407"/>
                    <a:pt x="2095500" y="1347787"/>
                  </a:cubicBezTo>
                  <a:cubicBezTo>
                    <a:pt x="2095500" y="1341119"/>
                    <a:pt x="2101215" y="1335404"/>
                    <a:pt x="2107883" y="1335404"/>
                  </a:cubicBezTo>
                  <a:close/>
                  <a:moveTo>
                    <a:pt x="237172" y="1333500"/>
                  </a:moveTo>
                  <a:cubicBezTo>
                    <a:pt x="246697" y="1333500"/>
                    <a:pt x="254317" y="1341120"/>
                    <a:pt x="254317" y="1350645"/>
                  </a:cubicBezTo>
                  <a:cubicBezTo>
                    <a:pt x="254317" y="1360170"/>
                    <a:pt x="246697" y="1367790"/>
                    <a:pt x="237172" y="1367790"/>
                  </a:cubicBezTo>
                  <a:cubicBezTo>
                    <a:pt x="227647" y="1367790"/>
                    <a:pt x="220027" y="1360170"/>
                    <a:pt x="220027" y="1350645"/>
                  </a:cubicBezTo>
                  <a:cubicBezTo>
                    <a:pt x="220027" y="1341120"/>
                    <a:pt x="227647" y="1333500"/>
                    <a:pt x="237172" y="1333500"/>
                  </a:cubicBezTo>
                  <a:close/>
                  <a:moveTo>
                    <a:pt x="936308" y="1332547"/>
                  </a:moveTo>
                  <a:cubicBezTo>
                    <a:pt x="942023" y="1332547"/>
                    <a:pt x="946785" y="1337310"/>
                    <a:pt x="946785" y="1343025"/>
                  </a:cubicBezTo>
                  <a:cubicBezTo>
                    <a:pt x="946785" y="1348740"/>
                    <a:pt x="942023" y="1353502"/>
                    <a:pt x="936308" y="1353502"/>
                  </a:cubicBezTo>
                  <a:cubicBezTo>
                    <a:pt x="930593" y="1353502"/>
                    <a:pt x="926783" y="1348740"/>
                    <a:pt x="925830" y="1343025"/>
                  </a:cubicBezTo>
                  <a:cubicBezTo>
                    <a:pt x="925830" y="1337310"/>
                    <a:pt x="930593" y="1332547"/>
                    <a:pt x="936308" y="1332547"/>
                  </a:cubicBezTo>
                  <a:close/>
                  <a:moveTo>
                    <a:pt x="1806892" y="1331595"/>
                  </a:moveTo>
                  <a:cubicBezTo>
                    <a:pt x="1811655" y="1331595"/>
                    <a:pt x="1815465" y="1335405"/>
                    <a:pt x="1815465" y="1340167"/>
                  </a:cubicBezTo>
                  <a:cubicBezTo>
                    <a:pt x="1815465" y="1344930"/>
                    <a:pt x="1811655" y="1348740"/>
                    <a:pt x="1806892" y="1348740"/>
                  </a:cubicBezTo>
                  <a:cubicBezTo>
                    <a:pt x="1803083" y="1348740"/>
                    <a:pt x="1798320" y="1344930"/>
                    <a:pt x="1798320" y="1340167"/>
                  </a:cubicBezTo>
                  <a:cubicBezTo>
                    <a:pt x="1798320" y="1335405"/>
                    <a:pt x="1802130" y="1331595"/>
                    <a:pt x="1806892" y="1331595"/>
                  </a:cubicBezTo>
                  <a:close/>
                  <a:moveTo>
                    <a:pt x="493395" y="1330642"/>
                  </a:moveTo>
                  <a:cubicBezTo>
                    <a:pt x="502920" y="1330642"/>
                    <a:pt x="511493" y="1338262"/>
                    <a:pt x="511493" y="1348740"/>
                  </a:cubicBezTo>
                  <a:cubicBezTo>
                    <a:pt x="511493" y="1358265"/>
                    <a:pt x="503873" y="1366837"/>
                    <a:pt x="493395" y="1366837"/>
                  </a:cubicBezTo>
                  <a:cubicBezTo>
                    <a:pt x="482918" y="1366837"/>
                    <a:pt x="475298" y="1358265"/>
                    <a:pt x="475298" y="1348740"/>
                  </a:cubicBezTo>
                  <a:cubicBezTo>
                    <a:pt x="475298" y="1339215"/>
                    <a:pt x="482918" y="1330642"/>
                    <a:pt x="493395" y="1330642"/>
                  </a:cubicBezTo>
                  <a:close/>
                  <a:moveTo>
                    <a:pt x="143827" y="1330642"/>
                  </a:moveTo>
                  <a:cubicBezTo>
                    <a:pt x="144780" y="1330642"/>
                    <a:pt x="145732" y="1331595"/>
                    <a:pt x="145732" y="1332547"/>
                  </a:cubicBezTo>
                  <a:cubicBezTo>
                    <a:pt x="145732" y="1333500"/>
                    <a:pt x="144780" y="1334452"/>
                    <a:pt x="143827" y="1334452"/>
                  </a:cubicBezTo>
                  <a:cubicBezTo>
                    <a:pt x="142875" y="1334452"/>
                    <a:pt x="141922" y="1333500"/>
                    <a:pt x="141922" y="1332547"/>
                  </a:cubicBezTo>
                  <a:cubicBezTo>
                    <a:pt x="141922" y="1331595"/>
                    <a:pt x="142875" y="1330642"/>
                    <a:pt x="143827" y="1330642"/>
                  </a:cubicBezTo>
                  <a:close/>
                  <a:moveTo>
                    <a:pt x="1114426" y="1329690"/>
                  </a:moveTo>
                  <a:cubicBezTo>
                    <a:pt x="1117283" y="1329690"/>
                    <a:pt x="1119188" y="1331595"/>
                    <a:pt x="1119188" y="1334453"/>
                  </a:cubicBezTo>
                  <a:cubicBezTo>
                    <a:pt x="1119188" y="1337310"/>
                    <a:pt x="1117283" y="1339215"/>
                    <a:pt x="1114426" y="1339215"/>
                  </a:cubicBezTo>
                  <a:cubicBezTo>
                    <a:pt x="1112521" y="1339215"/>
                    <a:pt x="1109663" y="1337310"/>
                    <a:pt x="1109663" y="1334453"/>
                  </a:cubicBezTo>
                  <a:cubicBezTo>
                    <a:pt x="1109663" y="1331595"/>
                    <a:pt x="1111568" y="1329690"/>
                    <a:pt x="1114426" y="1329690"/>
                  </a:cubicBezTo>
                  <a:close/>
                  <a:moveTo>
                    <a:pt x="2025968" y="1326832"/>
                  </a:moveTo>
                  <a:cubicBezTo>
                    <a:pt x="2031683" y="1326832"/>
                    <a:pt x="2036445" y="1331595"/>
                    <a:pt x="2036445" y="1337309"/>
                  </a:cubicBezTo>
                  <a:cubicBezTo>
                    <a:pt x="2036445" y="1343024"/>
                    <a:pt x="2031683" y="1347787"/>
                    <a:pt x="2025968" y="1347787"/>
                  </a:cubicBezTo>
                  <a:cubicBezTo>
                    <a:pt x="2019300" y="1347787"/>
                    <a:pt x="2014538" y="1343024"/>
                    <a:pt x="2015490" y="1337309"/>
                  </a:cubicBezTo>
                  <a:cubicBezTo>
                    <a:pt x="2015490" y="1331595"/>
                    <a:pt x="2020253" y="1326832"/>
                    <a:pt x="2025968" y="1326832"/>
                  </a:cubicBezTo>
                  <a:close/>
                  <a:moveTo>
                    <a:pt x="1514475" y="1324927"/>
                  </a:moveTo>
                  <a:cubicBezTo>
                    <a:pt x="1516380" y="1324927"/>
                    <a:pt x="1518285" y="1326832"/>
                    <a:pt x="1518285" y="1328737"/>
                  </a:cubicBezTo>
                  <a:cubicBezTo>
                    <a:pt x="1518285" y="1330642"/>
                    <a:pt x="1516380" y="1332547"/>
                    <a:pt x="1514475" y="1332547"/>
                  </a:cubicBezTo>
                  <a:cubicBezTo>
                    <a:pt x="1512570" y="1332547"/>
                    <a:pt x="1510665" y="1330642"/>
                    <a:pt x="1510665" y="1328737"/>
                  </a:cubicBezTo>
                  <a:cubicBezTo>
                    <a:pt x="1510665" y="1326832"/>
                    <a:pt x="1512570" y="1324927"/>
                    <a:pt x="1514475" y="1324927"/>
                  </a:cubicBezTo>
                  <a:close/>
                  <a:moveTo>
                    <a:pt x="392431" y="1316355"/>
                  </a:moveTo>
                  <a:cubicBezTo>
                    <a:pt x="403478" y="1316355"/>
                    <a:pt x="412433" y="1325310"/>
                    <a:pt x="412433" y="1336358"/>
                  </a:cubicBezTo>
                  <a:cubicBezTo>
                    <a:pt x="412433" y="1347405"/>
                    <a:pt x="403478" y="1356360"/>
                    <a:pt x="392431" y="1356360"/>
                  </a:cubicBezTo>
                  <a:cubicBezTo>
                    <a:pt x="381383" y="1356360"/>
                    <a:pt x="372428" y="1347405"/>
                    <a:pt x="372428" y="1336358"/>
                  </a:cubicBezTo>
                  <a:cubicBezTo>
                    <a:pt x="372428" y="1325310"/>
                    <a:pt x="381383" y="1316355"/>
                    <a:pt x="392431" y="1316355"/>
                  </a:cubicBezTo>
                  <a:close/>
                  <a:moveTo>
                    <a:pt x="1941195" y="1314450"/>
                  </a:moveTo>
                  <a:cubicBezTo>
                    <a:pt x="1946909" y="1314450"/>
                    <a:pt x="1951672" y="1319213"/>
                    <a:pt x="1951672" y="1324928"/>
                  </a:cubicBezTo>
                  <a:cubicBezTo>
                    <a:pt x="1951672" y="1330642"/>
                    <a:pt x="1946909" y="1335405"/>
                    <a:pt x="1941195" y="1335405"/>
                  </a:cubicBezTo>
                  <a:cubicBezTo>
                    <a:pt x="1935480" y="1335405"/>
                    <a:pt x="1930717" y="1330642"/>
                    <a:pt x="1930717" y="1324928"/>
                  </a:cubicBezTo>
                  <a:cubicBezTo>
                    <a:pt x="1930717" y="1319213"/>
                    <a:pt x="1935480" y="1314450"/>
                    <a:pt x="1941195" y="1314450"/>
                  </a:cubicBezTo>
                  <a:close/>
                  <a:moveTo>
                    <a:pt x="1059180" y="1312545"/>
                  </a:moveTo>
                  <a:cubicBezTo>
                    <a:pt x="1062990" y="1312545"/>
                    <a:pt x="1066800" y="1316355"/>
                    <a:pt x="1066800" y="1320165"/>
                  </a:cubicBezTo>
                  <a:cubicBezTo>
                    <a:pt x="1066800" y="1323975"/>
                    <a:pt x="1062990" y="1327785"/>
                    <a:pt x="1059180" y="1327785"/>
                  </a:cubicBezTo>
                  <a:cubicBezTo>
                    <a:pt x="1054417" y="1327785"/>
                    <a:pt x="1051560" y="1323975"/>
                    <a:pt x="1051560" y="1320165"/>
                  </a:cubicBezTo>
                  <a:cubicBezTo>
                    <a:pt x="1051560" y="1316355"/>
                    <a:pt x="1055370" y="1312545"/>
                    <a:pt x="1059180" y="1312545"/>
                  </a:cubicBezTo>
                  <a:close/>
                  <a:moveTo>
                    <a:pt x="2226945" y="1311592"/>
                  </a:moveTo>
                  <a:cubicBezTo>
                    <a:pt x="2229049" y="1311592"/>
                    <a:pt x="2230755" y="1313298"/>
                    <a:pt x="2230755" y="1315402"/>
                  </a:cubicBezTo>
                  <a:cubicBezTo>
                    <a:pt x="2230755" y="1317506"/>
                    <a:pt x="2229049" y="1319212"/>
                    <a:pt x="2226945" y="1319212"/>
                  </a:cubicBezTo>
                  <a:cubicBezTo>
                    <a:pt x="2224841" y="1319212"/>
                    <a:pt x="2223135" y="1317506"/>
                    <a:pt x="2223135" y="1315402"/>
                  </a:cubicBezTo>
                  <a:cubicBezTo>
                    <a:pt x="2223135" y="1313298"/>
                    <a:pt x="2224841" y="1311592"/>
                    <a:pt x="2226945" y="1311592"/>
                  </a:cubicBezTo>
                  <a:close/>
                  <a:moveTo>
                    <a:pt x="1716405" y="1309687"/>
                  </a:moveTo>
                  <a:cubicBezTo>
                    <a:pt x="1721168" y="1309687"/>
                    <a:pt x="1724978" y="1313497"/>
                    <a:pt x="1724978" y="1318259"/>
                  </a:cubicBezTo>
                  <a:cubicBezTo>
                    <a:pt x="1724978" y="1323022"/>
                    <a:pt x="1721168" y="1326832"/>
                    <a:pt x="1716405" y="1326832"/>
                  </a:cubicBezTo>
                  <a:cubicBezTo>
                    <a:pt x="1711643" y="1326832"/>
                    <a:pt x="1707833" y="1323022"/>
                    <a:pt x="1707833" y="1318259"/>
                  </a:cubicBezTo>
                  <a:cubicBezTo>
                    <a:pt x="1707833" y="1313497"/>
                    <a:pt x="1711643" y="1309687"/>
                    <a:pt x="1716405" y="1309687"/>
                  </a:cubicBezTo>
                  <a:close/>
                  <a:moveTo>
                    <a:pt x="769620" y="1308734"/>
                  </a:moveTo>
                  <a:cubicBezTo>
                    <a:pt x="779145" y="1308734"/>
                    <a:pt x="785812" y="1316354"/>
                    <a:pt x="785812" y="1324927"/>
                  </a:cubicBezTo>
                  <a:cubicBezTo>
                    <a:pt x="785812" y="1334452"/>
                    <a:pt x="778192" y="1341119"/>
                    <a:pt x="769620" y="1341119"/>
                  </a:cubicBezTo>
                  <a:cubicBezTo>
                    <a:pt x="761047" y="1341119"/>
                    <a:pt x="753427" y="1333499"/>
                    <a:pt x="753427" y="1324927"/>
                  </a:cubicBezTo>
                  <a:cubicBezTo>
                    <a:pt x="753427" y="1315402"/>
                    <a:pt x="761047" y="1308734"/>
                    <a:pt x="769620" y="1308734"/>
                  </a:cubicBezTo>
                  <a:close/>
                  <a:moveTo>
                    <a:pt x="1569721" y="1306829"/>
                  </a:moveTo>
                  <a:cubicBezTo>
                    <a:pt x="1572578" y="1306829"/>
                    <a:pt x="1574483" y="1308734"/>
                    <a:pt x="1574483" y="1311592"/>
                  </a:cubicBezTo>
                  <a:cubicBezTo>
                    <a:pt x="1574483" y="1314449"/>
                    <a:pt x="1572578" y="1316354"/>
                    <a:pt x="1569721" y="1316354"/>
                  </a:cubicBezTo>
                  <a:cubicBezTo>
                    <a:pt x="1566863" y="1316354"/>
                    <a:pt x="1564958" y="1314449"/>
                    <a:pt x="1564958" y="1311592"/>
                  </a:cubicBezTo>
                  <a:cubicBezTo>
                    <a:pt x="1564958" y="1308734"/>
                    <a:pt x="1566863" y="1306829"/>
                    <a:pt x="1569721" y="1306829"/>
                  </a:cubicBezTo>
                  <a:close/>
                  <a:moveTo>
                    <a:pt x="660083" y="1306829"/>
                  </a:moveTo>
                  <a:cubicBezTo>
                    <a:pt x="669608" y="1306829"/>
                    <a:pt x="677228" y="1314449"/>
                    <a:pt x="677228" y="1323974"/>
                  </a:cubicBezTo>
                  <a:cubicBezTo>
                    <a:pt x="677228" y="1333499"/>
                    <a:pt x="669608" y="1341119"/>
                    <a:pt x="660083" y="1341119"/>
                  </a:cubicBezTo>
                  <a:cubicBezTo>
                    <a:pt x="650558" y="1341119"/>
                    <a:pt x="642938" y="1333499"/>
                    <a:pt x="642938" y="1323974"/>
                  </a:cubicBezTo>
                  <a:cubicBezTo>
                    <a:pt x="642938" y="1314449"/>
                    <a:pt x="650558" y="1306829"/>
                    <a:pt x="660083" y="1306829"/>
                  </a:cubicBezTo>
                  <a:close/>
                  <a:moveTo>
                    <a:pt x="884872" y="1303972"/>
                  </a:moveTo>
                  <a:cubicBezTo>
                    <a:pt x="892492" y="1303972"/>
                    <a:pt x="899160" y="1309687"/>
                    <a:pt x="899160" y="1318260"/>
                  </a:cubicBezTo>
                  <a:cubicBezTo>
                    <a:pt x="899160" y="1325880"/>
                    <a:pt x="893445" y="1332547"/>
                    <a:pt x="884872" y="1332547"/>
                  </a:cubicBezTo>
                  <a:cubicBezTo>
                    <a:pt x="876300" y="1332547"/>
                    <a:pt x="869632" y="1325880"/>
                    <a:pt x="870585" y="1318260"/>
                  </a:cubicBezTo>
                  <a:cubicBezTo>
                    <a:pt x="870585" y="1310640"/>
                    <a:pt x="876300" y="1303972"/>
                    <a:pt x="884872" y="1303972"/>
                  </a:cubicBezTo>
                  <a:close/>
                  <a:moveTo>
                    <a:pt x="296228" y="1301115"/>
                  </a:moveTo>
                  <a:cubicBezTo>
                    <a:pt x="307658" y="1301115"/>
                    <a:pt x="317183" y="1310640"/>
                    <a:pt x="317183" y="1322070"/>
                  </a:cubicBezTo>
                  <a:cubicBezTo>
                    <a:pt x="317183" y="1333500"/>
                    <a:pt x="307658" y="1343025"/>
                    <a:pt x="296228" y="1343025"/>
                  </a:cubicBezTo>
                  <a:cubicBezTo>
                    <a:pt x="284798" y="1343025"/>
                    <a:pt x="275273" y="1333500"/>
                    <a:pt x="275273" y="1322070"/>
                  </a:cubicBezTo>
                  <a:cubicBezTo>
                    <a:pt x="275273" y="1310640"/>
                    <a:pt x="284798" y="1301115"/>
                    <a:pt x="296228" y="1301115"/>
                  </a:cubicBezTo>
                  <a:close/>
                  <a:moveTo>
                    <a:pt x="554355" y="1300162"/>
                  </a:moveTo>
                  <a:cubicBezTo>
                    <a:pt x="563880" y="1300162"/>
                    <a:pt x="572453" y="1307782"/>
                    <a:pt x="572453" y="1318259"/>
                  </a:cubicBezTo>
                  <a:cubicBezTo>
                    <a:pt x="572453" y="1327784"/>
                    <a:pt x="564833" y="1336357"/>
                    <a:pt x="554355" y="1336357"/>
                  </a:cubicBezTo>
                  <a:cubicBezTo>
                    <a:pt x="543878" y="1336357"/>
                    <a:pt x="536258" y="1327784"/>
                    <a:pt x="536258" y="1318259"/>
                  </a:cubicBezTo>
                  <a:cubicBezTo>
                    <a:pt x="536258" y="1308734"/>
                    <a:pt x="544830" y="1300162"/>
                    <a:pt x="554355" y="1300162"/>
                  </a:cubicBezTo>
                  <a:close/>
                  <a:moveTo>
                    <a:pt x="1855470" y="1299209"/>
                  </a:moveTo>
                  <a:cubicBezTo>
                    <a:pt x="1860232" y="1299209"/>
                    <a:pt x="1864042" y="1303019"/>
                    <a:pt x="1864042" y="1307782"/>
                  </a:cubicBezTo>
                  <a:cubicBezTo>
                    <a:pt x="1864042" y="1312544"/>
                    <a:pt x="1860232" y="1316354"/>
                    <a:pt x="1855470" y="1316354"/>
                  </a:cubicBezTo>
                  <a:cubicBezTo>
                    <a:pt x="1850707" y="1316354"/>
                    <a:pt x="1846897" y="1313497"/>
                    <a:pt x="1846897" y="1307782"/>
                  </a:cubicBezTo>
                  <a:cubicBezTo>
                    <a:pt x="1846897" y="1303019"/>
                    <a:pt x="1850707" y="1299209"/>
                    <a:pt x="1855470" y="1299209"/>
                  </a:cubicBezTo>
                  <a:close/>
                  <a:moveTo>
                    <a:pt x="2147888" y="1296352"/>
                  </a:moveTo>
                  <a:cubicBezTo>
                    <a:pt x="2153603" y="1296352"/>
                    <a:pt x="2159318" y="1301115"/>
                    <a:pt x="2159318" y="1307782"/>
                  </a:cubicBezTo>
                  <a:cubicBezTo>
                    <a:pt x="2159318" y="1313497"/>
                    <a:pt x="2154555" y="1319212"/>
                    <a:pt x="2147888" y="1319212"/>
                  </a:cubicBezTo>
                  <a:cubicBezTo>
                    <a:pt x="2142173" y="1319212"/>
                    <a:pt x="2136458" y="1313497"/>
                    <a:pt x="2136458" y="1307782"/>
                  </a:cubicBezTo>
                  <a:cubicBezTo>
                    <a:pt x="2136458" y="1302067"/>
                    <a:pt x="2141221" y="1296352"/>
                    <a:pt x="2147888" y="1296352"/>
                  </a:cubicBezTo>
                  <a:close/>
                  <a:moveTo>
                    <a:pt x="1003935" y="1291590"/>
                  </a:moveTo>
                  <a:cubicBezTo>
                    <a:pt x="1009650" y="1291590"/>
                    <a:pt x="1013460" y="1295400"/>
                    <a:pt x="1013460" y="1301115"/>
                  </a:cubicBezTo>
                  <a:cubicBezTo>
                    <a:pt x="1013460" y="1306830"/>
                    <a:pt x="1008698" y="1310640"/>
                    <a:pt x="1003935" y="1310640"/>
                  </a:cubicBezTo>
                  <a:cubicBezTo>
                    <a:pt x="999173" y="1310640"/>
                    <a:pt x="994410" y="1306830"/>
                    <a:pt x="994410" y="1301115"/>
                  </a:cubicBezTo>
                  <a:cubicBezTo>
                    <a:pt x="994410" y="1295400"/>
                    <a:pt x="999173" y="1291590"/>
                    <a:pt x="1003935" y="1291590"/>
                  </a:cubicBezTo>
                  <a:close/>
                  <a:moveTo>
                    <a:pt x="2067878" y="1289684"/>
                  </a:moveTo>
                  <a:cubicBezTo>
                    <a:pt x="2072640" y="1289684"/>
                    <a:pt x="2076450" y="1293494"/>
                    <a:pt x="2076450" y="1298257"/>
                  </a:cubicBezTo>
                  <a:cubicBezTo>
                    <a:pt x="2076450" y="1303019"/>
                    <a:pt x="2072640" y="1306829"/>
                    <a:pt x="2067878" y="1306829"/>
                  </a:cubicBezTo>
                  <a:cubicBezTo>
                    <a:pt x="2063115" y="1306829"/>
                    <a:pt x="2059305" y="1303019"/>
                    <a:pt x="2059305" y="1298257"/>
                  </a:cubicBezTo>
                  <a:cubicBezTo>
                    <a:pt x="2059305" y="1293494"/>
                    <a:pt x="2063115" y="1289684"/>
                    <a:pt x="2067878" y="1289684"/>
                  </a:cubicBezTo>
                  <a:close/>
                  <a:moveTo>
                    <a:pt x="452438" y="1289684"/>
                  </a:moveTo>
                  <a:cubicBezTo>
                    <a:pt x="461963" y="1289684"/>
                    <a:pt x="470535" y="1297304"/>
                    <a:pt x="470535" y="1307782"/>
                  </a:cubicBezTo>
                  <a:cubicBezTo>
                    <a:pt x="470535" y="1317307"/>
                    <a:pt x="462915" y="1325879"/>
                    <a:pt x="452438" y="1325879"/>
                  </a:cubicBezTo>
                  <a:cubicBezTo>
                    <a:pt x="442913" y="1325879"/>
                    <a:pt x="434340" y="1317307"/>
                    <a:pt x="434340" y="1307782"/>
                  </a:cubicBezTo>
                  <a:cubicBezTo>
                    <a:pt x="434340" y="1298257"/>
                    <a:pt x="441960" y="1289684"/>
                    <a:pt x="452438" y="1289684"/>
                  </a:cubicBezTo>
                  <a:close/>
                  <a:moveTo>
                    <a:pt x="1300163" y="1288732"/>
                  </a:moveTo>
                  <a:cubicBezTo>
                    <a:pt x="1302068" y="1288732"/>
                    <a:pt x="1303020" y="1290637"/>
                    <a:pt x="1303020" y="1291590"/>
                  </a:cubicBezTo>
                  <a:cubicBezTo>
                    <a:pt x="1303020" y="1293495"/>
                    <a:pt x="1301115" y="1294447"/>
                    <a:pt x="1300163" y="1294447"/>
                  </a:cubicBezTo>
                  <a:cubicBezTo>
                    <a:pt x="1299210" y="1294447"/>
                    <a:pt x="1298258" y="1293495"/>
                    <a:pt x="1297305" y="1291590"/>
                  </a:cubicBezTo>
                  <a:cubicBezTo>
                    <a:pt x="1297305" y="1289684"/>
                    <a:pt x="1298258" y="1288732"/>
                    <a:pt x="1300163" y="1288732"/>
                  </a:cubicBezTo>
                  <a:close/>
                  <a:moveTo>
                    <a:pt x="201930" y="1286827"/>
                  </a:moveTo>
                  <a:cubicBezTo>
                    <a:pt x="211455" y="1286827"/>
                    <a:pt x="219075" y="1294447"/>
                    <a:pt x="219075" y="1303972"/>
                  </a:cubicBezTo>
                  <a:cubicBezTo>
                    <a:pt x="219075" y="1313497"/>
                    <a:pt x="211455" y="1321117"/>
                    <a:pt x="201930" y="1321117"/>
                  </a:cubicBezTo>
                  <a:cubicBezTo>
                    <a:pt x="193357" y="1321117"/>
                    <a:pt x="185738" y="1313497"/>
                    <a:pt x="184785" y="1303972"/>
                  </a:cubicBezTo>
                  <a:cubicBezTo>
                    <a:pt x="184785" y="1294447"/>
                    <a:pt x="192405" y="1286827"/>
                    <a:pt x="201930" y="1286827"/>
                  </a:cubicBezTo>
                  <a:close/>
                  <a:moveTo>
                    <a:pt x="1623060" y="1285875"/>
                  </a:moveTo>
                  <a:cubicBezTo>
                    <a:pt x="1625917" y="1285875"/>
                    <a:pt x="1627822" y="1287780"/>
                    <a:pt x="1627822" y="1290638"/>
                  </a:cubicBezTo>
                  <a:cubicBezTo>
                    <a:pt x="1627822" y="1293495"/>
                    <a:pt x="1625917" y="1295400"/>
                    <a:pt x="1623060" y="1295400"/>
                  </a:cubicBezTo>
                  <a:cubicBezTo>
                    <a:pt x="1621155" y="1295400"/>
                    <a:pt x="1619250" y="1293495"/>
                    <a:pt x="1618297" y="1290638"/>
                  </a:cubicBezTo>
                  <a:cubicBezTo>
                    <a:pt x="1618297" y="1287780"/>
                    <a:pt x="1620202" y="1285875"/>
                    <a:pt x="1623060" y="1285875"/>
                  </a:cubicBezTo>
                  <a:close/>
                  <a:moveTo>
                    <a:pt x="1358266" y="1285875"/>
                  </a:moveTo>
                  <a:cubicBezTo>
                    <a:pt x="1360171" y="1285875"/>
                    <a:pt x="1361123" y="1287780"/>
                    <a:pt x="1361123" y="1288733"/>
                  </a:cubicBezTo>
                  <a:cubicBezTo>
                    <a:pt x="1361123" y="1290638"/>
                    <a:pt x="1360171" y="1291590"/>
                    <a:pt x="1358266" y="1291590"/>
                  </a:cubicBezTo>
                  <a:cubicBezTo>
                    <a:pt x="1356360" y="1291590"/>
                    <a:pt x="1355408" y="1290638"/>
                    <a:pt x="1355408" y="1288733"/>
                  </a:cubicBezTo>
                  <a:cubicBezTo>
                    <a:pt x="1355408" y="1286828"/>
                    <a:pt x="1357313" y="1285875"/>
                    <a:pt x="1358266" y="1285875"/>
                  </a:cubicBezTo>
                  <a:close/>
                  <a:moveTo>
                    <a:pt x="1243013" y="1285875"/>
                  </a:moveTo>
                  <a:cubicBezTo>
                    <a:pt x="1244918" y="1285875"/>
                    <a:pt x="1246823" y="1287780"/>
                    <a:pt x="1246823" y="1289685"/>
                  </a:cubicBezTo>
                  <a:cubicBezTo>
                    <a:pt x="1246823" y="1291590"/>
                    <a:pt x="1244918" y="1293495"/>
                    <a:pt x="1243013" y="1293495"/>
                  </a:cubicBezTo>
                  <a:cubicBezTo>
                    <a:pt x="1241108" y="1293495"/>
                    <a:pt x="1239203" y="1291590"/>
                    <a:pt x="1239203" y="1289685"/>
                  </a:cubicBezTo>
                  <a:cubicBezTo>
                    <a:pt x="1239203" y="1287780"/>
                    <a:pt x="1241108" y="1285875"/>
                    <a:pt x="1243013" y="1285875"/>
                  </a:cubicBezTo>
                  <a:close/>
                  <a:moveTo>
                    <a:pt x="1766888" y="1283017"/>
                  </a:moveTo>
                  <a:cubicBezTo>
                    <a:pt x="1770570" y="1283017"/>
                    <a:pt x="1773555" y="1286002"/>
                    <a:pt x="1773555" y="1289684"/>
                  </a:cubicBezTo>
                  <a:cubicBezTo>
                    <a:pt x="1773555" y="1293367"/>
                    <a:pt x="1770570" y="1296352"/>
                    <a:pt x="1766888" y="1296352"/>
                  </a:cubicBezTo>
                  <a:cubicBezTo>
                    <a:pt x="1763205" y="1296352"/>
                    <a:pt x="1760220" y="1293367"/>
                    <a:pt x="1760220" y="1289684"/>
                  </a:cubicBezTo>
                  <a:cubicBezTo>
                    <a:pt x="1760220" y="1286002"/>
                    <a:pt x="1763205" y="1283017"/>
                    <a:pt x="1766888" y="1283017"/>
                  </a:cubicBezTo>
                  <a:close/>
                  <a:moveTo>
                    <a:pt x="1985962" y="1281112"/>
                  </a:moveTo>
                  <a:cubicBezTo>
                    <a:pt x="1988820" y="1281112"/>
                    <a:pt x="1991677" y="1283970"/>
                    <a:pt x="1991677" y="1286827"/>
                  </a:cubicBezTo>
                  <a:cubicBezTo>
                    <a:pt x="1991677" y="1290637"/>
                    <a:pt x="1988820" y="1292542"/>
                    <a:pt x="1985962" y="1292542"/>
                  </a:cubicBezTo>
                  <a:cubicBezTo>
                    <a:pt x="1982152" y="1292542"/>
                    <a:pt x="1980247" y="1289684"/>
                    <a:pt x="1980247" y="1286827"/>
                  </a:cubicBezTo>
                  <a:cubicBezTo>
                    <a:pt x="1980247" y="1283970"/>
                    <a:pt x="1983105" y="1281112"/>
                    <a:pt x="1985962" y="1281112"/>
                  </a:cubicBezTo>
                  <a:close/>
                  <a:moveTo>
                    <a:pt x="1185863" y="1280159"/>
                  </a:moveTo>
                  <a:cubicBezTo>
                    <a:pt x="1186815" y="1280159"/>
                    <a:pt x="1188720" y="1281112"/>
                    <a:pt x="1188720" y="1283017"/>
                  </a:cubicBezTo>
                  <a:cubicBezTo>
                    <a:pt x="1188720" y="1283969"/>
                    <a:pt x="1187768" y="1285874"/>
                    <a:pt x="1185863" y="1285874"/>
                  </a:cubicBezTo>
                  <a:cubicBezTo>
                    <a:pt x="1183958" y="1285874"/>
                    <a:pt x="1182053" y="1284922"/>
                    <a:pt x="1183005" y="1283017"/>
                  </a:cubicBezTo>
                  <a:cubicBezTo>
                    <a:pt x="1183005" y="1282064"/>
                    <a:pt x="1183958" y="1280159"/>
                    <a:pt x="1185863" y="1280159"/>
                  </a:cubicBezTo>
                  <a:close/>
                  <a:moveTo>
                    <a:pt x="1415415" y="1279207"/>
                  </a:moveTo>
                  <a:cubicBezTo>
                    <a:pt x="1417320" y="1279207"/>
                    <a:pt x="1419225" y="1281112"/>
                    <a:pt x="1419225" y="1283017"/>
                  </a:cubicBezTo>
                  <a:cubicBezTo>
                    <a:pt x="1419225" y="1284922"/>
                    <a:pt x="1417320" y="1286827"/>
                    <a:pt x="1415415" y="1286827"/>
                  </a:cubicBezTo>
                  <a:cubicBezTo>
                    <a:pt x="1413510" y="1286827"/>
                    <a:pt x="1411605" y="1284922"/>
                    <a:pt x="1411605" y="1283017"/>
                  </a:cubicBezTo>
                  <a:cubicBezTo>
                    <a:pt x="1411605" y="1281112"/>
                    <a:pt x="1413510" y="1279207"/>
                    <a:pt x="1415415" y="1279207"/>
                  </a:cubicBezTo>
                  <a:close/>
                  <a:moveTo>
                    <a:pt x="834390" y="1278254"/>
                  </a:moveTo>
                  <a:cubicBezTo>
                    <a:pt x="841058" y="1278254"/>
                    <a:pt x="846773" y="1283969"/>
                    <a:pt x="846773" y="1290637"/>
                  </a:cubicBezTo>
                  <a:cubicBezTo>
                    <a:pt x="846773" y="1297304"/>
                    <a:pt x="841058" y="1303019"/>
                    <a:pt x="834390" y="1303019"/>
                  </a:cubicBezTo>
                  <a:cubicBezTo>
                    <a:pt x="826770" y="1303019"/>
                    <a:pt x="821055" y="1297304"/>
                    <a:pt x="822008" y="1290637"/>
                  </a:cubicBezTo>
                  <a:cubicBezTo>
                    <a:pt x="822008" y="1283969"/>
                    <a:pt x="827723" y="1278254"/>
                    <a:pt x="834390" y="1278254"/>
                  </a:cubicBezTo>
                  <a:close/>
                  <a:moveTo>
                    <a:pt x="722948" y="1277302"/>
                  </a:moveTo>
                  <a:cubicBezTo>
                    <a:pt x="730838" y="1277302"/>
                    <a:pt x="737235" y="1283699"/>
                    <a:pt x="737235" y="1291590"/>
                  </a:cubicBezTo>
                  <a:cubicBezTo>
                    <a:pt x="737235" y="1299480"/>
                    <a:pt x="730838" y="1305877"/>
                    <a:pt x="722948" y="1305877"/>
                  </a:cubicBezTo>
                  <a:cubicBezTo>
                    <a:pt x="715057" y="1305877"/>
                    <a:pt x="708660" y="1299480"/>
                    <a:pt x="708660" y="1291590"/>
                  </a:cubicBezTo>
                  <a:cubicBezTo>
                    <a:pt x="708660" y="1283699"/>
                    <a:pt x="715057" y="1277302"/>
                    <a:pt x="722948" y="1277302"/>
                  </a:cubicBezTo>
                  <a:close/>
                  <a:moveTo>
                    <a:pt x="951547" y="1271587"/>
                  </a:moveTo>
                  <a:cubicBezTo>
                    <a:pt x="955357" y="1271587"/>
                    <a:pt x="959167" y="1275397"/>
                    <a:pt x="959167" y="1279207"/>
                  </a:cubicBezTo>
                  <a:cubicBezTo>
                    <a:pt x="959167" y="1283017"/>
                    <a:pt x="955357" y="1286827"/>
                    <a:pt x="951547" y="1286827"/>
                  </a:cubicBezTo>
                  <a:cubicBezTo>
                    <a:pt x="946785" y="1286827"/>
                    <a:pt x="943927" y="1283017"/>
                    <a:pt x="943927" y="1279207"/>
                  </a:cubicBezTo>
                  <a:cubicBezTo>
                    <a:pt x="943927" y="1275397"/>
                    <a:pt x="947737" y="1271587"/>
                    <a:pt x="951547" y="1271587"/>
                  </a:cubicBezTo>
                  <a:close/>
                  <a:moveTo>
                    <a:pt x="355283" y="1271587"/>
                  </a:moveTo>
                  <a:cubicBezTo>
                    <a:pt x="366856" y="1271587"/>
                    <a:pt x="376238" y="1280969"/>
                    <a:pt x="376238" y="1292542"/>
                  </a:cubicBezTo>
                  <a:cubicBezTo>
                    <a:pt x="376238" y="1304115"/>
                    <a:pt x="366856" y="1313497"/>
                    <a:pt x="355283" y="1313497"/>
                  </a:cubicBezTo>
                  <a:cubicBezTo>
                    <a:pt x="343710" y="1313497"/>
                    <a:pt x="334328" y="1304115"/>
                    <a:pt x="334328" y="1292542"/>
                  </a:cubicBezTo>
                  <a:cubicBezTo>
                    <a:pt x="334328" y="1280969"/>
                    <a:pt x="343710" y="1271587"/>
                    <a:pt x="355283" y="1271587"/>
                  </a:cubicBezTo>
                  <a:close/>
                  <a:moveTo>
                    <a:pt x="615315" y="1268730"/>
                  </a:moveTo>
                  <a:cubicBezTo>
                    <a:pt x="625310" y="1268730"/>
                    <a:pt x="633413" y="1276833"/>
                    <a:pt x="633413" y="1286828"/>
                  </a:cubicBezTo>
                  <a:cubicBezTo>
                    <a:pt x="633413" y="1296823"/>
                    <a:pt x="625310" y="1304925"/>
                    <a:pt x="615315" y="1304925"/>
                  </a:cubicBezTo>
                  <a:cubicBezTo>
                    <a:pt x="605321" y="1304925"/>
                    <a:pt x="597218" y="1296822"/>
                    <a:pt x="597218" y="1286828"/>
                  </a:cubicBezTo>
                  <a:cubicBezTo>
                    <a:pt x="597218" y="1276833"/>
                    <a:pt x="605321" y="1268730"/>
                    <a:pt x="615315" y="1268730"/>
                  </a:cubicBezTo>
                  <a:close/>
                  <a:moveTo>
                    <a:pt x="1901190" y="1268729"/>
                  </a:moveTo>
                  <a:cubicBezTo>
                    <a:pt x="1904047" y="1268729"/>
                    <a:pt x="1906905" y="1271587"/>
                    <a:pt x="1906905" y="1274444"/>
                  </a:cubicBezTo>
                  <a:cubicBezTo>
                    <a:pt x="1906905" y="1277302"/>
                    <a:pt x="1904047" y="1280159"/>
                    <a:pt x="1901190" y="1280159"/>
                  </a:cubicBezTo>
                  <a:cubicBezTo>
                    <a:pt x="1898333" y="1280159"/>
                    <a:pt x="1895475" y="1277302"/>
                    <a:pt x="1895475" y="1274444"/>
                  </a:cubicBezTo>
                  <a:cubicBezTo>
                    <a:pt x="1895475" y="1271587"/>
                    <a:pt x="1898333" y="1268729"/>
                    <a:pt x="1901190" y="1268729"/>
                  </a:cubicBezTo>
                  <a:close/>
                  <a:moveTo>
                    <a:pt x="1128712" y="1268729"/>
                  </a:moveTo>
                  <a:cubicBezTo>
                    <a:pt x="1130617" y="1268729"/>
                    <a:pt x="1132522" y="1270634"/>
                    <a:pt x="1132522" y="1272539"/>
                  </a:cubicBezTo>
                  <a:cubicBezTo>
                    <a:pt x="1132522" y="1274444"/>
                    <a:pt x="1130617" y="1276349"/>
                    <a:pt x="1128712" y="1276349"/>
                  </a:cubicBezTo>
                  <a:cubicBezTo>
                    <a:pt x="1126807" y="1276349"/>
                    <a:pt x="1124902" y="1274444"/>
                    <a:pt x="1124902" y="1272539"/>
                  </a:cubicBezTo>
                  <a:cubicBezTo>
                    <a:pt x="1124902" y="1270634"/>
                    <a:pt x="1126807" y="1268729"/>
                    <a:pt x="1128712" y="1268729"/>
                  </a:cubicBezTo>
                  <a:close/>
                  <a:moveTo>
                    <a:pt x="2264093" y="1267777"/>
                  </a:moveTo>
                  <a:cubicBezTo>
                    <a:pt x="2265046" y="1267777"/>
                    <a:pt x="2265998" y="1268729"/>
                    <a:pt x="2265998" y="1269682"/>
                  </a:cubicBezTo>
                  <a:cubicBezTo>
                    <a:pt x="2265998" y="1270634"/>
                    <a:pt x="2265046" y="1271587"/>
                    <a:pt x="2264093" y="1271587"/>
                  </a:cubicBezTo>
                  <a:cubicBezTo>
                    <a:pt x="2263141" y="1271587"/>
                    <a:pt x="2262188" y="1271587"/>
                    <a:pt x="2262188" y="1269682"/>
                  </a:cubicBezTo>
                  <a:cubicBezTo>
                    <a:pt x="2262188" y="1268729"/>
                    <a:pt x="2263141" y="1267777"/>
                    <a:pt x="2264093" y="1267777"/>
                  </a:cubicBezTo>
                  <a:close/>
                  <a:moveTo>
                    <a:pt x="1472565" y="1267777"/>
                  </a:moveTo>
                  <a:cubicBezTo>
                    <a:pt x="1474470" y="1267777"/>
                    <a:pt x="1476375" y="1269682"/>
                    <a:pt x="1476375" y="1271587"/>
                  </a:cubicBezTo>
                  <a:cubicBezTo>
                    <a:pt x="1476375" y="1273492"/>
                    <a:pt x="1474470" y="1275397"/>
                    <a:pt x="1472565" y="1275397"/>
                  </a:cubicBezTo>
                  <a:cubicBezTo>
                    <a:pt x="1470660" y="1275397"/>
                    <a:pt x="1468755" y="1274444"/>
                    <a:pt x="1468755" y="1271587"/>
                  </a:cubicBezTo>
                  <a:cubicBezTo>
                    <a:pt x="1468755" y="1269682"/>
                    <a:pt x="1470660" y="1267777"/>
                    <a:pt x="1472565" y="1267777"/>
                  </a:cubicBezTo>
                  <a:close/>
                  <a:moveTo>
                    <a:pt x="1675447" y="1260157"/>
                  </a:moveTo>
                  <a:cubicBezTo>
                    <a:pt x="1679258" y="1260157"/>
                    <a:pt x="1682115" y="1263015"/>
                    <a:pt x="1682115" y="1266824"/>
                  </a:cubicBezTo>
                  <a:cubicBezTo>
                    <a:pt x="1682115" y="1270634"/>
                    <a:pt x="1679258" y="1273492"/>
                    <a:pt x="1675447" y="1273492"/>
                  </a:cubicBezTo>
                  <a:cubicBezTo>
                    <a:pt x="1671638" y="1273492"/>
                    <a:pt x="1668780" y="1270634"/>
                    <a:pt x="1668780" y="1266824"/>
                  </a:cubicBezTo>
                  <a:cubicBezTo>
                    <a:pt x="1668780" y="1263015"/>
                    <a:pt x="1671638" y="1260157"/>
                    <a:pt x="1675447" y="1260157"/>
                  </a:cubicBezTo>
                  <a:close/>
                  <a:moveTo>
                    <a:pt x="513398" y="1260157"/>
                  </a:moveTo>
                  <a:cubicBezTo>
                    <a:pt x="522923" y="1260157"/>
                    <a:pt x="531495" y="1267777"/>
                    <a:pt x="531495" y="1278254"/>
                  </a:cubicBezTo>
                  <a:cubicBezTo>
                    <a:pt x="531495" y="1287779"/>
                    <a:pt x="523875" y="1296352"/>
                    <a:pt x="513398" y="1296352"/>
                  </a:cubicBezTo>
                  <a:cubicBezTo>
                    <a:pt x="502920" y="1296352"/>
                    <a:pt x="494348" y="1287779"/>
                    <a:pt x="495300" y="1278254"/>
                  </a:cubicBezTo>
                  <a:cubicBezTo>
                    <a:pt x="495300" y="1268729"/>
                    <a:pt x="502920" y="1260157"/>
                    <a:pt x="513398" y="1260157"/>
                  </a:cubicBezTo>
                  <a:close/>
                  <a:moveTo>
                    <a:pt x="2185987" y="1255395"/>
                  </a:moveTo>
                  <a:cubicBezTo>
                    <a:pt x="2190750" y="1255395"/>
                    <a:pt x="2194560" y="1259205"/>
                    <a:pt x="2194560" y="1263967"/>
                  </a:cubicBezTo>
                  <a:cubicBezTo>
                    <a:pt x="2194560" y="1268730"/>
                    <a:pt x="2190750" y="1272540"/>
                    <a:pt x="2185987" y="1272540"/>
                  </a:cubicBezTo>
                  <a:cubicBezTo>
                    <a:pt x="2181225" y="1272540"/>
                    <a:pt x="2177415" y="1268730"/>
                    <a:pt x="2177415" y="1263967"/>
                  </a:cubicBezTo>
                  <a:cubicBezTo>
                    <a:pt x="2177415" y="1259205"/>
                    <a:pt x="2181225" y="1255395"/>
                    <a:pt x="2185987" y="1255395"/>
                  </a:cubicBezTo>
                  <a:close/>
                  <a:moveTo>
                    <a:pt x="260985" y="1255395"/>
                  </a:moveTo>
                  <a:cubicBezTo>
                    <a:pt x="272415" y="1255395"/>
                    <a:pt x="281940" y="1264920"/>
                    <a:pt x="281940" y="1276350"/>
                  </a:cubicBezTo>
                  <a:cubicBezTo>
                    <a:pt x="281940" y="1287780"/>
                    <a:pt x="272415" y="1297305"/>
                    <a:pt x="260985" y="1297305"/>
                  </a:cubicBezTo>
                  <a:cubicBezTo>
                    <a:pt x="249555" y="1297305"/>
                    <a:pt x="240030" y="1287780"/>
                    <a:pt x="240030" y="1276350"/>
                  </a:cubicBezTo>
                  <a:cubicBezTo>
                    <a:pt x="240030" y="1264920"/>
                    <a:pt x="249555" y="1255395"/>
                    <a:pt x="260985" y="1255395"/>
                  </a:cubicBezTo>
                  <a:close/>
                  <a:moveTo>
                    <a:pt x="1527810" y="1254442"/>
                  </a:moveTo>
                  <a:cubicBezTo>
                    <a:pt x="1529716" y="1254442"/>
                    <a:pt x="1530668" y="1255395"/>
                    <a:pt x="1530668" y="1257300"/>
                  </a:cubicBezTo>
                  <a:cubicBezTo>
                    <a:pt x="1530668" y="1259205"/>
                    <a:pt x="1529716" y="1260157"/>
                    <a:pt x="1527810" y="1260157"/>
                  </a:cubicBezTo>
                  <a:cubicBezTo>
                    <a:pt x="1525905" y="1260157"/>
                    <a:pt x="1524953" y="1259205"/>
                    <a:pt x="1524953" y="1257300"/>
                  </a:cubicBezTo>
                  <a:cubicBezTo>
                    <a:pt x="1524953" y="1255395"/>
                    <a:pt x="1525905" y="1254442"/>
                    <a:pt x="1527810" y="1254442"/>
                  </a:cubicBezTo>
                  <a:close/>
                  <a:moveTo>
                    <a:pt x="1815466" y="1253490"/>
                  </a:moveTo>
                  <a:cubicBezTo>
                    <a:pt x="1818323" y="1253490"/>
                    <a:pt x="1820228" y="1255395"/>
                    <a:pt x="1820228" y="1258253"/>
                  </a:cubicBezTo>
                  <a:cubicBezTo>
                    <a:pt x="1820228" y="1261110"/>
                    <a:pt x="1818323" y="1263015"/>
                    <a:pt x="1815466" y="1263015"/>
                  </a:cubicBezTo>
                  <a:cubicBezTo>
                    <a:pt x="1812608" y="1263015"/>
                    <a:pt x="1810703" y="1261110"/>
                    <a:pt x="1810703" y="1258253"/>
                  </a:cubicBezTo>
                  <a:cubicBezTo>
                    <a:pt x="1810703" y="1255395"/>
                    <a:pt x="1812608" y="1253490"/>
                    <a:pt x="1815466" y="1253490"/>
                  </a:cubicBezTo>
                  <a:close/>
                  <a:moveTo>
                    <a:pt x="1073467" y="1251584"/>
                  </a:moveTo>
                  <a:cubicBezTo>
                    <a:pt x="1076325" y="1251584"/>
                    <a:pt x="1079182" y="1254442"/>
                    <a:pt x="1079182" y="1257299"/>
                  </a:cubicBezTo>
                  <a:cubicBezTo>
                    <a:pt x="1079182" y="1260157"/>
                    <a:pt x="1076325" y="1263014"/>
                    <a:pt x="1073467" y="1263014"/>
                  </a:cubicBezTo>
                  <a:cubicBezTo>
                    <a:pt x="1070610" y="1263014"/>
                    <a:pt x="1067752" y="1260157"/>
                    <a:pt x="1067752" y="1257299"/>
                  </a:cubicBezTo>
                  <a:cubicBezTo>
                    <a:pt x="1067752" y="1254442"/>
                    <a:pt x="1070610" y="1251584"/>
                    <a:pt x="1073467" y="1251584"/>
                  </a:cubicBezTo>
                  <a:close/>
                  <a:moveTo>
                    <a:pt x="2107883" y="1247775"/>
                  </a:moveTo>
                  <a:cubicBezTo>
                    <a:pt x="2112645" y="1247775"/>
                    <a:pt x="2116455" y="1251585"/>
                    <a:pt x="2116455" y="1256347"/>
                  </a:cubicBezTo>
                  <a:cubicBezTo>
                    <a:pt x="2116455" y="1261110"/>
                    <a:pt x="2112645" y="1264920"/>
                    <a:pt x="2107883" y="1264920"/>
                  </a:cubicBezTo>
                  <a:cubicBezTo>
                    <a:pt x="2103120" y="1264920"/>
                    <a:pt x="2099310" y="1261110"/>
                    <a:pt x="2099310" y="1256347"/>
                  </a:cubicBezTo>
                  <a:cubicBezTo>
                    <a:pt x="2099310" y="1251585"/>
                    <a:pt x="2103120" y="1247775"/>
                    <a:pt x="2107883" y="1247775"/>
                  </a:cubicBezTo>
                  <a:close/>
                  <a:moveTo>
                    <a:pt x="169544" y="1247775"/>
                  </a:moveTo>
                  <a:cubicBezTo>
                    <a:pt x="174307" y="1247775"/>
                    <a:pt x="178117" y="1251585"/>
                    <a:pt x="178117" y="1256347"/>
                  </a:cubicBezTo>
                  <a:cubicBezTo>
                    <a:pt x="178117" y="1261110"/>
                    <a:pt x="174307" y="1264920"/>
                    <a:pt x="169544" y="1264920"/>
                  </a:cubicBezTo>
                  <a:cubicBezTo>
                    <a:pt x="165735" y="1264920"/>
                    <a:pt x="161925" y="1261110"/>
                    <a:pt x="160972" y="1256347"/>
                  </a:cubicBezTo>
                  <a:cubicBezTo>
                    <a:pt x="160972" y="1251585"/>
                    <a:pt x="164782" y="1247775"/>
                    <a:pt x="169544" y="1247775"/>
                  </a:cubicBezTo>
                  <a:close/>
                  <a:moveTo>
                    <a:pt x="900112" y="1245870"/>
                  </a:moveTo>
                  <a:cubicBezTo>
                    <a:pt x="903922" y="1245870"/>
                    <a:pt x="907732" y="1249680"/>
                    <a:pt x="907732" y="1253490"/>
                  </a:cubicBezTo>
                  <a:cubicBezTo>
                    <a:pt x="907732" y="1257300"/>
                    <a:pt x="903922" y="1261110"/>
                    <a:pt x="900112" y="1261110"/>
                  </a:cubicBezTo>
                  <a:cubicBezTo>
                    <a:pt x="895350" y="1261110"/>
                    <a:pt x="892492" y="1257300"/>
                    <a:pt x="892492" y="1253490"/>
                  </a:cubicBezTo>
                  <a:cubicBezTo>
                    <a:pt x="892492" y="1249680"/>
                    <a:pt x="896302" y="1245870"/>
                    <a:pt x="900112" y="1245870"/>
                  </a:cubicBezTo>
                  <a:close/>
                  <a:moveTo>
                    <a:pt x="785812" y="1244917"/>
                  </a:moveTo>
                  <a:cubicBezTo>
                    <a:pt x="793432" y="1244917"/>
                    <a:pt x="799147" y="1250632"/>
                    <a:pt x="799147" y="1258252"/>
                  </a:cubicBezTo>
                  <a:cubicBezTo>
                    <a:pt x="799147" y="1265872"/>
                    <a:pt x="793432" y="1271587"/>
                    <a:pt x="785812" y="1271587"/>
                  </a:cubicBezTo>
                  <a:cubicBezTo>
                    <a:pt x="778192" y="1271587"/>
                    <a:pt x="772477" y="1265872"/>
                    <a:pt x="772477" y="1258252"/>
                  </a:cubicBezTo>
                  <a:cubicBezTo>
                    <a:pt x="772477" y="1250632"/>
                    <a:pt x="778192" y="1244917"/>
                    <a:pt x="785812" y="1244917"/>
                  </a:cubicBezTo>
                  <a:close/>
                  <a:moveTo>
                    <a:pt x="414338" y="1244917"/>
                  </a:moveTo>
                  <a:cubicBezTo>
                    <a:pt x="424815" y="1244917"/>
                    <a:pt x="433388" y="1253490"/>
                    <a:pt x="433388" y="1263967"/>
                  </a:cubicBezTo>
                  <a:cubicBezTo>
                    <a:pt x="433388" y="1274445"/>
                    <a:pt x="424815" y="1283017"/>
                    <a:pt x="414338" y="1283017"/>
                  </a:cubicBezTo>
                  <a:cubicBezTo>
                    <a:pt x="403861" y="1283017"/>
                    <a:pt x="395288" y="1274445"/>
                    <a:pt x="395288" y="1263967"/>
                  </a:cubicBezTo>
                  <a:cubicBezTo>
                    <a:pt x="395288" y="1253490"/>
                    <a:pt x="403861" y="1244917"/>
                    <a:pt x="414338" y="1244917"/>
                  </a:cubicBezTo>
                  <a:close/>
                  <a:moveTo>
                    <a:pt x="2026921" y="1241107"/>
                  </a:moveTo>
                  <a:cubicBezTo>
                    <a:pt x="2030603" y="1241107"/>
                    <a:pt x="2033588" y="1244092"/>
                    <a:pt x="2033588" y="1247775"/>
                  </a:cubicBezTo>
                  <a:cubicBezTo>
                    <a:pt x="2033588" y="1251457"/>
                    <a:pt x="2030603" y="1254442"/>
                    <a:pt x="2026921" y="1254442"/>
                  </a:cubicBezTo>
                  <a:cubicBezTo>
                    <a:pt x="2023238" y="1254442"/>
                    <a:pt x="2020253" y="1251457"/>
                    <a:pt x="2020253" y="1247775"/>
                  </a:cubicBezTo>
                  <a:cubicBezTo>
                    <a:pt x="2020253" y="1244092"/>
                    <a:pt x="2023238" y="1241107"/>
                    <a:pt x="2026921" y="1241107"/>
                  </a:cubicBezTo>
                  <a:close/>
                  <a:moveTo>
                    <a:pt x="677228" y="1239202"/>
                  </a:moveTo>
                  <a:cubicBezTo>
                    <a:pt x="686753" y="1239202"/>
                    <a:pt x="694373" y="1246822"/>
                    <a:pt x="694373" y="1256347"/>
                  </a:cubicBezTo>
                  <a:cubicBezTo>
                    <a:pt x="694373" y="1265872"/>
                    <a:pt x="686753" y="1273492"/>
                    <a:pt x="677228" y="1273492"/>
                  </a:cubicBezTo>
                  <a:cubicBezTo>
                    <a:pt x="667703" y="1273492"/>
                    <a:pt x="660083" y="1264919"/>
                    <a:pt x="660083" y="1256347"/>
                  </a:cubicBezTo>
                  <a:cubicBezTo>
                    <a:pt x="660083" y="1246822"/>
                    <a:pt x="667703" y="1239202"/>
                    <a:pt x="677228" y="1239202"/>
                  </a:cubicBezTo>
                  <a:close/>
                  <a:moveTo>
                    <a:pt x="1582102" y="1236345"/>
                  </a:moveTo>
                  <a:cubicBezTo>
                    <a:pt x="1583055" y="1236345"/>
                    <a:pt x="1584007" y="1237297"/>
                    <a:pt x="1584007" y="1238250"/>
                  </a:cubicBezTo>
                  <a:cubicBezTo>
                    <a:pt x="1584007" y="1239203"/>
                    <a:pt x="1583055" y="1240155"/>
                    <a:pt x="1582102" y="1240155"/>
                  </a:cubicBezTo>
                  <a:cubicBezTo>
                    <a:pt x="1581150" y="1240155"/>
                    <a:pt x="1580197" y="1239203"/>
                    <a:pt x="1580197" y="1238250"/>
                  </a:cubicBezTo>
                  <a:cubicBezTo>
                    <a:pt x="1580197" y="1237297"/>
                    <a:pt x="1581150" y="1236345"/>
                    <a:pt x="1582102" y="1236345"/>
                  </a:cubicBezTo>
                  <a:close/>
                  <a:moveTo>
                    <a:pt x="1726883" y="1232534"/>
                  </a:moveTo>
                  <a:cubicBezTo>
                    <a:pt x="1730693" y="1232534"/>
                    <a:pt x="1733550" y="1235392"/>
                    <a:pt x="1733550" y="1239202"/>
                  </a:cubicBezTo>
                  <a:cubicBezTo>
                    <a:pt x="1733550" y="1243012"/>
                    <a:pt x="1730693" y="1245869"/>
                    <a:pt x="1726883" y="1245869"/>
                  </a:cubicBezTo>
                  <a:cubicBezTo>
                    <a:pt x="1722120" y="1245869"/>
                    <a:pt x="1719263" y="1243012"/>
                    <a:pt x="1720216" y="1239202"/>
                  </a:cubicBezTo>
                  <a:cubicBezTo>
                    <a:pt x="1720216" y="1235392"/>
                    <a:pt x="1723073" y="1232534"/>
                    <a:pt x="1726883" y="1232534"/>
                  </a:cubicBezTo>
                  <a:close/>
                  <a:moveTo>
                    <a:pt x="1019175" y="1232534"/>
                  </a:moveTo>
                  <a:cubicBezTo>
                    <a:pt x="1022033" y="1232534"/>
                    <a:pt x="1024890" y="1235392"/>
                    <a:pt x="1024890" y="1238249"/>
                  </a:cubicBezTo>
                  <a:cubicBezTo>
                    <a:pt x="1024890" y="1241107"/>
                    <a:pt x="1022033" y="1243964"/>
                    <a:pt x="1019175" y="1243964"/>
                  </a:cubicBezTo>
                  <a:cubicBezTo>
                    <a:pt x="1016317" y="1243964"/>
                    <a:pt x="1013460" y="1241107"/>
                    <a:pt x="1013460" y="1238249"/>
                  </a:cubicBezTo>
                  <a:cubicBezTo>
                    <a:pt x="1013460" y="1235392"/>
                    <a:pt x="1016317" y="1232534"/>
                    <a:pt x="1019175" y="1232534"/>
                  </a:cubicBezTo>
                  <a:close/>
                  <a:moveTo>
                    <a:pt x="1945005" y="1230629"/>
                  </a:moveTo>
                  <a:cubicBezTo>
                    <a:pt x="1947862" y="1230629"/>
                    <a:pt x="1950720" y="1233487"/>
                    <a:pt x="1950720" y="1236344"/>
                  </a:cubicBezTo>
                  <a:cubicBezTo>
                    <a:pt x="1950720" y="1239202"/>
                    <a:pt x="1947862" y="1242059"/>
                    <a:pt x="1945005" y="1242059"/>
                  </a:cubicBezTo>
                  <a:cubicBezTo>
                    <a:pt x="1942147" y="1242059"/>
                    <a:pt x="1940242" y="1240154"/>
                    <a:pt x="1939290" y="1236344"/>
                  </a:cubicBezTo>
                  <a:cubicBezTo>
                    <a:pt x="1939290" y="1233487"/>
                    <a:pt x="1942147" y="1230629"/>
                    <a:pt x="1945005" y="1230629"/>
                  </a:cubicBezTo>
                  <a:close/>
                  <a:moveTo>
                    <a:pt x="573405" y="1229677"/>
                  </a:moveTo>
                  <a:cubicBezTo>
                    <a:pt x="582930" y="1229677"/>
                    <a:pt x="591503" y="1238249"/>
                    <a:pt x="591503" y="1247774"/>
                  </a:cubicBezTo>
                  <a:cubicBezTo>
                    <a:pt x="591503" y="1257299"/>
                    <a:pt x="583883" y="1265872"/>
                    <a:pt x="573405" y="1265872"/>
                  </a:cubicBezTo>
                  <a:cubicBezTo>
                    <a:pt x="563880" y="1265872"/>
                    <a:pt x="555308" y="1257299"/>
                    <a:pt x="555308" y="1247774"/>
                  </a:cubicBezTo>
                  <a:cubicBezTo>
                    <a:pt x="555308" y="1238249"/>
                    <a:pt x="562928" y="1229677"/>
                    <a:pt x="573405" y="1229677"/>
                  </a:cubicBezTo>
                  <a:close/>
                  <a:moveTo>
                    <a:pt x="320040" y="1226820"/>
                  </a:moveTo>
                  <a:cubicBezTo>
                    <a:pt x="331470" y="1226820"/>
                    <a:pt x="340995" y="1236345"/>
                    <a:pt x="340995" y="1247775"/>
                  </a:cubicBezTo>
                  <a:cubicBezTo>
                    <a:pt x="340995" y="1259205"/>
                    <a:pt x="331470" y="1268730"/>
                    <a:pt x="320040" y="1268730"/>
                  </a:cubicBezTo>
                  <a:cubicBezTo>
                    <a:pt x="307657" y="1268730"/>
                    <a:pt x="298132" y="1259205"/>
                    <a:pt x="299085" y="1247775"/>
                  </a:cubicBezTo>
                  <a:cubicBezTo>
                    <a:pt x="299085" y="1236345"/>
                    <a:pt x="308610" y="1226820"/>
                    <a:pt x="320040" y="1226820"/>
                  </a:cubicBezTo>
                  <a:close/>
                  <a:moveTo>
                    <a:pt x="1315403" y="1225867"/>
                  </a:moveTo>
                  <a:cubicBezTo>
                    <a:pt x="1316355" y="1225867"/>
                    <a:pt x="1317308" y="1226820"/>
                    <a:pt x="1317308" y="1227772"/>
                  </a:cubicBezTo>
                  <a:cubicBezTo>
                    <a:pt x="1317308" y="1228725"/>
                    <a:pt x="1316355" y="1229677"/>
                    <a:pt x="1315403" y="1229677"/>
                  </a:cubicBezTo>
                  <a:cubicBezTo>
                    <a:pt x="1313498" y="1229677"/>
                    <a:pt x="1312545" y="1228725"/>
                    <a:pt x="1313498" y="1227772"/>
                  </a:cubicBezTo>
                  <a:cubicBezTo>
                    <a:pt x="1313498" y="1226820"/>
                    <a:pt x="1314450" y="1225867"/>
                    <a:pt x="1315403" y="1225867"/>
                  </a:cubicBezTo>
                  <a:close/>
                  <a:moveTo>
                    <a:pt x="1257300" y="1223962"/>
                  </a:moveTo>
                  <a:cubicBezTo>
                    <a:pt x="1258352" y="1223962"/>
                    <a:pt x="1259205" y="1224815"/>
                    <a:pt x="1259205" y="1225867"/>
                  </a:cubicBezTo>
                  <a:cubicBezTo>
                    <a:pt x="1259205" y="1226919"/>
                    <a:pt x="1258352" y="1227772"/>
                    <a:pt x="1257300" y="1227772"/>
                  </a:cubicBezTo>
                  <a:cubicBezTo>
                    <a:pt x="1256248" y="1227772"/>
                    <a:pt x="1255395" y="1226919"/>
                    <a:pt x="1255395" y="1225867"/>
                  </a:cubicBezTo>
                  <a:cubicBezTo>
                    <a:pt x="1255395" y="1224815"/>
                    <a:pt x="1256248" y="1223962"/>
                    <a:pt x="1257300" y="1223962"/>
                  </a:cubicBezTo>
                  <a:close/>
                  <a:moveTo>
                    <a:pt x="1372552" y="1222057"/>
                  </a:moveTo>
                  <a:cubicBezTo>
                    <a:pt x="1373505" y="1222057"/>
                    <a:pt x="1374457" y="1223009"/>
                    <a:pt x="1374457" y="1223962"/>
                  </a:cubicBezTo>
                  <a:cubicBezTo>
                    <a:pt x="1374457" y="1224915"/>
                    <a:pt x="1373505" y="1225867"/>
                    <a:pt x="1372552" y="1225867"/>
                  </a:cubicBezTo>
                  <a:cubicBezTo>
                    <a:pt x="1371600" y="1225867"/>
                    <a:pt x="1370647" y="1224915"/>
                    <a:pt x="1370647" y="1223962"/>
                  </a:cubicBezTo>
                  <a:cubicBezTo>
                    <a:pt x="1370647" y="1223009"/>
                    <a:pt x="1371600" y="1222057"/>
                    <a:pt x="1372552" y="1222057"/>
                  </a:cubicBezTo>
                  <a:close/>
                  <a:moveTo>
                    <a:pt x="2298383" y="1221104"/>
                  </a:moveTo>
                  <a:cubicBezTo>
                    <a:pt x="2300288" y="1221104"/>
                    <a:pt x="2301240" y="1223009"/>
                    <a:pt x="2301240" y="1223962"/>
                  </a:cubicBezTo>
                  <a:cubicBezTo>
                    <a:pt x="2301240" y="1225867"/>
                    <a:pt x="2299335" y="1226819"/>
                    <a:pt x="2298383" y="1226819"/>
                  </a:cubicBezTo>
                  <a:cubicBezTo>
                    <a:pt x="2296478" y="1226819"/>
                    <a:pt x="2295525" y="1225867"/>
                    <a:pt x="2295525" y="1223962"/>
                  </a:cubicBezTo>
                  <a:cubicBezTo>
                    <a:pt x="2295525" y="1222057"/>
                    <a:pt x="2297430" y="1221104"/>
                    <a:pt x="2298383" y="1221104"/>
                  </a:cubicBezTo>
                  <a:close/>
                  <a:moveTo>
                    <a:pt x="1861185" y="1221104"/>
                  </a:moveTo>
                  <a:cubicBezTo>
                    <a:pt x="1863091" y="1221104"/>
                    <a:pt x="1864043" y="1222057"/>
                    <a:pt x="1864043" y="1223962"/>
                  </a:cubicBezTo>
                  <a:cubicBezTo>
                    <a:pt x="1864043" y="1225867"/>
                    <a:pt x="1863091" y="1226819"/>
                    <a:pt x="1861185" y="1226819"/>
                  </a:cubicBezTo>
                  <a:cubicBezTo>
                    <a:pt x="1860233" y="1226819"/>
                    <a:pt x="1858328" y="1225867"/>
                    <a:pt x="1858328" y="1223962"/>
                  </a:cubicBezTo>
                  <a:cubicBezTo>
                    <a:pt x="1858328" y="1222057"/>
                    <a:pt x="1859280" y="1221104"/>
                    <a:pt x="1861185" y="1221104"/>
                  </a:cubicBezTo>
                  <a:close/>
                  <a:moveTo>
                    <a:pt x="474345" y="1219200"/>
                  </a:moveTo>
                  <a:cubicBezTo>
                    <a:pt x="482917" y="1219200"/>
                    <a:pt x="490537" y="1225867"/>
                    <a:pt x="490537" y="1235392"/>
                  </a:cubicBezTo>
                  <a:cubicBezTo>
                    <a:pt x="490537" y="1243965"/>
                    <a:pt x="483870" y="1251585"/>
                    <a:pt x="474345" y="1251585"/>
                  </a:cubicBezTo>
                  <a:cubicBezTo>
                    <a:pt x="464820" y="1251585"/>
                    <a:pt x="458152" y="1243965"/>
                    <a:pt x="458152" y="1235392"/>
                  </a:cubicBezTo>
                  <a:cubicBezTo>
                    <a:pt x="458152" y="1226820"/>
                    <a:pt x="464820" y="1219200"/>
                    <a:pt x="474345" y="1219200"/>
                  </a:cubicBezTo>
                  <a:close/>
                  <a:moveTo>
                    <a:pt x="1200150" y="1218247"/>
                  </a:moveTo>
                  <a:cubicBezTo>
                    <a:pt x="1201103" y="1218247"/>
                    <a:pt x="1202055" y="1219200"/>
                    <a:pt x="1202055" y="1220152"/>
                  </a:cubicBezTo>
                  <a:cubicBezTo>
                    <a:pt x="1202055" y="1221105"/>
                    <a:pt x="1201103" y="1222057"/>
                    <a:pt x="1200150" y="1222057"/>
                  </a:cubicBezTo>
                  <a:cubicBezTo>
                    <a:pt x="1199197" y="1222057"/>
                    <a:pt x="1198245" y="1221105"/>
                    <a:pt x="1198245" y="1220152"/>
                  </a:cubicBezTo>
                  <a:cubicBezTo>
                    <a:pt x="1198245" y="1219200"/>
                    <a:pt x="1199197" y="1218247"/>
                    <a:pt x="1200150" y="1218247"/>
                  </a:cubicBezTo>
                  <a:close/>
                  <a:moveTo>
                    <a:pt x="850583" y="1215390"/>
                  </a:moveTo>
                  <a:cubicBezTo>
                    <a:pt x="855345" y="1215390"/>
                    <a:pt x="859155" y="1219200"/>
                    <a:pt x="859155" y="1223962"/>
                  </a:cubicBezTo>
                  <a:cubicBezTo>
                    <a:pt x="859155" y="1228725"/>
                    <a:pt x="855345" y="1232535"/>
                    <a:pt x="850583" y="1232535"/>
                  </a:cubicBezTo>
                  <a:cubicBezTo>
                    <a:pt x="845820" y="1232535"/>
                    <a:pt x="842010" y="1228725"/>
                    <a:pt x="842010" y="1223962"/>
                  </a:cubicBezTo>
                  <a:cubicBezTo>
                    <a:pt x="842010" y="1219200"/>
                    <a:pt x="845820" y="1215390"/>
                    <a:pt x="850583" y="1215390"/>
                  </a:cubicBezTo>
                  <a:close/>
                  <a:moveTo>
                    <a:pt x="228600" y="1213484"/>
                  </a:moveTo>
                  <a:cubicBezTo>
                    <a:pt x="237173" y="1213484"/>
                    <a:pt x="243840" y="1220152"/>
                    <a:pt x="243840" y="1228724"/>
                  </a:cubicBezTo>
                  <a:cubicBezTo>
                    <a:pt x="243840" y="1237297"/>
                    <a:pt x="237173" y="1243964"/>
                    <a:pt x="228600" y="1243964"/>
                  </a:cubicBezTo>
                  <a:cubicBezTo>
                    <a:pt x="220027" y="1243964"/>
                    <a:pt x="213360" y="1237297"/>
                    <a:pt x="213360" y="1228724"/>
                  </a:cubicBezTo>
                  <a:cubicBezTo>
                    <a:pt x="213360" y="1220152"/>
                    <a:pt x="220027" y="1213484"/>
                    <a:pt x="228600" y="1213484"/>
                  </a:cubicBezTo>
                  <a:close/>
                  <a:moveTo>
                    <a:pt x="1635443" y="1212532"/>
                  </a:moveTo>
                  <a:cubicBezTo>
                    <a:pt x="1636395" y="1212532"/>
                    <a:pt x="1638300" y="1213484"/>
                    <a:pt x="1638300" y="1215390"/>
                  </a:cubicBezTo>
                  <a:cubicBezTo>
                    <a:pt x="1638300" y="1216342"/>
                    <a:pt x="1637348" y="1218247"/>
                    <a:pt x="1635443" y="1218247"/>
                  </a:cubicBezTo>
                  <a:cubicBezTo>
                    <a:pt x="1633538" y="1218247"/>
                    <a:pt x="1631633" y="1217295"/>
                    <a:pt x="1632585" y="1215390"/>
                  </a:cubicBezTo>
                  <a:cubicBezTo>
                    <a:pt x="1632585" y="1214437"/>
                    <a:pt x="1633538" y="1212532"/>
                    <a:pt x="1635443" y="1212532"/>
                  </a:cubicBezTo>
                  <a:close/>
                  <a:moveTo>
                    <a:pt x="1429702" y="1212532"/>
                  </a:moveTo>
                  <a:cubicBezTo>
                    <a:pt x="1431281" y="1212532"/>
                    <a:pt x="1432560" y="1213811"/>
                    <a:pt x="1432560" y="1215390"/>
                  </a:cubicBezTo>
                  <a:cubicBezTo>
                    <a:pt x="1432560" y="1216968"/>
                    <a:pt x="1431281" y="1218247"/>
                    <a:pt x="1429702" y="1218247"/>
                  </a:cubicBezTo>
                  <a:cubicBezTo>
                    <a:pt x="1428124" y="1218247"/>
                    <a:pt x="1426845" y="1216968"/>
                    <a:pt x="1426845" y="1215390"/>
                  </a:cubicBezTo>
                  <a:cubicBezTo>
                    <a:pt x="1426845" y="1213811"/>
                    <a:pt x="1428124" y="1212532"/>
                    <a:pt x="1429702" y="1212532"/>
                  </a:cubicBezTo>
                  <a:close/>
                  <a:moveTo>
                    <a:pt x="740092" y="1212532"/>
                  </a:moveTo>
                  <a:cubicBezTo>
                    <a:pt x="745807" y="1212532"/>
                    <a:pt x="751522" y="1217295"/>
                    <a:pt x="751522" y="1223962"/>
                  </a:cubicBezTo>
                  <a:cubicBezTo>
                    <a:pt x="751522" y="1229677"/>
                    <a:pt x="746760" y="1235392"/>
                    <a:pt x="740092" y="1235392"/>
                  </a:cubicBezTo>
                  <a:cubicBezTo>
                    <a:pt x="733425" y="1235392"/>
                    <a:pt x="727710" y="1230629"/>
                    <a:pt x="728662" y="1223962"/>
                  </a:cubicBezTo>
                  <a:cubicBezTo>
                    <a:pt x="728662" y="1218247"/>
                    <a:pt x="733425" y="1212532"/>
                    <a:pt x="740092" y="1212532"/>
                  </a:cubicBezTo>
                  <a:close/>
                  <a:moveTo>
                    <a:pt x="965835" y="1211579"/>
                  </a:moveTo>
                  <a:cubicBezTo>
                    <a:pt x="967740" y="1211579"/>
                    <a:pt x="969645" y="1213484"/>
                    <a:pt x="969645" y="1215389"/>
                  </a:cubicBezTo>
                  <a:cubicBezTo>
                    <a:pt x="969645" y="1217294"/>
                    <a:pt x="967740" y="1219199"/>
                    <a:pt x="965835" y="1219199"/>
                  </a:cubicBezTo>
                  <a:cubicBezTo>
                    <a:pt x="963930" y="1219199"/>
                    <a:pt x="962025" y="1217294"/>
                    <a:pt x="962025" y="1215389"/>
                  </a:cubicBezTo>
                  <a:cubicBezTo>
                    <a:pt x="962025" y="1213484"/>
                    <a:pt x="963930" y="1211579"/>
                    <a:pt x="965835" y="1211579"/>
                  </a:cubicBezTo>
                  <a:close/>
                  <a:moveTo>
                    <a:pt x="2222183" y="1206817"/>
                  </a:moveTo>
                  <a:cubicBezTo>
                    <a:pt x="2228850" y="1206817"/>
                    <a:pt x="2233613" y="1212532"/>
                    <a:pt x="2233613" y="1218247"/>
                  </a:cubicBezTo>
                  <a:cubicBezTo>
                    <a:pt x="2233613" y="1224915"/>
                    <a:pt x="2227898" y="1229677"/>
                    <a:pt x="2222183" y="1229677"/>
                  </a:cubicBezTo>
                  <a:cubicBezTo>
                    <a:pt x="2216468" y="1229677"/>
                    <a:pt x="2211705" y="1224915"/>
                    <a:pt x="2210753" y="1218247"/>
                  </a:cubicBezTo>
                  <a:cubicBezTo>
                    <a:pt x="2210753" y="1211580"/>
                    <a:pt x="2216468" y="1206817"/>
                    <a:pt x="2222183" y="1206817"/>
                  </a:cubicBezTo>
                  <a:close/>
                  <a:moveTo>
                    <a:pt x="1143000" y="1206817"/>
                  </a:moveTo>
                  <a:cubicBezTo>
                    <a:pt x="1143952" y="1206817"/>
                    <a:pt x="1145857" y="1207770"/>
                    <a:pt x="1145857" y="1209675"/>
                  </a:cubicBezTo>
                  <a:cubicBezTo>
                    <a:pt x="1145857" y="1210627"/>
                    <a:pt x="1144905" y="1212532"/>
                    <a:pt x="1143000" y="1212532"/>
                  </a:cubicBezTo>
                  <a:cubicBezTo>
                    <a:pt x="1141095" y="1212532"/>
                    <a:pt x="1140142" y="1211580"/>
                    <a:pt x="1140142" y="1209675"/>
                  </a:cubicBezTo>
                  <a:cubicBezTo>
                    <a:pt x="1140142" y="1208722"/>
                    <a:pt x="1141095" y="1206817"/>
                    <a:pt x="1143000" y="1206817"/>
                  </a:cubicBezTo>
                  <a:close/>
                  <a:moveTo>
                    <a:pt x="1775460" y="1204912"/>
                  </a:moveTo>
                  <a:cubicBezTo>
                    <a:pt x="1777365" y="1204912"/>
                    <a:pt x="1779270" y="1206817"/>
                    <a:pt x="1779270" y="1208722"/>
                  </a:cubicBezTo>
                  <a:cubicBezTo>
                    <a:pt x="1779270" y="1210627"/>
                    <a:pt x="1777365" y="1212532"/>
                    <a:pt x="1775460" y="1212532"/>
                  </a:cubicBezTo>
                  <a:cubicBezTo>
                    <a:pt x="1772602" y="1212532"/>
                    <a:pt x="1770697" y="1210627"/>
                    <a:pt x="1771650" y="1208722"/>
                  </a:cubicBezTo>
                  <a:cubicBezTo>
                    <a:pt x="1771650" y="1206817"/>
                    <a:pt x="1773555" y="1204912"/>
                    <a:pt x="1775460" y="1204912"/>
                  </a:cubicBezTo>
                  <a:close/>
                  <a:moveTo>
                    <a:pt x="2145030" y="1203959"/>
                  </a:moveTo>
                  <a:cubicBezTo>
                    <a:pt x="2149793" y="1203959"/>
                    <a:pt x="2153603" y="1207769"/>
                    <a:pt x="2153603" y="1212532"/>
                  </a:cubicBezTo>
                  <a:cubicBezTo>
                    <a:pt x="2153603" y="1217294"/>
                    <a:pt x="2149793" y="1221104"/>
                    <a:pt x="2145030" y="1221104"/>
                  </a:cubicBezTo>
                  <a:cubicBezTo>
                    <a:pt x="2140268" y="1221104"/>
                    <a:pt x="2136458" y="1217294"/>
                    <a:pt x="2136458" y="1212532"/>
                  </a:cubicBezTo>
                  <a:cubicBezTo>
                    <a:pt x="2136458" y="1207769"/>
                    <a:pt x="2140268" y="1203959"/>
                    <a:pt x="2145030" y="1203959"/>
                  </a:cubicBezTo>
                  <a:close/>
                  <a:moveTo>
                    <a:pt x="1485900" y="1201102"/>
                  </a:moveTo>
                  <a:cubicBezTo>
                    <a:pt x="1486853" y="1201102"/>
                    <a:pt x="1487805" y="1202054"/>
                    <a:pt x="1487805" y="1203007"/>
                  </a:cubicBezTo>
                  <a:cubicBezTo>
                    <a:pt x="1487805" y="1203959"/>
                    <a:pt x="1486853" y="1204912"/>
                    <a:pt x="1485900" y="1204912"/>
                  </a:cubicBezTo>
                  <a:cubicBezTo>
                    <a:pt x="1484947" y="1204912"/>
                    <a:pt x="1483995" y="1203959"/>
                    <a:pt x="1483995" y="1203007"/>
                  </a:cubicBezTo>
                  <a:cubicBezTo>
                    <a:pt x="1483995" y="1202054"/>
                    <a:pt x="1484947" y="1201102"/>
                    <a:pt x="1485900" y="1201102"/>
                  </a:cubicBezTo>
                  <a:close/>
                  <a:moveTo>
                    <a:pt x="634365" y="1201102"/>
                  </a:moveTo>
                  <a:cubicBezTo>
                    <a:pt x="643890" y="1201102"/>
                    <a:pt x="650558" y="1208722"/>
                    <a:pt x="650558" y="1217294"/>
                  </a:cubicBezTo>
                  <a:cubicBezTo>
                    <a:pt x="650558" y="1226819"/>
                    <a:pt x="642938" y="1233487"/>
                    <a:pt x="634365" y="1233487"/>
                  </a:cubicBezTo>
                  <a:cubicBezTo>
                    <a:pt x="625793" y="1233487"/>
                    <a:pt x="619125" y="1225867"/>
                    <a:pt x="618173" y="1217294"/>
                  </a:cubicBezTo>
                  <a:cubicBezTo>
                    <a:pt x="618173" y="1207769"/>
                    <a:pt x="625793" y="1201102"/>
                    <a:pt x="634365" y="1201102"/>
                  </a:cubicBezTo>
                  <a:close/>
                  <a:moveTo>
                    <a:pt x="2066925" y="1200150"/>
                  </a:moveTo>
                  <a:cubicBezTo>
                    <a:pt x="2069783" y="1200150"/>
                    <a:pt x="2072640" y="1203008"/>
                    <a:pt x="2072640" y="1205865"/>
                  </a:cubicBezTo>
                  <a:cubicBezTo>
                    <a:pt x="2072640" y="1208722"/>
                    <a:pt x="2069783" y="1211580"/>
                    <a:pt x="2066925" y="1211580"/>
                  </a:cubicBezTo>
                  <a:cubicBezTo>
                    <a:pt x="2064068" y="1211580"/>
                    <a:pt x="2061210" y="1208722"/>
                    <a:pt x="2061210" y="1205865"/>
                  </a:cubicBezTo>
                  <a:cubicBezTo>
                    <a:pt x="2061210" y="1203008"/>
                    <a:pt x="2064068" y="1200150"/>
                    <a:pt x="2066925" y="1200150"/>
                  </a:cubicBezTo>
                  <a:close/>
                  <a:moveTo>
                    <a:pt x="379095" y="1199197"/>
                  </a:moveTo>
                  <a:cubicBezTo>
                    <a:pt x="390525" y="1199197"/>
                    <a:pt x="399098" y="1207770"/>
                    <a:pt x="399098" y="1219200"/>
                  </a:cubicBezTo>
                  <a:cubicBezTo>
                    <a:pt x="399098" y="1230630"/>
                    <a:pt x="390525" y="1239202"/>
                    <a:pt x="379095" y="1239202"/>
                  </a:cubicBezTo>
                  <a:cubicBezTo>
                    <a:pt x="367665" y="1239202"/>
                    <a:pt x="359093" y="1229677"/>
                    <a:pt x="359093" y="1219200"/>
                  </a:cubicBezTo>
                  <a:cubicBezTo>
                    <a:pt x="359093" y="1207770"/>
                    <a:pt x="367665" y="1199197"/>
                    <a:pt x="379095" y="1199197"/>
                  </a:cubicBezTo>
                  <a:close/>
                  <a:moveTo>
                    <a:pt x="139065" y="1195387"/>
                  </a:moveTo>
                  <a:cubicBezTo>
                    <a:pt x="145732" y="1195387"/>
                    <a:pt x="151447" y="1201102"/>
                    <a:pt x="151447" y="1207770"/>
                  </a:cubicBezTo>
                  <a:cubicBezTo>
                    <a:pt x="151447" y="1214437"/>
                    <a:pt x="145732" y="1220152"/>
                    <a:pt x="139065" y="1220152"/>
                  </a:cubicBezTo>
                  <a:cubicBezTo>
                    <a:pt x="132397" y="1220152"/>
                    <a:pt x="126682" y="1214437"/>
                    <a:pt x="126682" y="1207770"/>
                  </a:cubicBezTo>
                  <a:cubicBezTo>
                    <a:pt x="126682" y="1201102"/>
                    <a:pt x="132397" y="1195387"/>
                    <a:pt x="139065" y="1195387"/>
                  </a:cubicBezTo>
                  <a:close/>
                  <a:moveTo>
                    <a:pt x="1986916" y="1194434"/>
                  </a:moveTo>
                  <a:cubicBezTo>
                    <a:pt x="1987868" y="1194434"/>
                    <a:pt x="1989773" y="1195387"/>
                    <a:pt x="1989773" y="1197292"/>
                  </a:cubicBezTo>
                  <a:cubicBezTo>
                    <a:pt x="1989773" y="1198244"/>
                    <a:pt x="1988821" y="1200149"/>
                    <a:pt x="1986916" y="1200149"/>
                  </a:cubicBezTo>
                  <a:cubicBezTo>
                    <a:pt x="1985010" y="1200149"/>
                    <a:pt x="1984058" y="1199197"/>
                    <a:pt x="1984058" y="1197292"/>
                  </a:cubicBezTo>
                  <a:cubicBezTo>
                    <a:pt x="1984058" y="1196339"/>
                    <a:pt x="1985010" y="1194434"/>
                    <a:pt x="1986916" y="1194434"/>
                  </a:cubicBezTo>
                  <a:close/>
                  <a:moveTo>
                    <a:pt x="1087755" y="1190625"/>
                  </a:moveTo>
                  <a:cubicBezTo>
                    <a:pt x="1089660" y="1190625"/>
                    <a:pt x="1091565" y="1192530"/>
                    <a:pt x="1091565" y="1194435"/>
                  </a:cubicBezTo>
                  <a:cubicBezTo>
                    <a:pt x="1091565" y="1196340"/>
                    <a:pt x="1089660" y="1198245"/>
                    <a:pt x="1087755" y="1198245"/>
                  </a:cubicBezTo>
                  <a:cubicBezTo>
                    <a:pt x="1085850" y="1198245"/>
                    <a:pt x="1083945" y="1196340"/>
                    <a:pt x="1083945" y="1194435"/>
                  </a:cubicBezTo>
                  <a:cubicBezTo>
                    <a:pt x="1083945" y="1192530"/>
                    <a:pt x="1085850" y="1190625"/>
                    <a:pt x="1087755" y="1190625"/>
                  </a:cubicBezTo>
                  <a:close/>
                  <a:moveTo>
                    <a:pt x="534352" y="1186815"/>
                  </a:moveTo>
                  <a:cubicBezTo>
                    <a:pt x="544830" y="1186815"/>
                    <a:pt x="552450" y="1195387"/>
                    <a:pt x="552450" y="1204912"/>
                  </a:cubicBezTo>
                  <a:cubicBezTo>
                    <a:pt x="552450" y="1215390"/>
                    <a:pt x="543877" y="1223010"/>
                    <a:pt x="534352" y="1223010"/>
                  </a:cubicBezTo>
                  <a:cubicBezTo>
                    <a:pt x="523875" y="1223010"/>
                    <a:pt x="516255" y="1215390"/>
                    <a:pt x="516255" y="1204912"/>
                  </a:cubicBezTo>
                  <a:cubicBezTo>
                    <a:pt x="516255" y="1194435"/>
                    <a:pt x="524827" y="1186815"/>
                    <a:pt x="534352" y="1186815"/>
                  </a:cubicBezTo>
                  <a:close/>
                  <a:moveTo>
                    <a:pt x="1541145" y="1183957"/>
                  </a:moveTo>
                  <a:cubicBezTo>
                    <a:pt x="1542097" y="1183957"/>
                    <a:pt x="1543050" y="1184909"/>
                    <a:pt x="1543050" y="1185862"/>
                  </a:cubicBezTo>
                  <a:cubicBezTo>
                    <a:pt x="1543050" y="1186815"/>
                    <a:pt x="1542097" y="1187767"/>
                    <a:pt x="1541145" y="1187767"/>
                  </a:cubicBezTo>
                  <a:cubicBezTo>
                    <a:pt x="1539240" y="1187767"/>
                    <a:pt x="1538287" y="1186815"/>
                    <a:pt x="1539240" y="1185862"/>
                  </a:cubicBezTo>
                  <a:cubicBezTo>
                    <a:pt x="1539240" y="1184909"/>
                    <a:pt x="1540192" y="1183957"/>
                    <a:pt x="1541145" y="1183957"/>
                  </a:cubicBezTo>
                  <a:close/>
                  <a:moveTo>
                    <a:pt x="1905000" y="1183004"/>
                  </a:moveTo>
                  <a:cubicBezTo>
                    <a:pt x="1906905" y="1183004"/>
                    <a:pt x="1908810" y="1184909"/>
                    <a:pt x="1908810" y="1186814"/>
                  </a:cubicBezTo>
                  <a:cubicBezTo>
                    <a:pt x="1908810" y="1188719"/>
                    <a:pt x="1906905" y="1190624"/>
                    <a:pt x="1905000" y="1190624"/>
                  </a:cubicBezTo>
                  <a:cubicBezTo>
                    <a:pt x="1903095" y="1190624"/>
                    <a:pt x="1901190" y="1188719"/>
                    <a:pt x="1901190" y="1186814"/>
                  </a:cubicBezTo>
                  <a:cubicBezTo>
                    <a:pt x="1901190" y="1184909"/>
                    <a:pt x="1903095" y="1183004"/>
                    <a:pt x="1905000" y="1183004"/>
                  </a:cubicBezTo>
                  <a:close/>
                  <a:moveTo>
                    <a:pt x="1685926" y="1183004"/>
                  </a:moveTo>
                  <a:cubicBezTo>
                    <a:pt x="1688783" y="1183004"/>
                    <a:pt x="1690688" y="1184909"/>
                    <a:pt x="1690688" y="1187767"/>
                  </a:cubicBezTo>
                  <a:cubicBezTo>
                    <a:pt x="1690688" y="1190624"/>
                    <a:pt x="1688783" y="1192529"/>
                    <a:pt x="1685926" y="1192529"/>
                  </a:cubicBezTo>
                  <a:cubicBezTo>
                    <a:pt x="1683068" y="1192529"/>
                    <a:pt x="1681163" y="1190624"/>
                    <a:pt x="1681163" y="1187767"/>
                  </a:cubicBezTo>
                  <a:cubicBezTo>
                    <a:pt x="1681163" y="1184909"/>
                    <a:pt x="1683068" y="1183004"/>
                    <a:pt x="1685926" y="1183004"/>
                  </a:cubicBezTo>
                  <a:close/>
                  <a:moveTo>
                    <a:pt x="915353" y="1182052"/>
                  </a:moveTo>
                  <a:cubicBezTo>
                    <a:pt x="918211" y="1182052"/>
                    <a:pt x="921068" y="1184909"/>
                    <a:pt x="921068" y="1187767"/>
                  </a:cubicBezTo>
                  <a:cubicBezTo>
                    <a:pt x="921068" y="1190624"/>
                    <a:pt x="918211" y="1193482"/>
                    <a:pt x="915353" y="1193482"/>
                  </a:cubicBezTo>
                  <a:cubicBezTo>
                    <a:pt x="912496" y="1193482"/>
                    <a:pt x="909638" y="1191577"/>
                    <a:pt x="909638" y="1187767"/>
                  </a:cubicBezTo>
                  <a:cubicBezTo>
                    <a:pt x="909638" y="1184909"/>
                    <a:pt x="912496" y="1182052"/>
                    <a:pt x="915353" y="1182052"/>
                  </a:cubicBezTo>
                  <a:close/>
                  <a:moveTo>
                    <a:pt x="802958" y="1180147"/>
                  </a:moveTo>
                  <a:cubicBezTo>
                    <a:pt x="808673" y="1180147"/>
                    <a:pt x="813435" y="1184910"/>
                    <a:pt x="813435" y="1190625"/>
                  </a:cubicBezTo>
                  <a:cubicBezTo>
                    <a:pt x="813435" y="1196340"/>
                    <a:pt x="808673" y="1201102"/>
                    <a:pt x="802958" y="1201102"/>
                  </a:cubicBezTo>
                  <a:cubicBezTo>
                    <a:pt x="797243" y="1201102"/>
                    <a:pt x="792480" y="1197292"/>
                    <a:pt x="792480" y="1190625"/>
                  </a:cubicBezTo>
                  <a:cubicBezTo>
                    <a:pt x="792480" y="1184910"/>
                    <a:pt x="797243" y="1180147"/>
                    <a:pt x="802958" y="1180147"/>
                  </a:cubicBezTo>
                  <a:close/>
                  <a:moveTo>
                    <a:pt x="286702" y="1180147"/>
                  </a:moveTo>
                  <a:cubicBezTo>
                    <a:pt x="298132" y="1180147"/>
                    <a:pt x="306705" y="1188720"/>
                    <a:pt x="306705" y="1200150"/>
                  </a:cubicBezTo>
                  <a:cubicBezTo>
                    <a:pt x="306705" y="1211580"/>
                    <a:pt x="298132" y="1220152"/>
                    <a:pt x="286702" y="1220152"/>
                  </a:cubicBezTo>
                  <a:cubicBezTo>
                    <a:pt x="275273" y="1220152"/>
                    <a:pt x="266700" y="1211580"/>
                    <a:pt x="266700" y="1200150"/>
                  </a:cubicBezTo>
                  <a:cubicBezTo>
                    <a:pt x="266700" y="1188720"/>
                    <a:pt x="275273" y="1180147"/>
                    <a:pt x="286702" y="1180147"/>
                  </a:cubicBezTo>
                  <a:close/>
                  <a:moveTo>
                    <a:pt x="696277" y="1174432"/>
                  </a:moveTo>
                  <a:cubicBezTo>
                    <a:pt x="702945" y="1174432"/>
                    <a:pt x="708660" y="1180147"/>
                    <a:pt x="708660" y="1186815"/>
                  </a:cubicBezTo>
                  <a:cubicBezTo>
                    <a:pt x="708660" y="1193482"/>
                    <a:pt x="702945" y="1199197"/>
                    <a:pt x="696277" y="1199197"/>
                  </a:cubicBezTo>
                  <a:cubicBezTo>
                    <a:pt x="688658" y="1199197"/>
                    <a:pt x="683895" y="1193482"/>
                    <a:pt x="683895" y="1186815"/>
                  </a:cubicBezTo>
                  <a:cubicBezTo>
                    <a:pt x="683895" y="1180147"/>
                    <a:pt x="689610" y="1174432"/>
                    <a:pt x="696277" y="1174432"/>
                  </a:cubicBezTo>
                  <a:close/>
                  <a:moveTo>
                    <a:pt x="438150" y="1172527"/>
                  </a:moveTo>
                  <a:cubicBezTo>
                    <a:pt x="447675" y="1172527"/>
                    <a:pt x="456247" y="1180147"/>
                    <a:pt x="456247" y="1190624"/>
                  </a:cubicBezTo>
                  <a:cubicBezTo>
                    <a:pt x="456247" y="1200149"/>
                    <a:pt x="448627" y="1208722"/>
                    <a:pt x="438150" y="1208722"/>
                  </a:cubicBezTo>
                  <a:cubicBezTo>
                    <a:pt x="427672" y="1208722"/>
                    <a:pt x="420052" y="1200149"/>
                    <a:pt x="420052" y="1190624"/>
                  </a:cubicBezTo>
                  <a:cubicBezTo>
                    <a:pt x="420052" y="1181099"/>
                    <a:pt x="427672" y="1172527"/>
                    <a:pt x="438150" y="1172527"/>
                  </a:cubicBezTo>
                  <a:close/>
                  <a:moveTo>
                    <a:pt x="1033462" y="1171575"/>
                  </a:moveTo>
                  <a:cubicBezTo>
                    <a:pt x="1035367" y="1171575"/>
                    <a:pt x="1037272" y="1173480"/>
                    <a:pt x="1037272" y="1175385"/>
                  </a:cubicBezTo>
                  <a:cubicBezTo>
                    <a:pt x="1037272" y="1177290"/>
                    <a:pt x="1035367" y="1179195"/>
                    <a:pt x="1033462" y="1179195"/>
                  </a:cubicBezTo>
                  <a:cubicBezTo>
                    <a:pt x="1031557" y="1179195"/>
                    <a:pt x="1029652" y="1177290"/>
                    <a:pt x="1029652" y="1175385"/>
                  </a:cubicBezTo>
                  <a:cubicBezTo>
                    <a:pt x="1029652" y="1173480"/>
                    <a:pt x="1031557" y="1171575"/>
                    <a:pt x="1033462" y="1171575"/>
                  </a:cubicBezTo>
                  <a:close/>
                  <a:moveTo>
                    <a:pt x="1821180" y="1170622"/>
                  </a:moveTo>
                  <a:cubicBezTo>
                    <a:pt x="1823085" y="1170622"/>
                    <a:pt x="1824037" y="1171575"/>
                    <a:pt x="1824037" y="1173480"/>
                  </a:cubicBezTo>
                  <a:cubicBezTo>
                    <a:pt x="1824037" y="1175385"/>
                    <a:pt x="1823085" y="1176337"/>
                    <a:pt x="1821180" y="1176337"/>
                  </a:cubicBezTo>
                  <a:cubicBezTo>
                    <a:pt x="1820227" y="1176337"/>
                    <a:pt x="1818322" y="1175385"/>
                    <a:pt x="1818322" y="1173480"/>
                  </a:cubicBezTo>
                  <a:cubicBezTo>
                    <a:pt x="1818322" y="1171575"/>
                    <a:pt x="1819275" y="1170622"/>
                    <a:pt x="1821180" y="1170622"/>
                  </a:cubicBezTo>
                  <a:close/>
                  <a:moveTo>
                    <a:pt x="2256472" y="1168717"/>
                  </a:moveTo>
                  <a:cubicBezTo>
                    <a:pt x="2258378" y="1168717"/>
                    <a:pt x="2259330" y="1170622"/>
                    <a:pt x="2259330" y="1171575"/>
                  </a:cubicBezTo>
                  <a:cubicBezTo>
                    <a:pt x="2259330" y="1173480"/>
                    <a:pt x="2257425" y="1174432"/>
                    <a:pt x="2256472" y="1174432"/>
                  </a:cubicBezTo>
                  <a:cubicBezTo>
                    <a:pt x="2254567" y="1174432"/>
                    <a:pt x="2253615" y="1173480"/>
                    <a:pt x="2253615" y="1171575"/>
                  </a:cubicBezTo>
                  <a:cubicBezTo>
                    <a:pt x="2253615" y="1169670"/>
                    <a:pt x="2255520" y="1168717"/>
                    <a:pt x="2256472" y="1168717"/>
                  </a:cubicBezTo>
                  <a:close/>
                  <a:moveTo>
                    <a:pt x="197168" y="1163954"/>
                  </a:moveTo>
                  <a:cubicBezTo>
                    <a:pt x="205741" y="1163954"/>
                    <a:pt x="212408" y="1170621"/>
                    <a:pt x="212408" y="1179194"/>
                  </a:cubicBezTo>
                  <a:cubicBezTo>
                    <a:pt x="212408" y="1187767"/>
                    <a:pt x="205741" y="1194434"/>
                    <a:pt x="197168" y="1194434"/>
                  </a:cubicBezTo>
                  <a:cubicBezTo>
                    <a:pt x="189548" y="1194434"/>
                    <a:pt x="181928" y="1187767"/>
                    <a:pt x="181928" y="1179194"/>
                  </a:cubicBezTo>
                  <a:cubicBezTo>
                    <a:pt x="181928" y="1170621"/>
                    <a:pt x="188595" y="1163954"/>
                    <a:pt x="197168" y="1163954"/>
                  </a:cubicBezTo>
                  <a:close/>
                  <a:moveTo>
                    <a:pt x="2180273" y="1161097"/>
                  </a:moveTo>
                  <a:cubicBezTo>
                    <a:pt x="2183130" y="1161097"/>
                    <a:pt x="2185988" y="1163955"/>
                    <a:pt x="2185988" y="1166812"/>
                  </a:cubicBezTo>
                  <a:cubicBezTo>
                    <a:pt x="2185988" y="1169670"/>
                    <a:pt x="2183130" y="1172527"/>
                    <a:pt x="2180273" y="1172527"/>
                  </a:cubicBezTo>
                  <a:cubicBezTo>
                    <a:pt x="2177416" y="1172527"/>
                    <a:pt x="2175510" y="1170622"/>
                    <a:pt x="2174558" y="1166812"/>
                  </a:cubicBezTo>
                  <a:cubicBezTo>
                    <a:pt x="2174558" y="1163955"/>
                    <a:pt x="2177416" y="1161097"/>
                    <a:pt x="2180273" y="1161097"/>
                  </a:cubicBezTo>
                  <a:close/>
                  <a:moveTo>
                    <a:pt x="594360" y="1159192"/>
                  </a:moveTo>
                  <a:cubicBezTo>
                    <a:pt x="603885" y="1159192"/>
                    <a:pt x="610552" y="1166812"/>
                    <a:pt x="610552" y="1175384"/>
                  </a:cubicBezTo>
                  <a:cubicBezTo>
                    <a:pt x="610552" y="1184909"/>
                    <a:pt x="602932" y="1191577"/>
                    <a:pt x="594360" y="1191577"/>
                  </a:cubicBezTo>
                  <a:cubicBezTo>
                    <a:pt x="585787" y="1191577"/>
                    <a:pt x="578167" y="1184909"/>
                    <a:pt x="578167" y="1175384"/>
                  </a:cubicBezTo>
                  <a:cubicBezTo>
                    <a:pt x="578167" y="1165859"/>
                    <a:pt x="585787" y="1159192"/>
                    <a:pt x="594360" y="1159192"/>
                  </a:cubicBezTo>
                  <a:close/>
                  <a:moveTo>
                    <a:pt x="2104073" y="1157287"/>
                  </a:moveTo>
                  <a:cubicBezTo>
                    <a:pt x="2105978" y="1157287"/>
                    <a:pt x="2107883" y="1159192"/>
                    <a:pt x="2107883" y="1161097"/>
                  </a:cubicBezTo>
                  <a:cubicBezTo>
                    <a:pt x="2107883" y="1163002"/>
                    <a:pt x="2105978" y="1164907"/>
                    <a:pt x="2104073" y="1164907"/>
                  </a:cubicBezTo>
                  <a:cubicBezTo>
                    <a:pt x="2102168" y="1164907"/>
                    <a:pt x="2101216" y="1163954"/>
                    <a:pt x="2100263" y="1161097"/>
                  </a:cubicBezTo>
                  <a:cubicBezTo>
                    <a:pt x="2100263" y="1159192"/>
                    <a:pt x="2102168" y="1157287"/>
                    <a:pt x="2104073" y="1157287"/>
                  </a:cubicBezTo>
                  <a:close/>
                  <a:moveTo>
                    <a:pt x="1734503" y="1157287"/>
                  </a:moveTo>
                  <a:cubicBezTo>
                    <a:pt x="1734503" y="1157287"/>
                    <a:pt x="1735455" y="1157287"/>
                    <a:pt x="1735455" y="1158240"/>
                  </a:cubicBezTo>
                  <a:cubicBezTo>
                    <a:pt x="1735455" y="1158240"/>
                    <a:pt x="1735455" y="1159192"/>
                    <a:pt x="1734503" y="1159192"/>
                  </a:cubicBezTo>
                  <a:cubicBezTo>
                    <a:pt x="1734503" y="1159192"/>
                    <a:pt x="1733550" y="1158240"/>
                    <a:pt x="1733550" y="1158240"/>
                  </a:cubicBezTo>
                  <a:cubicBezTo>
                    <a:pt x="1733550" y="1158240"/>
                    <a:pt x="1733550" y="1157287"/>
                    <a:pt x="1734503" y="1157287"/>
                  </a:cubicBezTo>
                  <a:close/>
                  <a:moveTo>
                    <a:pt x="1386840" y="1156335"/>
                  </a:moveTo>
                  <a:cubicBezTo>
                    <a:pt x="1387366" y="1156335"/>
                    <a:pt x="1387793" y="1156761"/>
                    <a:pt x="1387793" y="1157288"/>
                  </a:cubicBezTo>
                  <a:cubicBezTo>
                    <a:pt x="1387793" y="1157813"/>
                    <a:pt x="1387367" y="1158240"/>
                    <a:pt x="1386840" y="1158240"/>
                  </a:cubicBezTo>
                  <a:cubicBezTo>
                    <a:pt x="1386314" y="1158240"/>
                    <a:pt x="1385888" y="1157814"/>
                    <a:pt x="1385888" y="1157288"/>
                  </a:cubicBezTo>
                  <a:cubicBezTo>
                    <a:pt x="1385888" y="1156762"/>
                    <a:pt x="1386314" y="1156335"/>
                    <a:pt x="1386840" y="1156335"/>
                  </a:cubicBezTo>
                  <a:close/>
                  <a:moveTo>
                    <a:pt x="865823" y="1153477"/>
                  </a:moveTo>
                  <a:cubicBezTo>
                    <a:pt x="867927" y="1153477"/>
                    <a:pt x="869633" y="1155183"/>
                    <a:pt x="869633" y="1157287"/>
                  </a:cubicBezTo>
                  <a:cubicBezTo>
                    <a:pt x="869633" y="1159391"/>
                    <a:pt x="867927" y="1161097"/>
                    <a:pt x="865823" y="1161097"/>
                  </a:cubicBezTo>
                  <a:cubicBezTo>
                    <a:pt x="863719" y="1161097"/>
                    <a:pt x="862013" y="1159391"/>
                    <a:pt x="862013" y="1157287"/>
                  </a:cubicBezTo>
                  <a:cubicBezTo>
                    <a:pt x="862013" y="1155183"/>
                    <a:pt x="863719" y="1153477"/>
                    <a:pt x="865823" y="1153477"/>
                  </a:cubicBezTo>
                  <a:close/>
                  <a:moveTo>
                    <a:pt x="111442" y="1153477"/>
                  </a:moveTo>
                  <a:cubicBezTo>
                    <a:pt x="113347" y="1153477"/>
                    <a:pt x="115252" y="1155382"/>
                    <a:pt x="115252" y="1157287"/>
                  </a:cubicBezTo>
                  <a:cubicBezTo>
                    <a:pt x="115252" y="1159192"/>
                    <a:pt x="113347" y="1161097"/>
                    <a:pt x="111442" y="1161097"/>
                  </a:cubicBezTo>
                  <a:cubicBezTo>
                    <a:pt x="108585" y="1161097"/>
                    <a:pt x="107632" y="1159192"/>
                    <a:pt x="107632" y="1157287"/>
                  </a:cubicBezTo>
                  <a:cubicBezTo>
                    <a:pt x="107632" y="1155382"/>
                    <a:pt x="109537" y="1153477"/>
                    <a:pt x="111442" y="1153477"/>
                  </a:cubicBezTo>
                  <a:close/>
                  <a:moveTo>
                    <a:pt x="2025968" y="1152525"/>
                  </a:moveTo>
                  <a:cubicBezTo>
                    <a:pt x="2026920" y="1152525"/>
                    <a:pt x="2028825" y="1153478"/>
                    <a:pt x="2028825" y="1155383"/>
                  </a:cubicBezTo>
                  <a:cubicBezTo>
                    <a:pt x="2028825" y="1156335"/>
                    <a:pt x="2027873" y="1158240"/>
                    <a:pt x="2025968" y="1158240"/>
                  </a:cubicBezTo>
                  <a:cubicBezTo>
                    <a:pt x="2024063" y="1158240"/>
                    <a:pt x="2023110" y="1156335"/>
                    <a:pt x="2023110" y="1155383"/>
                  </a:cubicBezTo>
                  <a:cubicBezTo>
                    <a:pt x="2023110" y="1154430"/>
                    <a:pt x="2024063" y="1152525"/>
                    <a:pt x="2025968" y="1152525"/>
                  </a:cubicBezTo>
                  <a:close/>
                  <a:moveTo>
                    <a:pt x="344805" y="1151572"/>
                  </a:moveTo>
                  <a:cubicBezTo>
                    <a:pt x="356235" y="1151572"/>
                    <a:pt x="364807" y="1160145"/>
                    <a:pt x="364807" y="1171575"/>
                  </a:cubicBezTo>
                  <a:cubicBezTo>
                    <a:pt x="364807" y="1183005"/>
                    <a:pt x="356235" y="1191577"/>
                    <a:pt x="344805" y="1191577"/>
                  </a:cubicBezTo>
                  <a:cubicBezTo>
                    <a:pt x="334327" y="1191577"/>
                    <a:pt x="324802" y="1183005"/>
                    <a:pt x="324802" y="1171575"/>
                  </a:cubicBezTo>
                  <a:cubicBezTo>
                    <a:pt x="324802" y="1160145"/>
                    <a:pt x="333375" y="1151572"/>
                    <a:pt x="344805" y="1151572"/>
                  </a:cubicBezTo>
                  <a:close/>
                  <a:moveTo>
                    <a:pt x="981075" y="1149667"/>
                  </a:moveTo>
                  <a:cubicBezTo>
                    <a:pt x="982027" y="1149667"/>
                    <a:pt x="982980" y="1150620"/>
                    <a:pt x="982980" y="1151572"/>
                  </a:cubicBezTo>
                  <a:cubicBezTo>
                    <a:pt x="982980" y="1152525"/>
                    <a:pt x="982027" y="1153477"/>
                    <a:pt x="981075" y="1153477"/>
                  </a:cubicBezTo>
                  <a:cubicBezTo>
                    <a:pt x="980122" y="1153477"/>
                    <a:pt x="979170" y="1152525"/>
                    <a:pt x="979170" y="1151572"/>
                  </a:cubicBezTo>
                  <a:cubicBezTo>
                    <a:pt x="979170" y="1150620"/>
                    <a:pt x="980122" y="1149667"/>
                    <a:pt x="981075" y="1149667"/>
                  </a:cubicBezTo>
                  <a:close/>
                  <a:moveTo>
                    <a:pt x="757238" y="1149667"/>
                  </a:moveTo>
                  <a:cubicBezTo>
                    <a:pt x="760096" y="1149667"/>
                    <a:pt x="762953" y="1152525"/>
                    <a:pt x="762953" y="1155382"/>
                  </a:cubicBezTo>
                  <a:cubicBezTo>
                    <a:pt x="762953" y="1158240"/>
                    <a:pt x="760096" y="1161097"/>
                    <a:pt x="757238" y="1161097"/>
                  </a:cubicBezTo>
                  <a:cubicBezTo>
                    <a:pt x="754380" y="1161097"/>
                    <a:pt x="752475" y="1158240"/>
                    <a:pt x="751523" y="1155382"/>
                  </a:cubicBezTo>
                  <a:cubicBezTo>
                    <a:pt x="751523" y="1152525"/>
                    <a:pt x="754380" y="1149667"/>
                    <a:pt x="757238" y="1149667"/>
                  </a:cubicBezTo>
                  <a:close/>
                  <a:moveTo>
                    <a:pt x="497205" y="1145857"/>
                  </a:moveTo>
                  <a:cubicBezTo>
                    <a:pt x="505778" y="1145857"/>
                    <a:pt x="512445" y="1152524"/>
                    <a:pt x="512445" y="1161097"/>
                  </a:cubicBezTo>
                  <a:cubicBezTo>
                    <a:pt x="512445" y="1169670"/>
                    <a:pt x="505778" y="1176337"/>
                    <a:pt x="497205" y="1176337"/>
                  </a:cubicBezTo>
                  <a:cubicBezTo>
                    <a:pt x="488633" y="1176337"/>
                    <a:pt x="481965" y="1169670"/>
                    <a:pt x="481965" y="1161097"/>
                  </a:cubicBezTo>
                  <a:cubicBezTo>
                    <a:pt x="481965" y="1152524"/>
                    <a:pt x="488633" y="1145857"/>
                    <a:pt x="497205" y="1145857"/>
                  </a:cubicBezTo>
                  <a:close/>
                  <a:moveTo>
                    <a:pt x="1946910" y="1143000"/>
                  </a:moveTo>
                  <a:cubicBezTo>
                    <a:pt x="1948816" y="1143000"/>
                    <a:pt x="1949768" y="1143953"/>
                    <a:pt x="1949768" y="1145858"/>
                  </a:cubicBezTo>
                  <a:cubicBezTo>
                    <a:pt x="1949768" y="1147763"/>
                    <a:pt x="1948816" y="1148715"/>
                    <a:pt x="1946910" y="1148715"/>
                  </a:cubicBezTo>
                  <a:cubicBezTo>
                    <a:pt x="1945005" y="1148715"/>
                    <a:pt x="1944053" y="1147763"/>
                    <a:pt x="1944053" y="1145858"/>
                  </a:cubicBezTo>
                  <a:cubicBezTo>
                    <a:pt x="1944053" y="1143953"/>
                    <a:pt x="1945005" y="1143000"/>
                    <a:pt x="1946910" y="1143000"/>
                  </a:cubicBezTo>
                  <a:close/>
                  <a:moveTo>
                    <a:pt x="255270" y="1138237"/>
                  </a:moveTo>
                  <a:cubicBezTo>
                    <a:pt x="262889" y="1138237"/>
                    <a:pt x="269557" y="1143952"/>
                    <a:pt x="269557" y="1152525"/>
                  </a:cubicBezTo>
                  <a:cubicBezTo>
                    <a:pt x="269557" y="1160145"/>
                    <a:pt x="263842" y="1166812"/>
                    <a:pt x="255270" y="1166812"/>
                  </a:cubicBezTo>
                  <a:cubicBezTo>
                    <a:pt x="247650" y="1166812"/>
                    <a:pt x="240982" y="1160145"/>
                    <a:pt x="240982" y="1152525"/>
                  </a:cubicBezTo>
                  <a:cubicBezTo>
                    <a:pt x="240982" y="1144904"/>
                    <a:pt x="246697" y="1138237"/>
                    <a:pt x="255270" y="1138237"/>
                  </a:cubicBezTo>
                  <a:close/>
                  <a:moveTo>
                    <a:pt x="1645920" y="1137284"/>
                  </a:moveTo>
                  <a:cubicBezTo>
                    <a:pt x="1645920" y="1137284"/>
                    <a:pt x="1646872" y="1138237"/>
                    <a:pt x="1646872" y="1138237"/>
                  </a:cubicBezTo>
                  <a:cubicBezTo>
                    <a:pt x="1646872" y="1138237"/>
                    <a:pt x="1646872" y="1139189"/>
                    <a:pt x="1645920" y="1139189"/>
                  </a:cubicBezTo>
                  <a:cubicBezTo>
                    <a:pt x="1644967" y="1139189"/>
                    <a:pt x="1644967" y="1138237"/>
                    <a:pt x="1644967" y="1138237"/>
                  </a:cubicBezTo>
                  <a:cubicBezTo>
                    <a:pt x="1644967" y="1138237"/>
                    <a:pt x="1644967" y="1137284"/>
                    <a:pt x="1645920" y="1137284"/>
                  </a:cubicBezTo>
                  <a:close/>
                  <a:moveTo>
                    <a:pt x="654367" y="1137284"/>
                  </a:moveTo>
                  <a:cubicBezTo>
                    <a:pt x="659130" y="1137284"/>
                    <a:pt x="662940" y="1141094"/>
                    <a:pt x="662940" y="1145857"/>
                  </a:cubicBezTo>
                  <a:cubicBezTo>
                    <a:pt x="662940" y="1150619"/>
                    <a:pt x="659130" y="1154429"/>
                    <a:pt x="654367" y="1154429"/>
                  </a:cubicBezTo>
                  <a:cubicBezTo>
                    <a:pt x="649605" y="1154429"/>
                    <a:pt x="646747" y="1150619"/>
                    <a:pt x="645795" y="1145857"/>
                  </a:cubicBezTo>
                  <a:cubicBezTo>
                    <a:pt x="645795" y="1141094"/>
                    <a:pt x="649605" y="1137284"/>
                    <a:pt x="654367" y="1137284"/>
                  </a:cubicBezTo>
                  <a:close/>
                  <a:moveTo>
                    <a:pt x="1864995" y="1135379"/>
                  </a:moveTo>
                  <a:cubicBezTo>
                    <a:pt x="1864995" y="1135379"/>
                    <a:pt x="1865947" y="1135379"/>
                    <a:pt x="1865947" y="1136332"/>
                  </a:cubicBezTo>
                  <a:cubicBezTo>
                    <a:pt x="1865947" y="1136332"/>
                    <a:pt x="1865947" y="1137284"/>
                    <a:pt x="1864995" y="1137284"/>
                  </a:cubicBezTo>
                  <a:cubicBezTo>
                    <a:pt x="1864042" y="1137284"/>
                    <a:pt x="1864042" y="1137284"/>
                    <a:pt x="1864042" y="1136332"/>
                  </a:cubicBezTo>
                  <a:cubicBezTo>
                    <a:pt x="1864042" y="1136332"/>
                    <a:pt x="1864042" y="1135379"/>
                    <a:pt x="1864995" y="1135379"/>
                  </a:cubicBezTo>
                  <a:close/>
                  <a:moveTo>
                    <a:pt x="403861" y="1126807"/>
                  </a:moveTo>
                  <a:cubicBezTo>
                    <a:pt x="413386" y="1126807"/>
                    <a:pt x="420053" y="1134427"/>
                    <a:pt x="420053" y="1142999"/>
                  </a:cubicBezTo>
                  <a:cubicBezTo>
                    <a:pt x="420053" y="1152524"/>
                    <a:pt x="412433" y="1159192"/>
                    <a:pt x="403861" y="1159192"/>
                  </a:cubicBezTo>
                  <a:cubicBezTo>
                    <a:pt x="395288" y="1159192"/>
                    <a:pt x="387668" y="1152524"/>
                    <a:pt x="387668" y="1142999"/>
                  </a:cubicBezTo>
                  <a:cubicBezTo>
                    <a:pt x="387668" y="1133474"/>
                    <a:pt x="395288" y="1126807"/>
                    <a:pt x="403861" y="1126807"/>
                  </a:cubicBezTo>
                  <a:close/>
                  <a:moveTo>
                    <a:pt x="1781175" y="1122997"/>
                  </a:moveTo>
                  <a:cubicBezTo>
                    <a:pt x="1781175" y="1122997"/>
                    <a:pt x="1782127" y="1122997"/>
                    <a:pt x="1782127" y="1123950"/>
                  </a:cubicBezTo>
                  <a:cubicBezTo>
                    <a:pt x="1782127" y="1123950"/>
                    <a:pt x="1782127" y="1124902"/>
                    <a:pt x="1781175" y="1124902"/>
                  </a:cubicBezTo>
                  <a:cubicBezTo>
                    <a:pt x="1780222" y="1124902"/>
                    <a:pt x="1780222" y="1123950"/>
                    <a:pt x="1780222" y="1123950"/>
                  </a:cubicBezTo>
                  <a:cubicBezTo>
                    <a:pt x="1780222" y="1123950"/>
                    <a:pt x="1780222" y="1122997"/>
                    <a:pt x="1781175" y="1122997"/>
                  </a:cubicBezTo>
                  <a:close/>
                  <a:moveTo>
                    <a:pt x="556260" y="1121092"/>
                  </a:moveTo>
                  <a:cubicBezTo>
                    <a:pt x="562928" y="1121092"/>
                    <a:pt x="567690" y="1125855"/>
                    <a:pt x="567690" y="1132522"/>
                  </a:cubicBezTo>
                  <a:cubicBezTo>
                    <a:pt x="567690" y="1139190"/>
                    <a:pt x="562928" y="1143952"/>
                    <a:pt x="556260" y="1143952"/>
                  </a:cubicBezTo>
                  <a:cubicBezTo>
                    <a:pt x="549593" y="1143952"/>
                    <a:pt x="544830" y="1139190"/>
                    <a:pt x="544830" y="1132522"/>
                  </a:cubicBezTo>
                  <a:cubicBezTo>
                    <a:pt x="544830" y="1125855"/>
                    <a:pt x="549593" y="1121092"/>
                    <a:pt x="556260" y="1121092"/>
                  </a:cubicBezTo>
                  <a:close/>
                  <a:moveTo>
                    <a:pt x="930592" y="1120140"/>
                  </a:moveTo>
                  <a:cubicBezTo>
                    <a:pt x="932498" y="1120140"/>
                    <a:pt x="933450" y="1121092"/>
                    <a:pt x="933450" y="1122997"/>
                  </a:cubicBezTo>
                  <a:cubicBezTo>
                    <a:pt x="933450" y="1124903"/>
                    <a:pt x="932498" y="1125855"/>
                    <a:pt x="930592" y="1125855"/>
                  </a:cubicBezTo>
                  <a:cubicBezTo>
                    <a:pt x="929640" y="1125855"/>
                    <a:pt x="927735" y="1124903"/>
                    <a:pt x="927735" y="1122997"/>
                  </a:cubicBezTo>
                  <a:cubicBezTo>
                    <a:pt x="927735" y="1121092"/>
                    <a:pt x="928687" y="1120140"/>
                    <a:pt x="930592" y="1120140"/>
                  </a:cubicBezTo>
                  <a:close/>
                  <a:moveTo>
                    <a:pt x="820103" y="1118234"/>
                  </a:moveTo>
                  <a:cubicBezTo>
                    <a:pt x="822960" y="1118234"/>
                    <a:pt x="824865" y="1120139"/>
                    <a:pt x="824865" y="1122997"/>
                  </a:cubicBezTo>
                  <a:cubicBezTo>
                    <a:pt x="824865" y="1125854"/>
                    <a:pt x="822960" y="1127759"/>
                    <a:pt x="820103" y="1127759"/>
                  </a:cubicBezTo>
                  <a:cubicBezTo>
                    <a:pt x="817245" y="1127759"/>
                    <a:pt x="815340" y="1125854"/>
                    <a:pt x="815340" y="1122997"/>
                  </a:cubicBezTo>
                  <a:cubicBezTo>
                    <a:pt x="815340" y="1120139"/>
                    <a:pt x="817245" y="1118234"/>
                    <a:pt x="820103" y="1118234"/>
                  </a:cubicBezTo>
                  <a:close/>
                  <a:moveTo>
                    <a:pt x="2286953" y="1116329"/>
                  </a:moveTo>
                  <a:cubicBezTo>
                    <a:pt x="2290763" y="1116329"/>
                    <a:pt x="2293620" y="1119187"/>
                    <a:pt x="2293620" y="1122996"/>
                  </a:cubicBezTo>
                  <a:cubicBezTo>
                    <a:pt x="2293620" y="1126807"/>
                    <a:pt x="2290763" y="1129664"/>
                    <a:pt x="2286953" y="1129664"/>
                  </a:cubicBezTo>
                  <a:cubicBezTo>
                    <a:pt x="2284095" y="1129664"/>
                    <a:pt x="2281238" y="1126807"/>
                    <a:pt x="2280285" y="1122996"/>
                  </a:cubicBezTo>
                  <a:cubicBezTo>
                    <a:pt x="2280285" y="1119187"/>
                    <a:pt x="2283143" y="1116329"/>
                    <a:pt x="2286953" y="1116329"/>
                  </a:cubicBezTo>
                  <a:close/>
                  <a:moveTo>
                    <a:pt x="169545" y="1116329"/>
                  </a:moveTo>
                  <a:cubicBezTo>
                    <a:pt x="177165" y="1116329"/>
                    <a:pt x="182880" y="1122044"/>
                    <a:pt x="182880" y="1129664"/>
                  </a:cubicBezTo>
                  <a:cubicBezTo>
                    <a:pt x="182880" y="1137284"/>
                    <a:pt x="177165" y="1142999"/>
                    <a:pt x="169545" y="1142999"/>
                  </a:cubicBezTo>
                  <a:cubicBezTo>
                    <a:pt x="161925" y="1142999"/>
                    <a:pt x="155257" y="1137284"/>
                    <a:pt x="156210" y="1129664"/>
                  </a:cubicBezTo>
                  <a:cubicBezTo>
                    <a:pt x="156210" y="1122044"/>
                    <a:pt x="161925" y="1116329"/>
                    <a:pt x="169545" y="1116329"/>
                  </a:cubicBezTo>
                  <a:close/>
                  <a:moveTo>
                    <a:pt x="2213610" y="1110615"/>
                  </a:moveTo>
                  <a:cubicBezTo>
                    <a:pt x="2218373" y="1110615"/>
                    <a:pt x="2223135" y="1114425"/>
                    <a:pt x="2223135" y="1120140"/>
                  </a:cubicBezTo>
                  <a:cubicBezTo>
                    <a:pt x="2223135" y="1124903"/>
                    <a:pt x="2219325" y="1129665"/>
                    <a:pt x="2213610" y="1129665"/>
                  </a:cubicBezTo>
                  <a:cubicBezTo>
                    <a:pt x="2207895" y="1129665"/>
                    <a:pt x="2204085" y="1125855"/>
                    <a:pt x="2204085" y="1120140"/>
                  </a:cubicBezTo>
                  <a:cubicBezTo>
                    <a:pt x="2204085" y="1115378"/>
                    <a:pt x="2207895" y="1110615"/>
                    <a:pt x="2213610" y="1110615"/>
                  </a:cubicBezTo>
                  <a:close/>
                  <a:moveTo>
                    <a:pt x="1047750" y="1110615"/>
                  </a:moveTo>
                  <a:cubicBezTo>
                    <a:pt x="1047750" y="1110615"/>
                    <a:pt x="1048703" y="1110615"/>
                    <a:pt x="1048703" y="1111567"/>
                  </a:cubicBezTo>
                  <a:cubicBezTo>
                    <a:pt x="1048703" y="1111567"/>
                    <a:pt x="1048703" y="1112520"/>
                    <a:pt x="1047750" y="1112520"/>
                  </a:cubicBezTo>
                  <a:cubicBezTo>
                    <a:pt x="1047750" y="1112520"/>
                    <a:pt x="1046798" y="1112520"/>
                    <a:pt x="1046798" y="1111567"/>
                  </a:cubicBezTo>
                  <a:cubicBezTo>
                    <a:pt x="1046798" y="1111567"/>
                    <a:pt x="1046798" y="1110615"/>
                    <a:pt x="1047750" y="1110615"/>
                  </a:cubicBezTo>
                  <a:close/>
                  <a:moveTo>
                    <a:pt x="715328" y="1110615"/>
                  </a:moveTo>
                  <a:cubicBezTo>
                    <a:pt x="718186" y="1110615"/>
                    <a:pt x="721043" y="1113472"/>
                    <a:pt x="721043" y="1116330"/>
                  </a:cubicBezTo>
                  <a:cubicBezTo>
                    <a:pt x="721043" y="1119187"/>
                    <a:pt x="718186" y="1122045"/>
                    <a:pt x="715328" y="1122045"/>
                  </a:cubicBezTo>
                  <a:cubicBezTo>
                    <a:pt x="712471" y="1122045"/>
                    <a:pt x="709613" y="1119187"/>
                    <a:pt x="709613" y="1116330"/>
                  </a:cubicBezTo>
                  <a:cubicBezTo>
                    <a:pt x="709613" y="1113472"/>
                    <a:pt x="712471" y="1110615"/>
                    <a:pt x="715328" y="1110615"/>
                  </a:cubicBezTo>
                  <a:close/>
                  <a:moveTo>
                    <a:pt x="2139315" y="1109662"/>
                  </a:moveTo>
                  <a:cubicBezTo>
                    <a:pt x="2142172" y="1109662"/>
                    <a:pt x="2145030" y="1112520"/>
                    <a:pt x="2145030" y="1115377"/>
                  </a:cubicBezTo>
                  <a:cubicBezTo>
                    <a:pt x="2145030" y="1118234"/>
                    <a:pt x="2142172" y="1121092"/>
                    <a:pt x="2139315" y="1121092"/>
                  </a:cubicBezTo>
                  <a:cubicBezTo>
                    <a:pt x="2135505" y="1121092"/>
                    <a:pt x="2133600" y="1118234"/>
                    <a:pt x="2133600" y="1115377"/>
                  </a:cubicBezTo>
                  <a:cubicBezTo>
                    <a:pt x="2133600" y="1112520"/>
                    <a:pt x="2136458" y="1109662"/>
                    <a:pt x="2139315" y="1109662"/>
                  </a:cubicBezTo>
                  <a:close/>
                  <a:moveTo>
                    <a:pt x="1694497" y="1106804"/>
                  </a:moveTo>
                  <a:cubicBezTo>
                    <a:pt x="1694497" y="1106804"/>
                    <a:pt x="1695450" y="1106804"/>
                    <a:pt x="1695450" y="1107757"/>
                  </a:cubicBezTo>
                  <a:cubicBezTo>
                    <a:pt x="1695450" y="1107757"/>
                    <a:pt x="1695450" y="1108709"/>
                    <a:pt x="1694497" y="1108709"/>
                  </a:cubicBezTo>
                  <a:cubicBezTo>
                    <a:pt x="1693545" y="1108709"/>
                    <a:pt x="1693545" y="1107757"/>
                    <a:pt x="1693545" y="1107757"/>
                  </a:cubicBezTo>
                  <a:cubicBezTo>
                    <a:pt x="1693545" y="1107757"/>
                    <a:pt x="1693545" y="1106804"/>
                    <a:pt x="1694497" y="1106804"/>
                  </a:cubicBezTo>
                  <a:close/>
                  <a:moveTo>
                    <a:pt x="2063115" y="1105852"/>
                  </a:moveTo>
                  <a:cubicBezTo>
                    <a:pt x="2065020" y="1105852"/>
                    <a:pt x="2066925" y="1107757"/>
                    <a:pt x="2066925" y="1109662"/>
                  </a:cubicBezTo>
                  <a:cubicBezTo>
                    <a:pt x="2066925" y="1111567"/>
                    <a:pt x="2065020" y="1113472"/>
                    <a:pt x="2063115" y="1113472"/>
                  </a:cubicBezTo>
                  <a:cubicBezTo>
                    <a:pt x="2061210" y="1113472"/>
                    <a:pt x="2059305" y="1112519"/>
                    <a:pt x="2059305" y="1109662"/>
                  </a:cubicBezTo>
                  <a:cubicBezTo>
                    <a:pt x="2059305" y="1107757"/>
                    <a:pt x="2061210" y="1105852"/>
                    <a:pt x="2063115" y="1105852"/>
                  </a:cubicBezTo>
                  <a:close/>
                  <a:moveTo>
                    <a:pt x="313372" y="1105852"/>
                  </a:moveTo>
                  <a:cubicBezTo>
                    <a:pt x="322897" y="1105852"/>
                    <a:pt x="330517" y="1113472"/>
                    <a:pt x="330517" y="1122997"/>
                  </a:cubicBezTo>
                  <a:cubicBezTo>
                    <a:pt x="330517" y="1132522"/>
                    <a:pt x="322897" y="1140142"/>
                    <a:pt x="313372" y="1140142"/>
                  </a:cubicBezTo>
                  <a:cubicBezTo>
                    <a:pt x="304800" y="1140142"/>
                    <a:pt x="297180" y="1132522"/>
                    <a:pt x="296227" y="1122997"/>
                  </a:cubicBezTo>
                  <a:cubicBezTo>
                    <a:pt x="296227" y="1113472"/>
                    <a:pt x="303847" y="1105852"/>
                    <a:pt x="313372" y="1105852"/>
                  </a:cubicBezTo>
                  <a:close/>
                  <a:moveTo>
                    <a:pt x="1985010" y="1102995"/>
                  </a:moveTo>
                  <a:cubicBezTo>
                    <a:pt x="1985010" y="1102995"/>
                    <a:pt x="1985963" y="1102995"/>
                    <a:pt x="1985963" y="1103947"/>
                  </a:cubicBezTo>
                  <a:cubicBezTo>
                    <a:pt x="1985963" y="1103947"/>
                    <a:pt x="1985963" y="1104900"/>
                    <a:pt x="1985010" y="1104900"/>
                  </a:cubicBezTo>
                  <a:cubicBezTo>
                    <a:pt x="1985010" y="1104900"/>
                    <a:pt x="1984058" y="1104900"/>
                    <a:pt x="1984058" y="1103947"/>
                  </a:cubicBezTo>
                  <a:cubicBezTo>
                    <a:pt x="1984058" y="1103947"/>
                    <a:pt x="1984058" y="1102995"/>
                    <a:pt x="1985010" y="1102995"/>
                  </a:cubicBezTo>
                  <a:close/>
                  <a:moveTo>
                    <a:pt x="461963" y="1100137"/>
                  </a:moveTo>
                  <a:cubicBezTo>
                    <a:pt x="470536" y="1100137"/>
                    <a:pt x="477203" y="1106804"/>
                    <a:pt x="477203" y="1115377"/>
                  </a:cubicBezTo>
                  <a:cubicBezTo>
                    <a:pt x="477203" y="1123950"/>
                    <a:pt x="470536" y="1130617"/>
                    <a:pt x="461963" y="1130617"/>
                  </a:cubicBezTo>
                  <a:cubicBezTo>
                    <a:pt x="454343" y="1130617"/>
                    <a:pt x="446723" y="1123950"/>
                    <a:pt x="446723" y="1115377"/>
                  </a:cubicBezTo>
                  <a:cubicBezTo>
                    <a:pt x="446723" y="1106804"/>
                    <a:pt x="453390" y="1100137"/>
                    <a:pt x="461963" y="1100137"/>
                  </a:cubicBezTo>
                  <a:close/>
                  <a:moveTo>
                    <a:pt x="615315" y="1097279"/>
                  </a:moveTo>
                  <a:cubicBezTo>
                    <a:pt x="619125" y="1097279"/>
                    <a:pt x="621983" y="1100137"/>
                    <a:pt x="621983" y="1103946"/>
                  </a:cubicBezTo>
                  <a:cubicBezTo>
                    <a:pt x="621983" y="1107757"/>
                    <a:pt x="619125" y="1110614"/>
                    <a:pt x="615315" y="1110614"/>
                  </a:cubicBezTo>
                  <a:cubicBezTo>
                    <a:pt x="611505" y="1110614"/>
                    <a:pt x="608648" y="1107757"/>
                    <a:pt x="608648" y="1103946"/>
                  </a:cubicBezTo>
                  <a:cubicBezTo>
                    <a:pt x="608648" y="1100137"/>
                    <a:pt x="611505" y="1097279"/>
                    <a:pt x="615315" y="1097279"/>
                  </a:cubicBezTo>
                  <a:close/>
                  <a:moveTo>
                    <a:pt x="84772" y="1097279"/>
                  </a:moveTo>
                  <a:cubicBezTo>
                    <a:pt x="89535" y="1097279"/>
                    <a:pt x="93345" y="1101089"/>
                    <a:pt x="93345" y="1105852"/>
                  </a:cubicBezTo>
                  <a:cubicBezTo>
                    <a:pt x="93345" y="1110614"/>
                    <a:pt x="89535" y="1114424"/>
                    <a:pt x="84772" y="1114424"/>
                  </a:cubicBezTo>
                  <a:cubicBezTo>
                    <a:pt x="80963" y="1114424"/>
                    <a:pt x="76200" y="1110614"/>
                    <a:pt x="76200" y="1105852"/>
                  </a:cubicBezTo>
                  <a:cubicBezTo>
                    <a:pt x="76200" y="1101089"/>
                    <a:pt x="80010" y="1097279"/>
                    <a:pt x="84772" y="1097279"/>
                  </a:cubicBezTo>
                  <a:close/>
                  <a:moveTo>
                    <a:pt x="1905952" y="1093470"/>
                  </a:moveTo>
                  <a:cubicBezTo>
                    <a:pt x="1906905" y="1093470"/>
                    <a:pt x="1907857" y="1094422"/>
                    <a:pt x="1907857" y="1095375"/>
                  </a:cubicBezTo>
                  <a:cubicBezTo>
                    <a:pt x="1907857" y="1096328"/>
                    <a:pt x="1906905" y="1097280"/>
                    <a:pt x="1905952" y="1097280"/>
                  </a:cubicBezTo>
                  <a:cubicBezTo>
                    <a:pt x="1905000" y="1097280"/>
                    <a:pt x="1905000" y="1096328"/>
                    <a:pt x="1904047" y="1095375"/>
                  </a:cubicBezTo>
                  <a:cubicBezTo>
                    <a:pt x="1904047" y="1094422"/>
                    <a:pt x="1905000" y="1093470"/>
                    <a:pt x="1905952" y="1093470"/>
                  </a:cubicBezTo>
                  <a:close/>
                  <a:moveTo>
                    <a:pt x="226695" y="1090612"/>
                  </a:moveTo>
                  <a:cubicBezTo>
                    <a:pt x="232410" y="1090612"/>
                    <a:pt x="238125" y="1095375"/>
                    <a:pt x="238125" y="1102042"/>
                  </a:cubicBezTo>
                  <a:cubicBezTo>
                    <a:pt x="238125" y="1107757"/>
                    <a:pt x="233363" y="1113472"/>
                    <a:pt x="226695" y="1113472"/>
                  </a:cubicBezTo>
                  <a:cubicBezTo>
                    <a:pt x="220980" y="1113472"/>
                    <a:pt x="215265" y="1107757"/>
                    <a:pt x="215265" y="1102042"/>
                  </a:cubicBezTo>
                  <a:cubicBezTo>
                    <a:pt x="215265" y="1096327"/>
                    <a:pt x="220028" y="1090612"/>
                    <a:pt x="226695" y="1090612"/>
                  </a:cubicBezTo>
                  <a:close/>
                  <a:moveTo>
                    <a:pt x="882967" y="1087754"/>
                  </a:moveTo>
                  <a:cubicBezTo>
                    <a:pt x="884873" y="1087754"/>
                    <a:pt x="885825" y="1089659"/>
                    <a:pt x="885825" y="1090612"/>
                  </a:cubicBezTo>
                  <a:cubicBezTo>
                    <a:pt x="885825" y="1092517"/>
                    <a:pt x="884873" y="1093469"/>
                    <a:pt x="882967" y="1093469"/>
                  </a:cubicBezTo>
                  <a:cubicBezTo>
                    <a:pt x="881062" y="1093469"/>
                    <a:pt x="880110" y="1092517"/>
                    <a:pt x="880110" y="1090612"/>
                  </a:cubicBezTo>
                  <a:cubicBezTo>
                    <a:pt x="880110" y="1088707"/>
                    <a:pt x="882015" y="1087754"/>
                    <a:pt x="882967" y="1087754"/>
                  </a:cubicBezTo>
                  <a:close/>
                  <a:moveTo>
                    <a:pt x="1824990" y="1083945"/>
                  </a:moveTo>
                  <a:cubicBezTo>
                    <a:pt x="1825943" y="1083945"/>
                    <a:pt x="1826895" y="1084897"/>
                    <a:pt x="1826895" y="1085850"/>
                  </a:cubicBezTo>
                  <a:cubicBezTo>
                    <a:pt x="1826895" y="1086803"/>
                    <a:pt x="1825943" y="1087755"/>
                    <a:pt x="1824990" y="1087755"/>
                  </a:cubicBezTo>
                  <a:cubicBezTo>
                    <a:pt x="1824038" y="1087755"/>
                    <a:pt x="1823085" y="1086803"/>
                    <a:pt x="1823085" y="1085850"/>
                  </a:cubicBezTo>
                  <a:cubicBezTo>
                    <a:pt x="1823085" y="1084897"/>
                    <a:pt x="1824038" y="1083945"/>
                    <a:pt x="1824990" y="1083945"/>
                  </a:cubicBezTo>
                  <a:close/>
                  <a:moveTo>
                    <a:pt x="776287" y="1082040"/>
                  </a:moveTo>
                  <a:cubicBezTo>
                    <a:pt x="778192" y="1082040"/>
                    <a:pt x="780097" y="1083945"/>
                    <a:pt x="780097" y="1085850"/>
                  </a:cubicBezTo>
                  <a:cubicBezTo>
                    <a:pt x="780097" y="1087755"/>
                    <a:pt x="778192" y="1089660"/>
                    <a:pt x="776287" y="1089660"/>
                  </a:cubicBezTo>
                  <a:cubicBezTo>
                    <a:pt x="774382" y="1089660"/>
                    <a:pt x="772477" y="1087755"/>
                    <a:pt x="772477" y="1085850"/>
                  </a:cubicBezTo>
                  <a:cubicBezTo>
                    <a:pt x="772477" y="1083945"/>
                    <a:pt x="774382" y="1082040"/>
                    <a:pt x="776287" y="1082040"/>
                  </a:cubicBezTo>
                  <a:close/>
                  <a:moveTo>
                    <a:pt x="372428" y="1081087"/>
                  </a:moveTo>
                  <a:cubicBezTo>
                    <a:pt x="380048" y="1081087"/>
                    <a:pt x="386715" y="1087754"/>
                    <a:pt x="386715" y="1095375"/>
                  </a:cubicBezTo>
                  <a:cubicBezTo>
                    <a:pt x="386715" y="1102995"/>
                    <a:pt x="380048" y="1109662"/>
                    <a:pt x="372428" y="1109662"/>
                  </a:cubicBezTo>
                  <a:cubicBezTo>
                    <a:pt x="364808" y="1109662"/>
                    <a:pt x="358140" y="1102995"/>
                    <a:pt x="358140" y="1095375"/>
                  </a:cubicBezTo>
                  <a:cubicBezTo>
                    <a:pt x="358140" y="1087754"/>
                    <a:pt x="364808" y="1081087"/>
                    <a:pt x="372428" y="1081087"/>
                  </a:cubicBezTo>
                  <a:close/>
                  <a:moveTo>
                    <a:pt x="521018" y="1077277"/>
                  </a:moveTo>
                  <a:cubicBezTo>
                    <a:pt x="526733" y="1077277"/>
                    <a:pt x="530543" y="1081087"/>
                    <a:pt x="530543" y="1086802"/>
                  </a:cubicBezTo>
                  <a:cubicBezTo>
                    <a:pt x="530543" y="1092517"/>
                    <a:pt x="525780" y="1096327"/>
                    <a:pt x="521018" y="1096327"/>
                  </a:cubicBezTo>
                  <a:cubicBezTo>
                    <a:pt x="516256" y="1096327"/>
                    <a:pt x="511493" y="1092517"/>
                    <a:pt x="511493" y="1086802"/>
                  </a:cubicBezTo>
                  <a:cubicBezTo>
                    <a:pt x="511493" y="1081087"/>
                    <a:pt x="516256" y="1077277"/>
                    <a:pt x="521018" y="1077277"/>
                  </a:cubicBezTo>
                  <a:close/>
                  <a:moveTo>
                    <a:pt x="675323" y="1069657"/>
                  </a:moveTo>
                  <a:cubicBezTo>
                    <a:pt x="678180" y="1069657"/>
                    <a:pt x="680085" y="1071562"/>
                    <a:pt x="680085" y="1074420"/>
                  </a:cubicBezTo>
                  <a:cubicBezTo>
                    <a:pt x="680085" y="1077277"/>
                    <a:pt x="678180" y="1079182"/>
                    <a:pt x="675323" y="1079182"/>
                  </a:cubicBezTo>
                  <a:cubicBezTo>
                    <a:pt x="673417" y="1079182"/>
                    <a:pt x="670560" y="1077277"/>
                    <a:pt x="670560" y="1074420"/>
                  </a:cubicBezTo>
                  <a:cubicBezTo>
                    <a:pt x="670560" y="1071562"/>
                    <a:pt x="672465" y="1069657"/>
                    <a:pt x="675323" y="1069657"/>
                  </a:cubicBezTo>
                  <a:close/>
                  <a:moveTo>
                    <a:pt x="142875" y="1065847"/>
                  </a:moveTo>
                  <a:cubicBezTo>
                    <a:pt x="149543" y="1065847"/>
                    <a:pt x="155258" y="1071562"/>
                    <a:pt x="155258" y="1078230"/>
                  </a:cubicBezTo>
                  <a:cubicBezTo>
                    <a:pt x="155258" y="1084897"/>
                    <a:pt x="149543" y="1090612"/>
                    <a:pt x="142875" y="1090612"/>
                  </a:cubicBezTo>
                  <a:cubicBezTo>
                    <a:pt x="136208" y="1090612"/>
                    <a:pt x="130493" y="1084897"/>
                    <a:pt x="130493" y="1078230"/>
                  </a:cubicBezTo>
                  <a:cubicBezTo>
                    <a:pt x="130493" y="1071562"/>
                    <a:pt x="136208" y="1065847"/>
                    <a:pt x="142875" y="1065847"/>
                  </a:cubicBezTo>
                  <a:close/>
                  <a:moveTo>
                    <a:pt x="2170748" y="1062990"/>
                  </a:moveTo>
                  <a:cubicBezTo>
                    <a:pt x="2173605" y="1062990"/>
                    <a:pt x="2175510" y="1064895"/>
                    <a:pt x="2175510" y="1067753"/>
                  </a:cubicBezTo>
                  <a:cubicBezTo>
                    <a:pt x="2175510" y="1070610"/>
                    <a:pt x="2173605" y="1072515"/>
                    <a:pt x="2170748" y="1072515"/>
                  </a:cubicBezTo>
                  <a:cubicBezTo>
                    <a:pt x="2167890" y="1072515"/>
                    <a:pt x="2165985" y="1070610"/>
                    <a:pt x="2165985" y="1067753"/>
                  </a:cubicBezTo>
                  <a:cubicBezTo>
                    <a:pt x="2165985" y="1064895"/>
                    <a:pt x="2167890" y="1062990"/>
                    <a:pt x="2170748" y="1062990"/>
                  </a:cubicBezTo>
                  <a:close/>
                  <a:moveTo>
                    <a:pt x="2244090" y="1062037"/>
                  </a:moveTo>
                  <a:cubicBezTo>
                    <a:pt x="2248853" y="1062037"/>
                    <a:pt x="2253615" y="1065847"/>
                    <a:pt x="2253615" y="1071562"/>
                  </a:cubicBezTo>
                  <a:cubicBezTo>
                    <a:pt x="2253615" y="1076325"/>
                    <a:pt x="2249805" y="1081087"/>
                    <a:pt x="2244090" y="1081087"/>
                  </a:cubicBezTo>
                  <a:cubicBezTo>
                    <a:pt x="2238375" y="1081087"/>
                    <a:pt x="2234565" y="1076325"/>
                    <a:pt x="2234565" y="1071562"/>
                  </a:cubicBezTo>
                  <a:cubicBezTo>
                    <a:pt x="2234565" y="1066800"/>
                    <a:pt x="2238375" y="1062037"/>
                    <a:pt x="2244090" y="1062037"/>
                  </a:cubicBezTo>
                  <a:close/>
                  <a:moveTo>
                    <a:pt x="2096452" y="1062037"/>
                  </a:moveTo>
                  <a:cubicBezTo>
                    <a:pt x="2097405" y="1062037"/>
                    <a:pt x="2098357" y="1062990"/>
                    <a:pt x="2098357" y="1063942"/>
                  </a:cubicBezTo>
                  <a:cubicBezTo>
                    <a:pt x="2098357" y="1064895"/>
                    <a:pt x="2097405" y="1065847"/>
                    <a:pt x="2096452" y="1065847"/>
                  </a:cubicBezTo>
                  <a:cubicBezTo>
                    <a:pt x="2095500" y="1065847"/>
                    <a:pt x="2094547" y="1064895"/>
                    <a:pt x="2094547" y="1063942"/>
                  </a:cubicBezTo>
                  <a:cubicBezTo>
                    <a:pt x="2094547" y="1062990"/>
                    <a:pt x="2095500" y="1062037"/>
                    <a:pt x="2096452" y="1062037"/>
                  </a:cubicBezTo>
                  <a:close/>
                  <a:moveTo>
                    <a:pt x="284798" y="1057275"/>
                  </a:moveTo>
                  <a:cubicBezTo>
                    <a:pt x="293370" y="1057275"/>
                    <a:pt x="300990" y="1064895"/>
                    <a:pt x="300990" y="1073467"/>
                  </a:cubicBezTo>
                  <a:cubicBezTo>
                    <a:pt x="300990" y="1082040"/>
                    <a:pt x="293370" y="1089660"/>
                    <a:pt x="284798" y="1089660"/>
                  </a:cubicBezTo>
                  <a:cubicBezTo>
                    <a:pt x="276225" y="1089660"/>
                    <a:pt x="268605" y="1082992"/>
                    <a:pt x="268605" y="1073467"/>
                  </a:cubicBezTo>
                  <a:cubicBezTo>
                    <a:pt x="268605" y="1064895"/>
                    <a:pt x="276225" y="1057275"/>
                    <a:pt x="284798" y="1057275"/>
                  </a:cubicBezTo>
                  <a:close/>
                  <a:moveTo>
                    <a:pt x="946785" y="1056322"/>
                  </a:moveTo>
                  <a:cubicBezTo>
                    <a:pt x="946785" y="1056322"/>
                    <a:pt x="947738" y="1056322"/>
                    <a:pt x="947738" y="1057275"/>
                  </a:cubicBezTo>
                  <a:cubicBezTo>
                    <a:pt x="947738" y="1057275"/>
                    <a:pt x="947738" y="1058227"/>
                    <a:pt x="946785" y="1058227"/>
                  </a:cubicBezTo>
                  <a:cubicBezTo>
                    <a:pt x="945833" y="1058227"/>
                    <a:pt x="945833" y="1057275"/>
                    <a:pt x="945833" y="1057275"/>
                  </a:cubicBezTo>
                  <a:cubicBezTo>
                    <a:pt x="945833" y="1057275"/>
                    <a:pt x="945833" y="1056322"/>
                    <a:pt x="946785" y="1056322"/>
                  </a:cubicBezTo>
                  <a:close/>
                  <a:moveTo>
                    <a:pt x="580073" y="1052512"/>
                  </a:moveTo>
                  <a:cubicBezTo>
                    <a:pt x="583883" y="1052512"/>
                    <a:pt x="586740" y="1055370"/>
                    <a:pt x="586740" y="1059179"/>
                  </a:cubicBezTo>
                  <a:cubicBezTo>
                    <a:pt x="586740" y="1062990"/>
                    <a:pt x="583883" y="1065847"/>
                    <a:pt x="580073" y="1065847"/>
                  </a:cubicBezTo>
                  <a:cubicBezTo>
                    <a:pt x="576263" y="1065847"/>
                    <a:pt x="573405" y="1062037"/>
                    <a:pt x="573405" y="1059179"/>
                  </a:cubicBezTo>
                  <a:cubicBezTo>
                    <a:pt x="573405" y="1055370"/>
                    <a:pt x="576263" y="1052512"/>
                    <a:pt x="580073" y="1052512"/>
                  </a:cubicBezTo>
                  <a:close/>
                  <a:moveTo>
                    <a:pt x="430530" y="1052512"/>
                  </a:moveTo>
                  <a:cubicBezTo>
                    <a:pt x="439103" y="1052512"/>
                    <a:pt x="445770" y="1059179"/>
                    <a:pt x="445770" y="1067752"/>
                  </a:cubicBezTo>
                  <a:cubicBezTo>
                    <a:pt x="445770" y="1076325"/>
                    <a:pt x="439103" y="1082992"/>
                    <a:pt x="430530" y="1082992"/>
                  </a:cubicBezTo>
                  <a:cubicBezTo>
                    <a:pt x="421958" y="1082992"/>
                    <a:pt x="415290" y="1076325"/>
                    <a:pt x="415290" y="1067752"/>
                  </a:cubicBezTo>
                  <a:cubicBezTo>
                    <a:pt x="415290" y="1059179"/>
                    <a:pt x="421958" y="1052512"/>
                    <a:pt x="430530" y="1052512"/>
                  </a:cubicBezTo>
                  <a:close/>
                  <a:moveTo>
                    <a:pt x="1944053" y="1051559"/>
                  </a:moveTo>
                  <a:cubicBezTo>
                    <a:pt x="1944053" y="1051559"/>
                    <a:pt x="1945005" y="1051559"/>
                    <a:pt x="1945005" y="1052512"/>
                  </a:cubicBezTo>
                  <a:cubicBezTo>
                    <a:pt x="1945005" y="1052512"/>
                    <a:pt x="1945005" y="1053464"/>
                    <a:pt x="1944053" y="1053464"/>
                  </a:cubicBezTo>
                  <a:cubicBezTo>
                    <a:pt x="1944053" y="1053464"/>
                    <a:pt x="1943100" y="1053464"/>
                    <a:pt x="1943100" y="1052512"/>
                  </a:cubicBezTo>
                  <a:cubicBezTo>
                    <a:pt x="1943100" y="1052512"/>
                    <a:pt x="1943100" y="1051559"/>
                    <a:pt x="1944053" y="1051559"/>
                  </a:cubicBezTo>
                  <a:close/>
                  <a:moveTo>
                    <a:pt x="838200" y="1051559"/>
                  </a:moveTo>
                  <a:cubicBezTo>
                    <a:pt x="840105" y="1051559"/>
                    <a:pt x="841057" y="1053464"/>
                    <a:pt x="841057" y="1054417"/>
                  </a:cubicBezTo>
                  <a:cubicBezTo>
                    <a:pt x="841057" y="1056322"/>
                    <a:pt x="839152" y="1057274"/>
                    <a:pt x="838200" y="1057274"/>
                  </a:cubicBezTo>
                  <a:cubicBezTo>
                    <a:pt x="836295" y="1057274"/>
                    <a:pt x="835342" y="1056322"/>
                    <a:pt x="835342" y="1054417"/>
                  </a:cubicBezTo>
                  <a:cubicBezTo>
                    <a:pt x="835342" y="1052512"/>
                    <a:pt x="836295" y="1051559"/>
                    <a:pt x="838200" y="1051559"/>
                  </a:cubicBezTo>
                  <a:close/>
                  <a:moveTo>
                    <a:pt x="1865947" y="1042987"/>
                  </a:moveTo>
                  <a:cubicBezTo>
                    <a:pt x="1866900" y="1042987"/>
                    <a:pt x="1867852" y="1043940"/>
                    <a:pt x="1867852" y="1044892"/>
                  </a:cubicBezTo>
                  <a:cubicBezTo>
                    <a:pt x="1867852" y="1045845"/>
                    <a:pt x="1866900" y="1046797"/>
                    <a:pt x="1865947" y="1046797"/>
                  </a:cubicBezTo>
                  <a:cubicBezTo>
                    <a:pt x="1864995" y="1046797"/>
                    <a:pt x="1864042" y="1045845"/>
                    <a:pt x="1864042" y="1044892"/>
                  </a:cubicBezTo>
                  <a:cubicBezTo>
                    <a:pt x="1864042" y="1043940"/>
                    <a:pt x="1864995" y="1042987"/>
                    <a:pt x="1865947" y="1042987"/>
                  </a:cubicBezTo>
                  <a:close/>
                  <a:moveTo>
                    <a:pt x="735330" y="1041082"/>
                  </a:moveTo>
                  <a:cubicBezTo>
                    <a:pt x="737235" y="1041082"/>
                    <a:pt x="739140" y="1042987"/>
                    <a:pt x="739140" y="1044892"/>
                  </a:cubicBezTo>
                  <a:cubicBezTo>
                    <a:pt x="739140" y="1046797"/>
                    <a:pt x="737235" y="1048702"/>
                    <a:pt x="735330" y="1048702"/>
                  </a:cubicBezTo>
                  <a:cubicBezTo>
                    <a:pt x="733425" y="1048702"/>
                    <a:pt x="732472" y="1046797"/>
                    <a:pt x="731520" y="1044892"/>
                  </a:cubicBezTo>
                  <a:cubicBezTo>
                    <a:pt x="731520" y="1042987"/>
                    <a:pt x="733425" y="1041082"/>
                    <a:pt x="735330" y="1041082"/>
                  </a:cubicBezTo>
                  <a:close/>
                  <a:moveTo>
                    <a:pt x="200977" y="1039177"/>
                  </a:moveTo>
                  <a:cubicBezTo>
                    <a:pt x="206692" y="1039177"/>
                    <a:pt x="212407" y="1043940"/>
                    <a:pt x="212407" y="1050607"/>
                  </a:cubicBezTo>
                  <a:cubicBezTo>
                    <a:pt x="212407" y="1056322"/>
                    <a:pt x="207645" y="1062037"/>
                    <a:pt x="200977" y="1062037"/>
                  </a:cubicBezTo>
                  <a:cubicBezTo>
                    <a:pt x="194310" y="1062037"/>
                    <a:pt x="188595" y="1057274"/>
                    <a:pt x="189547" y="1050607"/>
                  </a:cubicBezTo>
                  <a:cubicBezTo>
                    <a:pt x="189547" y="1044892"/>
                    <a:pt x="194310" y="1039177"/>
                    <a:pt x="200977" y="1039177"/>
                  </a:cubicBezTo>
                  <a:close/>
                  <a:moveTo>
                    <a:pt x="342901" y="1031557"/>
                  </a:moveTo>
                  <a:cubicBezTo>
                    <a:pt x="350520" y="1031557"/>
                    <a:pt x="357188" y="1038224"/>
                    <a:pt x="357188" y="1045845"/>
                  </a:cubicBezTo>
                  <a:cubicBezTo>
                    <a:pt x="357188" y="1053465"/>
                    <a:pt x="350520" y="1060132"/>
                    <a:pt x="342901" y="1060132"/>
                  </a:cubicBezTo>
                  <a:cubicBezTo>
                    <a:pt x="335281" y="1060132"/>
                    <a:pt x="328613" y="1053465"/>
                    <a:pt x="328613" y="1045845"/>
                  </a:cubicBezTo>
                  <a:cubicBezTo>
                    <a:pt x="328613" y="1038224"/>
                    <a:pt x="335281" y="1031557"/>
                    <a:pt x="342901" y="1031557"/>
                  </a:cubicBezTo>
                  <a:close/>
                  <a:moveTo>
                    <a:pt x="488633" y="1029652"/>
                  </a:moveTo>
                  <a:cubicBezTo>
                    <a:pt x="493894" y="1029652"/>
                    <a:pt x="498158" y="1033916"/>
                    <a:pt x="498158" y="1039177"/>
                  </a:cubicBezTo>
                  <a:cubicBezTo>
                    <a:pt x="498158" y="1044438"/>
                    <a:pt x="493894" y="1048702"/>
                    <a:pt x="488633" y="1048702"/>
                  </a:cubicBezTo>
                  <a:cubicBezTo>
                    <a:pt x="483372" y="1048702"/>
                    <a:pt x="479108" y="1044438"/>
                    <a:pt x="479108" y="1039177"/>
                  </a:cubicBezTo>
                  <a:cubicBezTo>
                    <a:pt x="479108" y="1033916"/>
                    <a:pt x="483372" y="1029652"/>
                    <a:pt x="488633" y="1029652"/>
                  </a:cubicBezTo>
                  <a:close/>
                  <a:moveTo>
                    <a:pt x="639128" y="1026795"/>
                  </a:moveTo>
                  <a:cubicBezTo>
                    <a:pt x="641033" y="1026795"/>
                    <a:pt x="642938" y="1028700"/>
                    <a:pt x="642938" y="1030605"/>
                  </a:cubicBezTo>
                  <a:cubicBezTo>
                    <a:pt x="642938" y="1032510"/>
                    <a:pt x="641033" y="1034415"/>
                    <a:pt x="639128" y="1034415"/>
                  </a:cubicBezTo>
                  <a:cubicBezTo>
                    <a:pt x="636270" y="1034415"/>
                    <a:pt x="634365" y="1032510"/>
                    <a:pt x="635318" y="1030605"/>
                  </a:cubicBezTo>
                  <a:cubicBezTo>
                    <a:pt x="635318" y="1028700"/>
                    <a:pt x="637223" y="1026795"/>
                    <a:pt x="639128" y="1026795"/>
                  </a:cubicBezTo>
                  <a:close/>
                  <a:moveTo>
                    <a:pt x="2342197" y="1020127"/>
                  </a:moveTo>
                  <a:cubicBezTo>
                    <a:pt x="2343150" y="1020127"/>
                    <a:pt x="2344102" y="1021079"/>
                    <a:pt x="2344102" y="1022032"/>
                  </a:cubicBezTo>
                  <a:cubicBezTo>
                    <a:pt x="2344102" y="1022984"/>
                    <a:pt x="2343150" y="1023937"/>
                    <a:pt x="2342197" y="1023937"/>
                  </a:cubicBezTo>
                  <a:cubicBezTo>
                    <a:pt x="2341245" y="1023937"/>
                    <a:pt x="2340292" y="1022984"/>
                    <a:pt x="2340292" y="1022032"/>
                  </a:cubicBezTo>
                  <a:cubicBezTo>
                    <a:pt x="2340292" y="1021079"/>
                    <a:pt x="2341245" y="1020127"/>
                    <a:pt x="2342197" y="1020127"/>
                  </a:cubicBezTo>
                  <a:close/>
                  <a:moveTo>
                    <a:pt x="119063" y="1015365"/>
                  </a:moveTo>
                  <a:cubicBezTo>
                    <a:pt x="124778" y="1015365"/>
                    <a:pt x="129540" y="1020128"/>
                    <a:pt x="129540" y="1025842"/>
                  </a:cubicBezTo>
                  <a:cubicBezTo>
                    <a:pt x="129540" y="1031557"/>
                    <a:pt x="124778" y="1036320"/>
                    <a:pt x="119063" y="1036320"/>
                  </a:cubicBezTo>
                  <a:cubicBezTo>
                    <a:pt x="113348" y="1036320"/>
                    <a:pt x="108585" y="1031557"/>
                    <a:pt x="108585" y="1025842"/>
                  </a:cubicBezTo>
                  <a:cubicBezTo>
                    <a:pt x="108585" y="1020128"/>
                    <a:pt x="113348" y="1015365"/>
                    <a:pt x="119063" y="1015365"/>
                  </a:cubicBezTo>
                  <a:close/>
                  <a:moveTo>
                    <a:pt x="259080" y="1013459"/>
                  </a:moveTo>
                  <a:cubicBezTo>
                    <a:pt x="263842" y="1013459"/>
                    <a:pt x="268605" y="1017269"/>
                    <a:pt x="268605" y="1022984"/>
                  </a:cubicBezTo>
                  <a:cubicBezTo>
                    <a:pt x="268605" y="1027747"/>
                    <a:pt x="264795" y="1032509"/>
                    <a:pt x="259080" y="1032509"/>
                  </a:cubicBezTo>
                  <a:cubicBezTo>
                    <a:pt x="253365" y="1032509"/>
                    <a:pt x="248602" y="1027747"/>
                    <a:pt x="249555" y="1022984"/>
                  </a:cubicBezTo>
                  <a:cubicBezTo>
                    <a:pt x="249555" y="1018222"/>
                    <a:pt x="253365" y="1013459"/>
                    <a:pt x="259080" y="1013459"/>
                  </a:cubicBezTo>
                  <a:close/>
                  <a:moveTo>
                    <a:pt x="795338" y="1012507"/>
                  </a:moveTo>
                  <a:cubicBezTo>
                    <a:pt x="797243" y="1012507"/>
                    <a:pt x="798195" y="1013459"/>
                    <a:pt x="798195" y="1015365"/>
                  </a:cubicBezTo>
                  <a:cubicBezTo>
                    <a:pt x="798195" y="1017270"/>
                    <a:pt x="797243" y="1018222"/>
                    <a:pt x="795338" y="1018222"/>
                  </a:cubicBezTo>
                  <a:cubicBezTo>
                    <a:pt x="794385" y="1018222"/>
                    <a:pt x="793433" y="1017270"/>
                    <a:pt x="792480" y="1015365"/>
                  </a:cubicBezTo>
                  <a:cubicBezTo>
                    <a:pt x="792480" y="1013459"/>
                    <a:pt x="793433" y="1012507"/>
                    <a:pt x="795338" y="1012507"/>
                  </a:cubicBezTo>
                  <a:close/>
                  <a:moveTo>
                    <a:pt x="2054542" y="1010602"/>
                  </a:moveTo>
                  <a:cubicBezTo>
                    <a:pt x="2054542" y="1010602"/>
                    <a:pt x="2055495" y="1010602"/>
                    <a:pt x="2055495" y="1011554"/>
                  </a:cubicBezTo>
                  <a:cubicBezTo>
                    <a:pt x="2055495" y="1011554"/>
                    <a:pt x="2055495" y="1012507"/>
                    <a:pt x="2054542" y="1012507"/>
                  </a:cubicBezTo>
                  <a:cubicBezTo>
                    <a:pt x="2053590" y="1012507"/>
                    <a:pt x="2052637" y="1012507"/>
                    <a:pt x="2053590" y="1011554"/>
                  </a:cubicBezTo>
                  <a:cubicBezTo>
                    <a:pt x="2053590" y="1011554"/>
                    <a:pt x="2054542" y="1010602"/>
                    <a:pt x="2054542" y="1010602"/>
                  </a:cubicBezTo>
                  <a:close/>
                  <a:moveTo>
                    <a:pt x="2127885" y="1009650"/>
                  </a:moveTo>
                  <a:cubicBezTo>
                    <a:pt x="2130742" y="1009650"/>
                    <a:pt x="2132647" y="1011555"/>
                    <a:pt x="2132647" y="1014413"/>
                  </a:cubicBezTo>
                  <a:cubicBezTo>
                    <a:pt x="2132647" y="1017270"/>
                    <a:pt x="2130742" y="1019175"/>
                    <a:pt x="2127885" y="1019175"/>
                  </a:cubicBezTo>
                  <a:cubicBezTo>
                    <a:pt x="2125027" y="1019175"/>
                    <a:pt x="2123122" y="1017270"/>
                    <a:pt x="2123122" y="1014413"/>
                  </a:cubicBezTo>
                  <a:cubicBezTo>
                    <a:pt x="2123122" y="1011555"/>
                    <a:pt x="2125027" y="1009650"/>
                    <a:pt x="2127885" y="1009650"/>
                  </a:cubicBezTo>
                  <a:close/>
                  <a:moveTo>
                    <a:pt x="2271713" y="1007745"/>
                  </a:moveTo>
                  <a:cubicBezTo>
                    <a:pt x="2278380" y="1007745"/>
                    <a:pt x="2284095" y="1013460"/>
                    <a:pt x="2284095" y="1020128"/>
                  </a:cubicBezTo>
                  <a:cubicBezTo>
                    <a:pt x="2284095" y="1026795"/>
                    <a:pt x="2278380" y="1032510"/>
                    <a:pt x="2271713" y="1032510"/>
                  </a:cubicBezTo>
                  <a:cubicBezTo>
                    <a:pt x="2265045" y="1032510"/>
                    <a:pt x="2259330" y="1026795"/>
                    <a:pt x="2259330" y="1020128"/>
                  </a:cubicBezTo>
                  <a:cubicBezTo>
                    <a:pt x="2259330" y="1013460"/>
                    <a:pt x="2265045" y="1007745"/>
                    <a:pt x="2271713" y="1007745"/>
                  </a:cubicBezTo>
                  <a:close/>
                  <a:moveTo>
                    <a:pt x="401002" y="1007745"/>
                  </a:moveTo>
                  <a:cubicBezTo>
                    <a:pt x="406717" y="1007745"/>
                    <a:pt x="411480" y="1012508"/>
                    <a:pt x="411480" y="1018222"/>
                  </a:cubicBezTo>
                  <a:cubicBezTo>
                    <a:pt x="411480" y="1023937"/>
                    <a:pt x="406717" y="1028700"/>
                    <a:pt x="401002" y="1028700"/>
                  </a:cubicBezTo>
                  <a:cubicBezTo>
                    <a:pt x="395287" y="1028700"/>
                    <a:pt x="389572" y="1023937"/>
                    <a:pt x="390525" y="1018222"/>
                  </a:cubicBezTo>
                  <a:cubicBezTo>
                    <a:pt x="390525" y="1012508"/>
                    <a:pt x="395287" y="1007745"/>
                    <a:pt x="401002" y="1007745"/>
                  </a:cubicBezTo>
                  <a:close/>
                  <a:moveTo>
                    <a:pt x="2200275" y="1006792"/>
                  </a:moveTo>
                  <a:cubicBezTo>
                    <a:pt x="2205990" y="1006792"/>
                    <a:pt x="2211705" y="1011555"/>
                    <a:pt x="2211705" y="1018222"/>
                  </a:cubicBezTo>
                  <a:cubicBezTo>
                    <a:pt x="2211705" y="1023937"/>
                    <a:pt x="2206942" y="1029652"/>
                    <a:pt x="2200275" y="1029652"/>
                  </a:cubicBezTo>
                  <a:cubicBezTo>
                    <a:pt x="2193608" y="1029652"/>
                    <a:pt x="2188845" y="1023937"/>
                    <a:pt x="2188845" y="1018222"/>
                  </a:cubicBezTo>
                  <a:cubicBezTo>
                    <a:pt x="2188845" y="1012507"/>
                    <a:pt x="2193608" y="1006792"/>
                    <a:pt x="2200275" y="1006792"/>
                  </a:cubicBezTo>
                  <a:close/>
                  <a:moveTo>
                    <a:pt x="1979295" y="1005840"/>
                  </a:moveTo>
                  <a:cubicBezTo>
                    <a:pt x="1979295" y="1005840"/>
                    <a:pt x="1980247" y="1005840"/>
                    <a:pt x="1980247" y="1006792"/>
                  </a:cubicBezTo>
                  <a:cubicBezTo>
                    <a:pt x="1980247" y="1006792"/>
                    <a:pt x="1980247" y="1007745"/>
                    <a:pt x="1979295" y="1007745"/>
                  </a:cubicBezTo>
                  <a:cubicBezTo>
                    <a:pt x="1979295" y="1007745"/>
                    <a:pt x="1978342" y="1007745"/>
                    <a:pt x="1978342" y="1006792"/>
                  </a:cubicBezTo>
                  <a:cubicBezTo>
                    <a:pt x="1978342" y="1006792"/>
                    <a:pt x="1979295" y="1005840"/>
                    <a:pt x="1979295" y="1005840"/>
                  </a:cubicBezTo>
                  <a:close/>
                  <a:moveTo>
                    <a:pt x="546735" y="1005840"/>
                  </a:moveTo>
                  <a:cubicBezTo>
                    <a:pt x="549592" y="1005840"/>
                    <a:pt x="552450" y="1008697"/>
                    <a:pt x="552450" y="1011555"/>
                  </a:cubicBezTo>
                  <a:cubicBezTo>
                    <a:pt x="552450" y="1014412"/>
                    <a:pt x="549592" y="1017270"/>
                    <a:pt x="546735" y="1017270"/>
                  </a:cubicBezTo>
                  <a:cubicBezTo>
                    <a:pt x="543877" y="1017270"/>
                    <a:pt x="541020" y="1014412"/>
                    <a:pt x="541020" y="1011555"/>
                  </a:cubicBezTo>
                  <a:cubicBezTo>
                    <a:pt x="541020" y="1008697"/>
                    <a:pt x="543877" y="1005840"/>
                    <a:pt x="546735" y="1005840"/>
                  </a:cubicBezTo>
                  <a:close/>
                  <a:moveTo>
                    <a:pt x="698183" y="1000125"/>
                  </a:moveTo>
                  <a:cubicBezTo>
                    <a:pt x="699135" y="1000125"/>
                    <a:pt x="700088" y="1001078"/>
                    <a:pt x="700088" y="1002030"/>
                  </a:cubicBezTo>
                  <a:cubicBezTo>
                    <a:pt x="700088" y="1002983"/>
                    <a:pt x="699135" y="1003935"/>
                    <a:pt x="698183" y="1003935"/>
                  </a:cubicBezTo>
                  <a:cubicBezTo>
                    <a:pt x="696278" y="1003935"/>
                    <a:pt x="695325" y="1002983"/>
                    <a:pt x="696278" y="1002030"/>
                  </a:cubicBezTo>
                  <a:cubicBezTo>
                    <a:pt x="696278" y="1001078"/>
                    <a:pt x="697230" y="1000125"/>
                    <a:pt x="698183" y="1000125"/>
                  </a:cubicBezTo>
                  <a:close/>
                  <a:moveTo>
                    <a:pt x="1824991" y="993457"/>
                  </a:moveTo>
                  <a:cubicBezTo>
                    <a:pt x="1824991" y="993457"/>
                    <a:pt x="1825943" y="993457"/>
                    <a:pt x="1825943" y="994409"/>
                  </a:cubicBezTo>
                  <a:cubicBezTo>
                    <a:pt x="1825943" y="994409"/>
                    <a:pt x="1825943" y="995362"/>
                    <a:pt x="1824991" y="995362"/>
                  </a:cubicBezTo>
                  <a:cubicBezTo>
                    <a:pt x="1824038" y="995362"/>
                    <a:pt x="1824038" y="995362"/>
                    <a:pt x="1824038" y="994409"/>
                  </a:cubicBezTo>
                  <a:cubicBezTo>
                    <a:pt x="1824038" y="994409"/>
                    <a:pt x="1824038" y="993457"/>
                    <a:pt x="1824991" y="993457"/>
                  </a:cubicBezTo>
                  <a:close/>
                  <a:moveTo>
                    <a:pt x="177166" y="989647"/>
                  </a:moveTo>
                  <a:cubicBezTo>
                    <a:pt x="181900" y="989647"/>
                    <a:pt x="185738" y="993485"/>
                    <a:pt x="185738" y="998220"/>
                  </a:cubicBezTo>
                  <a:cubicBezTo>
                    <a:pt x="185738" y="1002954"/>
                    <a:pt x="181900" y="1006792"/>
                    <a:pt x="177166" y="1006792"/>
                  </a:cubicBezTo>
                  <a:cubicBezTo>
                    <a:pt x="172431" y="1006792"/>
                    <a:pt x="168593" y="1002954"/>
                    <a:pt x="168593" y="998220"/>
                  </a:cubicBezTo>
                  <a:cubicBezTo>
                    <a:pt x="168593" y="993485"/>
                    <a:pt x="172431" y="989647"/>
                    <a:pt x="177166" y="989647"/>
                  </a:cubicBezTo>
                  <a:close/>
                  <a:moveTo>
                    <a:pt x="316230" y="984884"/>
                  </a:moveTo>
                  <a:cubicBezTo>
                    <a:pt x="320993" y="984884"/>
                    <a:pt x="325755" y="988694"/>
                    <a:pt x="325755" y="994409"/>
                  </a:cubicBezTo>
                  <a:cubicBezTo>
                    <a:pt x="325755" y="999172"/>
                    <a:pt x="321945" y="1003934"/>
                    <a:pt x="316230" y="1003934"/>
                  </a:cubicBezTo>
                  <a:cubicBezTo>
                    <a:pt x="311468" y="1003934"/>
                    <a:pt x="306705" y="1000124"/>
                    <a:pt x="306705" y="994409"/>
                  </a:cubicBezTo>
                  <a:cubicBezTo>
                    <a:pt x="306705" y="989647"/>
                    <a:pt x="310515" y="984884"/>
                    <a:pt x="316230" y="984884"/>
                  </a:cubicBezTo>
                  <a:close/>
                  <a:moveTo>
                    <a:pt x="856297" y="982979"/>
                  </a:moveTo>
                  <a:cubicBezTo>
                    <a:pt x="857250" y="982979"/>
                    <a:pt x="858202" y="983932"/>
                    <a:pt x="858202" y="984884"/>
                  </a:cubicBezTo>
                  <a:cubicBezTo>
                    <a:pt x="858202" y="985837"/>
                    <a:pt x="857250" y="986789"/>
                    <a:pt x="856297" y="986789"/>
                  </a:cubicBezTo>
                  <a:cubicBezTo>
                    <a:pt x="855345" y="986789"/>
                    <a:pt x="854392" y="985837"/>
                    <a:pt x="854392" y="984884"/>
                  </a:cubicBezTo>
                  <a:cubicBezTo>
                    <a:pt x="854392" y="983932"/>
                    <a:pt x="855345" y="982979"/>
                    <a:pt x="856297" y="982979"/>
                  </a:cubicBezTo>
                  <a:close/>
                  <a:moveTo>
                    <a:pt x="459105" y="981075"/>
                  </a:moveTo>
                  <a:cubicBezTo>
                    <a:pt x="463867" y="981075"/>
                    <a:pt x="468630" y="984885"/>
                    <a:pt x="468630" y="990600"/>
                  </a:cubicBezTo>
                  <a:cubicBezTo>
                    <a:pt x="468630" y="995363"/>
                    <a:pt x="464820" y="1000125"/>
                    <a:pt x="459105" y="1000125"/>
                  </a:cubicBezTo>
                  <a:cubicBezTo>
                    <a:pt x="453390" y="1000125"/>
                    <a:pt x="448627" y="995363"/>
                    <a:pt x="449580" y="990600"/>
                  </a:cubicBezTo>
                  <a:cubicBezTo>
                    <a:pt x="449580" y="985838"/>
                    <a:pt x="454342" y="981075"/>
                    <a:pt x="459105" y="981075"/>
                  </a:cubicBezTo>
                  <a:close/>
                  <a:moveTo>
                    <a:pt x="604837" y="979170"/>
                  </a:moveTo>
                  <a:cubicBezTo>
                    <a:pt x="606742" y="979170"/>
                    <a:pt x="608647" y="981075"/>
                    <a:pt x="608647" y="982980"/>
                  </a:cubicBezTo>
                  <a:cubicBezTo>
                    <a:pt x="608647" y="984885"/>
                    <a:pt x="606742" y="986790"/>
                    <a:pt x="604837" y="986790"/>
                  </a:cubicBezTo>
                  <a:cubicBezTo>
                    <a:pt x="602932" y="986790"/>
                    <a:pt x="601027" y="985837"/>
                    <a:pt x="601027" y="982980"/>
                  </a:cubicBezTo>
                  <a:cubicBezTo>
                    <a:pt x="601027" y="981075"/>
                    <a:pt x="602932" y="979170"/>
                    <a:pt x="604837" y="979170"/>
                  </a:cubicBezTo>
                  <a:close/>
                  <a:moveTo>
                    <a:pt x="757238" y="970597"/>
                  </a:moveTo>
                  <a:cubicBezTo>
                    <a:pt x="758190" y="970597"/>
                    <a:pt x="759143" y="971549"/>
                    <a:pt x="759143" y="972502"/>
                  </a:cubicBezTo>
                  <a:cubicBezTo>
                    <a:pt x="759143" y="973454"/>
                    <a:pt x="758190" y="974407"/>
                    <a:pt x="757238" y="974407"/>
                  </a:cubicBezTo>
                  <a:cubicBezTo>
                    <a:pt x="756285" y="974407"/>
                    <a:pt x="755333" y="973454"/>
                    <a:pt x="755333" y="972502"/>
                  </a:cubicBezTo>
                  <a:cubicBezTo>
                    <a:pt x="755333" y="971549"/>
                    <a:pt x="756285" y="970597"/>
                    <a:pt x="757238" y="970597"/>
                  </a:cubicBezTo>
                  <a:close/>
                  <a:moveTo>
                    <a:pt x="2366010" y="969645"/>
                  </a:moveTo>
                  <a:cubicBezTo>
                    <a:pt x="2366010" y="969645"/>
                    <a:pt x="2366962" y="969645"/>
                    <a:pt x="2366962" y="970597"/>
                  </a:cubicBezTo>
                  <a:cubicBezTo>
                    <a:pt x="2366962" y="970597"/>
                    <a:pt x="2366962" y="971550"/>
                    <a:pt x="2366010" y="971550"/>
                  </a:cubicBezTo>
                  <a:cubicBezTo>
                    <a:pt x="2365057" y="971550"/>
                    <a:pt x="2365057" y="970597"/>
                    <a:pt x="2365057" y="970597"/>
                  </a:cubicBezTo>
                  <a:cubicBezTo>
                    <a:pt x="2365057" y="970597"/>
                    <a:pt x="2365057" y="969645"/>
                    <a:pt x="2366010" y="969645"/>
                  </a:cubicBezTo>
                  <a:close/>
                  <a:moveTo>
                    <a:pt x="97156" y="962025"/>
                  </a:moveTo>
                  <a:cubicBezTo>
                    <a:pt x="102870" y="962025"/>
                    <a:pt x="107633" y="966788"/>
                    <a:pt x="107633" y="972502"/>
                  </a:cubicBezTo>
                  <a:cubicBezTo>
                    <a:pt x="107633" y="978217"/>
                    <a:pt x="102870" y="982980"/>
                    <a:pt x="97156" y="982980"/>
                  </a:cubicBezTo>
                  <a:cubicBezTo>
                    <a:pt x="91441" y="982980"/>
                    <a:pt x="86678" y="978217"/>
                    <a:pt x="86678" y="972502"/>
                  </a:cubicBezTo>
                  <a:cubicBezTo>
                    <a:pt x="86678" y="966788"/>
                    <a:pt x="91441" y="962025"/>
                    <a:pt x="97156" y="962025"/>
                  </a:cubicBezTo>
                  <a:close/>
                  <a:moveTo>
                    <a:pt x="2296478" y="961072"/>
                  </a:moveTo>
                  <a:cubicBezTo>
                    <a:pt x="2300288" y="961072"/>
                    <a:pt x="2304098" y="964882"/>
                    <a:pt x="2304098" y="968692"/>
                  </a:cubicBezTo>
                  <a:cubicBezTo>
                    <a:pt x="2304098" y="972502"/>
                    <a:pt x="2300288" y="976312"/>
                    <a:pt x="2296478" y="976312"/>
                  </a:cubicBezTo>
                  <a:cubicBezTo>
                    <a:pt x="2292668" y="976312"/>
                    <a:pt x="2288858" y="972502"/>
                    <a:pt x="2288858" y="968692"/>
                  </a:cubicBezTo>
                  <a:cubicBezTo>
                    <a:pt x="2288858" y="964882"/>
                    <a:pt x="2292668" y="961072"/>
                    <a:pt x="2296478" y="961072"/>
                  </a:cubicBezTo>
                  <a:close/>
                  <a:moveTo>
                    <a:pt x="235268" y="961072"/>
                  </a:moveTo>
                  <a:cubicBezTo>
                    <a:pt x="240030" y="961072"/>
                    <a:pt x="243840" y="964882"/>
                    <a:pt x="243840" y="969645"/>
                  </a:cubicBezTo>
                  <a:cubicBezTo>
                    <a:pt x="243840" y="974407"/>
                    <a:pt x="240030" y="978217"/>
                    <a:pt x="235268" y="978217"/>
                  </a:cubicBezTo>
                  <a:cubicBezTo>
                    <a:pt x="230505" y="978217"/>
                    <a:pt x="226695" y="974407"/>
                    <a:pt x="226695" y="969645"/>
                  </a:cubicBezTo>
                  <a:cubicBezTo>
                    <a:pt x="226695" y="964882"/>
                    <a:pt x="230505" y="961072"/>
                    <a:pt x="235268" y="961072"/>
                  </a:cubicBezTo>
                  <a:close/>
                  <a:moveTo>
                    <a:pt x="2155507" y="959167"/>
                  </a:moveTo>
                  <a:cubicBezTo>
                    <a:pt x="2158365" y="959167"/>
                    <a:pt x="2161222" y="962025"/>
                    <a:pt x="2161222" y="964882"/>
                  </a:cubicBezTo>
                  <a:cubicBezTo>
                    <a:pt x="2161222" y="967740"/>
                    <a:pt x="2158365" y="970597"/>
                    <a:pt x="2155507" y="970597"/>
                  </a:cubicBezTo>
                  <a:cubicBezTo>
                    <a:pt x="2152650" y="970597"/>
                    <a:pt x="2150745" y="967740"/>
                    <a:pt x="2149792" y="964882"/>
                  </a:cubicBezTo>
                  <a:cubicBezTo>
                    <a:pt x="2149792" y="962025"/>
                    <a:pt x="2152650" y="959167"/>
                    <a:pt x="2155507" y="959167"/>
                  </a:cubicBezTo>
                  <a:close/>
                  <a:moveTo>
                    <a:pt x="2226945" y="958214"/>
                  </a:moveTo>
                  <a:cubicBezTo>
                    <a:pt x="2231707" y="958214"/>
                    <a:pt x="2235517" y="962024"/>
                    <a:pt x="2235517" y="966787"/>
                  </a:cubicBezTo>
                  <a:cubicBezTo>
                    <a:pt x="2235517" y="971549"/>
                    <a:pt x="2231707" y="975359"/>
                    <a:pt x="2226945" y="975359"/>
                  </a:cubicBezTo>
                  <a:cubicBezTo>
                    <a:pt x="2222182" y="975359"/>
                    <a:pt x="2218372" y="971549"/>
                    <a:pt x="2218372" y="966787"/>
                  </a:cubicBezTo>
                  <a:cubicBezTo>
                    <a:pt x="2218372" y="962024"/>
                    <a:pt x="2222182" y="958214"/>
                    <a:pt x="2226945" y="958214"/>
                  </a:cubicBezTo>
                  <a:close/>
                  <a:moveTo>
                    <a:pt x="517208" y="957262"/>
                  </a:moveTo>
                  <a:cubicBezTo>
                    <a:pt x="520065" y="957262"/>
                    <a:pt x="521970" y="959167"/>
                    <a:pt x="521970" y="962025"/>
                  </a:cubicBezTo>
                  <a:cubicBezTo>
                    <a:pt x="521970" y="964882"/>
                    <a:pt x="520065" y="966787"/>
                    <a:pt x="517208" y="966787"/>
                  </a:cubicBezTo>
                  <a:cubicBezTo>
                    <a:pt x="514350" y="966787"/>
                    <a:pt x="512445" y="964882"/>
                    <a:pt x="512445" y="962025"/>
                  </a:cubicBezTo>
                  <a:cubicBezTo>
                    <a:pt x="512445" y="959167"/>
                    <a:pt x="514350" y="957262"/>
                    <a:pt x="517208" y="957262"/>
                  </a:cubicBezTo>
                  <a:close/>
                  <a:moveTo>
                    <a:pt x="374332" y="955357"/>
                  </a:moveTo>
                  <a:cubicBezTo>
                    <a:pt x="380047" y="955357"/>
                    <a:pt x="385762" y="960120"/>
                    <a:pt x="385762" y="966787"/>
                  </a:cubicBezTo>
                  <a:cubicBezTo>
                    <a:pt x="385762" y="972502"/>
                    <a:pt x="381000" y="978217"/>
                    <a:pt x="374332" y="978217"/>
                  </a:cubicBezTo>
                  <a:cubicBezTo>
                    <a:pt x="367665" y="978217"/>
                    <a:pt x="362902" y="973454"/>
                    <a:pt x="362902" y="966787"/>
                  </a:cubicBezTo>
                  <a:cubicBezTo>
                    <a:pt x="362902" y="961072"/>
                    <a:pt x="368617" y="955357"/>
                    <a:pt x="374332" y="955357"/>
                  </a:cubicBezTo>
                  <a:close/>
                  <a:moveTo>
                    <a:pt x="663892" y="951547"/>
                  </a:moveTo>
                  <a:cubicBezTo>
                    <a:pt x="665798" y="951547"/>
                    <a:pt x="666750" y="953452"/>
                    <a:pt x="666750" y="954404"/>
                  </a:cubicBezTo>
                  <a:cubicBezTo>
                    <a:pt x="666750" y="956310"/>
                    <a:pt x="665798" y="957262"/>
                    <a:pt x="663892" y="957262"/>
                  </a:cubicBezTo>
                  <a:cubicBezTo>
                    <a:pt x="661987" y="957262"/>
                    <a:pt x="661035" y="956310"/>
                    <a:pt x="661035" y="954404"/>
                  </a:cubicBezTo>
                  <a:cubicBezTo>
                    <a:pt x="661035" y="952499"/>
                    <a:pt x="662940" y="951547"/>
                    <a:pt x="663892" y="951547"/>
                  </a:cubicBezTo>
                  <a:close/>
                  <a:moveTo>
                    <a:pt x="20003" y="944879"/>
                  </a:moveTo>
                  <a:cubicBezTo>
                    <a:pt x="20003" y="944879"/>
                    <a:pt x="20955" y="944879"/>
                    <a:pt x="20955" y="945832"/>
                  </a:cubicBezTo>
                  <a:cubicBezTo>
                    <a:pt x="20955" y="945832"/>
                    <a:pt x="20955" y="946784"/>
                    <a:pt x="20003" y="946784"/>
                  </a:cubicBezTo>
                  <a:cubicBezTo>
                    <a:pt x="19050" y="946784"/>
                    <a:pt x="19050" y="946784"/>
                    <a:pt x="19050" y="945832"/>
                  </a:cubicBezTo>
                  <a:cubicBezTo>
                    <a:pt x="19050" y="945832"/>
                    <a:pt x="20003" y="944879"/>
                    <a:pt x="20003" y="944879"/>
                  </a:cubicBezTo>
                  <a:close/>
                  <a:moveTo>
                    <a:pt x="816293" y="941070"/>
                  </a:moveTo>
                  <a:cubicBezTo>
                    <a:pt x="817246" y="941070"/>
                    <a:pt x="818198" y="942022"/>
                    <a:pt x="818198" y="942975"/>
                  </a:cubicBezTo>
                  <a:cubicBezTo>
                    <a:pt x="818198" y="943927"/>
                    <a:pt x="817246" y="944880"/>
                    <a:pt x="816293" y="944880"/>
                  </a:cubicBezTo>
                  <a:cubicBezTo>
                    <a:pt x="816293" y="944880"/>
                    <a:pt x="814388" y="943927"/>
                    <a:pt x="814388" y="942975"/>
                  </a:cubicBezTo>
                  <a:cubicBezTo>
                    <a:pt x="814388" y="942022"/>
                    <a:pt x="815340" y="941070"/>
                    <a:pt x="816293" y="941070"/>
                  </a:cubicBezTo>
                  <a:close/>
                  <a:moveTo>
                    <a:pt x="156210" y="935354"/>
                  </a:moveTo>
                  <a:cubicBezTo>
                    <a:pt x="160973" y="935354"/>
                    <a:pt x="164783" y="939164"/>
                    <a:pt x="164783" y="943927"/>
                  </a:cubicBezTo>
                  <a:cubicBezTo>
                    <a:pt x="164783" y="948689"/>
                    <a:pt x="160973" y="952499"/>
                    <a:pt x="156210" y="952499"/>
                  </a:cubicBezTo>
                  <a:cubicBezTo>
                    <a:pt x="151448" y="952499"/>
                    <a:pt x="147638" y="948689"/>
                    <a:pt x="147638" y="943927"/>
                  </a:cubicBezTo>
                  <a:cubicBezTo>
                    <a:pt x="147638" y="939164"/>
                    <a:pt x="151448" y="935354"/>
                    <a:pt x="156210" y="935354"/>
                  </a:cubicBezTo>
                  <a:close/>
                  <a:moveTo>
                    <a:pt x="293370" y="931545"/>
                  </a:moveTo>
                  <a:cubicBezTo>
                    <a:pt x="299086" y="931545"/>
                    <a:pt x="303848" y="936308"/>
                    <a:pt x="303848" y="942022"/>
                  </a:cubicBezTo>
                  <a:cubicBezTo>
                    <a:pt x="303848" y="947737"/>
                    <a:pt x="299086" y="952500"/>
                    <a:pt x="293370" y="952500"/>
                  </a:cubicBezTo>
                  <a:cubicBezTo>
                    <a:pt x="286703" y="952500"/>
                    <a:pt x="282893" y="947737"/>
                    <a:pt x="282893" y="942022"/>
                  </a:cubicBezTo>
                  <a:cubicBezTo>
                    <a:pt x="282893" y="936308"/>
                    <a:pt x="287656" y="931545"/>
                    <a:pt x="293370" y="931545"/>
                  </a:cubicBezTo>
                  <a:close/>
                  <a:moveTo>
                    <a:pt x="575311" y="929639"/>
                  </a:moveTo>
                  <a:cubicBezTo>
                    <a:pt x="578168" y="929639"/>
                    <a:pt x="580073" y="931544"/>
                    <a:pt x="580073" y="934402"/>
                  </a:cubicBezTo>
                  <a:cubicBezTo>
                    <a:pt x="580073" y="937259"/>
                    <a:pt x="578168" y="939164"/>
                    <a:pt x="575311" y="939164"/>
                  </a:cubicBezTo>
                  <a:cubicBezTo>
                    <a:pt x="572453" y="939164"/>
                    <a:pt x="570548" y="936307"/>
                    <a:pt x="570548" y="934402"/>
                  </a:cubicBezTo>
                  <a:cubicBezTo>
                    <a:pt x="570548" y="931544"/>
                    <a:pt x="572453" y="929639"/>
                    <a:pt x="575311" y="929639"/>
                  </a:cubicBezTo>
                  <a:close/>
                  <a:moveTo>
                    <a:pt x="432436" y="929639"/>
                  </a:moveTo>
                  <a:cubicBezTo>
                    <a:pt x="437198" y="929639"/>
                    <a:pt x="441008" y="933449"/>
                    <a:pt x="441008" y="938212"/>
                  </a:cubicBezTo>
                  <a:cubicBezTo>
                    <a:pt x="441008" y="942974"/>
                    <a:pt x="437198" y="946784"/>
                    <a:pt x="432436" y="946784"/>
                  </a:cubicBezTo>
                  <a:cubicBezTo>
                    <a:pt x="427673" y="946784"/>
                    <a:pt x="423863" y="942974"/>
                    <a:pt x="423863" y="938212"/>
                  </a:cubicBezTo>
                  <a:cubicBezTo>
                    <a:pt x="423863" y="933449"/>
                    <a:pt x="427673" y="929639"/>
                    <a:pt x="432436" y="929639"/>
                  </a:cubicBezTo>
                  <a:close/>
                  <a:moveTo>
                    <a:pt x="721995" y="924877"/>
                  </a:moveTo>
                  <a:cubicBezTo>
                    <a:pt x="722948" y="924877"/>
                    <a:pt x="723900" y="925829"/>
                    <a:pt x="723900" y="926782"/>
                  </a:cubicBezTo>
                  <a:cubicBezTo>
                    <a:pt x="723900" y="927735"/>
                    <a:pt x="722948" y="928687"/>
                    <a:pt x="721995" y="928687"/>
                  </a:cubicBezTo>
                  <a:cubicBezTo>
                    <a:pt x="721042" y="928687"/>
                    <a:pt x="720090" y="927735"/>
                    <a:pt x="720090" y="926782"/>
                  </a:cubicBezTo>
                  <a:cubicBezTo>
                    <a:pt x="720090" y="925829"/>
                    <a:pt x="721042" y="924877"/>
                    <a:pt x="721995" y="924877"/>
                  </a:cubicBezTo>
                  <a:close/>
                  <a:moveTo>
                    <a:pt x="2319337" y="914400"/>
                  </a:moveTo>
                  <a:cubicBezTo>
                    <a:pt x="2319337" y="914400"/>
                    <a:pt x="2320290" y="914400"/>
                    <a:pt x="2320290" y="915352"/>
                  </a:cubicBezTo>
                  <a:cubicBezTo>
                    <a:pt x="2320290" y="915352"/>
                    <a:pt x="2320290" y="916305"/>
                    <a:pt x="2319337" y="916305"/>
                  </a:cubicBezTo>
                  <a:cubicBezTo>
                    <a:pt x="2318384" y="916305"/>
                    <a:pt x="2317432" y="916305"/>
                    <a:pt x="2318384" y="915352"/>
                  </a:cubicBezTo>
                  <a:cubicBezTo>
                    <a:pt x="2318384" y="915352"/>
                    <a:pt x="2318384" y="914400"/>
                    <a:pt x="2319337" y="914400"/>
                  </a:cubicBezTo>
                  <a:close/>
                  <a:moveTo>
                    <a:pt x="2181225" y="909637"/>
                  </a:moveTo>
                  <a:cubicBezTo>
                    <a:pt x="2183130" y="909637"/>
                    <a:pt x="2184082" y="911542"/>
                    <a:pt x="2184082" y="912495"/>
                  </a:cubicBezTo>
                  <a:cubicBezTo>
                    <a:pt x="2184082" y="914400"/>
                    <a:pt x="2182177" y="915352"/>
                    <a:pt x="2181225" y="915352"/>
                  </a:cubicBezTo>
                  <a:cubicBezTo>
                    <a:pt x="2179320" y="915352"/>
                    <a:pt x="2178367" y="914400"/>
                    <a:pt x="2178367" y="912495"/>
                  </a:cubicBezTo>
                  <a:cubicBezTo>
                    <a:pt x="2178367" y="910589"/>
                    <a:pt x="2180272" y="909637"/>
                    <a:pt x="2181225" y="909637"/>
                  </a:cubicBezTo>
                  <a:close/>
                  <a:moveTo>
                    <a:pt x="214313" y="907732"/>
                  </a:moveTo>
                  <a:cubicBezTo>
                    <a:pt x="219047" y="907732"/>
                    <a:pt x="222885" y="911570"/>
                    <a:pt x="222885" y="916304"/>
                  </a:cubicBezTo>
                  <a:cubicBezTo>
                    <a:pt x="222885" y="921039"/>
                    <a:pt x="219047" y="924877"/>
                    <a:pt x="214313" y="924877"/>
                  </a:cubicBezTo>
                  <a:cubicBezTo>
                    <a:pt x="209578" y="924877"/>
                    <a:pt x="205740" y="921039"/>
                    <a:pt x="205740" y="916304"/>
                  </a:cubicBezTo>
                  <a:cubicBezTo>
                    <a:pt x="205740" y="911570"/>
                    <a:pt x="209578" y="907732"/>
                    <a:pt x="214313" y="907732"/>
                  </a:cubicBezTo>
                  <a:close/>
                  <a:moveTo>
                    <a:pt x="78106" y="907732"/>
                  </a:moveTo>
                  <a:cubicBezTo>
                    <a:pt x="83820" y="907732"/>
                    <a:pt x="88583" y="912495"/>
                    <a:pt x="88583" y="918209"/>
                  </a:cubicBezTo>
                  <a:cubicBezTo>
                    <a:pt x="88583" y="923924"/>
                    <a:pt x="83820" y="928687"/>
                    <a:pt x="78106" y="928687"/>
                  </a:cubicBezTo>
                  <a:cubicBezTo>
                    <a:pt x="72391" y="928687"/>
                    <a:pt x="67628" y="923924"/>
                    <a:pt x="67628" y="918209"/>
                  </a:cubicBezTo>
                  <a:cubicBezTo>
                    <a:pt x="67628" y="912495"/>
                    <a:pt x="72391" y="907732"/>
                    <a:pt x="78106" y="907732"/>
                  </a:cubicBezTo>
                  <a:close/>
                  <a:moveTo>
                    <a:pt x="2249805" y="906779"/>
                  </a:moveTo>
                  <a:cubicBezTo>
                    <a:pt x="2253615" y="906779"/>
                    <a:pt x="2257425" y="910589"/>
                    <a:pt x="2257425" y="914399"/>
                  </a:cubicBezTo>
                  <a:cubicBezTo>
                    <a:pt x="2257425" y="918209"/>
                    <a:pt x="2253615" y="922019"/>
                    <a:pt x="2249805" y="922019"/>
                  </a:cubicBezTo>
                  <a:cubicBezTo>
                    <a:pt x="2245995" y="922019"/>
                    <a:pt x="2243138" y="918209"/>
                    <a:pt x="2242185" y="914399"/>
                  </a:cubicBezTo>
                  <a:cubicBezTo>
                    <a:pt x="2242185" y="910589"/>
                    <a:pt x="2245995" y="906779"/>
                    <a:pt x="2249805" y="906779"/>
                  </a:cubicBezTo>
                  <a:close/>
                  <a:moveTo>
                    <a:pt x="632460" y="904875"/>
                  </a:moveTo>
                  <a:cubicBezTo>
                    <a:pt x="633413" y="904875"/>
                    <a:pt x="634365" y="905827"/>
                    <a:pt x="634365" y="906780"/>
                  </a:cubicBezTo>
                  <a:cubicBezTo>
                    <a:pt x="634365" y="907733"/>
                    <a:pt x="633413" y="908685"/>
                    <a:pt x="632460" y="908685"/>
                  </a:cubicBezTo>
                  <a:cubicBezTo>
                    <a:pt x="631508" y="908685"/>
                    <a:pt x="630555" y="907733"/>
                    <a:pt x="630555" y="906780"/>
                  </a:cubicBezTo>
                  <a:cubicBezTo>
                    <a:pt x="630555" y="905827"/>
                    <a:pt x="631508" y="904875"/>
                    <a:pt x="632460" y="904875"/>
                  </a:cubicBezTo>
                  <a:close/>
                  <a:moveTo>
                    <a:pt x="490538" y="904875"/>
                  </a:moveTo>
                  <a:cubicBezTo>
                    <a:pt x="494348" y="904875"/>
                    <a:pt x="496253" y="907733"/>
                    <a:pt x="496253" y="910590"/>
                  </a:cubicBezTo>
                  <a:cubicBezTo>
                    <a:pt x="496253" y="913448"/>
                    <a:pt x="493395" y="916305"/>
                    <a:pt x="490538" y="916305"/>
                  </a:cubicBezTo>
                  <a:cubicBezTo>
                    <a:pt x="487680" y="916305"/>
                    <a:pt x="484823" y="913448"/>
                    <a:pt x="484823" y="910590"/>
                  </a:cubicBezTo>
                  <a:cubicBezTo>
                    <a:pt x="484823" y="907733"/>
                    <a:pt x="487680" y="904875"/>
                    <a:pt x="490538" y="904875"/>
                  </a:cubicBezTo>
                  <a:close/>
                  <a:moveTo>
                    <a:pt x="350520" y="902970"/>
                  </a:moveTo>
                  <a:cubicBezTo>
                    <a:pt x="356235" y="902970"/>
                    <a:pt x="361950" y="907733"/>
                    <a:pt x="361950" y="914400"/>
                  </a:cubicBezTo>
                  <a:cubicBezTo>
                    <a:pt x="361950" y="920115"/>
                    <a:pt x="357188" y="925830"/>
                    <a:pt x="350520" y="925830"/>
                  </a:cubicBezTo>
                  <a:cubicBezTo>
                    <a:pt x="344805" y="925830"/>
                    <a:pt x="339090" y="920115"/>
                    <a:pt x="339090" y="914400"/>
                  </a:cubicBezTo>
                  <a:cubicBezTo>
                    <a:pt x="339090" y="908685"/>
                    <a:pt x="343853" y="902970"/>
                    <a:pt x="350520" y="902970"/>
                  </a:cubicBezTo>
                  <a:close/>
                  <a:moveTo>
                    <a:pt x="2858" y="887729"/>
                  </a:moveTo>
                  <a:cubicBezTo>
                    <a:pt x="4763" y="887729"/>
                    <a:pt x="5715" y="888682"/>
                    <a:pt x="5715" y="890587"/>
                  </a:cubicBezTo>
                  <a:cubicBezTo>
                    <a:pt x="5715" y="892492"/>
                    <a:pt x="4763" y="893444"/>
                    <a:pt x="2858" y="893444"/>
                  </a:cubicBezTo>
                  <a:cubicBezTo>
                    <a:pt x="1905" y="893444"/>
                    <a:pt x="0" y="892492"/>
                    <a:pt x="0" y="890587"/>
                  </a:cubicBezTo>
                  <a:cubicBezTo>
                    <a:pt x="0" y="888682"/>
                    <a:pt x="953" y="887729"/>
                    <a:pt x="2858" y="887729"/>
                  </a:cubicBezTo>
                  <a:close/>
                  <a:moveTo>
                    <a:pt x="137160" y="882014"/>
                  </a:moveTo>
                  <a:cubicBezTo>
                    <a:pt x="140970" y="882014"/>
                    <a:pt x="144780" y="885824"/>
                    <a:pt x="144780" y="889634"/>
                  </a:cubicBezTo>
                  <a:cubicBezTo>
                    <a:pt x="144780" y="893444"/>
                    <a:pt x="140970" y="897254"/>
                    <a:pt x="137160" y="897254"/>
                  </a:cubicBezTo>
                  <a:cubicBezTo>
                    <a:pt x="133350" y="897254"/>
                    <a:pt x="129540" y="893444"/>
                    <a:pt x="129540" y="889634"/>
                  </a:cubicBezTo>
                  <a:cubicBezTo>
                    <a:pt x="129540" y="885824"/>
                    <a:pt x="133350" y="882014"/>
                    <a:pt x="137160" y="882014"/>
                  </a:cubicBezTo>
                  <a:close/>
                  <a:moveTo>
                    <a:pt x="547688" y="880110"/>
                  </a:moveTo>
                  <a:cubicBezTo>
                    <a:pt x="548640" y="880110"/>
                    <a:pt x="550545" y="881062"/>
                    <a:pt x="550545" y="882967"/>
                  </a:cubicBezTo>
                  <a:cubicBezTo>
                    <a:pt x="550545" y="883920"/>
                    <a:pt x="549593" y="885825"/>
                    <a:pt x="547688" y="885825"/>
                  </a:cubicBezTo>
                  <a:cubicBezTo>
                    <a:pt x="546735" y="885825"/>
                    <a:pt x="544830" y="884873"/>
                    <a:pt x="544830" y="882967"/>
                  </a:cubicBezTo>
                  <a:cubicBezTo>
                    <a:pt x="544830" y="882015"/>
                    <a:pt x="545783" y="880110"/>
                    <a:pt x="547688" y="880110"/>
                  </a:cubicBezTo>
                  <a:close/>
                  <a:moveTo>
                    <a:pt x="408623" y="880110"/>
                  </a:moveTo>
                  <a:cubicBezTo>
                    <a:pt x="412432" y="880110"/>
                    <a:pt x="415290" y="882967"/>
                    <a:pt x="415290" y="886777"/>
                  </a:cubicBezTo>
                  <a:cubicBezTo>
                    <a:pt x="415290" y="890587"/>
                    <a:pt x="412432" y="893445"/>
                    <a:pt x="408623" y="893445"/>
                  </a:cubicBezTo>
                  <a:cubicBezTo>
                    <a:pt x="404812" y="893445"/>
                    <a:pt x="401955" y="889635"/>
                    <a:pt x="401955" y="886777"/>
                  </a:cubicBezTo>
                  <a:cubicBezTo>
                    <a:pt x="401955" y="882967"/>
                    <a:pt x="404812" y="880110"/>
                    <a:pt x="408623" y="880110"/>
                  </a:cubicBezTo>
                  <a:close/>
                  <a:moveTo>
                    <a:pt x="272415" y="879157"/>
                  </a:moveTo>
                  <a:cubicBezTo>
                    <a:pt x="277178" y="879157"/>
                    <a:pt x="280988" y="882967"/>
                    <a:pt x="280988" y="887729"/>
                  </a:cubicBezTo>
                  <a:cubicBezTo>
                    <a:pt x="280988" y="892492"/>
                    <a:pt x="277178" y="896302"/>
                    <a:pt x="272415" y="896302"/>
                  </a:cubicBezTo>
                  <a:cubicBezTo>
                    <a:pt x="267653" y="896302"/>
                    <a:pt x="263843" y="892492"/>
                    <a:pt x="263843" y="887729"/>
                  </a:cubicBezTo>
                  <a:cubicBezTo>
                    <a:pt x="263843" y="882967"/>
                    <a:pt x="267653" y="879157"/>
                    <a:pt x="272415" y="879157"/>
                  </a:cubicBezTo>
                  <a:close/>
                  <a:moveTo>
                    <a:pt x="690563" y="875347"/>
                  </a:moveTo>
                  <a:cubicBezTo>
                    <a:pt x="692468" y="875347"/>
                    <a:pt x="693420" y="876299"/>
                    <a:pt x="693420" y="878204"/>
                  </a:cubicBezTo>
                  <a:cubicBezTo>
                    <a:pt x="693420" y="880110"/>
                    <a:pt x="691515" y="881062"/>
                    <a:pt x="690563" y="881062"/>
                  </a:cubicBezTo>
                  <a:cubicBezTo>
                    <a:pt x="689610" y="881062"/>
                    <a:pt x="688658" y="879157"/>
                    <a:pt x="687705" y="878204"/>
                  </a:cubicBezTo>
                  <a:cubicBezTo>
                    <a:pt x="687705" y="876299"/>
                    <a:pt x="689610" y="875347"/>
                    <a:pt x="690563" y="875347"/>
                  </a:cubicBezTo>
                  <a:close/>
                  <a:moveTo>
                    <a:pt x="2338388" y="860107"/>
                  </a:moveTo>
                  <a:cubicBezTo>
                    <a:pt x="2338388" y="860107"/>
                    <a:pt x="2339340" y="860107"/>
                    <a:pt x="2339340" y="861059"/>
                  </a:cubicBezTo>
                  <a:cubicBezTo>
                    <a:pt x="2339340" y="861059"/>
                    <a:pt x="2339340" y="862012"/>
                    <a:pt x="2338388" y="862012"/>
                  </a:cubicBezTo>
                  <a:cubicBezTo>
                    <a:pt x="2337435" y="862012"/>
                    <a:pt x="2337435" y="862012"/>
                    <a:pt x="2337435" y="861059"/>
                  </a:cubicBezTo>
                  <a:cubicBezTo>
                    <a:pt x="2337435" y="861059"/>
                    <a:pt x="2337435" y="860107"/>
                    <a:pt x="2338388" y="860107"/>
                  </a:cubicBezTo>
                  <a:close/>
                  <a:moveTo>
                    <a:pt x="61913" y="859154"/>
                  </a:moveTo>
                  <a:cubicBezTo>
                    <a:pt x="63818" y="859154"/>
                    <a:pt x="64770" y="860107"/>
                    <a:pt x="64770" y="862012"/>
                  </a:cubicBezTo>
                  <a:cubicBezTo>
                    <a:pt x="64770" y="863917"/>
                    <a:pt x="63818" y="864869"/>
                    <a:pt x="61913" y="864869"/>
                  </a:cubicBezTo>
                  <a:cubicBezTo>
                    <a:pt x="60008" y="864869"/>
                    <a:pt x="59055" y="863917"/>
                    <a:pt x="59055" y="862012"/>
                  </a:cubicBezTo>
                  <a:cubicBezTo>
                    <a:pt x="59055" y="860107"/>
                    <a:pt x="60008" y="859154"/>
                    <a:pt x="61913" y="859154"/>
                  </a:cubicBezTo>
                  <a:close/>
                  <a:moveTo>
                    <a:pt x="2270760" y="855345"/>
                  </a:moveTo>
                  <a:cubicBezTo>
                    <a:pt x="2273617" y="855345"/>
                    <a:pt x="2275522" y="857250"/>
                    <a:pt x="2275522" y="860108"/>
                  </a:cubicBezTo>
                  <a:cubicBezTo>
                    <a:pt x="2275522" y="862965"/>
                    <a:pt x="2273617" y="864870"/>
                    <a:pt x="2270760" y="864870"/>
                  </a:cubicBezTo>
                  <a:cubicBezTo>
                    <a:pt x="2267902" y="864870"/>
                    <a:pt x="2265997" y="862965"/>
                    <a:pt x="2265997" y="860108"/>
                  </a:cubicBezTo>
                  <a:cubicBezTo>
                    <a:pt x="2265997" y="857250"/>
                    <a:pt x="2267902" y="855345"/>
                    <a:pt x="2270760" y="855345"/>
                  </a:cubicBezTo>
                  <a:close/>
                  <a:moveTo>
                    <a:pt x="2134553" y="855345"/>
                  </a:moveTo>
                  <a:cubicBezTo>
                    <a:pt x="2136458" y="855345"/>
                    <a:pt x="2137410" y="857250"/>
                    <a:pt x="2137410" y="858202"/>
                  </a:cubicBezTo>
                  <a:cubicBezTo>
                    <a:pt x="2137410" y="860108"/>
                    <a:pt x="2135505" y="861060"/>
                    <a:pt x="2134553" y="861060"/>
                  </a:cubicBezTo>
                  <a:cubicBezTo>
                    <a:pt x="2132647" y="861060"/>
                    <a:pt x="2131695" y="860108"/>
                    <a:pt x="2131695" y="858202"/>
                  </a:cubicBezTo>
                  <a:cubicBezTo>
                    <a:pt x="2131695" y="856297"/>
                    <a:pt x="2132647" y="855345"/>
                    <a:pt x="2134553" y="855345"/>
                  </a:cubicBezTo>
                  <a:close/>
                  <a:moveTo>
                    <a:pt x="2203133" y="853439"/>
                  </a:moveTo>
                  <a:cubicBezTo>
                    <a:pt x="2206942" y="853439"/>
                    <a:pt x="2209800" y="856297"/>
                    <a:pt x="2209800" y="860107"/>
                  </a:cubicBezTo>
                  <a:cubicBezTo>
                    <a:pt x="2209800" y="863916"/>
                    <a:pt x="2206942" y="866774"/>
                    <a:pt x="2203133" y="866774"/>
                  </a:cubicBezTo>
                  <a:cubicBezTo>
                    <a:pt x="2199322" y="866774"/>
                    <a:pt x="2195512" y="862964"/>
                    <a:pt x="2196465" y="860107"/>
                  </a:cubicBezTo>
                  <a:cubicBezTo>
                    <a:pt x="2196465" y="856297"/>
                    <a:pt x="2199322" y="853439"/>
                    <a:pt x="2203133" y="853439"/>
                  </a:cubicBezTo>
                  <a:close/>
                  <a:moveTo>
                    <a:pt x="605790" y="853439"/>
                  </a:moveTo>
                  <a:cubicBezTo>
                    <a:pt x="606742" y="853439"/>
                    <a:pt x="607695" y="854391"/>
                    <a:pt x="607695" y="855344"/>
                  </a:cubicBezTo>
                  <a:cubicBezTo>
                    <a:pt x="607695" y="856297"/>
                    <a:pt x="606742" y="857249"/>
                    <a:pt x="605790" y="857249"/>
                  </a:cubicBezTo>
                  <a:cubicBezTo>
                    <a:pt x="604837" y="857249"/>
                    <a:pt x="603885" y="856297"/>
                    <a:pt x="603885" y="855344"/>
                  </a:cubicBezTo>
                  <a:cubicBezTo>
                    <a:pt x="603885" y="854391"/>
                    <a:pt x="604837" y="853439"/>
                    <a:pt x="605790" y="853439"/>
                  </a:cubicBezTo>
                  <a:close/>
                  <a:moveTo>
                    <a:pt x="466725" y="852487"/>
                  </a:moveTo>
                  <a:cubicBezTo>
                    <a:pt x="469582" y="852487"/>
                    <a:pt x="472440" y="855345"/>
                    <a:pt x="472440" y="858202"/>
                  </a:cubicBezTo>
                  <a:cubicBezTo>
                    <a:pt x="472440" y="861060"/>
                    <a:pt x="469582" y="863917"/>
                    <a:pt x="466725" y="863917"/>
                  </a:cubicBezTo>
                  <a:cubicBezTo>
                    <a:pt x="463867" y="863917"/>
                    <a:pt x="461962" y="861060"/>
                    <a:pt x="461010" y="858202"/>
                  </a:cubicBezTo>
                  <a:cubicBezTo>
                    <a:pt x="461010" y="855345"/>
                    <a:pt x="463867" y="852487"/>
                    <a:pt x="466725" y="852487"/>
                  </a:cubicBezTo>
                  <a:close/>
                  <a:moveTo>
                    <a:pt x="195262" y="852487"/>
                  </a:moveTo>
                  <a:cubicBezTo>
                    <a:pt x="200025" y="852487"/>
                    <a:pt x="203835" y="856297"/>
                    <a:pt x="203835" y="861060"/>
                  </a:cubicBezTo>
                  <a:cubicBezTo>
                    <a:pt x="203835" y="865822"/>
                    <a:pt x="200025" y="869632"/>
                    <a:pt x="195262" y="869632"/>
                  </a:cubicBezTo>
                  <a:cubicBezTo>
                    <a:pt x="190500" y="869632"/>
                    <a:pt x="187643" y="865822"/>
                    <a:pt x="186690" y="861060"/>
                  </a:cubicBezTo>
                  <a:cubicBezTo>
                    <a:pt x="186690" y="856297"/>
                    <a:pt x="190500" y="852487"/>
                    <a:pt x="195262" y="852487"/>
                  </a:cubicBezTo>
                  <a:close/>
                  <a:moveTo>
                    <a:pt x="330518" y="850582"/>
                  </a:moveTo>
                  <a:cubicBezTo>
                    <a:pt x="336233" y="850582"/>
                    <a:pt x="340043" y="855345"/>
                    <a:pt x="340043" y="860107"/>
                  </a:cubicBezTo>
                  <a:cubicBezTo>
                    <a:pt x="340043" y="865822"/>
                    <a:pt x="335281" y="869632"/>
                    <a:pt x="330518" y="869632"/>
                  </a:cubicBezTo>
                  <a:cubicBezTo>
                    <a:pt x="324803" y="869632"/>
                    <a:pt x="320993" y="865822"/>
                    <a:pt x="320993" y="860107"/>
                  </a:cubicBezTo>
                  <a:cubicBezTo>
                    <a:pt x="320993" y="854392"/>
                    <a:pt x="325756" y="850582"/>
                    <a:pt x="330518" y="850582"/>
                  </a:cubicBezTo>
                  <a:close/>
                  <a:moveTo>
                    <a:pt x="748665" y="847725"/>
                  </a:moveTo>
                  <a:cubicBezTo>
                    <a:pt x="749617" y="847725"/>
                    <a:pt x="750570" y="848677"/>
                    <a:pt x="750570" y="849630"/>
                  </a:cubicBezTo>
                  <a:cubicBezTo>
                    <a:pt x="750570" y="850583"/>
                    <a:pt x="749617" y="851535"/>
                    <a:pt x="748665" y="851535"/>
                  </a:cubicBezTo>
                  <a:cubicBezTo>
                    <a:pt x="748665" y="851535"/>
                    <a:pt x="747712" y="850583"/>
                    <a:pt x="746760" y="849630"/>
                  </a:cubicBezTo>
                  <a:cubicBezTo>
                    <a:pt x="746760" y="848677"/>
                    <a:pt x="747712" y="847725"/>
                    <a:pt x="748665" y="847725"/>
                  </a:cubicBezTo>
                  <a:close/>
                  <a:moveTo>
                    <a:pt x="524828" y="828675"/>
                  </a:moveTo>
                  <a:cubicBezTo>
                    <a:pt x="525780" y="828675"/>
                    <a:pt x="526733" y="829627"/>
                    <a:pt x="526733" y="830580"/>
                  </a:cubicBezTo>
                  <a:cubicBezTo>
                    <a:pt x="526733" y="831533"/>
                    <a:pt x="525780" y="832485"/>
                    <a:pt x="524828" y="832485"/>
                  </a:cubicBezTo>
                  <a:cubicBezTo>
                    <a:pt x="523875" y="832485"/>
                    <a:pt x="522923" y="831533"/>
                    <a:pt x="522923" y="830580"/>
                  </a:cubicBezTo>
                  <a:cubicBezTo>
                    <a:pt x="522923" y="829627"/>
                    <a:pt x="523875" y="828675"/>
                    <a:pt x="524828" y="828675"/>
                  </a:cubicBezTo>
                  <a:close/>
                  <a:moveTo>
                    <a:pt x="388620" y="826770"/>
                  </a:moveTo>
                  <a:cubicBezTo>
                    <a:pt x="391477" y="826770"/>
                    <a:pt x="394335" y="829627"/>
                    <a:pt x="394335" y="832485"/>
                  </a:cubicBezTo>
                  <a:cubicBezTo>
                    <a:pt x="394335" y="835342"/>
                    <a:pt x="391477" y="838200"/>
                    <a:pt x="388620" y="838200"/>
                  </a:cubicBezTo>
                  <a:cubicBezTo>
                    <a:pt x="385762" y="838200"/>
                    <a:pt x="382905" y="835342"/>
                    <a:pt x="382905" y="832485"/>
                  </a:cubicBezTo>
                  <a:cubicBezTo>
                    <a:pt x="382905" y="829627"/>
                    <a:pt x="385762" y="826770"/>
                    <a:pt x="388620" y="826770"/>
                  </a:cubicBezTo>
                  <a:close/>
                  <a:moveTo>
                    <a:pt x="254318" y="826770"/>
                  </a:moveTo>
                  <a:cubicBezTo>
                    <a:pt x="258127" y="826770"/>
                    <a:pt x="260985" y="829627"/>
                    <a:pt x="260985" y="833437"/>
                  </a:cubicBezTo>
                  <a:cubicBezTo>
                    <a:pt x="260985" y="837247"/>
                    <a:pt x="258127" y="840105"/>
                    <a:pt x="254318" y="840105"/>
                  </a:cubicBezTo>
                  <a:cubicBezTo>
                    <a:pt x="250507" y="840105"/>
                    <a:pt x="247650" y="837247"/>
                    <a:pt x="247650" y="833437"/>
                  </a:cubicBezTo>
                  <a:cubicBezTo>
                    <a:pt x="247650" y="829627"/>
                    <a:pt x="250507" y="826770"/>
                    <a:pt x="254318" y="826770"/>
                  </a:cubicBezTo>
                  <a:close/>
                  <a:moveTo>
                    <a:pt x="663893" y="825817"/>
                  </a:moveTo>
                  <a:cubicBezTo>
                    <a:pt x="664846" y="825817"/>
                    <a:pt x="665798" y="826770"/>
                    <a:pt x="665798" y="827722"/>
                  </a:cubicBezTo>
                  <a:cubicBezTo>
                    <a:pt x="665798" y="828675"/>
                    <a:pt x="664846" y="829627"/>
                    <a:pt x="663893" y="829627"/>
                  </a:cubicBezTo>
                  <a:cubicBezTo>
                    <a:pt x="662940" y="829627"/>
                    <a:pt x="661988" y="828675"/>
                    <a:pt x="661988" y="827722"/>
                  </a:cubicBezTo>
                  <a:cubicBezTo>
                    <a:pt x="661988" y="826770"/>
                    <a:pt x="662940" y="825817"/>
                    <a:pt x="663893" y="825817"/>
                  </a:cubicBezTo>
                  <a:close/>
                  <a:moveTo>
                    <a:pt x="120968" y="824864"/>
                  </a:moveTo>
                  <a:cubicBezTo>
                    <a:pt x="125730" y="824864"/>
                    <a:pt x="129540" y="828674"/>
                    <a:pt x="129540" y="833437"/>
                  </a:cubicBezTo>
                  <a:cubicBezTo>
                    <a:pt x="129540" y="838199"/>
                    <a:pt x="125730" y="842009"/>
                    <a:pt x="120968" y="842009"/>
                  </a:cubicBezTo>
                  <a:cubicBezTo>
                    <a:pt x="116205" y="842009"/>
                    <a:pt x="112395" y="839152"/>
                    <a:pt x="112395" y="833437"/>
                  </a:cubicBezTo>
                  <a:cubicBezTo>
                    <a:pt x="112395" y="828674"/>
                    <a:pt x="116205" y="824864"/>
                    <a:pt x="120968" y="824864"/>
                  </a:cubicBezTo>
                  <a:close/>
                  <a:moveTo>
                    <a:pt x="2354580" y="803910"/>
                  </a:moveTo>
                  <a:cubicBezTo>
                    <a:pt x="2355532" y="803910"/>
                    <a:pt x="2356485" y="804862"/>
                    <a:pt x="2356485" y="805815"/>
                  </a:cubicBezTo>
                  <a:cubicBezTo>
                    <a:pt x="2356485" y="806767"/>
                    <a:pt x="2355532" y="807720"/>
                    <a:pt x="2354580" y="807720"/>
                  </a:cubicBezTo>
                  <a:cubicBezTo>
                    <a:pt x="2353628" y="807720"/>
                    <a:pt x="2352675" y="806767"/>
                    <a:pt x="2352675" y="805815"/>
                  </a:cubicBezTo>
                  <a:cubicBezTo>
                    <a:pt x="2352675" y="804862"/>
                    <a:pt x="2353628" y="803910"/>
                    <a:pt x="2354580" y="803910"/>
                  </a:cubicBezTo>
                  <a:close/>
                  <a:moveTo>
                    <a:pt x="47625" y="802957"/>
                  </a:moveTo>
                  <a:cubicBezTo>
                    <a:pt x="49729" y="802957"/>
                    <a:pt x="51435" y="804663"/>
                    <a:pt x="51435" y="806767"/>
                  </a:cubicBezTo>
                  <a:cubicBezTo>
                    <a:pt x="51435" y="808871"/>
                    <a:pt x="49729" y="810577"/>
                    <a:pt x="47625" y="810577"/>
                  </a:cubicBezTo>
                  <a:cubicBezTo>
                    <a:pt x="45521" y="810577"/>
                    <a:pt x="43815" y="808871"/>
                    <a:pt x="43815" y="806767"/>
                  </a:cubicBezTo>
                  <a:cubicBezTo>
                    <a:pt x="43815" y="804663"/>
                    <a:pt x="45521" y="802957"/>
                    <a:pt x="47625" y="802957"/>
                  </a:cubicBezTo>
                  <a:close/>
                  <a:moveTo>
                    <a:pt x="2287905" y="802004"/>
                  </a:moveTo>
                  <a:cubicBezTo>
                    <a:pt x="2289810" y="802004"/>
                    <a:pt x="2290762" y="802957"/>
                    <a:pt x="2290762" y="804862"/>
                  </a:cubicBezTo>
                  <a:cubicBezTo>
                    <a:pt x="2290762" y="806767"/>
                    <a:pt x="2288857" y="807719"/>
                    <a:pt x="2287905" y="807719"/>
                  </a:cubicBezTo>
                  <a:cubicBezTo>
                    <a:pt x="2286952" y="807719"/>
                    <a:pt x="2285047" y="806767"/>
                    <a:pt x="2285047" y="804862"/>
                  </a:cubicBezTo>
                  <a:cubicBezTo>
                    <a:pt x="2285047" y="802957"/>
                    <a:pt x="2286952" y="802004"/>
                    <a:pt x="2287905" y="802004"/>
                  </a:cubicBezTo>
                  <a:close/>
                  <a:moveTo>
                    <a:pt x="2154555" y="802004"/>
                  </a:moveTo>
                  <a:cubicBezTo>
                    <a:pt x="2155508" y="802004"/>
                    <a:pt x="2156460" y="802957"/>
                    <a:pt x="2156460" y="803909"/>
                  </a:cubicBezTo>
                  <a:cubicBezTo>
                    <a:pt x="2156460" y="804862"/>
                    <a:pt x="2155508" y="805814"/>
                    <a:pt x="2154555" y="805814"/>
                  </a:cubicBezTo>
                  <a:cubicBezTo>
                    <a:pt x="2152650" y="805814"/>
                    <a:pt x="2152650" y="804862"/>
                    <a:pt x="2152650" y="803909"/>
                  </a:cubicBezTo>
                  <a:cubicBezTo>
                    <a:pt x="2152650" y="802957"/>
                    <a:pt x="2153603" y="802004"/>
                    <a:pt x="2154555" y="802004"/>
                  </a:cubicBezTo>
                  <a:close/>
                  <a:moveTo>
                    <a:pt x="2221230" y="801052"/>
                  </a:moveTo>
                  <a:cubicBezTo>
                    <a:pt x="2223135" y="801052"/>
                    <a:pt x="2225040" y="802957"/>
                    <a:pt x="2225040" y="804862"/>
                  </a:cubicBezTo>
                  <a:cubicBezTo>
                    <a:pt x="2225040" y="806767"/>
                    <a:pt x="2223135" y="808672"/>
                    <a:pt x="2221230" y="808672"/>
                  </a:cubicBezTo>
                  <a:cubicBezTo>
                    <a:pt x="2219325" y="808672"/>
                    <a:pt x="2217420" y="806767"/>
                    <a:pt x="2217420" y="804862"/>
                  </a:cubicBezTo>
                  <a:cubicBezTo>
                    <a:pt x="2217420" y="802957"/>
                    <a:pt x="2219325" y="801052"/>
                    <a:pt x="2221230" y="801052"/>
                  </a:cubicBezTo>
                  <a:close/>
                  <a:moveTo>
                    <a:pt x="582930" y="800100"/>
                  </a:moveTo>
                  <a:cubicBezTo>
                    <a:pt x="583883" y="800100"/>
                    <a:pt x="584835" y="801052"/>
                    <a:pt x="584835" y="802005"/>
                  </a:cubicBezTo>
                  <a:cubicBezTo>
                    <a:pt x="584835" y="802958"/>
                    <a:pt x="583883" y="803910"/>
                    <a:pt x="582930" y="803910"/>
                  </a:cubicBezTo>
                  <a:cubicBezTo>
                    <a:pt x="581977" y="803910"/>
                    <a:pt x="581025" y="802958"/>
                    <a:pt x="581025" y="802005"/>
                  </a:cubicBezTo>
                  <a:cubicBezTo>
                    <a:pt x="581025" y="801052"/>
                    <a:pt x="581977" y="800100"/>
                    <a:pt x="582930" y="800100"/>
                  </a:cubicBezTo>
                  <a:close/>
                  <a:moveTo>
                    <a:pt x="446722" y="798195"/>
                  </a:moveTo>
                  <a:cubicBezTo>
                    <a:pt x="449580" y="798195"/>
                    <a:pt x="452437" y="801052"/>
                    <a:pt x="452437" y="803910"/>
                  </a:cubicBezTo>
                  <a:cubicBezTo>
                    <a:pt x="452437" y="806767"/>
                    <a:pt x="449580" y="809625"/>
                    <a:pt x="446722" y="809625"/>
                  </a:cubicBezTo>
                  <a:cubicBezTo>
                    <a:pt x="443864" y="809625"/>
                    <a:pt x="441007" y="806767"/>
                    <a:pt x="441007" y="803910"/>
                  </a:cubicBezTo>
                  <a:cubicBezTo>
                    <a:pt x="441007" y="801052"/>
                    <a:pt x="443864" y="798195"/>
                    <a:pt x="446722" y="798195"/>
                  </a:cubicBezTo>
                  <a:close/>
                  <a:moveTo>
                    <a:pt x="180023" y="798195"/>
                  </a:moveTo>
                  <a:cubicBezTo>
                    <a:pt x="183833" y="798195"/>
                    <a:pt x="187643" y="802005"/>
                    <a:pt x="187643" y="805815"/>
                  </a:cubicBezTo>
                  <a:cubicBezTo>
                    <a:pt x="187643" y="809625"/>
                    <a:pt x="183833" y="813435"/>
                    <a:pt x="180023" y="813435"/>
                  </a:cubicBezTo>
                  <a:cubicBezTo>
                    <a:pt x="176213" y="813435"/>
                    <a:pt x="172403" y="810577"/>
                    <a:pt x="172403" y="805815"/>
                  </a:cubicBezTo>
                  <a:cubicBezTo>
                    <a:pt x="172403" y="802005"/>
                    <a:pt x="176213" y="798195"/>
                    <a:pt x="180023" y="798195"/>
                  </a:cubicBezTo>
                  <a:close/>
                  <a:moveTo>
                    <a:pt x="312420" y="794385"/>
                  </a:moveTo>
                  <a:cubicBezTo>
                    <a:pt x="318136" y="794385"/>
                    <a:pt x="322898" y="799148"/>
                    <a:pt x="322898" y="804862"/>
                  </a:cubicBezTo>
                  <a:cubicBezTo>
                    <a:pt x="322898" y="810577"/>
                    <a:pt x="318136" y="815340"/>
                    <a:pt x="312420" y="815340"/>
                  </a:cubicBezTo>
                  <a:cubicBezTo>
                    <a:pt x="306706" y="815340"/>
                    <a:pt x="302895" y="810577"/>
                    <a:pt x="301943" y="804862"/>
                  </a:cubicBezTo>
                  <a:cubicBezTo>
                    <a:pt x="301943" y="799148"/>
                    <a:pt x="306706" y="794385"/>
                    <a:pt x="312420" y="794385"/>
                  </a:cubicBezTo>
                  <a:close/>
                  <a:moveTo>
                    <a:pt x="641032" y="772477"/>
                  </a:moveTo>
                  <a:cubicBezTo>
                    <a:pt x="641985" y="772477"/>
                    <a:pt x="642937" y="773429"/>
                    <a:pt x="642937" y="774382"/>
                  </a:cubicBezTo>
                  <a:cubicBezTo>
                    <a:pt x="642937" y="775335"/>
                    <a:pt x="641985" y="776287"/>
                    <a:pt x="641032" y="776287"/>
                  </a:cubicBezTo>
                  <a:cubicBezTo>
                    <a:pt x="640079" y="776287"/>
                    <a:pt x="639127" y="775335"/>
                    <a:pt x="639127" y="774382"/>
                  </a:cubicBezTo>
                  <a:cubicBezTo>
                    <a:pt x="639127" y="773429"/>
                    <a:pt x="640079" y="772477"/>
                    <a:pt x="641032" y="772477"/>
                  </a:cubicBezTo>
                  <a:close/>
                  <a:moveTo>
                    <a:pt x="505777" y="772477"/>
                  </a:moveTo>
                  <a:cubicBezTo>
                    <a:pt x="507683" y="772477"/>
                    <a:pt x="508635" y="774382"/>
                    <a:pt x="508635" y="775335"/>
                  </a:cubicBezTo>
                  <a:cubicBezTo>
                    <a:pt x="508635" y="777240"/>
                    <a:pt x="506730" y="778192"/>
                    <a:pt x="505777" y="778192"/>
                  </a:cubicBezTo>
                  <a:cubicBezTo>
                    <a:pt x="503873" y="778192"/>
                    <a:pt x="502920" y="777240"/>
                    <a:pt x="502920" y="775335"/>
                  </a:cubicBezTo>
                  <a:cubicBezTo>
                    <a:pt x="502920" y="773429"/>
                    <a:pt x="504825" y="772477"/>
                    <a:pt x="505777" y="772477"/>
                  </a:cubicBezTo>
                  <a:close/>
                  <a:moveTo>
                    <a:pt x="239078" y="771525"/>
                  </a:moveTo>
                  <a:cubicBezTo>
                    <a:pt x="242888" y="771525"/>
                    <a:pt x="244793" y="774383"/>
                    <a:pt x="244793" y="777240"/>
                  </a:cubicBezTo>
                  <a:cubicBezTo>
                    <a:pt x="244793" y="780098"/>
                    <a:pt x="241936" y="782955"/>
                    <a:pt x="239078" y="782955"/>
                  </a:cubicBezTo>
                  <a:cubicBezTo>
                    <a:pt x="236220" y="782955"/>
                    <a:pt x="233363" y="781050"/>
                    <a:pt x="233363" y="777240"/>
                  </a:cubicBezTo>
                  <a:cubicBezTo>
                    <a:pt x="233363" y="774383"/>
                    <a:pt x="236220" y="771525"/>
                    <a:pt x="239078" y="771525"/>
                  </a:cubicBezTo>
                  <a:close/>
                  <a:moveTo>
                    <a:pt x="371475" y="770572"/>
                  </a:moveTo>
                  <a:cubicBezTo>
                    <a:pt x="375285" y="770572"/>
                    <a:pt x="378142" y="773429"/>
                    <a:pt x="378142" y="777239"/>
                  </a:cubicBezTo>
                  <a:cubicBezTo>
                    <a:pt x="378142" y="781049"/>
                    <a:pt x="375285" y="783907"/>
                    <a:pt x="371475" y="783907"/>
                  </a:cubicBezTo>
                  <a:cubicBezTo>
                    <a:pt x="367664" y="783907"/>
                    <a:pt x="364807" y="781049"/>
                    <a:pt x="364807" y="777239"/>
                  </a:cubicBezTo>
                  <a:cubicBezTo>
                    <a:pt x="364807" y="773429"/>
                    <a:pt x="367664" y="770572"/>
                    <a:pt x="371475" y="770572"/>
                  </a:cubicBezTo>
                  <a:close/>
                  <a:moveTo>
                    <a:pt x="107633" y="770572"/>
                  </a:moveTo>
                  <a:cubicBezTo>
                    <a:pt x="111443" y="770572"/>
                    <a:pt x="115253" y="774382"/>
                    <a:pt x="115253" y="778192"/>
                  </a:cubicBezTo>
                  <a:cubicBezTo>
                    <a:pt x="115253" y="782002"/>
                    <a:pt x="111443" y="785812"/>
                    <a:pt x="107633" y="785812"/>
                  </a:cubicBezTo>
                  <a:cubicBezTo>
                    <a:pt x="102870" y="785812"/>
                    <a:pt x="100013" y="782002"/>
                    <a:pt x="100013" y="778192"/>
                  </a:cubicBezTo>
                  <a:cubicBezTo>
                    <a:pt x="100013" y="774382"/>
                    <a:pt x="103823" y="770572"/>
                    <a:pt x="107633" y="770572"/>
                  </a:cubicBezTo>
                  <a:close/>
                  <a:moveTo>
                    <a:pt x="2236470" y="748664"/>
                  </a:moveTo>
                  <a:cubicBezTo>
                    <a:pt x="2236470" y="748664"/>
                    <a:pt x="2237422" y="748664"/>
                    <a:pt x="2237422" y="749616"/>
                  </a:cubicBezTo>
                  <a:cubicBezTo>
                    <a:pt x="2237422" y="749616"/>
                    <a:pt x="2237422" y="750569"/>
                    <a:pt x="2236470" y="750569"/>
                  </a:cubicBezTo>
                  <a:cubicBezTo>
                    <a:pt x="2236470" y="750569"/>
                    <a:pt x="2235517" y="749616"/>
                    <a:pt x="2235517" y="749616"/>
                  </a:cubicBezTo>
                  <a:cubicBezTo>
                    <a:pt x="2235517" y="749616"/>
                    <a:pt x="2235517" y="748664"/>
                    <a:pt x="2236470" y="748664"/>
                  </a:cubicBezTo>
                  <a:close/>
                  <a:moveTo>
                    <a:pt x="2368868" y="747712"/>
                  </a:moveTo>
                  <a:cubicBezTo>
                    <a:pt x="2369820" y="747712"/>
                    <a:pt x="2370773" y="748664"/>
                    <a:pt x="2370773" y="749617"/>
                  </a:cubicBezTo>
                  <a:cubicBezTo>
                    <a:pt x="2370773" y="750570"/>
                    <a:pt x="2369820" y="751522"/>
                    <a:pt x="2368868" y="751522"/>
                  </a:cubicBezTo>
                  <a:cubicBezTo>
                    <a:pt x="2366963" y="751522"/>
                    <a:pt x="2366010" y="750570"/>
                    <a:pt x="2366963" y="749617"/>
                  </a:cubicBezTo>
                  <a:cubicBezTo>
                    <a:pt x="2366963" y="748664"/>
                    <a:pt x="2367915" y="747712"/>
                    <a:pt x="2368868" y="747712"/>
                  </a:cubicBezTo>
                  <a:close/>
                  <a:moveTo>
                    <a:pt x="2303145" y="746760"/>
                  </a:moveTo>
                  <a:cubicBezTo>
                    <a:pt x="2304097" y="746760"/>
                    <a:pt x="2305050" y="747712"/>
                    <a:pt x="2305050" y="748665"/>
                  </a:cubicBezTo>
                  <a:cubicBezTo>
                    <a:pt x="2305050" y="749617"/>
                    <a:pt x="2304097" y="750570"/>
                    <a:pt x="2303145" y="750570"/>
                  </a:cubicBezTo>
                  <a:cubicBezTo>
                    <a:pt x="2302192" y="750570"/>
                    <a:pt x="2301240" y="750570"/>
                    <a:pt x="2301240" y="748665"/>
                  </a:cubicBezTo>
                  <a:cubicBezTo>
                    <a:pt x="2301240" y="747712"/>
                    <a:pt x="2302192" y="746760"/>
                    <a:pt x="2303145" y="746760"/>
                  </a:cubicBezTo>
                  <a:close/>
                  <a:moveTo>
                    <a:pt x="36196" y="746760"/>
                  </a:moveTo>
                  <a:cubicBezTo>
                    <a:pt x="38101" y="746760"/>
                    <a:pt x="39053" y="748665"/>
                    <a:pt x="39053" y="749617"/>
                  </a:cubicBezTo>
                  <a:cubicBezTo>
                    <a:pt x="39053" y="751523"/>
                    <a:pt x="37148" y="752475"/>
                    <a:pt x="36196" y="752475"/>
                  </a:cubicBezTo>
                  <a:cubicBezTo>
                    <a:pt x="35243" y="752475"/>
                    <a:pt x="33338" y="751523"/>
                    <a:pt x="33338" y="749617"/>
                  </a:cubicBezTo>
                  <a:cubicBezTo>
                    <a:pt x="33338" y="747712"/>
                    <a:pt x="35243" y="746760"/>
                    <a:pt x="36196" y="746760"/>
                  </a:cubicBezTo>
                  <a:close/>
                  <a:moveTo>
                    <a:pt x="699135" y="745807"/>
                  </a:moveTo>
                  <a:cubicBezTo>
                    <a:pt x="699135" y="745807"/>
                    <a:pt x="700088" y="745807"/>
                    <a:pt x="700088" y="746759"/>
                  </a:cubicBezTo>
                  <a:cubicBezTo>
                    <a:pt x="700088" y="746759"/>
                    <a:pt x="700088" y="747712"/>
                    <a:pt x="699135" y="747712"/>
                  </a:cubicBezTo>
                  <a:cubicBezTo>
                    <a:pt x="698183" y="747712"/>
                    <a:pt x="698183" y="746759"/>
                    <a:pt x="698183" y="746759"/>
                  </a:cubicBezTo>
                  <a:cubicBezTo>
                    <a:pt x="698183" y="746759"/>
                    <a:pt x="698183" y="745807"/>
                    <a:pt x="699135" y="745807"/>
                  </a:cubicBezTo>
                  <a:close/>
                  <a:moveTo>
                    <a:pt x="563880" y="745807"/>
                  </a:moveTo>
                  <a:cubicBezTo>
                    <a:pt x="564833" y="745807"/>
                    <a:pt x="565785" y="746759"/>
                    <a:pt x="565785" y="747712"/>
                  </a:cubicBezTo>
                  <a:cubicBezTo>
                    <a:pt x="565785" y="748664"/>
                    <a:pt x="564833" y="749617"/>
                    <a:pt x="563880" y="749617"/>
                  </a:cubicBezTo>
                  <a:cubicBezTo>
                    <a:pt x="562927" y="749617"/>
                    <a:pt x="561975" y="748664"/>
                    <a:pt x="561975" y="747712"/>
                  </a:cubicBezTo>
                  <a:cubicBezTo>
                    <a:pt x="561975" y="746759"/>
                    <a:pt x="562927" y="745807"/>
                    <a:pt x="563880" y="745807"/>
                  </a:cubicBezTo>
                  <a:close/>
                  <a:moveTo>
                    <a:pt x="430530" y="744854"/>
                  </a:moveTo>
                  <a:cubicBezTo>
                    <a:pt x="432435" y="744854"/>
                    <a:pt x="434340" y="746759"/>
                    <a:pt x="434340" y="748664"/>
                  </a:cubicBezTo>
                  <a:cubicBezTo>
                    <a:pt x="434340" y="750569"/>
                    <a:pt x="432435" y="752474"/>
                    <a:pt x="430530" y="752474"/>
                  </a:cubicBezTo>
                  <a:cubicBezTo>
                    <a:pt x="428625" y="752474"/>
                    <a:pt x="426720" y="751522"/>
                    <a:pt x="426720" y="748664"/>
                  </a:cubicBezTo>
                  <a:cubicBezTo>
                    <a:pt x="426720" y="746759"/>
                    <a:pt x="428625" y="744854"/>
                    <a:pt x="430530" y="744854"/>
                  </a:cubicBezTo>
                  <a:close/>
                  <a:moveTo>
                    <a:pt x="166688" y="742950"/>
                  </a:moveTo>
                  <a:cubicBezTo>
                    <a:pt x="170498" y="742950"/>
                    <a:pt x="173355" y="745808"/>
                    <a:pt x="173355" y="749617"/>
                  </a:cubicBezTo>
                  <a:cubicBezTo>
                    <a:pt x="173355" y="753427"/>
                    <a:pt x="170498" y="756285"/>
                    <a:pt x="166688" y="756285"/>
                  </a:cubicBezTo>
                  <a:cubicBezTo>
                    <a:pt x="163830" y="756285"/>
                    <a:pt x="160020" y="753427"/>
                    <a:pt x="160020" y="749617"/>
                  </a:cubicBezTo>
                  <a:cubicBezTo>
                    <a:pt x="160020" y="745808"/>
                    <a:pt x="162878" y="742950"/>
                    <a:pt x="166688" y="742950"/>
                  </a:cubicBezTo>
                  <a:close/>
                  <a:moveTo>
                    <a:pt x="298133" y="741997"/>
                  </a:moveTo>
                  <a:cubicBezTo>
                    <a:pt x="301943" y="741997"/>
                    <a:pt x="305753" y="745807"/>
                    <a:pt x="305753" y="749617"/>
                  </a:cubicBezTo>
                  <a:cubicBezTo>
                    <a:pt x="305753" y="753427"/>
                    <a:pt x="301943" y="757237"/>
                    <a:pt x="298133" y="757237"/>
                  </a:cubicBezTo>
                  <a:cubicBezTo>
                    <a:pt x="294323" y="757237"/>
                    <a:pt x="290513" y="753427"/>
                    <a:pt x="290513" y="749617"/>
                  </a:cubicBezTo>
                  <a:cubicBezTo>
                    <a:pt x="290513" y="745807"/>
                    <a:pt x="294323" y="741997"/>
                    <a:pt x="298133" y="741997"/>
                  </a:cubicBezTo>
                  <a:close/>
                  <a:moveTo>
                    <a:pt x="622935" y="717232"/>
                  </a:moveTo>
                  <a:cubicBezTo>
                    <a:pt x="623888" y="717232"/>
                    <a:pt x="624840" y="718184"/>
                    <a:pt x="624840" y="719137"/>
                  </a:cubicBezTo>
                  <a:cubicBezTo>
                    <a:pt x="624840" y="720089"/>
                    <a:pt x="623888" y="721042"/>
                    <a:pt x="622935" y="721042"/>
                  </a:cubicBezTo>
                  <a:cubicBezTo>
                    <a:pt x="621983" y="721042"/>
                    <a:pt x="621030" y="720089"/>
                    <a:pt x="621030" y="719137"/>
                  </a:cubicBezTo>
                  <a:cubicBezTo>
                    <a:pt x="621030" y="718184"/>
                    <a:pt x="621983" y="717232"/>
                    <a:pt x="622935" y="717232"/>
                  </a:cubicBezTo>
                  <a:close/>
                  <a:moveTo>
                    <a:pt x="489585" y="717232"/>
                  </a:moveTo>
                  <a:cubicBezTo>
                    <a:pt x="491490" y="717232"/>
                    <a:pt x="492442" y="718184"/>
                    <a:pt x="492442" y="720089"/>
                  </a:cubicBezTo>
                  <a:cubicBezTo>
                    <a:pt x="492442" y="721995"/>
                    <a:pt x="490537" y="722947"/>
                    <a:pt x="489585" y="722947"/>
                  </a:cubicBezTo>
                  <a:cubicBezTo>
                    <a:pt x="488632" y="722947"/>
                    <a:pt x="486727" y="721995"/>
                    <a:pt x="486727" y="720089"/>
                  </a:cubicBezTo>
                  <a:cubicBezTo>
                    <a:pt x="486727" y="718184"/>
                    <a:pt x="487680" y="717232"/>
                    <a:pt x="489585" y="717232"/>
                  </a:cubicBezTo>
                  <a:close/>
                  <a:moveTo>
                    <a:pt x="358140" y="716279"/>
                  </a:moveTo>
                  <a:cubicBezTo>
                    <a:pt x="360997" y="716279"/>
                    <a:pt x="362902" y="718184"/>
                    <a:pt x="362902" y="721042"/>
                  </a:cubicBezTo>
                  <a:cubicBezTo>
                    <a:pt x="362902" y="723899"/>
                    <a:pt x="360997" y="725804"/>
                    <a:pt x="358140" y="725804"/>
                  </a:cubicBezTo>
                  <a:cubicBezTo>
                    <a:pt x="355282" y="725804"/>
                    <a:pt x="353377" y="723899"/>
                    <a:pt x="353377" y="721042"/>
                  </a:cubicBezTo>
                  <a:cubicBezTo>
                    <a:pt x="353377" y="718184"/>
                    <a:pt x="355282" y="716279"/>
                    <a:pt x="358140" y="716279"/>
                  </a:cubicBezTo>
                  <a:close/>
                  <a:moveTo>
                    <a:pt x="226695" y="715327"/>
                  </a:moveTo>
                  <a:cubicBezTo>
                    <a:pt x="229552" y="715327"/>
                    <a:pt x="232410" y="718185"/>
                    <a:pt x="232410" y="721042"/>
                  </a:cubicBezTo>
                  <a:cubicBezTo>
                    <a:pt x="232410" y="723900"/>
                    <a:pt x="229552" y="726757"/>
                    <a:pt x="226695" y="726757"/>
                  </a:cubicBezTo>
                  <a:cubicBezTo>
                    <a:pt x="223837" y="726757"/>
                    <a:pt x="221932" y="723900"/>
                    <a:pt x="220980" y="721042"/>
                  </a:cubicBezTo>
                  <a:cubicBezTo>
                    <a:pt x="220980" y="718185"/>
                    <a:pt x="223837" y="715327"/>
                    <a:pt x="226695" y="715327"/>
                  </a:cubicBezTo>
                  <a:close/>
                  <a:moveTo>
                    <a:pt x="96202" y="713422"/>
                  </a:moveTo>
                  <a:cubicBezTo>
                    <a:pt x="100965" y="713422"/>
                    <a:pt x="103822" y="717232"/>
                    <a:pt x="103822" y="721042"/>
                  </a:cubicBezTo>
                  <a:cubicBezTo>
                    <a:pt x="103822" y="724852"/>
                    <a:pt x="100012" y="728662"/>
                    <a:pt x="96202" y="728662"/>
                  </a:cubicBezTo>
                  <a:cubicBezTo>
                    <a:pt x="92392" y="728662"/>
                    <a:pt x="89535" y="725804"/>
                    <a:pt x="88582" y="721042"/>
                  </a:cubicBezTo>
                  <a:cubicBezTo>
                    <a:pt x="88582" y="717232"/>
                    <a:pt x="92392" y="713422"/>
                    <a:pt x="96202" y="713422"/>
                  </a:cubicBezTo>
                  <a:close/>
                  <a:moveTo>
                    <a:pt x="27622" y="691514"/>
                  </a:moveTo>
                  <a:cubicBezTo>
                    <a:pt x="28575" y="691514"/>
                    <a:pt x="29527" y="692466"/>
                    <a:pt x="29527" y="693419"/>
                  </a:cubicBezTo>
                  <a:cubicBezTo>
                    <a:pt x="29527" y="694372"/>
                    <a:pt x="28575" y="695324"/>
                    <a:pt x="27622" y="695324"/>
                  </a:cubicBezTo>
                  <a:cubicBezTo>
                    <a:pt x="26670" y="695324"/>
                    <a:pt x="25717" y="694372"/>
                    <a:pt x="25717" y="693419"/>
                  </a:cubicBezTo>
                  <a:cubicBezTo>
                    <a:pt x="25717" y="692466"/>
                    <a:pt x="26670" y="691514"/>
                    <a:pt x="27622" y="691514"/>
                  </a:cubicBezTo>
                  <a:close/>
                  <a:moveTo>
                    <a:pt x="2313622" y="690562"/>
                  </a:moveTo>
                  <a:cubicBezTo>
                    <a:pt x="2314575" y="690562"/>
                    <a:pt x="2315527" y="691514"/>
                    <a:pt x="2315527" y="692467"/>
                  </a:cubicBezTo>
                  <a:cubicBezTo>
                    <a:pt x="2315527" y="693420"/>
                    <a:pt x="2314575" y="694372"/>
                    <a:pt x="2313622" y="694372"/>
                  </a:cubicBezTo>
                  <a:cubicBezTo>
                    <a:pt x="2312670" y="694372"/>
                    <a:pt x="2311717" y="694372"/>
                    <a:pt x="2311717" y="692467"/>
                  </a:cubicBezTo>
                  <a:cubicBezTo>
                    <a:pt x="2311717" y="691514"/>
                    <a:pt x="2312670" y="690562"/>
                    <a:pt x="2313622" y="690562"/>
                  </a:cubicBezTo>
                  <a:close/>
                  <a:moveTo>
                    <a:pt x="2248852" y="690562"/>
                  </a:moveTo>
                  <a:cubicBezTo>
                    <a:pt x="2249805" y="690562"/>
                    <a:pt x="2250757" y="691514"/>
                    <a:pt x="2250757" y="692467"/>
                  </a:cubicBezTo>
                  <a:cubicBezTo>
                    <a:pt x="2250757" y="693420"/>
                    <a:pt x="2249805" y="694372"/>
                    <a:pt x="2248852" y="694372"/>
                  </a:cubicBezTo>
                  <a:cubicBezTo>
                    <a:pt x="2247900" y="694372"/>
                    <a:pt x="2246947" y="693420"/>
                    <a:pt x="2246947" y="692467"/>
                  </a:cubicBezTo>
                  <a:cubicBezTo>
                    <a:pt x="2246947" y="691514"/>
                    <a:pt x="2247900" y="690562"/>
                    <a:pt x="2248852" y="690562"/>
                  </a:cubicBezTo>
                  <a:close/>
                  <a:moveTo>
                    <a:pt x="548640" y="690562"/>
                  </a:moveTo>
                  <a:cubicBezTo>
                    <a:pt x="549592" y="690562"/>
                    <a:pt x="550545" y="691514"/>
                    <a:pt x="550545" y="692467"/>
                  </a:cubicBezTo>
                  <a:cubicBezTo>
                    <a:pt x="550545" y="693420"/>
                    <a:pt x="549592" y="694372"/>
                    <a:pt x="548640" y="694372"/>
                  </a:cubicBezTo>
                  <a:cubicBezTo>
                    <a:pt x="547687" y="694372"/>
                    <a:pt x="546735" y="693420"/>
                    <a:pt x="546735" y="692467"/>
                  </a:cubicBezTo>
                  <a:cubicBezTo>
                    <a:pt x="546735" y="691514"/>
                    <a:pt x="547687" y="690562"/>
                    <a:pt x="548640" y="690562"/>
                  </a:cubicBezTo>
                  <a:close/>
                  <a:moveTo>
                    <a:pt x="418148" y="688657"/>
                  </a:moveTo>
                  <a:cubicBezTo>
                    <a:pt x="420252" y="688657"/>
                    <a:pt x="421958" y="690363"/>
                    <a:pt x="421958" y="692467"/>
                  </a:cubicBezTo>
                  <a:cubicBezTo>
                    <a:pt x="421958" y="694571"/>
                    <a:pt x="420252" y="696277"/>
                    <a:pt x="418148" y="696277"/>
                  </a:cubicBezTo>
                  <a:cubicBezTo>
                    <a:pt x="416044" y="696277"/>
                    <a:pt x="414338" y="694571"/>
                    <a:pt x="414338" y="692467"/>
                  </a:cubicBezTo>
                  <a:cubicBezTo>
                    <a:pt x="414338" y="690363"/>
                    <a:pt x="416044" y="688657"/>
                    <a:pt x="418148" y="688657"/>
                  </a:cubicBezTo>
                  <a:close/>
                  <a:moveTo>
                    <a:pt x="157163" y="688657"/>
                  </a:moveTo>
                  <a:cubicBezTo>
                    <a:pt x="159793" y="688657"/>
                    <a:pt x="161925" y="690789"/>
                    <a:pt x="161925" y="693420"/>
                  </a:cubicBezTo>
                  <a:cubicBezTo>
                    <a:pt x="161925" y="696050"/>
                    <a:pt x="159793" y="698182"/>
                    <a:pt x="157163" y="698182"/>
                  </a:cubicBezTo>
                  <a:cubicBezTo>
                    <a:pt x="154532" y="698182"/>
                    <a:pt x="152400" y="696050"/>
                    <a:pt x="152400" y="693420"/>
                  </a:cubicBezTo>
                  <a:cubicBezTo>
                    <a:pt x="152400" y="690789"/>
                    <a:pt x="154532" y="688657"/>
                    <a:pt x="157163" y="688657"/>
                  </a:cubicBezTo>
                  <a:close/>
                  <a:moveTo>
                    <a:pt x="287655" y="686752"/>
                  </a:moveTo>
                  <a:cubicBezTo>
                    <a:pt x="291465" y="686752"/>
                    <a:pt x="294322" y="689610"/>
                    <a:pt x="294322" y="693420"/>
                  </a:cubicBezTo>
                  <a:cubicBezTo>
                    <a:pt x="294322" y="697229"/>
                    <a:pt x="291465" y="700087"/>
                    <a:pt x="287655" y="700087"/>
                  </a:cubicBezTo>
                  <a:cubicBezTo>
                    <a:pt x="283845" y="700087"/>
                    <a:pt x="280035" y="696277"/>
                    <a:pt x="280987" y="693420"/>
                  </a:cubicBezTo>
                  <a:cubicBezTo>
                    <a:pt x="280987" y="689610"/>
                    <a:pt x="283845" y="686752"/>
                    <a:pt x="287655" y="686752"/>
                  </a:cubicBezTo>
                  <a:close/>
                  <a:moveTo>
                    <a:pt x="608647" y="661987"/>
                  </a:moveTo>
                  <a:cubicBezTo>
                    <a:pt x="609600" y="661987"/>
                    <a:pt x="610552" y="662939"/>
                    <a:pt x="610552" y="663892"/>
                  </a:cubicBezTo>
                  <a:cubicBezTo>
                    <a:pt x="610552" y="664845"/>
                    <a:pt x="609600" y="665797"/>
                    <a:pt x="608647" y="665797"/>
                  </a:cubicBezTo>
                  <a:cubicBezTo>
                    <a:pt x="607695" y="665797"/>
                    <a:pt x="606742" y="664845"/>
                    <a:pt x="606742" y="663892"/>
                  </a:cubicBezTo>
                  <a:cubicBezTo>
                    <a:pt x="606742" y="662939"/>
                    <a:pt x="607695" y="661987"/>
                    <a:pt x="608647" y="661987"/>
                  </a:cubicBezTo>
                  <a:close/>
                  <a:moveTo>
                    <a:pt x="478155" y="661035"/>
                  </a:moveTo>
                  <a:cubicBezTo>
                    <a:pt x="480061" y="661035"/>
                    <a:pt x="481013" y="662940"/>
                    <a:pt x="481013" y="663892"/>
                  </a:cubicBezTo>
                  <a:cubicBezTo>
                    <a:pt x="481013" y="665798"/>
                    <a:pt x="479108" y="666750"/>
                    <a:pt x="478155" y="666750"/>
                  </a:cubicBezTo>
                  <a:cubicBezTo>
                    <a:pt x="476250" y="666750"/>
                    <a:pt x="475298" y="665798"/>
                    <a:pt x="475298" y="663892"/>
                  </a:cubicBezTo>
                  <a:cubicBezTo>
                    <a:pt x="475298" y="661987"/>
                    <a:pt x="476250" y="661035"/>
                    <a:pt x="478155" y="661035"/>
                  </a:cubicBezTo>
                  <a:close/>
                  <a:moveTo>
                    <a:pt x="347663" y="659129"/>
                  </a:moveTo>
                  <a:cubicBezTo>
                    <a:pt x="350520" y="659129"/>
                    <a:pt x="352425" y="661034"/>
                    <a:pt x="352425" y="663892"/>
                  </a:cubicBezTo>
                  <a:cubicBezTo>
                    <a:pt x="352425" y="666749"/>
                    <a:pt x="350520" y="668654"/>
                    <a:pt x="347663" y="668654"/>
                  </a:cubicBezTo>
                  <a:cubicBezTo>
                    <a:pt x="344805" y="668654"/>
                    <a:pt x="342900" y="666749"/>
                    <a:pt x="342900" y="663892"/>
                  </a:cubicBezTo>
                  <a:cubicBezTo>
                    <a:pt x="342900" y="661034"/>
                    <a:pt x="344805" y="659129"/>
                    <a:pt x="347663" y="659129"/>
                  </a:cubicBezTo>
                  <a:close/>
                  <a:moveTo>
                    <a:pt x="88582" y="658177"/>
                  </a:moveTo>
                  <a:cubicBezTo>
                    <a:pt x="92393" y="658177"/>
                    <a:pt x="95250" y="661035"/>
                    <a:pt x="95250" y="664845"/>
                  </a:cubicBezTo>
                  <a:cubicBezTo>
                    <a:pt x="95250" y="668654"/>
                    <a:pt x="92393" y="671512"/>
                    <a:pt x="88582" y="671512"/>
                  </a:cubicBezTo>
                  <a:cubicBezTo>
                    <a:pt x="84772" y="671512"/>
                    <a:pt x="81915" y="668654"/>
                    <a:pt x="81915" y="664845"/>
                  </a:cubicBezTo>
                  <a:cubicBezTo>
                    <a:pt x="81915" y="661035"/>
                    <a:pt x="84772" y="658177"/>
                    <a:pt x="88582" y="658177"/>
                  </a:cubicBezTo>
                  <a:close/>
                  <a:moveTo>
                    <a:pt x="218123" y="657225"/>
                  </a:moveTo>
                  <a:cubicBezTo>
                    <a:pt x="221933" y="657225"/>
                    <a:pt x="225743" y="660083"/>
                    <a:pt x="225743" y="663892"/>
                  </a:cubicBezTo>
                  <a:cubicBezTo>
                    <a:pt x="225743" y="667702"/>
                    <a:pt x="221933" y="671513"/>
                    <a:pt x="218123" y="671513"/>
                  </a:cubicBezTo>
                  <a:cubicBezTo>
                    <a:pt x="213360" y="671513"/>
                    <a:pt x="210503" y="668655"/>
                    <a:pt x="210503" y="664845"/>
                  </a:cubicBezTo>
                  <a:cubicBezTo>
                    <a:pt x="210503" y="661035"/>
                    <a:pt x="214313" y="657225"/>
                    <a:pt x="218123" y="657225"/>
                  </a:cubicBezTo>
                  <a:close/>
                  <a:moveTo>
                    <a:pt x="2322195" y="635317"/>
                  </a:moveTo>
                  <a:cubicBezTo>
                    <a:pt x="2322195" y="635317"/>
                    <a:pt x="2323147" y="635317"/>
                    <a:pt x="2323147" y="636270"/>
                  </a:cubicBezTo>
                  <a:cubicBezTo>
                    <a:pt x="2323147" y="636270"/>
                    <a:pt x="2323147" y="637222"/>
                    <a:pt x="2322195" y="637222"/>
                  </a:cubicBezTo>
                  <a:cubicBezTo>
                    <a:pt x="2321242" y="637222"/>
                    <a:pt x="2320290" y="636270"/>
                    <a:pt x="2321242" y="636270"/>
                  </a:cubicBezTo>
                  <a:cubicBezTo>
                    <a:pt x="2321242" y="636270"/>
                    <a:pt x="2322195" y="635317"/>
                    <a:pt x="2322195" y="635317"/>
                  </a:cubicBezTo>
                  <a:close/>
                  <a:moveTo>
                    <a:pt x="20955" y="635317"/>
                  </a:moveTo>
                  <a:cubicBezTo>
                    <a:pt x="20955" y="635317"/>
                    <a:pt x="21908" y="635317"/>
                    <a:pt x="21908" y="636270"/>
                  </a:cubicBezTo>
                  <a:cubicBezTo>
                    <a:pt x="21908" y="636270"/>
                    <a:pt x="21908" y="637222"/>
                    <a:pt x="20955" y="637222"/>
                  </a:cubicBezTo>
                  <a:cubicBezTo>
                    <a:pt x="20003" y="637222"/>
                    <a:pt x="20003" y="636270"/>
                    <a:pt x="20003" y="636270"/>
                  </a:cubicBezTo>
                  <a:cubicBezTo>
                    <a:pt x="20003" y="636270"/>
                    <a:pt x="20003" y="635317"/>
                    <a:pt x="20955" y="635317"/>
                  </a:cubicBezTo>
                  <a:close/>
                  <a:moveTo>
                    <a:pt x="2192655" y="634365"/>
                  </a:moveTo>
                  <a:cubicBezTo>
                    <a:pt x="2193181" y="634365"/>
                    <a:pt x="2193608" y="634791"/>
                    <a:pt x="2193608" y="635317"/>
                  </a:cubicBezTo>
                  <a:cubicBezTo>
                    <a:pt x="2193608" y="635844"/>
                    <a:pt x="2193182" y="636270"/>
                    <a:pt x="2192655" y="636270"/>
                  </a:cubicBezTo>
                  <a:cubicBezTo>
                    <a:pt x="2192129" y="636270"/>
                    <a:pt x="2191703" y="635844"/>
                    <a:pt x="2191703" y="635317"/>
                  </a:cubicBezTo>
                  <a:cubicBezTo>
                    <a:pt x="2191703" y="634791"/>
                    <a:pt x="2192129" y="634365"/>
                    <a:pt x="2192655" y="634365"/>
                  </a:cubicBezTo>
                  <a:close/>
                  <a:moveTo>
                    <a:pt x="2257425" y="633412"/>
                  </a:moveTo>
                  <a:cubicBezTo>
                    <a:pt x="2258378" y="633412"/>
                    <a:pt x="2259330" y="634364"/>
                    <a:pt x="2259330" y="635317"/>
                  </a:cubicBezTo>
                  <a:cubicBezTo>
                    <a:pt x="2259330" y="636270"/>
                    <a:pt x="2258378" y="637222"/>
                    <a:pt x="2257425" y="637222"/>
                  </a:cubicBezTo>
                  <a:cubicBezTo>
                    <a:pt x="2256472" y="637222"/>
                    <a:pt x="2255520" y="636270"/>
                    <a:pt x="2255520" y="635317"/>
                  </a:cubicBezTo>
                  <a:cubicBezTo>
                    <a:pt x="2255520" y="634364"/>
                    <a:pt x="2256472" y="633412"/>
                    <a:pt x="2257425" y="633412"/>
                  </a:cubicBezTo>
                  <a:close/>
                  <a:moveTo>
                    <a:pt x="538163" y="633412"/>
                  </a:moveTo>
                  <a:cubicBezTo>
                    <a:pt x="539115" y="633412"/>
                    <a:pt x="540068" y="634364"/>
                    <a:pt x="540068" y="635317"/>
                  </a:cubicBezTo>
                  <a:cubicBezTo>
                    <a:pt x="540068" y="636270"/>
                    <a:pt x="539115" y="637222"/>
                    <a:pt x="538163" y="637222"/>
                  </a:cubicBezTo>
                  <a:cubicBezTo>
                    <a:pt x="537210" y="637222"/>
                    <a:pt x="536258" y="636270"/>
                    <a:pt x="536258" y="635317"/>
                  </a:cubicBezTo>
                  <a:cubicBezTo>
                    <a:pt x="536258" y="634364"/>
                    <a:pt x="537210" y="633412"/>
                    <a:pt x="538163" y="633412"/>
                  </a:cubicBezTo>
                  <a:close/>
                  <a:moveTo>
                    <a:pt x="408623" y="630554"/>
                  </a:moveTo>
                  <a:cubicBezTo>
                    <a:pt x="411480" y="630554"/>
                    <a:pt x="413385" y="632459"/>
                    <a:pt x="413385" y="635317"/>
                  </a:cubicBezTo>
                  <a:cubicBezTo>
                    <a:pt x="413385" y="638174"/>
                    <a:pt x="411480" y="640079"/>
                    <a:pt x="408623" y="640079"/>
                  </a:cubicBezTo>
                  <a:cubicBezTo>
                    <a:pt x="405765" y="640079"/>
                    <a:pt x="403860" y="638174"/>
                    <a:pt x="403860" y="635317"/>
                  </a:cubicBezTo>
                  <a:cubicBezTo>
                    <a:pt x="403860" y="632459"/>
                    <a:pt x="405765" y="630554"/>
                    <a:pt x="408623" y="630554"/>
                  </a:cubicBezTo>
                  <a:close/>
                  <a:moveTo>
                    <a:pt x="279083" y="629602"/>
                  </a:moveTo>
                  <a:cubicBezTo>
                    <a:pt x="282893" y="629602"/>
                    <a:pt x="285750" y="632460"/>
                    <a:pt x="285750" y="636270"/>
                  </a:cubicBezTo>
                  <a:cubicBezTo>
                    <a:pt x="285750" y="640079"/>
                    <a:pt x="282893" y="642937"/>
                    <a:pt x="279083" y="642937"/>
                  </a:cubicBezTo>
                  <a:cubicBezTo>
                    <a:pt x="275273" y="642937"/>
                    <a:pt x="272415" y="640079"/>
                    <a:pt x="272415" y="636270"/>
                  </a:cubicBezTo>
                  <a:cubicBezTo>
                    <a:pt x="272415" y="632460"/>
                    <a:pt x="275273" y="629602"/>
                    <a:pt x="279083" y="629602"/>
                  </a:cubicBezTo>
                  <a:close/>
                  <a:moveTo>
                    <a:pt x="149543" y="629602"/>
                  </a:moveTo>
                  <a:cubicBezTo>
                    <a:pt x="152400" y="629602"/>
                    <a:pt x="155258" y="632460"/>
                    <a:pt x="155258" y="635317"/>
                  </a:cubicBezTo>
                  <a:cubicBezTo>
                    <a:pt x="155258" y="639127"/>
                    <a:pt x="152400" y="641032"/>
                    <a:pt x="149543" y="641032"/>
                  </a:cubicBezTo>
                  <a:cubicBezTo>
                    <a:pt x="146685" y="641032"/>
                    <a:pt x="144781" y="639127"/>
                    <a:pt x="143828" y="635317"/>
                  </a:cubicBezTo>
                  <a:cubicBezTo>
                    <a:pt x="143828" y="632460"/>
                    <a:pt x="146685" y="629602"/>
                    <a:pt x="149543" y="629602"/>
                  </a:cubicBezTo>
                  <a:close/>
                  <a:moveTo>
                    <a:pt x="599122" y="606742"/>
                  </a:moveTo>
                  <a:cubicBezTo>
                    <a:pt x="599122" y="606742"/>
                    <a:pt x="600075" y="606742"/>
                    <a:pt x="600075" y="607695"/>
                  </a:cubicBezTo>
                  <a:cubicBezTo>
                    <a:pt x="600075" y="607695"/>
                    <a:pt x="600075" y="608647"/>
                    <a:pt x="599122" y="608647"/>
                  </a:cubicBezTo>
                  <a:cubicBezTo>
                    <a:pt x="598170" y="608647"/>
                    <a:pt x="598170" y="607695"/>
                    <a:pt x="598170" y="607695"/>
                  </a:cubicBezTo>
                  <a:cubicBezTo>
                    <a:pt x="598170" y="607695"/>
                    <a:pt x="598170" y="606742"/>
                    <a:pt x="599122" y="606742"/>
                  </a:cubicBezTo>
                  <a:close/>
                  <a:moveTo>
                    <a:pt x="469582" y="605789"/>
                  </a:moveTo>
                  <a:cubicBezTo>
                    <a:pt x="470535" y="605789"/>
                    <a:pt x="471487" y="606741"/>
                    <a:pt x="471487" y="607694"/>
                  </a:cubicBezTo>
                  <a:cubicBezTo>
                    <a:pt x="471487" y="608647"/>
                    <a:pt x="470535" y="609599"/>
                    <a:pt x="469582" y="609599"/>
                  </a:cubicBezTo>
                  <a:cubicBezTo>
                    <a:pt x="468630" y="609599"/>
                    <a:pt x="467677" y="608647"/>
                    <a:pt x="467677" y="607694"/>
                  </a:cubicBezTo>
                  <a:cubicBezTo>
                    <a:pt x="467677" y="606741"/>
                    <a:pt x="468630" y="605789"/>
                    <a:pt x="469582" y="605789"/>
                  </a:cubicBezTo>
                  <a:close/>
                  <a:moveTo>
                    <a:pt x="340995" y="601979"/>
                  </a:moveTo>
                  <a:cubicBezTo>
                    <a:pt x="343852" y="601979"/>
                    <a:pt x="345757" y="603884"/>
                    <a:pt x="345757" y="606742"/>
                  </a:cubicBezTo>
                  <a:cubicBezTo>
                    <a:pt x="345757" y="609599"/>
                    <a:pt x="343852" y="611504"/>
                    <a:pt x="340995" y="611504"/>
                  </a:cubicBezTo>
                  <a:cubicBezTo>
                    <a:pt x="338137" y="611504"/>
                    <a:pt x="336232" y="609599"/>
                    <a:pt x="336232" y="606742"/>
                  </a:cubicBezTo>
                  <a:cubicBezTo>
                    <a:pt x="336232" y="603884"/>
                    <a:pt x="338137" y="601979"/>
                    <a:pt x="340995" y="601979"/>
                  </a:cubicBezTo>
                  <a:close/>
                  <a:moveTo>
                    <a:pt x="211455" y="601979"/>
                  </a:moveTo>
                  <a:cubicBezTo>
                    <a:pt x="214312" y="601979"/>
                    <a:pt x="217170" y="604837"/>
                    <a:pt x="217170" y="607694"/>
                  </a:cubicBezTo>
                  <a:cubicBezTo>
                    <a:pt x="217170" y="610552"/>
                    <a:pt x="214312" y="613409"/>
                    <a:pt x="211455" y="613409"/>
                  </a:cubicBezTo>
                  <a:cubicBezTo>
                    <a:pt x="208597" y="613409"/>
                    <a:pt x="205740" y="610552"/>
                    <a:pt x="205740" y="607694"/>
                  </a:cubicBezTo>
                  <a:cubicBezTo>
                    <a:pt x="205740" y="604837"/>
                    <a:pt x="208597" y="601979"/>
                    <a:pt x="211455" y="601979"/>
                  </a:cubicBezTo>
                  <a:close/>
                  <a:moveTo>
                    <a:pt x="82868" y="601027"/>
                  </a:moveTo>
                  <a:cubicBezTo>
                    <a:pt x="86678" y="601027"/>
                    <a:pt x="89535" y="603885"/>
                    <a:pt x="89535" y="607695"/>
                  </a:cubicBezTo>
                  <a:cubicBezTo>
                    <a:pt x="89535" y="611504"/>
                    <a:pt x="86678" y="614362"/>
                    <a:pt x="82868" y="614362"/>
                  </a:cubicBezTo>
                  <a:cubicBezTo>
                    <a:pt x="79057" y="614362"/>
                    <a:pt x="76200" y="610552"/>
                    <a:pt x="76200" y="607695"/>
                  </a:cubicBezTo>
                  <a:cubicBezTo>
                    <a:pt x="76200" y="603885"/>
                    <a:pt x="79057" y="601027"/>
                    <a:pt x="82868" y="601027"/>
                  </a:cubicBezTo>
                  <a:close/>
                  <a:moveTo>
                    <a:pt x="2262188" y="576262"/>
                  </a:moveTo>
                  <a:cubicBezTo>
                    <a:pt x="2263141" y="576262"/>
                    <a:pt x="2264093" y="577214"/>
                    <a:pt x="2264093" y="578167"/>
                  </a:cubicBezTo>
                  <a:cubicBezTo>
                    <a:pt x="2264093" y="579120"/>
                    <a:pt x="2263141" y="580072"/>
                    <a:pt x="2262188" y="580072"/>
                  </a:cubicBezTo>
                  <a:cubicBezTo>
                    <a:pt x="2261235" y="580072"/>
                    <a:pt x="2260283" y="579120"/>
                    <a:pt x="2260283" y="578167"/>
                  </a:cubicBezTo>
                  <a:cubicBezTo>
                    <a:pt x="2260283" y="577214"/>
                    <a:pt x="2261235" y="576262"/>
                    <a:pt x="2262188" y="576262"/>
                  </a:cubicBezTo>
                  <a:close/>
                  <a:moveTo>
                    <a:pt x="531495" y="576262"/>
                  </a:moveTo>
                  <a:cubicBezTo>
                    <a:pt x="532448" y="576262"/>
                    <a:pt x="533400" y="577214"/>
                    <a:pt x="533400" y="578167"/>
                  </a:cubicBezTo>
                  <a:cubicBezTo>
                    <a:pt x="533400" y="579120"/>
                    <a:pt x="532448" y="580072"/>
                    <a:pt x="531495" y="580072"/>
                  </a:cubicBezTo>
                  <a:cubicBezTo>
                    <a:pt x="530542" y="580072"/>
                    <a:pt x="529590" y="579120"/>
                    <a:pt x="529590" y="578167"/>
                  </a:cubicBezTo>
                  <a:cubicBezTo>
                    <a:pt x="529590" y="577214"/>
                    <a:pt x="530542" y="576262"/>
                    <a:pt x="531495" y="576262"/>
                  </a:cubicBezTo>
                  <a:close/>
                  <a:moveTo>
                    <a:pt x="402908" y="574357"/>
                  </a:moveTo>
                  <a:cubicBezTo>
                    <a:pt x="404813" y="574357"/>
                    <a:pt x="406718" y="576262"/>
                    <a:pt x="406718" y="578167"/>
                  </a:cubicBezTo>
                  <a:cubicBezTo>
                    <a:pt x="406718" y="580072"/>
                    <a:pt x="404813" y="581977"/>
                    <a:pt x="402908" y="581977"/>
                  </a:cubicBezTo>
                  <a:cubicBezTo>
                    <a:pt x="401003" y="581977"/>
                    <a:pt x="400050" y="580072"/>
                    <a:pt x="399098" y="578167"/>
                  </a:cubicBezTo>
                  <a:cubicBezTo>
                    <a:pt x="399098" y="576262"/>
                    <a:pt x="401003" y="574357"/>
                    <a:pt x="402908" y="574357"/>
                  </a:cubicBezTo>
                  <a:close/>
                  <a:moveTo>
                    <a:pt x="145732" y="573405"/>
                  </a:moveTo>
                  <a:cubicBezTo>
                    <a:pt x="148363" y="573405"/>
                    <a:pt x="150495" y="575537"/>
                    <a:pt x="150495" y="578167"/>
                  </a:cubicBezTo>
                  <a:cubicBezTo>
                    <a:pt x="150495" y="580798"/>
                    <a:pt x="148363" y="582930"/>
                    <a:pt x="145732" y="582930"/>
                  </a:cubicBezTo>
                  <a:cubicBezTo>
                    <a:pt x="143102" y="582930"/>
                    <a:pt x="140970" y="580798"/>
                    <a:pt x="140970" y="578167"/>
                  </a:cubicBezTo>
                  <a:cubicBezTo>
                    <a:pt x="140970" y="575537"/>
                    <a:pt x="143102" y="573405"/>
                    <a:pt x="145732" y="573405"/>
                  </a:cubicBezTo>
                  <a:close/>
                  <a:moveTo>
                    <a:pt x="274320" y="571500"/>
                  </a:moveTo>
                  <a:cubicBezTo>
                    <a:pt x="278130" y="571500"/>
                    <a:pt x="280987" y="574358"/>
                    <a:pt x="280987" y="578167"/>
                  </a:cubicBezTo>
                  <a:cubicBezTo>
                    <a:pt x="280987" y="581977"/>
                    <a:pt x="278130" y="584835"/>
                    <a:pt x="274320" y="584835"/>
                  </a:cubicBezTo>
                  <a:cubicBezTo>
                    <a:pt x="270510" y="584835"/>
                    <a:pt x="267652" y="581977"/>
                    <a:pt x="267652" y="578167"/>
                  </a:cubicBezTo>
                  <a:cubicBezTo>
                    <a:pt x="267652" y="574358"/>
                    <a:pt x="270510" y="571500"/>
                    <a:pt x="274320" y="571500"/>
                  </a:cubicBezTo>
                  <a:close/>
                  <a:moveTo>
                    <a:pt x="465773" y="548639"/>
                  </a:moveTo>
                  <a:cubicBezTo>
                    <a:pt x="465773" y="548639"/>
                    <a:pt x="466725" y="548639"/>
                    <a:pt x="466725" y="549591"/>
                  </a:cubicBezTo>
                  <a:cubicBezTo>
                    <a:pt x="466725" y="549591"/>
                    <a:pt x="466725" y="550544"/>
                    <a:pt x="465773" y="550544"/>
                  </a:cubicBezTo>
                  <a:cubicBezTo>
                    <a:pt x="464820" y="550544"/>
                    <a:pt x="464820" y="550544"/>
                    <a:pt x="464820" y="549591"/>
                  </a:cubicBezTo>
                  <a:cubicBezTo>
                    <a:pt x="464820" y="549591"/>
                    <a:pt x="464820" y="548639"/>
                    <a:pt x="465773" y="548639"/>
                  </a:cubicBezTo>
                  <a:close/>
                  <a:moveTo>
                    <a:pt x="337186" y="544829"/>
                  </a:moveTo>
                  <a:cubicBezTo>
                    <a:pt x="340043" y="544829"/>
                    <a:pt x="341948" y="546734"/>
                    <a:pt x="341948" y="549592"/>
                  </a:cubicBezTo>
                  <a:cubicBezTo>
                    <a:pt x="341948" y="552449"/>
                    <a:pt x="340043" y="554354"/>
                    <a:pt x="337186" y="554354"/>
                  </a:cubicBezTo>
                  <a:cubicBezTo>
                    <a:pt x="335280" y="554354"/>
                    <a:pt x="332423" y="552449"/>
                    <a:pt x="332423" y="549592"/>
                  </a:cubicBezTo>
                  <a:cubicBezTo>
                    <a:pt x="332423" y="546734"/>
                    <a:pt x="334328" y="544829"/>
                    <a:pt x="337186" y="544829"/>
                  </a:cubicBezTo>
                  <a:close/>
                  <a:moveTo>
                    <a:pt x="80010" y="544829"/>
                  </a:moveTo>
                  <a:cubicBezTo>
                    <a:pt x="82867" y="544829"/>
                    <a:pt x="84772" y="546734"/>
                    <a:pt x="84772" y="549592"/>
                  </a:cubicBezTo>
                  <a:cubicBezTo>
                    <a:pt x="84772" y="552449"/>
                    <a:pt x="82867" y="554354"/>
                    <a:pt x="80010" y="554354"/>
                  </a:cubicBezTo>
                  <a:cubicBezTo>
                    <a:pt x="78105" y="554354"/>
                    <a:pt x="76200" y="552449"/>
                    <a:pt x="75247" y="549592"/>
                  </a:cubicBezTo>
                  <a:cubicBezTo>
                    <a:pt x="75247" y="546734"/>
                    <a:pt x="77152" y="544829"/>
                    <a:pt x="80010" y="544829"/>
                  </a:cubicBezTo>
                  <a:close/>
                  <a:moveTo>
                    <a:pt x="208597" y="543877"/>
                  </a:moveTo>
                  <a:cubicBezTo>
                    <a:pt x="211455" y="543877"/>
                    <a:pt x="214312" y="546735"/>
                    <a:pt x="214312" y="549592"/>
                  </a:cubicBezTo>
                  <a:cubicBezTo>
                    <a:pt x="214312" y="552450"/>
                    <a:pt x="211455" y="555307"/>
                    <a:pt x="208597" y="555307"/>
                  </a:cubicBezTo>
                  <a:cubicBezTo>
                    <a:pt x="205740" y="555307"/>
                    <a:pt x="203835" y="552450"/>
                    <a:pt x="202882" y="549592"/>
                  </a:cubicBezTo>
                  <a:cubicBezTo>
                    <a:pt x="202882" y="546735"/>
                    <a:pt x="205740" y="543877"/>
                    <a:pt x="208597" y="543877"/>
                  </a:cubicBezTo>
                  <a:close/>
                  <a:moveTo>
                    <a:pt x="529590" y="520064"/>
                  </a:moveTo>
                  <a:cubicBezTo>
                    <a:pt x="529590" y="520064"/>
                    <a:pt x="530543" y="521016"/>
                    <a:pt x="530543" y="521016"/>
                  </a:cubicBezTo>
                  <a:cubicBezTo>
                    <a:pt x="530543" y="521016"/>
                    <a:pt x="530543" y="521969"/>
                    <a:pt x="529590" y="521969"/>
                  </a:cubicBezTo>
                  <a:cubicBezTo>
                    <a:pt x="528638" y="521969"/>
                    <a:pt x="528638" y="521016"/>
                    <a:pt x="528638" y="521016"/>
                  </a:cubicBezTo>
                  <a:cubicBezTo>
                    <a:pt x="528638" y="521016"/>
                    <a:pt x="528638" y="520064"/>
                    <a:pt x="529590" y="520064"/>
                  </a:cubicBezTo>
                  <a:close/>
                  <a:moveTo>
                    <a:pt x="401002" y="518160"/>
                  </a:moveTo>
                  <a:cubicBezTo>
                    <a:pt x="401955" y="518160"/>
                    <a:pt x="403860" y="519112"/>
                    <a:pt x="403860" y="521017"/>
                  </a:cubicBezTo>
                  <a:cubicBezTo>
                    <a:pt x="403860" y="521970"/>
                    <a:pt x="402908" y="523875"/>
                    <a:pt x="401002" y="523875"/>
                  </a:cubicBezTo>
                  <a:cubicBezTo>
                    <a:pt x="399098" y="523875"/>
                    <a:pt x="398145" y="522923"/>
                    <a:pt x="398145" y="521017"/>
                  </a:cubicBezTo>
                  <a:cubicBezTo>
                    <a:pt x="398145" y="520065"/>
                    <a:pt x="399098" y="518160"/>
                    <a:pt x="401002" y="518160"/>
                  </a:cubicBezTo>
                  <a:close/>
                  <a:moveTo>
                    <a:pt x="143828" y="516254"/>
                  </a:moveTo>
                  <a:cubicBezTo>
                    <a:pt x="146685" y="516254"/>
                    <a:pt x="148590" y="518159"/>
                    <a:pt x="148590" y="521017"/>
                  </a:cubicBezTo>
                  <a:cubicBezTo>
                    <a:pt x="148590" y="523874"/>
                    <a:pt x="146685" y="525779"/>
                    <a:pt x="143828" y="525779"/>
                  </a:cubicBezTo>
                  <a:cubicBezTo>
                    <a:pt x="141922" y="525779"/>
                    <a:pt x="139065" y="522922"/>
                    <a:pt x="139065" y="521017"/>
                  </a:cubicBezTo>
                  <a:cubicBezTo>
                    <a:pt x="139065" y="518159"/>
                    <a:pt x="140970" y="516254"/>
                    <a:pt x="143828" y="516254"/>
                  </a:cubicBezTo>
                  <a:close/>
                  <a:moveTo>
                    <a:pt x="272415" y="514350"/>
                  </a:moveTo>
                  <a:cubicBezTo>
                    <a:pt x="276225" y="514350"/>
                    <a:pt x="279083" y="517208"/>
                    <a:pt x="279083" y="521017"/>
                  </a:cubicBezTo>
                  <a:cubicBezTo>
                    <a:pt x="279083" y="524827"/>
                    <a:pt x="276225" y="527685"/>
                    <a:pt x="272415" y="527685"/>
                  </a:cubicBezTo>
                  <a:cubicBezTo>
                    <a:pt x="268605" y="527685"/>
                    <a:pt x="265748" y="524827"/>
                    <a:pt x="265748" y="521017"/>
                  </a:cubicBezTo>
                  <a:cubicBezTo>
                    <a:pt x="265748" y="517208"/>
                    <a:pt x="268605" y="514350"/>
                    <a:pt x="272415" y="514350"/>
                  </a:cubicBezTo>
                  <a:close/>
                  <a:moveTo>
                    <a:pt x="465773" y="489585"/>
                  </a:moveTo>
                  <a:cubicBezTo>
                    <a:pt x="466725" y="489585"/>
                    <a:pt x="467678" y="490537"/>
                    <a:pt x="467678" y="491490"/>
                  </a:cubicBezTo>
                  <a:cubicBezTo>
                    <a:pt x="467678" y="492442"/>
                    <a:pt x="466725" y="493395"/>
                    <a:pt x="465773" y="493395"/>
                  </a:cubicBezTo>
                  <a:cubicBezTo>
                    <a:pt x="464820" y="493395"/>
                    <a:pt x="463868" y="493395"/>
                    <a:pt x="463868" y="491490"/>
                  </a:cubicBezTo>
                  <a:cubicBezTo>
                    <a:pt x="463868" y="490537"/>
                    <a:pt x="464820" y="489585"/>
                    <a:pt x="465773" y="489585"/>
                  </a:cubicBezTo>
                  <a:close/>
                  <a:moveTo>
                    <a:pt x="337185" y="488632"/>
                  </a:moveTo>
                  <a:cubicBezTo>
                    <a:pt x="339090" y="488632"/>
                    <a:pt x="340995" y="490537"/>
                    <a:pt x="340995" y="492442"/>
                  </a:cubicBezTo>
                  <a:cubicBezTo>
                    <a:pt x="340995" y="494347"/>
                    <a:pt x="339090" y="496252"/>
                    <a:pt x="337185" y="496252"/>
                  </a:cubicBezTo>
                  <a:cubicBezTo>
                    <a:pt x="335280" y="496252"/>
                    <a:pt x="333375" y="494347"/>
                    <a:pt x="333375" y="492442"/>
                  </a:cubicBezTo>
                  <a:cubicBezTo>
                    <a:pt x="333375" y="490537"/>
                    <a:pt x="335280" y="488632"/>
                    <a:pt x="337185" y="488632"/>
                  </a:cubicBezTo>
                  <a:close/>
                  <a:moveTo>
                    <a:pt x="80010" y="487679"/>
                  </a:moveTo>
                  <a:cubicBezTo>
                    <a:pt x="81915" y="487679"/>
                    <a:pt x="83820" y="489584"/>
                    <a:pt x="83820" y="491489"/>
                  </a:cubicBezTo>
                  <a:cubicBezTo>
                    <a:pt x="83820" y="493394"/>
                    <a:pt x="81915" y="495299"/>
                    <a:pt x="80010" y="495299"/>
                  </a:cubicBezTo>
                  <a:cubicBezTo>
                    <a:pt x="78105" y="495299"/>
                    <a:pt x="76200" y="494347"/>
                    <a:pt x="76200" y="491489"/>
                  </a:cubicBezTo>
                  <a:cubicBezTo>
                    <a:pt x="76200" y="489584"/>
                    <a:pt x="78105" y="487679"/>
                    <a:pt x="80010" y="487679"/>
                  </a:cubicBezTo>
                  <a:close/>
                  <a:moveTo>
                    <a:pt x="208597" y="485775"/>
                  </a:moveTo>
                  <a:cubicBezTo>
                    <a:pt x="211455" y="485775"/>
                    <a:pt x="214312" y="488633"/>
                    <a:pt x="214312" y="491490"/>
                  </a:cubicBezTo>
                  <a:cubicBezTo>
                    <a:pt x="214312" y="494348"/>
                    <a:pt x="211455" y="497205"/>
                    <a:pt x="208597" y="497205"/>
                  </a:cubicBezTo>
                  <a:cubicBezTo>
                    <a:pt x="205740" y="497205"/>
                    <a:pt x="202882" y="495300"/>
                    <a:pt x="202882" y="491490"/>
                  </a:cubicBezTo>
                  <a:cubicBezTo>
                    <a:pt x="202882" y="488633"/>
                    <a:pt x="205740" y="485775"/>
                    <a:pt x="208597" y="485775"/>
                  </a:cubicBezTo>
                  <a:close/>
                  <a:moveTo>
                    <a:pt x="402907" y="460057"/>
                  </a:moveTo>
                  <a:cubicBezTo>
                    <a:pt x="404813" y="460057"/>
                    <a:pt x="405765" y="461009"/>
                    <a:pt x="405765" y="462914"/>
                  </a:cubicBezTo>
                  <a:cubicBezTo>
                    <a:pt x="405765" y="464820"/>
                    <a:pt x="404813" y="465772"/>
                    <a:pt x="402907" y="465772"/>
                  </a:cubicBezTo>
                  <a:cubicBezTo>
                    <a:pt x="401002" y="465772"/>
                    <a:pt x="400050" y="464820"/>
                    <a:pt x="400050" y="462914"/>
                  </a:cubicBezTo>
                  <a:cubicBezTo>
                    <a:pt x="400050" y="461009"/>
                    <a:pt x="401002" y="460057"/>
                    <a:pt x="402907" y="460057"/>
                  </a:cubicBezTo>
                  <a:close/>
                  <a:moveTo>
                    <a:pt x="145733" y="458152"/>
                  </a:moveTo>
                  <a:cubicBezTo>
                    <a:pt x="148590" y="458152"/>
                    <a:pt x="150495" y="460057"/>
                    <a:pt x="150495" y="462915"/>
                  </a:cubicBezTo>
                  <a:cubicBezTo>
                    <a:pt x="150495" y="465772"/>
                    <a:pt x="148590" y="467677"/>
                    <a:pt x="145733" y="467677"/>
                  </a:cubicBezTo>
                  <a:cubicBezTo>
                    <a:pt x="142875" y="467677"/>
                    <a:pt x="140970" y="465772"/>
                    <a:pt x="140970" y="462915"/>
                  </a:cubicBezTo>
                  <a:cubicBezTo>
                    <a:pt x="140970" y="460057"/>
                    <a:pt x="142875" y="458152"/>
                    <a:pt x="145733" y="458152"/>
                  </a:cubicBezTo>
                  <a:close/>
                  <a:moveTo>
                    <a:pt x="274320" y="457200"/>
                  </a:moveTo>
                  <a:cubicBezTo>
                    <a:pt x="277177" y="457200"/>
                    <a:pt x="280035" y="460058"/>
                    <a:pt x="280035" y="462915"/>
                  </a:cubicBezTo>
                  <a:cubicBezTo>
                    <a:pt x="280035" y="466725"/>
                    <a:pt x="277177" y="468630"/>
                    <a:pt x="274320" y="468630"/>
                  </a:cubicBezTo>
                  <a:cubicBezTo>
                    <a:pt x="271462" y="468630"/>
                    <a:pt x="268605" y="465773"/>
                    <a:pt x="268605" y="462915"/>
                  </a:cubicBezTo>
                  <a:cubicBezTo>
                    <a:pt x="268605" y="460058"/>
                    <a:pt x="271462" y="457200"/>
                    <a:pt x="274320" y="457200"/>
                  </a:cubicBezTo>
                  <a:close/>
                  <a:moveTo>
                    <a:pt x="469582" y="432435"/>
                  </a:moveTo>
                  <a:cubicBezTo>
                    <a:pt x="470535" y="432435"/>
                    <a:pt x="471487" y="433387"/>
                    <a:pt x="471487" y="434340"/>
                  </a:cubicBezTo>
                  <a:cubicBezTo>
                    <a:pt x="471487" y="435292"/>
                    <a:pt x="470535" y="436245"/>
                    <a:pt x="469582" y="436245"/>
                  </a:cubicBezTo>
                  <a:cubicBezTo>
                    <a:pt x="468630" y="436245"/>
                    <a:pt x="467677" y="435292"/>
                    <a:pt x="467677" y="434340"/>
                  </a:cubicBezTo>
                  <a:cubicBezTo>
                    <a:pt x="467677" y="433387"/>
                    <a:pt x="468630" y="432435"/>
                    <a:pt x="469582" y="432435"/>
                  </a:cubicBezTo>
                  <a:close/>
                  <a:moveTo>
                    <a:pt x="82868" y="432435"/>
                  </a:moveTo>
                  <a:cubicBezTo>
                    <a:pt x="83820" y="432435"/>
                    <a:pt x="84773" y="433387"/>
                    <a:pt x="84773" y="434340"/>
                  </a:cubicBezTo>
                  <a:cubicBezTo>
                    <a:pt x="84773" y="435292"/>
                    <a:pt x="83820" y="436245"/>
                    <a:pt x="82868" y="436245"/>
                  </a:cubicBezTo>
                  <a:cubicBezTo>
                    <a:pt x="81916" y="436245"/>
                    <a:pt x="80963" y="435292"/>
                    <a:pt x="80963" y="434340"/>
                  </a:cubicBezTo>
                  <a:cubicBezTo>
                    <a:pt x="80963" y="433387"/>
                    <a:pt x="81916" y="432435"/>
                    <a:pt x="82868" y="432435"/>
                  </a:cubicBezTo>
                  <a:close/>
                  <a:moveTo>
                    <a:pt x="340995" y="431482"/>
                  </a:moveTo>
                  <a:cubicBezTo>
                    <a:pt x="342900" y="431482"/>
                    <a:pt x="343852" y="432434"/>
                    <a:pt x="343852" y="434339"/>
                  </a:cubicBezTo>
                  <a:cubicBezTo>
                    <a:pt x="343852" y="435292"/>
                    <a:pt x="342900" y="437197"/>
                    <a:pt x="340995" y="437197"/>
                  </a:cubicBezTo>
                  <a:cubicBezTo>
                    <a:pt x="339090" y="437197"/>
                    <a:pt x="337185" y="436245"/>
                    <a:pt x="338137" y="434339"/>
                  </a:cubicBezTo>
                  <a:cubicBezTo>
                    <a:pt x="338137" y="433387"/>
                    <a:pt x="339090" y="431482"/>
                    <a:pt x="340995" y="431482"/>
                  </a:cubicBezTo>
                  <a:close/>
                  <a:moveTo>
                    <a:pt x="211456" y="429577"/>
                  </a:moveTo>
                  <a:cubicBezTo>
                    <a:pt x="214313" y="429577"/>
                    <a:pt x="216218" y="431482"/>
                    <a:pt x="216218" y="434340"/>
                  </a:cubicBezTo>
                  <a:cubicBezTo>
                    <a:pt x="216218" y="437197"/>
                    <a:pt x="214313" y="439102"/>
                    <a:pt x="211456" y="439102"/>
                  </a:cubicBezTo>
                  <a:cubicBezTo>
                    <a:pt x="209550" y="439102"/>
                    <a:pt x="206693" y="437197"/>
                    <a:pt x="206693" y="434340"/>
                  </a:cubicBezTo>
                  <a:cubicBezTo>
                    <a:pt x="206693" y="431482"/>
                    <a:pt x="208598" y="429577"/>
                    <a:pt x="211456" y="429577"/>
                  </a:cubicBezTo>
                  <a:close/>
                  <a:moveTo>
                    <a:pt x="408623" y="402907"/>
                  </a:moveTo>
                  <a:cubicBezTo>
                    <a:pt x="410528" y="402907"/>
                    <a:pt x="411480" y="403859"/>
                    <a:pt x="411480" y="405764"/>
                  </a:cubicBezTo>
                  <a:cubicBezTo>
                    <a:pt x="411480" y="407670"/>
                    <a:pt x="410528" y="408622"/>
                    <a:pt x="408623" y="408622"/>
                  </a:cubicBezTo>
                  <a:cubicBezTo>
                    <a:pt x="406718" y="408622"/>
                    <a:pt x="405765" y="407670"/>
                    <a:pt x="405765" y="405764"/>
                  </a:cubicBezTo>
                  <a:cubicBezTo>
                    <a:pt x="405765" y="403859"/>
                    <a:pt x="406718" y="402907"/>
                    <a:pt x="408623" y="402907"/>
                  </a:cubicBezTo>
                  <a:close/>
                  <a:moveTo>
                    <a:pt x="149543" y="401002"/>
                  </a:moveTo>
                  <a:cubicBezTo>
                    <a:pt x="152400" y="401002"/>
                    <a:pt x="154305" y="402907"/>
                    <a:pt x="154305" y="405765"/>
                  </a:cubicBezTo>
                  <a:cubicBezTo>
                    <a:pt x="154305" y="408622"/>
                    <a:pt x="152400" y="410527"/>
                    <a:pt x="149543" y="410527"/>
                  </a:cubicBezTo>
                  <a:cubicBezTo>
                    <a:pt x="147637" y="410527"/>
                    <a:pt x="145732" y="407670"/>
                    <a:pt x="144780" y="405765"/>
                  </a:cubicBezTo>
                  <a:cubicBezTo>
                    <a:pt x="144780" y="402907"/>
                    <a:pt x="146685" y="401002"/>
                    <a:pt x="149543" y="401002"/>
                  </a:cubicBezTo>
                  <a:close/>
                  <a:moveTo>
                    <a:pt x="279083" y="400050"/>
                  </a:moveTo>
                  <a:cubicBezTo>
                    <a:pt x="281940" y="400050"/>
                    <a:pt x="284798" y="401955"/>
                    <a:pt x="284798" y="404813"/>
                  </a:cubicBezTo>
                  <a:cubicBezTo>
                    <a:pt x="284798" y="407670"/>
                    <a:pt x="281940" y="410527"/>
                    <a:pt x="279083" y="410527"/>
                  </a:cubicBezTo>
                  <a:cubicBezTo>
                    <a:pt x="276225" y="410527"/>
                    <a:pt x="273368" y="408623"/>
                    <a:pt x="273368" y="405765"/>
                  </a:cubicBezTo>
                  <a:cubicBezTo>
                    <a:pt x="273368" y="402908"/>
                    <a:pt x="276225" y="400050"/>
                    <a:pt x="279083" y="400050"/>
                  </a:cubicBezTo>
                  <a:close/>
                  <a:moveTo>
                    <a:pt x="347662" y="372427"/>
                  </a:moveTo>
                  <a:cubicBezTo>
                    <a:pt x="349567" y="372427"/>
                    <a:pt x="351472" y="374332"/>
                    <a:pt x="351472" y="376237"/>
                  </a:cubicBezTo>
                  <a:cubicBezTo>
                    <a:pt x="351472" y="378142"/>
                    <a:pt x="349567" y="380047"/>
                    <a:pt x="347662" y="380047"/>
                  </a:cubicBezTo>
                  <a:cubicBezTo>
                    <a:pt x="345757" y="380047"/>
                    <a:pt x="343852" y="379095"/>
                    <a:pt x="343852" y="376237"/>
                  </a:cubicBezTo>
                  <a:cubicBezTo>
                    <a:pt x="343852" y="374332"/>
                    <a:pt x="345757" y="372427"/>
                    <a:pt x="347662" y="372427"/>
                  </a:cubicBezTo>
                  <a:close/>
                  <a:moveTo>
                    <a:pt x="218122" y="370522"/>
                  </a:moveTo>
                  <a:cubicBezTo>
                    <a:pt x="221805" y="370522"/>
                    <a:pt x="224790" y="373507"/>
                    <a:pt x="224790" y="377189"/>
                  </a:cubicBezTo>
                  <a:cubicBezTo>
                    <a:pt x="224790" y="380872"/>
                    <a:pt x="221805" y="383857"/>
                    <a:pt x="218122" y="383857"/>
                  </a:cubicBezTo>
                  <a:cubicBezTo>
                    <a:pt x="214440" y="383857"/>
                    <a:pt x="211455" y="380872"/>
                    <a:pt x="211455" y="377189"/>
                  </a:cubicBezTo>
                  <a:cubicBezTo>
                    <a:pt x="211455" y="373507"/>
                    <a:pt x="214440" y="370522"/>
                    <a:pt x="218122" y="370522"/>
                  </a:cubicBezTo>
                  <a:close/>
                  <a:moveTo>
                    <a:pt x="418148" y="346710"/>
                  </a:moveTo>
                  <a:cubicBezTo>
                    <a:pt x="419100" y="346710"/>
                    <a:pt x="420053" y="347662"/>
                    <a:pt x="420053" y="348615"/>
                  </a:cubicBezTo>
                  <a:cubicBezTo>
                    <a:pt x="420053" y="349567"/>
                    <a:pt x="419100" y="350520"/>
                    <a:pt x="418148" y="350520"/>
                  </a:cubicBezTo>
                  <a:cubicBezTo>
                    <a:pt x="416243" y="350520"/>
                    <a:pt x="415290" y="349567"/>
                    <a:pt x="416243" y="348615"/>
                  </a:cubicBezTo>
                  <a:cubicBezTo>
                    <a:pt x="416243" y="347662"/>
                    <a:pt x="417195" y="346710"/>
                    <a:pt x="418148" y="346710"/>
                  </a:cubicBezTo>
                  <a:close/>
                  <a:moveTo>
                    <a:pt x="157163" y="344805"/>
                  </a:moveTo>
                  <a:cubicBezTo>
                    <a:pt x="159267" y="344805"/>
                    <a:pt x="160973" y="346511"/>
                    <a:pt x="160973" y="348615"/>
                  </a:cubicBezTo>
                  <a:cubicBezTo>
                    <a:pt x="160973" y="350719"/>
                    <a:pt x="159267" y="352425"/>
                    <a:pt x="157163" y="352425"/>
                  </a:cubicBezTo>
                  <a:cubicBezTo>
                    <a:pt x="155059" y="352425"/>
                    <a:pt x="153353" y="350719"/>
                    <a:pt x="153353" y="348615"/>
                  </a:cubicBezTo>
                  <a:cubicBezTo>
                    <a:pt x="153353" y="346511"/>
                    <a:pt x="155059" y="344805"/>
                    <a:pt x="157163" y="344805"/>
                  </a:cubicBezTo>
                  <a:close/>
                  <a:moveTo>
                    <a:pt x="287655" y="342900"/>
                  </a:moveTo>
                  <a:cubicBezTo>
                    <a:pt x="291465" y="342900"/>
                    <a:pt x="293370" y="345757"/>
                    <a:pt x="293370" y="348615"/>
                  </a:cubicBezTo>
                  <a:cubicBezTo>
                    <a:pt x="293370" y="351473"/>
                    <a:pt x="290513" y="354330"/>
                    <a:pt x="287655" y="354330"/>
                  </a:cubicBezTo>
                  <a:cubicBezTo>
                    <a:pt x="283845" y="354330"/>
                    <a:pt x="281940" y="351473"/>
                    <a:pt x="281940" y="348615"/>
                  </a:cubicBezTo>
                  <a:cubicBezTo>
                    <a:pt x="281940" y="344805"/>
                    <a:pt x="284798" y="342900"/>
                    <a:pt x="287655" y="342900"/>
                  </a:cubicBezTo>
                  <a:close/>
                  <a:moveTo>
                    <a:pt x="489585" y="320039"/>
                  </a:moveTo>
                  <a:cubicBezTo>
                    <a:pt x="489585" y="320039"/>
                    <a:pt x="490537" y="320039"/>
                    <a:pt x="490537" y="320992"/>
                  </a:cubicBezTo>
                  <a:cubicBezTo>
                    <a:pt x="490537" y="320992"/>
                    <a:pt x="490537" y="321944"/>
                    <a:pt x="489585" y="321944"/>
                  </a:cubicBezTo>
                  <a:cubicBezTo>
                    <a:pt x="488632" y="321944"/>
                    <a:pt x="488632" y="321944"/>
                    <a:pt x="488632" y="320992"/>
                  </a:cubicBezTo>
                  <a:cubicBezTo>
                    <a:pt x="488632" y="320992"/>
                    <a:pt x="489585" y="320039"/>
                    <a:pt x="489585" y="320039"/>
                  </a:cubicBezTo>
                  <a:close/>
                  <a:moveTo>
                    <a:pt x="358140" y="318135"/>
                  </a:moveTo>
                  <a:cubicBezTo>
                    <a:pt x="359092" y="318135"/>
                    <a:pt x="360997" y="319087"/>
                    <a:pt x="360997" y="320992"/>
                  </a:cubicBezTo>
                  <a:cubicBezTo>
                    <a:pt x="360997" y="321945"/>
                    <a:pt x="360045" y="323850"/>
                    <a:pt x="358140" y="323850"/>
                  </a:cubicBezTo>
                  <a:cubicBezTo>
                    <a:pt x="356235" y="323850"/>
                    <a:pt x="354330" y="321945"/>
                    <a:pt x="355282" y="320992"/>
                  </a:cubicBezTo>
                  <a:cubicBezTo>
                    <a:pt x="355282" y="320040"/>
                    <a:pt x="356235" y="318135"/>
                    <a:pt x="358140" y="318135"/>
                  </a:cubicBezTo>
                  <a:close/>
                  <a:moveTo>
                    <a:pt x="226695" y="315277"/>
                  </a:moveTo>
                  <a:cubicBezTo>
                    <a:pt x="229552" y="315277"/>
                    <a:pt x="231457" y="317182"/>
                    <a:pt x="231457" y="320040"/>
                  </a:cubicBezTo>
                  <a:cubicBezTo>
                    <a:pt x="231457" y="322897"/>
                    <a:pt x="229552" y="324802"/>
                    <a:pt x="226695" y="324802"/>
                  </a:cubicBezTo>
                  <a:cubicBezTo>
                    <a:pt x="223837" y="324802"/>
                    <a:pt x="221932" y="322897"/>
                    <a:pt x="221932" y="320040"/>
                  </a:cubicBezTo>
                  <a:cubicBezTo>
                    <a:pt x="221932" y="317182"/>
                    <a:pt x="223837" y="315277"/>
                    <a:pt x="226695" y="315277"/>
                  </a:cubicBezTo>
                  <a:close/>
                  <a:moveTo>
                    <a:pt x="430530" y="292417"/>
                  </a:moveTo>
                  <a:cubicBezTo>
                    <a:pt x="430530" y="292417"/>
                    <a:pt x="431482" y="293369"/>
                    <a:pt x="431482" y="293369"/>
                  </a:cubicBezTo>
                  <a:cubicBezTo>
                    <a:pt x="431482" y="293369"/>
                    <a:pt x="431482" y="294322"/>
                    <a:pt x="430530" y="294322"/>
                  </a:cubicBezTo>
                  <a:cubicBezTo>
                    <a:pt x="429577" y="294322"/>
                    <a:pt x="429577" y="293369"/>
                    <a:pt x="429577" y="293369"/>
                  </a:cubicBezTo>
                  <a:cubicBezTo>
                    <a:pt x="429577" y="293369"/>
                    <a:pt x="429577" y="292417"/>
                    <a:pt x="430530" y="292417"/>
                  </a:cubicBezTo>
                  <a:close/>
                  <a:moveTo>
                    <a:pt x="166687" y="289560"/>
                  </a:moveTo>
                  <a:cubicBezTo>
                    <a:pt x="167640" y="289560"/>
                    <a:pt x="168592" y="290512"/>
                    <a:pt x="168592" y="291465"/>
                  </a:cubicBezTo>
                  <a:cubicBezTo>
                    <a:pt x="168592" y="292417"/>
                    <a:pt x="167640" y="293370"/>
                    <a:pt x="166687" y="293370"/>
                  </a:cubicBezTo>
                  <a:cubicBezTo>
                    <a:pt x="165735" y="293370"/>
                    <a:pt x="164782" y="292417"/>
                    <a:pt x="164782" y="291465"/>
                  </a:cubicBezTo>
                  <a:cubicBezTo>
                    <a:pt x="164782" y="290512"/>
                    <a:pt x="165735" y="289560"/>
                    <a:pt x="166687" y="289560"/>
                  </a:cubicBezTo>
                  <a:close/>
                  <a:moveTo>
                    <a:pt x="298133" y="288607"/>
                  </a:moveTo>
                  <a:cubicBezTo>
                    <a:pt x="300237" y="288607"/>
                    <a:pt x="301943" y="290313"/>
                    <a:pt x="301943" y="292417"/>
                  </a:cubicBezTo>
                  <a:cubicBezTo>
                    <a:pt x="301943" y="294521"/>
                    <a:pt x="300237" y="296227"/>
                    <a:pt x="298133" y="296227"/>
                  </a:cubicBezTo>
                  <a:cubicBezTo>
                    <a:pt x="296029" y="296227"/>
                    <a:pt x="294323" y="294521"/>
                    <a:pt x="294323" y="292417"/>
                  </a:cubicBezTo>
                  <a:cubicBezTo>
                    <a:pt x="294323" y="290313"/>
                    <a:pt x="296029" y="288607"/>
                    <a:pt x="298133" y="288607"/>
                  </a:cubicBezTo>
                  <a:close/>
                  <a:moveTo>
                    <a:pt x="371475" y="261937"/>
                  </a:moveTo>
                  <a:cubicBezTo>
                    <a:pt x="372428" y="261937"/>
                    <a:pt x="374333" y="262889"/>
                    <a:pt x="374333" y="264794"/>
                  </a:cubicBezTo>
                  <a:cubicBezTo>
                    <a:pt x="374333" y="265747"/>
                    <a:pt x="373381" y="267652"/>
                    <a:pt x="371475" y="267652"/>
                  </a:cubicBezTo>
                  <a:cubicBezTo>
                    <a:pt x="369570" y="267652"/>
                    <a:pt x="368618" y="265747"/>
                    <a:pt x="368618" y="264794"/>
                  </a:cubicBezTo>
                  <a:cubicBezTo>
                    <a:pt x="368618" y="263842"/>
                    <a:pt x="369570" y="261937"/>
                    <a:pt x="371475" y="261937"/>
                  </a:cubicBezTo>
                  <a:close/>
                  <a:moveTo>
                    <a:pt x="239077" y="260985"/>
                  </a:moveTo>
                  <a:cubicBezTo>
                    <a:pt x="240030" y="260985"/>
                    <a:pt x="241935" y="261937"/>
                    <a:pt x="241935" y="263842"/>
                  </a:cubicBezTo>
                  <a:cubicBezTo>
                    <a:pt x="241935" y="264795"/>
                    <a:pt x="240983" y="266700"/>
                    <a:pt x="239077" y="266700"/>
                  </a:cubicBezTo>
                  <a:cubicBezTo>
                    <a:pt x="237173" y="266700"/>
                    <a:pt x="236220" y="265748"/>
                    <a:pt x="236220" y="263842"/>
                  </a:cubicBezTo>
                  <a:cubicBezTo>
                    <a:pt x="236220" y="262890"/>
                    <a:pt x="237173" y="260985"/>
                    <a:pt x="239077" y="260985"/>
                  </a:cubicBezTo>
                  <a:close/>
                  <a:moveTo>
                    <a:pt x="446723" y="235267"/>
                  </a:moveTo>
                  <a:cubicBezTo>
                    <a:pt x="447775" y="235267"/>
                    <a:pt x="448628" y="236120"/>
                    <a:pt x="448628" y="237172"/>
                  </a:cubicBezTo>
                  <a:cubicBezTo>
                    <a:pt x="448628" y="238224"/>
                    <a:pt x="447775" y="239077"/>
                    <a:pt x="446723" y="239077"/>
                  </a:cubicBezTo>
                  <a:cubicBezTo>
                    <a:pt x="445671" y="239077"/>
                    <a:pt x="444818" y="238224"/>
                    <a:pt x="444818" y="237172"/>
                  </a:cubicBezTo>
                  <a:cubicBezTo>
                    <a:pt x="444818" y="236120"/>
                    <a:pt x="445671" y="235267"/>
                    <a:pt x="446723" y="235267"/>
                  </a:cubicBezTo>
                  <a:close/>
                  <a:moveTo>
                    <a:pt x="312420" y="231457"/>
                  </a:moveTo>
                  <a:cubicBezTo>
                    <a:pt x="315277" y="231457"/>
                    <a:pt x="317182" y="233362"/>
                    <a:pt x="317182" y="236220"/>
                  </a:cubicBezTo>
                  <a:cubicBezTo>
                    <a:pt x="317182" y="239077"/>
                    <a:pt x="315277" y="240982"/>
                    <a:pt x="312420" y="240982"/>
                  </a:cubicBezTo>
                  <a:cubicBezTo>
                    <a:pt x="310514" y="240982"/>
                    <a:pt x="307657" y="239077"/>
                    <a:pt x="307657" y="236220"/>
                  </a:cubicBezTo>
                  <a:cubicBezTo>
                    <a:pt x="307657" y="233362"/>
                    <a:pt x="309562" y="231457"/>
                    <a:pt x="312420" y="231457"/>
                  </a:cubicBezTo>
                  <a:close/>
                  <a:moveTo>
                    <a:pt x="388620" y="207644"/>
                  </a:moveTo>
                  <a:cubicBezTo>
                    <a:pt x="389573" y="207644"/>
                    <a:pt x="390525" y="208597"/>
                    <a:pt x="390525" y="209549"/>
                  </a:cubicBezTo>
                  <a:cubicBezTo>
                    <a:pt x="390525" y="210501"/>
                    <a:pt x="389573" y="211454"/>
                    <a:pt x="388620" y="211454"/>
                  </a:cubicBezTo>
                  <a:cubicBezTo>
                    <a:pt x="387668" y="211454"/>
                    <a:pt x="386715" y="210501"/>
                    <a:pt x="386715" y="209549"/>
                  </a:cubicBezTo>
                  <a:cubicBezTo>
                    <a:pt x="386715" y="208597"/>
                    <a:pt x="387668" y="207644"/>
                    <a:pt x="388620" y="207644"/>
                  </a:cubicBezTo>
                  <a:close/>
                  <a:moveTo>
                    <a:pt x="254318" y="205739"/>
                  </a:moveTo>
                  <a:cubicBezTo>
                    <a:pt x="255270" y="205739"/>
                    <a:pt x="257175" y="206692"/>
                    <a:pt x="257175" y="208597"/>
                  </a:cubicBezTo>
                  <a:cubicBezTo>
                    <a:pt x="257175" y="209549"/>
                    <a:pt x="256223" y="211454"/>
                    <a:pt x="254318" y="211454"/>
                  </a:cubicBezTo>
                  <a:cubicBezTo>
                    <a:pt x="252413" y="211454"/>
                    <a:pt x="250508" y="209549"/>
                    <a:pt x="251460" y="208597"/>
                  </a:cubicBezTo>
                  <a:cubicBezTo>
                    <a:pt x="251460" y="207644"/>
                    <a:pt x="252413" y="205739"/>
                    <a:pt x="254318" y="205739"/>
                  </a:cubicBezTo>
                  <a:close/>
                  <a:moveTo>
                    <a:pt x="330517" y="178117"/>
                  </a:moveTo>
                  <a:cubicBezTo>
                    <a:pt x="332423" y="178117"/>
                    <a:pt x="333375" y="179069"/>
                    <a:pt x="333375" y="180974"/>
                  </a:cubicBezTo>
                  <a:cubicBezTo>
                    <a:pt x="333375" y="182880"/>
                    <a:pt x="332423" y="183832"/>
                    <a:pt x="330517" y="183832"/>
                  </a:cubicBezTo>
                  <a:cubicBezTo>
                    <a:pt x="328612" y="183832"/>
                    <a:pt x="327660" y="182880"/>
                    <a:pt x="327660" y="180974"/>
                  </a:cubicBezTo>
                  <a:cubicBezTo>
                    <a:pt x="327660" y="179069"/>
                    <a:pt x="328612" y="178117"/>
                    <a:pt x="330517" y="178117"/>
                  </a:cubicBezTo>
                  <a:close/>
                  <a:moveTo>
                    <a:pt x="408623" y="152400"/>
                  </a:moveTo>
                  <a:cubicBezTo>
                    <a:pt x="410528" y="152400"/>
                    <a:pt x="411480" y="153352"/>
                    <a:pt x="411480" y="155257"/>
                  </a:cubicBezTo>
                  <a:cubicBezTo>
                    <a:pt x="411480" y="157163"/>
                    <a:pt x="409575" y="158115"/>
                    <a:pt x="408623" y="158115"/>
                  </a:cubicBezTo>
                  <a:cubicBezTo>
                    <a:pt x="407670" y="158115"/>
                    <a:pt x="405765" y="157163"/>
                    <a:pt x="405765" y="155257"/>
                  </a:cubicBezTo>
                  <a:cubicBezTo>
                    <a:pt x="405765" y="153352"/>
                    <a:pt x="407670" y="152400"/>
                    <a:pt x="408623" y="152400"/>
                  </a:cubicBezTo>
                  <a:close/>
                  <a:moveTo>
                    <a:pt x="272415" y="150494"/>
                  </a:moveTo>
                  <a:cubicBezTo>
                    <a:pt x="273367" y="150494"/>
                    <a:pt x="275272" y="151447"/>
                    <a:pt x="275272" y="153351"/>
                  </a:cubicBezTo>
                  <a:cubicBezTo>
                    <a:pt x="275272" y="154304"/>
                    <a:pt x="274320" y="156209"/>
                    <a:pt x="272415" y="156209"/>
                  </a:cubicBezTo>
                  <a:cubicBezTo>
                    <a:pt x="270510" y="156209"/>
                    <a:pt x="268605" y="155257"/>
                    <a:pt x="269557" y="153351"/>
                  </a:cubicBezTo>
                  <a:cubicBezTo>
                    <a:pt x="269557" y="152399"/>
                    <a:pt x="270510" y="150494"/>
                    <a:pt x="272415" y="150494"/>
                  </a:cubicBezTo>
                  <a:close/>
                  <a:moveTo>
                    <a:pt x="490537" y="129539"/>
                  </a:moveTo>
                  <a:cubicBezTo>
                    <a:pt x="490537" y="129539"/>
                    <a:pt x="491490" y="129539"/>
                    <a:pt x="491490" y="130492"/>
                  </a:cubicBezTo>
                  <a:cubicBezTo>
                    <a:pt x="491490" y="130492"/>
                    <a:pt x="491490" y="131444"/>
                    <a:pt x="490537" y="131444"/>
                  </a:cubicBezTo>
                  <a:cubicBezTo>
                    <a:pt x="489585" y="131444"/>
                    <a:pt x="488632" y="131444"/>
                    <a:pt x="489585" y="130492"/>
                  </a:cubicBezTo>
                  <a:cubicBezTo>
                    <a:pt x="489585" y="130492"/>
                    <a:pt x="490537" y="129539"/>
                    <a:pt x="490537" y="129539"/>
                  </a:cubicBezTo>
                  <a:close/>
                  <a:moveTo>
                    <a:pt x="350520" y="125730"/>
                  </a:moveTo>
                  <a:cubicBezTo>
                    <a:pt x="351473" y="125730"/>
                    <a:pt x="352425" y="126682"/>
                    <a:pt x="352425" y="127635"/>
                  </a:cubicBezTo>
                  <a:cubicBezTo>
                    <a:pt x="352425" y="128587"/>
                    <a:pt x="351473" y="129540"/>
                    <a:pt x="350520" y="129540"/>
                  </a:cubicBezTo>
                  <a:cubicBezTo>
                    <a:pt x="349568" y="129540"/>
                    <a:pt x="348615" y="128587"/>
                    <a:pt x="348615" y="127635"/>
                  </a:cubicBezTo>
                  <a:cubicBezTo>
                    <a:pt x="348615" y="126682"/>
                    <a:pt x="349568" y="125730"/>
                    <a:pt x="350520" y="125730"/>
                  </a:cubicBezTo>
                  <a:close/>
                  <a:moveTo>
                    <a:pt x="432435" y="99060"/>
                  </a:moveTo>
                  <a:cubicBezTo>
                    <a:pt x="434340" y="99060"/>
                    <a:pt x="436245" y="100965"/>
                    <a:pt x="436245" y="102870"/>
                  </a:cubicBezTo>
                  <a:cubicBezTo>
                    <a:pt x="436245" y="104775"/>
                    <a:pt x="434340" y="106680"/>
                    <a:pt x="432435" y="106680"/>
                  </a:cubicBezTo>
                  <a:cubicBezTo>
                    <a:pt x="430530" y="106680"/>
                    <a:pt x="428625" y="104775"/>
                    <a:pt x="428625" y="102870"/>
                  </a:cubicBezTo>
                  <a:cubicBezTo>
                    <a:pt x="428625" y="100965"/>
                    <a:pt x="430530" y="99060"/>
                    <a:pt x="432435" y="99060"/>
                  </a:cubicBezTo>
                  <a:close/>
                  <a:moveTo>
                    <a:pt x="293370" y="97155"/>
                  </a:moveTo>
                  <a:cubicBezTo>
                    <a:pt x="294323" y="97155"/>
                    <a:pt x="295275" y="98107"/>
                    <a:pt x="295275" y="99060"/>
                  </a:cubicBezTo>
                  <a:cubicBezTo>
                    <a:pt x="295275" y="100012"/>
                    <a:pt x="294323" y="100965"/>
                    <a:pt x="293370" y="100965"/>
                  </a:cubicBezTo>
                  <a:cubicBezTo>
                    <a:pt x="292418" y="100965"/>
                    <a:pt x="291465" y="100012"/>
                    <a:pt x="291465" y="99060"/>
                  </a:cubicBezTo>
                  <a:cubicBezTo>
                    <a:pt x="291465" y="98107"/>
                    <a:pt x="292418" y="97155"/>
                    <a:pt x="293370" y="97155"/>
                  </a:cubicBezTo>
                  <a:close/>
                  <a:moveTo>
                    <a:pt x="374332" y="71437"/>
                  </a:moveTo>
                  <a:cubicBezTo>
                    <a:pt x="376238" y="71437"/>
                    <a:pt x="377190" y="72389"/>
                    <a:pt x="377190" y="74294"/>
                  </a:cubicBezTo>
                  <a:cubicBezTo>
                    <a:pt x="377190" y="76200"/>
                    <a:pt x="376238" y="77152"/>
                    <a:pt x="374332" y="77152"/>
                  </a:cubicBezTo>
                  <a:cubicBezTo>
                    <a:pt x="373380" y="77152"/>
                    <a:pt x="371475" y="76200"/>
                    <a:pt x="371475" y="74294"/>
                  </a:cubicBezTo>
                  <a:cubicBezTo>
                    <a:pt x="371475" y="72389"/>
                    <a:pt x="372427" y="71437"/>
                    <a:pt x="374332" y="71437"/>
                  </a:cubicBezTo>
                  <a:close/>
                  <a:moveTo>
                    <a:pt x="459105" y="49530"/>
                  </a:moveTo>
                  <a:cubicBezTo>
                    <a:pt x="460057" y="49530"/>
                    <a:pt x="461010" y="50482"/>
                    <a:pt x="461010" y="51435"/>
                  </a:cubicBezTo>
                  <a:cubicBezTo>
                    <a:pt x="461010" y="52387"/>
                    <a:pt x="460057" y="53340"/>
                    <a:pt x="459105" y="53340"/>
                  </a:cubicBezTo>
                  <a:cubicBezTo>
                    <a:pt x="458152" y="53340"/>
                    <a:pt x="457200" y="52387"/>
                    <a:pt x="457200" y="51435"/>
                  </a:cubicBezTo>
                  <a:cubicBezTo>
                    <a:pt x="457200" y="50482"/>
                    <a:pt x="458152" y="49530"/>
                    <a:pt x="459105" y="49530"/>
                  </a:cubicBezTo>
                  <a:close/>
                  <a:moveTo>
                    <a:pt x="546735" y="29527"/>
                  </a:moveTo>
                  <a:cubicBezTo>
                    <a:pt x="546735" y="29527"/>
                    <a:pt x="547688" y="29527"/>
                    <a:pt x="547688" y="30480"/>
                  </a:cubicBezTo>
                  <a:cubicBezTo>
                    <a:pt x="547688" y="30480"/>
                    <a:pt x="547688" y="31432"/>
                    <a:pt x="546735" y="31432"/>
                  </a:cubicBezTo>
                  <a:cubicBezTo>
                    <a:pt x="545783" y="31432"/>
                    <a:pt x="545783" y="30480"/>
                    <a:pt x="545783" y="30480"/>
                  </a:cubicBezTo>
                  <a:cubicBezTo>
                    <a:pt x="545783" y="30480"/>
                    <a:pt x="545783" y="29527"/>
                    <a:pt x="546735" y="29527"/>
                  </a:cubicBezTo>
                  <a:close/>
                  <a:moveTo>
                    <a:pt x="401002" y="20955"/>
                  </a:moveTo>
                  <a:cubicBezTo>
                    <a:pt x="402908" y="20955"/>
                    <a:pt x="403860" y="21907"/>
                    <a:pt x="403860" y="23812"/>
                  </a:cubicBezTo>
                  <a:cubicBezTo>
                    <a:pt x="403860" y="25718"/>
                    <a:pt x="402908" y="26670"/>
                    <a:pt x="401002" y="26670"/>
                  </a:cubicBezTo>
                  <a:cubicBezTo>
                    <a:pt x="399098" y="26670"/>
                    <a:pt x="398145" y="24765"/>
                    <a:pt x="398145" y="23812"/>
                  </a:cubicBezTo>
                  <a:cubicBezTo>
                    <a:pt x="398145" y="21907"/>
                    <a:pt x="399098" y="20955"/>
                    <a:pt x="401002" y="20955"/>
                  </a:cubicBezTo>
                  <a:close/>
                  <a:moveTo>
                    <a:pt x="488632" y="0"/>
                  </a:moveTo>
                  <a:cubicBezTo>
                    <a:pt x="489585" y="0"/>
                    <a:pt x="490537" y="953"/>
                    <a:pt x="490537" y="1905"/>
                  </a:cubicBezTo>
                  <a:cubicBezTo>
                    <a:pt x="490537" y="2857"/>
                    <a:pt x="489585" y="3810"/>
                    <a:pt x="488632" y="3810"/>
                  </a:cubicBezTo>
                  <a:cubicBezTo>
                    <a:pt x="487680" y="3810"/>
                    <a:pt x="486727" y="2857"/>
                    <a:pt x="486727" y="1905"/>
                  </a:cubicBezTo>
                  <a:cubicBezTo>
                    <a:pt x="486727" y="953"/>
                    <a:pt x="487680" y="0"/>
                    <a:pt x="488632" y="0"/>
                  </a:cubicBezTo>
                  <a:close/>
                </a:path>
              </a:pathLst>
            </a:custGeom>
            <a:gradFill flip="none" rotWithShape="1">
              <a:gsLst>
                <a:gs pos="24000">
                  <a:schemeClr val="bg2">
                    <a:alpha val="0"/>
                  </a:schemeClr>
                </a:gs>
                <a:gs pos="60000">
                  <a:schemeClr val="accent1"/>
                </a:gs>
                <a:gs pos="100000">
                  <a:schemeClr val="tx1"/>
                </a:gs>
              </a:gsLst>
              <a:lin ang="6000000" scaled="0"/>
              <a:tileRect/>
            </a:gradFill>
            <a:ln w="9525" cap="flat">
              <a:noFill/>
              <a:prstDash val="solid"/>
              <a:miter/>
            </a:ln>
          </p:spPr>
          <p:txBody>
            <a:bodyPr rtlCol="0" anchor="ctr"/>
            <a:lstStyle/>
            <a:p>
              <a:endParaRPr lang="en-US" sz="1765"/>
            </a:p>
          </p:txBody>
        </p:sp>
        <p:sp>
          <p:nvSpPr>
            <p:cNvPr id="20" name="Arc 19">
              <a:extLst>
                <a:ext uri="{FF2B5EF4-FFF2-40B4-BE49-F238E27FC236}">
                  <a16:creationId xmlns:a16="http://schemas.microsoft.com/office/drawing/2014/main" id="{1B97DF40-6A86-422B-BB89-890185F87C7C}"/>
                </a:ext>
              </a:extLst>
            </p:cNvPr>
            <p:cNvSpPr/>
            <p:nvPr/>
          </p:nvSpPr>
          <p:spPr>
            <a:xfrm>
              <a:off x="8626032" y="3004457"/>
              <a:ext cx="3380472" cy="3380468"/>
            </a:xfrm>
            <a:prstGeom prst="arc">
              <a:avLst>
                <a:gd name="adj1" fmla="val 19456930"/>
                <a:gd name="adj2" fmla="val 15711231"/>
              </a:avLst>
            </a:prstGeom>
            <a:ln w="28575">
              <a:gradFill flip="none" rotWithShape="1">
                <a:gsLst>
                  <a:gs pos="0">
                    <a:schemeClr val="accent1">
                      <a:lumMod val="5000"/>
                      <a:lumOff val="95000"/>
                      <a:alpha val="18000"/>
                    </a:schemeClr>
                  </a:gs>
                  <a:gs pos="80000">
                    <a:schemeClr val="tx1">
                      <a:alpha val="0"/>
                    </a:schemeClr>
                  </a:gs>
                </a:gsLst>
                <a:lin ang="17400000" scaled="0"/>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21" name="Arc 20">
              <a:extLst>
                <a:ext uri="{FF2B5EF4-FFF2-40B4-BE49-F238E27FC236}">
                  <a16:creationId xmlns:a16="http://schemas.microsoft.com/office/drawing/2014/main" id="{712E344D-4A4F-424D-A7F9-27CC87CD8050}"/>
                </a:ext>
              </a:extLst>
            </p:cNvPr>
            <p:cNvSpPr/>
            <p:nvPr/>
          </p:nvSpPr>
          <p:spPr>
            <a:xfrm>
              <a:off x="9137222" y="3515646"/>
              <a:ext cx="2358092" cy="2358090"/>
            </a:xfrm>
            <a:prstGeom prst="arc">
              <a:avLst>
                <a:gd name="adj1" fmla="val 20014949"/>
                <a:gd name="adj2" fmla="val 15711231"/>
              </a:avLst>
            </a:prstGeom>
            <a:ln w="19050">
              <a:gradFill flip="none" rotWithShape="1">
                <a:gsLst>
                  <a:gs pos="0">
                    <a:schemeClr val="accent1">
                      <a:lumMod val="5000"/>
                      <a:lumOff val="95000"/>
                      <a:alpha val="56000"/>
                    </a:schemeClr>
                  </a:gs>
                  <a:gs pos="80000">
                    <a:schemeClr val="tx1">
                      <a:alpha val="0"/>
                    </a:schemeClr>
                  </a:gs>
                </a:gsLst>
                <a:lin ang="17400000" scaled="0"/>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sp>
        <p:nvSpPr>
          <p:cNvPr id="4290" name="Freeform: Shape 4289">
            <a:extLst>
              <a:ext uri="{FF2B5EF4-FFF2-40B4-BE49-F238E27FC236}">
                <a16:creationId xmlns:a16="http://schemas.microsoft.com/office/drawing/2014/main" id="{10F9628C-3C9D-48EA-B9F4-10EBF3662526}"/>
              </a:ext>
              <a:ext uri="{C183D7F6-B498-43B3-948B-1728B52AA6E4}">
                <adec:decorative xmlns:adec="http://schemas.microsoft.com/office/drawing/2017/decorative" val="1"/>
              </a:ext>
            </a:extLst>
          </p:cNvPr>
          <p:cNvSpPr/>
          <p:nvPr/>
        </p:nvSpPr>
        <p:spPr>
          <a:xfrm>
            <a:off x="-14861" y="1"/>
            <a:ext cx="3828888" cy="3337197"/>
          </a:xfrm>
          <a:custGeom>
            <a:avLst/>
            <a:gdLst>
              <a:gd name="connsiteX0" fmla="*/ 59039 w 3905665"/>
              <a:gd name="connsiteY0" fmla="*/ 3396225 h 3403632"/>
              <a:gd name="connsiteX1" fmla="*/ 62742 w 3905665"/>
              <a:gd name="connsiteY1" fmla="*/ 3399928 h 3403632"/>
              <a:gd name="connsiteX2" fmla="*/ 59039 w 3905665"/>
              <a:gd name="connsiteY2" fmla="*/ 3403632 h 3403632"/>
              <a:gd name="connsiteX3" fmla="*/ 55336 w 3905665"/>
              <a:gd name="connsiteY3" fmla="*/ 3399928 h 3403632"/>
              <a:gd name="connsiteX4" fmla="*/ 59039 w 3905665"/>
              <a:gd name="connsiteY4" fmla="*/ 3396225 h 3403632"/>
              <a:gd name="connsiteX5" fmla="*/ 175052 w 3905665"/>
              <a:gd name="connsiteY5" fmla="*/ 3387585 h 3403632"/>
              <a:gd name="connsiteX6" fmla="*/ 179001 w 3905665"/>
              <a:gd name="connsiteY6" fmla="*/ 3391534 h 3403632"/>
              <a:gd name="connsiteX7" fmla="*/ 175052 w 3905665"/>
              <a:gd name="connsiteY7" fmla="*/ 3395484 h 3403632"/>
              <a:gd name="connsiteX8" fmla="*/ 171103 w 3905665"/>
              <a:gd name="connsiteY8" fmla="*/ 3391534 h 3403632"/>
              <a:gd name="connsiteX9" fmla="*/ 175052 w 3905665"/>
              <a:gd name="connsiteY9" fmla="*/ 3387585 h 3403632"/>
              <a:gd name="connsiteX10" fmla="*/ 290815 w 3905665"/>
              <a:gd name="connsiteY10" fmla="*/ 3375737 h 3403632"/>
              <a:gd name="connsiteX11" fmla="*/ 295013 w 3905665"/>
              <a:gd name="connsiteY11" fmla="*/ 3379933 h 3403632"/>
              <a:gd name="connsiteX12" fmla="*/ 290815 w 3905665"/>
              <a:gd name="connsiteY12" fmla="*/ 3384128 h 3403632"/>
              <a:gd name="connsiteX13" fmla="*/ 286620 w 3905665"/>
              <a:gd name="connsiteY13" fmla="*/ 3379933 h 3403632"/>
              <a:gd name="connsiteX14" fmla="*/ 290815 w 3905665"/>
              <a:gd name="connsiteY14" fmla="*/ 3375737 h 3403632"/>
              <a:gd name="connsiteX15" fmla="*/ 406333 w 3905665"/>
              <a:gd name="connsiteY15" fmla="*/ 3360435 h 3403632"/>
              <a:gd name="connsiteX16" fmla="*/ 410777 w 3905665"/>
              <a:gd name="connsiteY16" fmla="*/ 3364877 h 3403632"/>
              <a:gd name="connsiteX17" fmla="*/ 406333 w 3905665"/>
              <a:gd name="connsiteY17" fmla="*/ 3369321 h 3403632"/>
              <a:gd name="connsiteX18" fmla="*/ 401891 w 3905665"/>
              <a:gd name="connsiteY18" fmla="*/ 3364877 h 3403632"/>
              <a:gd name="connsiteX19" fmla="*/ 406333 w 3905665"/>
              <a:gd name="connsiteY19" fmla="*/ 3360435 h 3403632"/>
              <a:gd name="connsiteX20" fmla="*/ 521111 w 3905665"/>
              <a:gd name="connsiteY20" fmla="*/ 3341921 h 3403632"/>
              <a:gd name="connsiteX21" fmla="*/ 525799 w 3905665"/>
              <a:gd name="connsiteY21" fmla="*/ 3346611 h 3403632"/>
              <a:gd name="connsiteX22" fmla="*/ 521111 w 3905665"/>
              <a:gd name="connsiteY22" fmla="*/ 3351302 h 3403632"/>
              <a:gd name="connsiteX23" fmla="*/ 516421 w 3905665"/>
              <a:gd name="connsiteY23" fmla="*/ 3346611 h 3403632"/>
              <a:gd name="connsiteX24" fmla="*/ 521111 w 3905665"/>
              <a:gd name="connsiteY24" fmla="*/ 3341921 h 3403632"/>
              <a:gd name="connsiteX25" fmla="*/ 635402 w 3905665"/>
              <a:gd name="connsiteY25" fmla="*/ 3319951 h 3403632"/>
              <a:gd name="connsiteX26" fmla="*/ 640337 w 3905665"/>
              <a:gd name="connsiteY26" fmla="*/ 3324888 h 3403632"/>
              <a:gd name="connsiteX27" fmla="*/ 635402 w 3905665"/>
              <a:gd name="connsiteY27" fmla="*/ 3329825 h 3403632"/>
              <a:gd name="connsiteX28" fmla="*/ 630464 w 3905665"/>
              <a:gd name="connsiteY28" fmla="*/ 3324888 h 3403632"/>
              <a:gd name="connsiteX29" fmla="*/ 635402 w 3905665"/>
              <a:gd name="connsiteY29" fmla="*/ 3319951 h 3403632"/>
              <a:gd name="connsiteX30" fmla="*/ 749190 w 3905665"/>
              <a:gd name="connsiteY30" fmla="*/ 3295022 h 3403632"/>
              <a:gd name="connsiteX31" fmla="*/ 754377 w 3905665"/>
              <a:gd name="connsiteY31" fmla="*/ 3300205 h 3403632"/>
              <a:gd name="connsiteX32" fmla="*/ 749190 w 3905665"/>
              <a:gd name="connsiteY32" fmla="*/ 3305388 h 3403632"/>
              <a:gd name="connsiteX33" fmla="*/ 744008 w 3905665"/>
              <a:gd name="connsiteY33" fmla="*/ 3300205 h 3403632"/>
              <a:gd name="connsiteX34" fmla="*/ 749190 w 3905665"/>
              <a:gd name="connsiteY34" fmla="*/ 3295022 h 3403632"/>
              <a:gd name="connsiteX35" fmla="*/ 58542 w 3905665"/>
              <a:gd name="connsiteY35" fmla="*/ 3287864 h 3403632"/>
              <a:gd name="connsiteX36" fmla="*/ 61999 w 3905665"/>
              <a:gd name="connsiteY36" fmla="*/ 3291319 h 3403632"/>
              <a:gd name="connsiteX37" fmla="*/ 58542 w 3905665"/>
              <a:gd name="connsiteY37" fmla="*/ 3294776 h 3403632"/>
              <a:gd name="connsiteX38" fmla="*/ 55087 w 3905665"/>
              <a:gd name="connsiteY38" fmla="*/ 3291319 h 3403632"/>
              <a:gd name="connsiteX39" fmla="*/ 58542 w 3905665"/>
              <a:gd name="connsiteY39" fmla="*/ 3287864 h 3403632"/>
              <a:gd name="connsiteX40" fmla="*/ 174803 w 3905665"/>
              <a:gd name="connsiteY40" fmla="*/ 3278732 h 3403632"/>
              <a:gd name="connsiteX41" fmla="*/ 178507 w 3905665"/>
              <a:gd name="connsiteY41" fmla="*/ 3282435 h 3403632"/>
              <a:gd name="connsiteX42" fmla="*/ 174803 w 3905665"/>
              <a:gd name="connsiteY42" fmla="*/ 3286136 h 3403632"/>
              <a:gd name="connsiteX43" fmla="*/ 171100 w 3905665"/>
              <a:gd name="connsiteY43" fmla="*/ 3282435 h 3403632"/>
              <a:gd name="connsiteX44" fmla="*/ 174803 w 3905665"/>
              <a:gd name="connsiteY44" fmla="*/ 3278732 h 3403632"/>
              <a:gd name="connsiteX45" fmla="*/ 290567 w 3905665"/>
              <a:gd name="connsiteY45" fmla="*/ 3266884 h 3403632"/>
              <a:gd name="connsiteX46" fmla="*/ 294270 w 3905665"/>
              <a:gd name="connsiteY46" fmla="*/ 3270587 h 3403632"/>
              <a:gd name="connsiteX47" fmla="*/ 290567 w 3905665"/>
              <a:gd name="connsiteY47" fmla="*/ 3274288 h 3403632"/>
              <a:gd name="connsiteX48" fmla="*/ 286864 w 3905665"/>
              <a:gd name="connsiteY48" fmla="*/ 3270587 h 3403632"/>
              <a:gd name="connsiteX49" fmla="*/ 290567 w 3905665"/>
              <a:gd name="connsiteY49" fmla="*/ 3266884 h 3403632"/>
              <a:gd name="connsiteX50" fmla="*/ 861997 w 3905665"/>
              <a:gd name="connsiteY50" fmla="*/ 3266635 h 3403632"/>
              <a:gd name="connsiteX51" fmla="*/ 867426 w 3905665"/>
              <a:gd name="connsiteY51" fmla="*/ 3272067 h 3403632"/>
              <a:gd name="connsiteX52" fmla="*/ 861997 w 3905665"/>
              <a:gd name="connsiteY52" fmla="*/ 3277496 h 3403632"/>
              <a:gd name="connsiteX53" fmla="*/ 856564 w 3905665"/>
              <a:gd name="connsiteY53" fmla="*/ 3272067 h 3403632"/>
              <a:gd name="connsiteX54" fmla="*/ 861997 w 3905665"/>
              <a:gd name="connsiteY54" fmla="*/ 3266635 h 3403632"/>
              <a:gd name="connsiteX55" fmla="*/ 406084 w 3905665"/>
              <a:gd name="connsiteY55" fmla="*/ 3251333 h 3403632"/>
              <a:gd name="connsiteX56" fmla="*/ 409785 w 3905665"/>
              <a:gd name="connsiteY56" fmla="*/ 3255036 h 3403632"/>
              <a:gd name="connsiteX57" fmla="*/ 406084 w 3905665"/>
              <a:gd name="connsiteY57" fmla="*/ 3258737 h 3403632"/>
              <a:gd name="connsiteX58" fmla="*/ 402381 w 3905665"/>
              <a:gd name="connsiteY58" fmla="*/ 3255036 h 3403632"/>
              <a:gd name="connsiteX59" fmla="*/ 406084 w 3905665"/>
              <a:gd name="connsiteY59" fmla="*/ 3251333 h 3403632"/>
              <a:gd name="connsiteX60" fmla="*/ 974058 w 3905665"/>
              <a:gd name="connsiteY60" fmla="*/ 3235040 h 3403632"/>
              <a:gd name="connsiteX61" fmla="*/ 979734 w 3905665"/>
              <a:gd name="connsiteY61" fmla="*/ 3240718 h 3403632"/>
              <a:gd name="connsiteX62" fmla="*/ 974058 w 3905665"/>
              <a:gd name="connsiteY62" fmla="*/ 3246396 h 3403632"/>
              <a:gd name="connsiteX63" fmla="*/ 968380 w 3905665"/>
              <a:gd name="connsiteY63" fmla="*/ 3240718 h 3403632"/>
              <a:gd name="connsiteX64" fmla="*/ 974058 w 3905665"/>
              <a:gd name="connsiteY64" fmla="*/ 3235040 h 3403632"/>
              <a:gd name="connsiteX65" fmla="*/ 520860 w 3905665"/>
              <a:gd name="connsiteY65" fmla="*/ 3232327 h 3403632"/>
              <a:gd name="connsiteX66" fmla="*/ 524809 w 3905665"/>
              <a:gd name="connsiteY66" fmla="*/ 3236277 h 3403632"/>
              <a:gd name="connsiteX67" fmla="*/ 520860 w 3905665"/>
              <a:gd name="connsiteY67" fmla="*/ 3240226 h 3403632"/>
              <a:gd name="connsiteX68" fmla="*/ 516910 w 3905665"/>
              <a:gd name="connsiteY68" fmla="*/ 3236277 h 3403632"/>
              <a:gd name="connsiteX69" fmla="*/ 520860 w 3905665"/>
              <a:gd name="connsiteY69" fmla="*/ 3232327 h 3403632"/>
              <a:gd name="connsiteX70" fmla="*/ 635153 w 3905665"/>
              <a:gd name="connsiteY70" fmla="*/ 3210357 h 3403632"/>
              <a:gd name="connsiteX71" fmla="*/ 639099 w 3905665"/>
              <a:gd name="connsiteY71" fmla="*/ 3214307 h 3403632"/>
              <a:gd name="connsiteX72" fmla="*/ 635153 w 3905665"/>
              <a:gd name="connsiteY72" fmla="*/ 3218256 h 3403632"/>
              <a:gd name="connsiteX73" fmla="*/ 631202 w 3905665"/>
              <a:gd name="connsiteY73" fmla="*/ 3214307 h 3403632"/>
              <a:gd name="connsiteX74" fmla="*/ 635153 w 3905665"/>
              <a:gd name="connsiteY74" fmla="*/ 3210357 h 3403632"/>
              <a:gd name="connsiteX75" fmla="*/ 1085117 w 3905665"/>
              <a:gd name="connsiteY75" fmla="*/ 3200237 h 3403632"/>
              <a:gd name="connsiteX76" fmla="*/ 1091041 w 3905665"/>
              <a:gd name="connsiteY76" fmla="*/ 3206161 h 3403632"/>
              <a:gd name="connsiteX77" fmla="*/ 1085117 w 3905665"/>
              <a:gd name="connsiteY77" fmla="*/ 3212085 h 3403632"/>
              <a:gd name="connsiteX78" fmla="*/ 1079193 w 3905665"/>
              <a:gd name="connsiteY78" fmla="*/ 3206161 h 3403632"/>
              <a:gd name="connsiteX79" fmla="*/ 1085117 w 3905665"/>
              <a:gd name="connsiteY79" fmla="*/ 3200237 h 3403632"/>
              <a:gd name="connsiteX80" fmla="*/ 748941 w 3905665"/>
              <a:gd name="connsiteY80" fmla="*/ 3184440 h 3403632"/>
              <a:gd name="connsiteX81" fmla="*/ 752890 w 3905665"/>
              <a:gd name="connsiteY81" fmla="*/ 3188636 h 3403632"/>
              <a:gd name="connsiteX82" fmla="*/ 748941 w 3905665"/>
              <a:gd name="connsiteY82" fmla="*/ 3192831 h 3403632"/>
              <a:gd name="connsiteX83" fmla="*/ 744746 w 3905665"/>
              <a:gd name="connsiteY83" fmla="*/ 3188636 h 3403632"/>
              <a:gd name="connsiteX84" fmla="*/ 748941 w 3905665"/>
              <a:gd name="connsiteY84" fmla="*/ 3184440 h 3403632"/>
              <a:gd name="connsiteX85" fmla="*/ 58788 w 3905665"/>
              <a:gd name="connsiteY85" fmla="*/ 3178269 h 3403632"/>
              <a:gd name="connsiteX86" fmla="*/ 62984 w 3905665"/>
              <a:gd name="connsiteY86" fmla="*/ 3182465 h 3403632"/>
              <a:gd name="connsiteX87" fmla="*/ 58788 w 3905665"/>
              <a:gd name="connsiteY87" fmla="*/ 3186660 h 3403632"/>
              <a:gd name="connsiteX88" fmla="*/ 54593 w 3905665"/>
              <a:gd name="connsiteY88" fmla="*/ 3182465 h 3403632"/>
              <a:gd name="connsiteX89" fmla="*/ 58788 w 3905665"/>
              <a:gd name="connsiteY89" fmla="*/ 3178269 h 3403632"/>
              <a:gd name="connsiteX90" fmla="*/ 174798 w 3905665"/>
              <a:gd name="connsiteY90" fmla="*/ 3169137 h 3403632"/>
              <a:gd name="connsiteX91" fmla="*/ 179242 w 3905665"/>
              <a:gd name="connsiteY91" fmla="*/ 3173579 h 3403632"/>
              <a:gd name="connsiteX92" fmla="*/ 174798 w 3905665"/>
              <a:gd name="connsiteY92" fmla="*/ 3178023 h 3403632"/>
              <a:gd name="connsiteX93" fmla="*/ 170356 w 3905665"/>
              <a:gd name="connsiteY93" fmla="*/ 3173579 h 3403632"/>
              <a:gd name="connsiteX94" fmla="*/ 174798 w 3905665"/>
              <a:gd name="connsiteY94" fmla="*/ 3169137 h 3403632"/>
              <a:gd name="connsiteX95" fmla="*/ 1195210 w 3905665"/>
              <a:gd name="connsiteY95" fmla="*/ 3162472 h 3403632"/>
              <a:gd name="connsiteX96" fmla="*/ 1201383 w 3905665"/>
              <a:gd name="connsiteY96" fmla="*/ 3168642 h 3403632"/>
              <a:gd name="connsiteX97" fmla="*/ 1195210 w 3905665"/>
              <a:gd name="connsiteY97" fmla="*/ 3174815 h 3403632"/>
              <a:gd name="connsiteX98" fmla="*/ 1189040 w 3905665"/>
              <a:gd name="connsiteY98" fmla="*/ 3168642 h 3403632"/>
              <a:gd name="connsiteX99" fmla="*/ 1195210 w 3905665"/>
              <a:gd name="connsiteY99" fmla="*/ 3162472 h 3403632"/>
              <a:gd name="connsiteX100" fmla="*/ 290810 w 3905665"/>
              <a:gd name="connsiteY100" fmla="*/ 3156302 h 3403632"/>
              <a:gd name="connsiteX101" fmla="*/ 295746 w 3905665"/>
              <a:gd name="connsiteY101" fmla="*/ 3161239 h 3403632"/>
              <a:gd name="connsiteX102" fmla="*/ 290810 w 3905665"/>
              <a:gd name="connsiteY102" fmla="*/ 3166175 h 3403632"/>
              <a:gd name="connsiteX103" fmla="*/ 285873 w 3905665"/>
              <a:gd name="connsiteY103" fmla="*/ 3161239 h 3403632"/>
              <a:gd name="connsiteX104" fmla="*/ 290810 w 3905665"/>
              <a:gd name="connsiteY104" fmla="*/ 3156302 h 3403632"/>
              <a:gd name="connsiteX105" fmla="*/ 861745 w 3905665"/>
              <a:gd name="connsiteY105" fmla="*/ 3155561 h 3403632"/>
              <a:gd name="connsiteX106" fmla="*/ 865941 w 3905665"/>
              <a:gd name="connsiteY106" fmla="*/ 3159757 h 3403632"/>
              <a:gd name="connsiteX107" fmla="*/ 861745 w 3905665"/>
              <a:gd name="connsiteY107" fmla="*/ 3163952 h 3403632"/>
              <a:gd name="connsiteX108" fmla="*/ 857549 w 3905665"/>
              <a:gd name="connsiteY108" fmla="*/ 3159757 h 3403632"/>
              <a:gd name="connsiteX109" fmla="*/ 861745 w 3905665"/>
              <a:gd name="connsiteY109" fmla="*/ 3155561 h 3403632"/>
              <a:gd name="connsiteX110" fmla="*/ 406328 w 3905665"/>
              <a:gd name="connsiteY110" fmla="*/ 3140256 h 3403632"/>
              <a:gd name="connsiteX111" fmla="*/ 411514 w 3905665"/>
              <a:gd name="connsiteY111" fmla="*/ 3145439 h 3403632"/>
              <a:gd name="connsiteX112" fmla="*/ 406328 w 3905665"/>
              <a:gd name="connsiteY112" fmla="*/ 3150625 h 3403632"/>
              <a:gd name="connsiteX113" fmla="*/ 401145 w 3905665"/>
              <a:gd name="connsiteY113" fmla="*/ 3145439 h 3403632"/>
              <a:gd name="connsiteX114" fmla="*/ 406328 w 3905665"/>
              <a:gd name="connsiteY114" fmla="*/ 3140256 h 3403632"/>
              <a:gd name="connsiteX115" fmla="*/ 973560 w 3905665"/>
              <a:gd name="connsiteY115" fmla="*/ 3123473 h 3403632"/>
              <a:gd name="connsiteX116" fmla="*/ 977756 w 3905665"/>
              <a:gd name="connsiteY116" fmla="*/ 3127669 h 3403632"/>
              <a:gd name="connsiteX117" fmla="*/ 973560 w 3905665"/>
              <a:gd name="connsiteY117" fmla="*/ 3131864 h 3403632"/>
              <a:gd name="connsiteX118" fmla="*/ 969364 w 3905665"/>
              <a:gd name="connsiteY118" fmla="*/ 3127669 h 3403632"/>
              <a:gd name="connsiteX119" fmla="*/ 973560 w 3905665"/>
              <a:gd name="connsiteY119" fmla="*/ 3123473 h 3403632"/>
              <a:gd name="connsiteX120" fmla="*/ 1304315 w 3905665"/>
              <a:gd name="connsiteY120" fmla="*/ 3121496 h 3403632"/>
              <a:gd name="connsiteX121" fmla="*/ 1310732 w 3905665"/>
              <a:gd name="connsiteY121" fmla="*/ 3127915 h 3403632"/>
              <a:gd name="connsiteX122" fmla="*/ 1304315 w 3905665"/>
              <a:gd name="connsiteY122" fmla="*/ 3134086 h 3403632"/>
              <a:gd name="connsiteX123" fmla="*/ 1297897 w 3905665"/>
              <a:gd name="connsiteY123" fmla="*/ 3127915 h 3403632"/>
              <a:gd name="connsiteX124" fmla="*/ 1304315 w 3905665"/>
              <a:gd name="connsiteY124" fmla="*/ 3121496 h 3403632"/>
              <a:gd name="connsiteX125" fmla="*/ 521104 w 3905665"/>
              <a:gd name="connsiteY125" fmla="*/ 3120263 h 3403632"/>
              <a:gd name="connsiteX126" fmla="*/ 526782 w 3905665"/>
              <a:gd name="connsiteY126" fmla="*/ 3125941 h 3403632"/>
              <a:gd name="connsiteX127" fmla="*/ 521104 w 3905665"/>
              <a:gd name="connsiteY127" fmla="*/ 3131616 h 3403632"/>
              <a:gd name="connsiteX128" fmla="*/ 515426 w 3905665"/>
              <a:gd name="connsiteY128" fmla="*/ 3125941 h 3403632"/>
              <a:gd name="connsiteX129" fmla="*/ 521104 w 3905665"/>
              <a:gd name="connsiteY129" fmla="*/ 3120263 h 3403632"/>
              <a:gd name="connsiteX130" fmla="*/ 635396 w 3905665"/>
              <a:gd name="connsiteY130" fmla="*/ 3096813 h 3403632"/>
              <a:gd name="connsiteX131" fmla="*/ 641319 w 3905665"/>
              <a:gd name="connsiteY131" fmla="*/ 3102983 h 3403632"/>
              <a:gd name="connsiteX132" fmla="*/ 635396 w 3905665"/>
              <a:gd name="connsiteY132" fmla="*/ 3109156 h 3403632"/>
              <a:gd name="connsiteX133" fmla="*/ 629226 w 3905665"/>
              <a:gd name="connsiteY133" fmla="*/ 3102983 h 3403632"/>
              <a:gd name="connsiteX134" fmla="*/ 635396 w 3905665"/>
              <a:gd name="connsiteY134" fmla="*/ 3096813 h 3403632"/>
              <a:gd name="connsiteX135" fmla="*/ 1084377 w 3905665"/>
              <a:gd name="connsiteY135" fmla="*/ 3087681 h 3403632"/>
              <a:gd name="connsiteX136" fmla="*/ 1088818 w 3905665"/>
              <a:gd name="connsiteY136" fmla="*/ 3092125 h 3403632"/>
              <a:gd name="connsiteX137" fmla="*/ 1084377 w 3905665"/>
              <a:gd name="connsiteY137" fmla="*/ 3096567 h 3403632"/>
              <a:gd name="connsiteX138" fmla="*/ 1079932 w 3905665"/>
              <a:gd name="connsiteY138" fmla="*/ 3092125 h 3403632"/>
              <a:gd name="connsiteX139" fmla="*/ 1084377 w 3905665"/>
              <a:gd name="connsiteY139" fmla="*/ 3087681 h 3403632"/>
              <a:gd name="connsiteX140" fmla="*/ 1411939 w 3905665"/>
              <a:gd name="connsiteY140" fmla="*/ 3077066 h 3403632"/>
              <a:gd name="connsiteX141" fmla="*/ 1418602 w 3905665"/>
              <a:gd name="connsiteY141" fmla="*/ 3083731 h 3403632"/>
              <a:gd name="connsiteX142" fmla="*/ 1411939 w 3905665"/>
              <a:gd name="connsiteY142" fmla="*/ 3090397 h 3403632"/>
              <a:gd name="connsiteX143" fmla="*/ 1405274 w 3905665"/>
              <a:gd name="connsiteY143" fmla="*/ 3083731 h 3403632"/>
              <a:gd name="connsiteX144" fmla="*/ 1411939 w 3905665"/>
              <a:gd name="connsiteY144" fmla="*/ 3077066 h 3403632"/>
              <a:gd name="connsiteX145" fmla="*/ 748939 w 3905665"/>
              <a:gd name="connsiteY145" fmla="*/ 3070650 h 3403632"/>
              <a:gd name="connsiteX146" fmla="*/ 755356 w 3905665"/>
              <a:gd name="connsiteY146" fmla="*/ 3077069 h 3403632"/>
              <a:gd name="connsiteX147" fmla="*/ 748939 w 3905665"/>
              <a:gd name="connsiteY147" fmla="*/ 3083485 h 3403632"/>
              <a:gd name="connsiteX148" fmla="*/ 742520 w 3905665"/>
              <a:gd name="connsiteY148" fmla="*/ 3077069 h 3403632"/>
              <a:gd name="connsiteX149" fmla="*/ 748939 w 3905665"/>
              <a:gd name="connsiteY149" fmla="*/ 3070650 h 3403632"/>
              <a:gd name="connsiteX150" fmla="*/ 57552 w 3905665"/>
              <a:gd name="connsiteY150" fmla="*/ 3069662 h 3403632"/>
              <a:gd name="connsiteX151" fmla="*/ 61502 w 3905665"/>
              <a:gd name="connsiteY151" fmla="*/ 3073611 h 3403632"/>
              <a:gd name="connsiteX152" fmla="*/ 57552 w 3905665"/>
              <a:gd name="connsiteY152" fmla="*/ 3077561 h 3403632"/>
              <a:gd name="connsiteX153" fmla="*/ 53603 w 3905665"/>
              <a:gd name="connsiteY153" fmla="*/ 3073611 h 3403632"/>
              <a:gd name="connsiteX154" fmla="*/ 57552 w 3905665"/>
              <a:gd name="connsiteY154" fmla="*/ 3069662 h 3403632"/>
              <a:gd name="connsiteX155" fmla="*/ 173069 w 3905665"/>
              <a:gd name="connsiteY155" fmla="*/ 3060530 h 3403632"/>
              <a:gd name="connsiteX156" fmla="*/ 177265 w 3905665"/>
              <a:gd name="connsiteY156" fmla="*/ 3064726 h 3403632"/>
              <a:gd name="connsiteX157" fmla="*/ 173069 w 3905665"/>
              <a:gd name="connsiteY157" fmla="*/ 3068921 h 3403632"/>
              <a:gd name="connsiteX158" fmla="*/ 168874 w 3905665"/>
              <a:gd name="connsiteY158" fmla="*/ 3064726 h 3403632"/>
              <a:gd name="connsiteX159" fmla="*/ 173069 w 3905665"/>
              <a:gd name="connsiteY159" fmla="*/ 3060530 h 3403632"/>
              <a:gd name="connsiteX160" fmla="*/ 1194221 w 3905665"/>
              <a:gd name="connsiteY160" fmla="*/ 3049174 h 3403632"/>
              <a:gd name="connsiteX161" fmla="*/ 1198665 w 3905665"/>
              <a:gd name="connsiteY161" fmla="*/ 3053616 h 3403632"/>
              <a:gd name="connsiteX162" fmla="*/ 1194221 w 3905665"/>
              <a:gd name="connsiteY162" fmla="*/ 3058060 h 3403632"/>
              <a:gd name="connsiteX163" fmla="*/ 1189779 w 3905665"/>
              <a:gd name="connsiteY163" fmla="*/ 3053616 h 3403632"/>
              <a:gd name="connsiteX164" fmla="*/ 1194221 w 3905665"/>
              <a:gd name="connsiteY164" fmla="*/ 3049174 h 3403632"/>
              <a:gd name="connsiteX165" fmla="*/ 288585 w 3905665"/>
              <a:gd name="connsiteY165" fmla="*/ 3047695 h 3403632"/>
              <a:gd name="connsiteX166" fmla="*/ 293029 w 3905665"/>
              <a:gd name="connsiteY166" fmla="*/ 3052137 h 3403632"/>
              <a:gd name="connsiteX167" fmla="*/ 288585 w 3905665"/>
              <a:gd name="connsiteY167" fmla="*/ 3056581 h 3403632"/>
              <a:gd name="connsiteX168" fmla="*/ 284143 w 3905665"/>
              <a:gd name="connsiteY168" fmla="*/ 3052137 h 3403632"/>
              <a:gd name="connsiteX169" fmla="*/ 288585 w 3905665"/>
              <a:gd name="connsiteY169" fmla="*/ 3047695 h 3403632"/>
              <a:gd name="connsiteX170" fmla="*/ 861496 w 3905665"/>
              <a:gd name="connsiteY170" fmla="*/ 3040288 h 3403632"/>
              <a:gd name="connsiteX171" fmla="*/ 868407 w 3905665"/>
              <a:gd name="connsiteY171" fmla="*/ 3047199 h 3403632"/>
              <a:gd name="connsiteX172" fmla="*/ 861496 w 3905665"/>
              <a:gd name="connsiteY172" fmla="*/ 3054111 h 3403632"/>
              <a:gd name="connsiteX173" fmla="*/ 854584 w 3905665"/>
              <a:gd name="connsiteY173" fmla="*/ 3047199 h 3403632"/>
              <a:gd name="connsiteX174" fmla="*/ 861496 w 3905665"/>
              <a:gd name="connsiteY174" fmla="*/ 3040288 h 3403632"/>
              <a:gd name="connsiteX175" fmla="*/ 403364 w 3905665"/>
              <a:gd name="connsiteY175" fmla="*/ 3031402 h 3403632"/>
              <a:gd name="connsiteX176" fmla="*/ 408054 w 3905665"/>
              <a:gd name="connsiteY176" fmla="*/ 3036092 h 3403632"/>
              <a:gd name="connsiteX177" fmla="*/ 403364 w 3905665"/>
              <a:gd name="connsiteY177" fmla="*/ 3040783 h 3403632"/>
              <a:gd name="connsiteX178" fmla="*/ 398673 w 3905665"/>
              <a:gd name="connsiteY178" fmla="*/ 3036092 h 3403632"/>
              <a:gd name="connsiteX179" fmla="*/ 403364 w 3905665"/>
              <a:gd name="connsiteY179" fmla="*/ 3031402 h 3403632"/>
              <a:gd name="connsiteX180" fmla="*/ 1518326 w 3905665"/>
              <a:gd name="connsiteY180" fmla="*/ 3030169 h 3403632"/>
              <a:gd name="connsiteX181" fmla="*/ 1524991 w 3905665"/>
              <a:gd name="connsiteY181" fmla="*/ 3036834 h 3403632"/>
              <a:gd name="connsiteX182" fmla="*/ 1518326 w 3905665"/>
              <a:gd name="connsiteY182" fmla="*/ 3043746 h 3403632"/>
              <a:gd name="connsiteX183" fmla="*/ 1511414 w 3905665"/>
              <a:gd name="connsiteY183" fmla="*/ 3036834 h 3403632"/>
              <a:gd name="connsiteX184" fmla="*/ 1518326 w 3905665"/>
              <a:gd name="connsiteY184" fmla="*/ 3030169 h 3403632"/>
              <a:gd name="connsiteX185" fmla="*/ 517648 w 3905665"/>
              <a:gd name="connsiteY185" fmla="*/ 3011163 h 3403632"/>
              <a:gd name="connsiteX186" fmla="*/ 522831 w 3905665"/>
              <a:gd name="connsiteY186" fmla="*/ 3016100 h 3403632"/>
              <a:gd name="connsiteX187" fmla="*/ 517648 w 3905665"/>
              <a:gd name="connsiteY187" fmla="*/ 3021283 h 3403632"/>
              <a:gd name="connsiteX188" fmla="*/ 512465 w 3905665"/>
              <a:gd name="connsiteY188" fmla="*/ 3016100 h 3403632"/>
              <a:gd name="connsiteX189" fmla="*/ 517648 w 3905665"/>
              <a:gd name="connsiteY189" fmla="*/ 3011163 h 3403632"/>
              <a:gd name="connsiteX190" fmla="*/ 973311 w 3905665"/>
              <a:gd name="connsiteY190" fmla="*/ 3006968 h 3403632"/>
              <a:gd name="connsiteX191" fmla="*/ 980472 w 3905665"/>
              <a:gd name="connsiteY191" fmla="*/ 3014126 h 3403632"/>
              <a:gd name="connsiteX192" fmla="*/ 973311 w 3905665"/>
              <a:gd name="connsiteY192" fmla="*/ 3021283 h 3403632"/>
              <a:gd name="connsiteX193" fmla="*/ 966154 w 3905665"/>
              <a:gd name="connsiteY193" fmla="*/ 3014126 h 3403632"/>
              <a:gd name="connsiteX194" fmla="*/ 973311 w 3905665"/>
              <a:gd name="connsiteY194" fmla="*/ 3006968 h 3403632"/>
              <a:gd name="connsiteX195" fmla="*/ 1302830 w 3905665"/>
              <a:gd name="connsiteY195" fmla="*/ 3006719 h 3403632"/>
              <a:gd name="connsiteX196" fmla="*/ 1307518 w 3905665"/>
              <a:gd name="connsiteY196" fmla="*/ 3011409 h 3403632"/>
              <a:gd name="connsiteX197" fmla="*/ 1302830 w 3905665"/>
              <a:gd name="connsiteY197" fmla="*/ 3016100 h 3403632"/>
              <a:gd name="connsiteX198" fmla="*/ 1298140 w 3905665"/>
              <a:gd name="connsiteY198" fmla="*/ 3011409 h 3403632"/>
              <a:gd name="connsiteX199" fmla="*/ 1302830 w 3905665"/>
              <a:gd name="connsiteY199" fmla="*/ 3006719 h 3403632"/>
              <a:gd name="connsiteX200" fmla="*/ 631443 w 3905665"/>
              <a:gd name="connsiteY200" fmla="*/ 2987467 h 3403632"/>
              <a:gd name="connsiteX201" fmla="*/ 636873 w 3905665"/>
              <a:gd name="connsiteY201" fmla="*/ 2992899 h 3403632"/>
              <a:gd name="connsiteX202" fmla="*/ 631443 w 3905665"/>
              <a:gd name="connsiteY202" fmla="*/ 2998328 h 3403632"/>
              <a:gd name="connsiteX203" fmla="*/ 626012 w 3905665"/>
              <a:gd name="connsiteY203" fmla="*/ 2992899 h 3403632"/>
              <a:gd name="connsiteX204" fmla="*/ 631443 w 3905665"/>
              <a:gd name="connsiteY204" fmla="*/ 2987467 h 3403632"/>
              <a:gd name="connsiteX205" fmla="*/ 1623482 w 3905665"/>
              <a:gd name="connsiteY205" fmla="*/ 2980061 h 3403632"/>
              <a:gd name="connsiteX206" fmla="*/ 1630639 w 3905665"/>
              <a:gd name="connsiteY206" fmla="*/ 2986973 h 3403632"/>
              <a:gd name="connsiteX207" fmla="*/ 1623482 w 3905665"/>
              <a:gd name="connsiteY207" fmla="*/ 2994130 h 3403632"/>
              <a:gd name="connsiteX208" fmla="*/ 1616570 w 3905665"/>
              <a:gd name="connsiteY208" fmla="*/ 2986973 h 3403632"/>
              <a:gd name="connsiteX209" fmla="*/ 1623482 w 3905665"/>
              <a:gd name="connsiteY209" fmla="*/ 2980061 h 3403632"/>
              <a:gd name="connsiteX210" fmla="*/ 1083879 w 3905665"/>
              <a:gd name="connsiteY210" fmla="*/ 2969941 h 3403632"/>
              <a:gd name="connsiteX211" fmla="*/ 1091530 w 3905665"/>
              <a:gd name="connsiteY211" fmla="*/ 2977593 h 3403632"/>
              <a:gd name="connsiteX212" fmla="*/ 1083879 w 3905665"/>
              <a:gd name="connsiteY212" fmla="*/ 2985243 h 3403632"/>
              <a:gd name="connsiteX213" fmla="*/ 1076228 w 3905665"/>
              <a:gd name="connsiteY213" fmla="*/ 2977593 h 3403632"/>
              <a:gd name="connsiteX214" fmla="*/ 1083879 w 3905665"/>
              <a:gd name="connsiteY214" fmla="*/ 2969941 h 3403632"/>
              <a:gd name="connsiteX215" fmla="*/ 1410208 w 3905665"/>
              <a:gd name="connsiteY215" fmla="*/ 2961796 h 3403632"/>
              <a:gd name="connsiteX216" fmla="*/ 1414898 w 3905665"/>
              <a:gd name="connsiteY216" fmla="*/ 2966484 h 3403632"/>
              <a:gd name="connsiteX217" fmla="*/ 1410208 w 3905665"/>
              <a:gd name="connsiteY217" fmla="*/ 2971174 h 3403632"/>
              <a:gd name="connsiteX218" fmla="*/ 1405517 w 3905665"/>
              <a:gd name="connsiteY218" fmla="*/ 2966484 h 3403632"/>
              <a:gd name="connsiteX219" fmla="*/ 1410208 w 3905665"/>
              <a:gd name="connsiteY219" fmla="*/ 2961796 h 3403632"/>
              <a:gd name="connsiteX220" fmla="*/ 57055 w 3905665"/>
              <a:gd name="connsiteY220" fmla="*/ 2961550 h 3403632"/>
              <a:gd name="connsiteX221" fmla="*/ 60758 w 3905665"/>
              <a:gd name="connsiteY221" fmla="*/ 2965005 h 3403632"/>
              <a:gd name="connsiteX222" fmla="*/ 57055 w 3905665"/>
              <a:gd name="connsiteY222" fmla="*/ 2968708 h 3403632"/>
              <a:gd name="connsiteX223" fmla="*/ 53352 w 3905665"/>
              <a:gd name="connsiteY223" fmla="*/ 2965005 h 3403632"/>
              <a:gd name="connsiteX224" fmla="*/ 57055 w 3905665"/>
              <a:gd name="connsiteY224" fmla="*/ 2961550 h 3403632"/>
              <a:gd name="connsiteX225" fmla="*/ 744248 w 3905665"/>
              <a:gd name="connsiteY225" fmla="*/ 2960314 h 3403632"/>
              <a:gd name="connsiteX226" fmla="*/ 749923 w 3905665"/>
              <a:gd name="connsiteY226" fmla="*/ 2965992 h 3403632"/>
              <a:gd name="connsiteX227" fmla="*/ 744248 w 3905665"/>
              <a:gd name="connsiteY227" fmla="*/ 2971670 h 3403632"/>
              <a:gd name="connsiteX228" fmla="*/ 738570 w 3905665"/>
              <a:gd name="connsiteY228" fmla="*/ 2965992 h 3403632"/>
              <a:gd name="connsiteX229" fmla="*/ 744248 w 3905665"/>
              <a:gd name="connsiteY229" fmla="*/ 2960314 h 3403632"/>
              <a:gd name="connsiteX230" fmla="*/ 172821 w 3905665"/>
              <a:gd name="connsiteY230" fmla="*/ 2951923 h 3403632"/>
              <a:gd name="connsiteX231" fmla="*/ 176524 w 3905665"/>
              <a:gd name="connsiteY231" fmla="*/ 2955626 h 3403632"/>
              <a:gd name="connsiteX232" fmla="*/ 172821 w 3905665"/>
              <a:gd name="connsiteY232" fmla="*/ 2959330 h 3403632"/>
              <a:gd name="connsiteX233" fmla="*/ 169118 w 3905665"/>
              <a:gd name="connsiteY233" fmla="*/ 2955626 h 3403632"/>
              <a:gd name="connsiteX234" fmla="*/ 172821 w 3905665"/>
              <a:gd name="connsiteY234" fmla="*/ 2951923 h 3403632"/>
              <a:gd name="connsiteX235" fmla="*/ 288336 w 3905665"/>
              <a:gd name="connsiteY235" fmla="*/ 2938592 h 3403632"/>
              <a:gd name="connsiteX236" fmla="*/ 292286 w 3905665"/>
              <a:gd name="connsiteY236" fmla="*/ 2942541 h 3403632"/>
              <a:gd name="connsiteX237" fmla="*/ 288336 w 3905665"/>
              <a:gd name="connsiteY237" fmla="*/ 2946491 h 3403632"/>
              <a:gd name="connsiteX238" fmla="*/ 284387 w 3905665"/>
              <a:gd name="connsiteY238" fmla="*/ 2942541 h 3403632"/>
              <a:gd name="connsiteX239" fmla="*/ 288336 w 3905665"/>
              <a:gd name="connsiteY239" fmla="*/ 2938592 h 3403632"/>
              <a:gd name="connsiteX240" fmla="*/ 1193231 w 3905665"/>
              <a:gd name="connsiteY240" fmla="*/ 2929955 h 3403632"/>
              <a:gd name="connsiteX241" fmla="*/ 1201376 w 3905665"/>
              <a:gd name="connsiteY241" fmla="*/ 2937854 h 3403632"/>
              <a:gd name="connsiteX242" fmla="*/ 1193231 w 3905665"/>
              <a:gd name="connsiteY242" fmla="*/ 2945999 h 3403632"/>
              <a:gd name="connsiteX243" fmla="*/ 1185332 w 3905665"/>
              <a:gd name="connsiteY243" fmla="*/ 2937854 h 3403632"/>
              <a:gd name="connsiteX244" fmla="*/ 1193231 w 3905665"/>
              <a:gd name="connsiteY244" fmla="*/ 2929955 h 3403632"/>
              <a:gd name="connsiteX245" fmla="*/ 856310 w 3905665"/>
              <a:gd name="connsiteY245" fmla="*/ 2929955 h 3403632"/>
              <a:gd name="connsiteX246" fmla="*/ 862235 w 3905665"/>
              <a:gd name="connsiteY246" fmla="*/ 2935879 h 3403632"/>
              <a:gd name="connsiteX247" fmla="*/ 856310 w 3905665"/>
              <a:gd name="connsiteY247" fmla="*/ 2941803 h 3403632"/>
              <a:gd name="connsiteX248" fmla="*/ 850386 w 3905665"/>
              <a:gd name="connsiteY248" fmla="*/ 2935879 h 3403632"/>
              <a:gd name="connsiteX249" fmla="*/ 856310 w 3905665"/>
              <a:gd name="connsiteY249" fmla="*/ 2929955 h 3403632"/>
              <a:gd name="connsiteX250" fmla="*/ 1726904 w 3905665"/>
              <a:gd name="connsiteY250" fmla="*/ 2926993 h 3403632"/>
              <a:gd name="connsiteX251" fmla="*/ 1734063 w 3905665"/>
              <a:gd name="connsiteY251" fmla="*/ 2934151 h 3403632"/>
              <a:gd name="connsiteX252" fmla="*/ 1726904 w 3905665"/>
              <a:gd name="connsiteY252" fmla="*/ 2941308 h 3403632"/>
              <a:gd name="connsiteX253" fmla="*/ 1719746 w 3905665"/>
              <a:gd name="connsiteY253" fmla="*/ 2934151 h 3403632"/>
              <a:gd name="connsiteX254" fmla="*/ 1726904 w 3905665"/>
              <a:gd name="connsiteY254" fmla="*/ 2926993 h 3403632"/>
              <a:gd name="connsiteX255" fmla="*/ 403115 w 3905665"/>
              <a:gd name="connsiteY255" fmla="*/ 2922054 h 3403632"/>
              <a:gd name="connsiteX256" fmla="*/ 407064 w 3905665"/>
              <a:gd name="connsiteY256" fmla="*/ 2926004 h 3403632"/>
              <a:gd name="connsiteX257" fmla="*/ 403115 w 3905665"/>
              <a:gd name="connsiteY257" fmla="*/ 2929953 h 3403632"/>
              <a:gd name="connsiteX258" fmla="*/ 399166 w 3905665"/>
              <a:gd name="connsiteY258" fmla="*/ 2926004 h 3403632"/>
              <a:gd name="connsiteX259" fmla="*/ 403115 w 3905665"/>
              <a:gd name="connsiteY259" fmla="*/ 2922054 h 3403632"/>
              <a:gd name="connsiteX260" fmla="*/ 1516102 w 3905665"/>
              <a:gd name="connsiteY260" fmla="*/ 2913417 h 3403632"/>
              <a:gd name="connsiteX261" fmla="*/ 1520793 w 3905665"/>
              <a:gd name="connsiteY261" fmla="*/ 2918108 h 3403632"/>
              <a:gd name="connsiteX262" fmla="*/ 1516102 w 3905665"/>
              <a:gd name="connsiteY262" fmla="*/ 2923045 h 3403632"/>
              <a:gd name="connsiteX263" fmla="*/ 1511165 w 3905665"/>
              <a:gd name="connsiteY263" fmla="*/ 2918108 h 3403632"/>
              <a:gd name="connsiteX264" fmla="*/ 1516102 w 3905665"/>
              <a:gd name="connsiteY264" fmla="*/ 2913417 h 3403632"/>
              <a:gd name="connsiteX265" fmla="*/ 517396 w 3905665"/>
              <a:gd name="connsiteY265" fmla="*/ 2901569 h 3403632"/>
              <a:gd name="connsiteX266" fmla="*/ 521592 w 3905665"/>
              <a:gd name="connsiteY266" fmla="*/ 2905765 h 3403632"/>
              <a:gd name="connsiteX267" fmla="*/ 517396 w 3905665"/>
              <a:gd name="connsiteY267" fmla="*/ 2909960 h 3403632"/>
              <a:gd name="connsiteX268" fmla="*/ 513201 w 3905665"/>
              <a:gd name="connsiteY268" fmla="*/ 2905765 h 3403632"/>
              <a:gd name="connsiteX269" fmla="*/ 517396 w 3905665"/>
              <a:gd name="connsiteY269" fmla="*/ 2901569 h 3403632"/>
              <a:gd name="connsiteX270" fmla="*/ 967385 w 3905665"/>
              <a:gd name="connsiteY270" fmla="*/ 2896137 h 3403632"/>
              <a:gd name="connsiteX271" fmla="*/ 973557 w 3905665"/>
              <a:gd name="connsiteY271" fmla="*/ 2902307 h 3403632"/>
              <a:gd name="connsiteX272" fmla="*/ 967385 w 3905665"/>
              <a:gd name="connsiteY272" fmla="*/ 2908480 h 3403632"/>
              <a:gd name="connsiteX273" fmla="*/ 961215 w 3905665"/>
              <a:gd name="connsiteY273" fmla="*/ 2902307 h 3403632"/>
              <a:gd name="connsiteX274" fmla="*/ 967385 w 3905665"/>
              <a:gd name="connsiteY274" fmla="*/ 2896137 h 3403632"/>
              <a:gd name="connsiteX275" fmla="*/ 1301595 w 3905665"/>
              <a:gd name="connsiteY275" fmla="*/ 2886510 h 3403632"/>
              <a:gd name="connsiteX276" fmla="*/ 1309986 w 3905665"/>
              <a:gd name="connsiteY276" fmla="*/ 2894901 h 3403632"/>
              <a:gd name="connsiteX277" fmla="*/ 1301595 w 3905665"/>
              <a:gd name="connsiteY277" fmla="*/ 2903295 h 3403632"/>
              <a:gd name="connsiteX278" fmla="*/ 1293201 w 3905665"/>
              <a:gd name="connsiteY278" fmla="*/ 2894901 h 3403632"/>
              <a:gd name="connsiteX279" fmla="*/ 1301595 w 3905665"/>
              <a:gd name="connsiteY279" fmla="*/ 2886510 h 3403632"/>
              <a:gd name="connsiteX280" fmla="*/ 630946 w 3905665"/>
              <a:gd name="connsiteY280" fmla="*/ 2877626 h 3403632"/>
              <a:gd name="connsiteX281" fmla="*/ 635391 w 3905665"/>
              <a:gd name="connsiteY281" fmla="*/ 2881822 h 3403632"/>
              <a:gd name="connsiteX282" fmla="*/ 630946 w 3905665"/>
              <a:gd name="connsiteY282" fmla="*/ 2886017 h 3403632"/>
              <a:gd name="connsiteX283" fmla="*/ 626750 w 3905665"/>
              <a:gd name="connsiteY283" fmla="*/ 2881822 h 3403632"/>
              <a:gd name="connsiteX284" fmla="*/ 630946 w 3905665"/>
              <a:gd name="connsiteY284" fmla="*/ 2877626 h 3403632"/>
              <a:gd name="connsiteX285" fmla="*/ 1829091 w 3905665"/>
              <a:gd name="connsiteY285" fmla="*/ 2870961 h 3403632"/>
              <a:gd name="connsiteX286" fmla="*/ 1836491 w 3905665"/>
              <a:gd name="connsiteY286" fmla="*/ 2878367 h 3403632"/>
              <a:gd name="connsiteX287" fmla="*/ 1829091 w 3905665"/>
              <a:gd name="connsiteY287" fmla="*/ 2885771 h 3403632"/>
              <a:gd name="connsiteX288" fmla="*/ 1821682 w 3905665"/>
              <a:gd name="connsiteY288" fmla="*/ 2878367 h 3403632"/>
              <a:gd name="connsiteX289" fmla="*/ 1829091 w 3905665"/>
              <a:gd name="connsiteY289" fmla="*/ 2870961 h 3403632"/>
              <a:gd name="connsiteX290" fmla="*/ 1620517 w 3905665"/>
              <a:gd name="connsiteY290" fmla="*/ 2862075 h 3403632"/>
              <a:gd name="connsiteX291" fmla="*/ 1625454 w 3905665"/>
              <a:gd name="connsiteY291" fmla="*/ 2867012 h 3403632"/>
              <a:gd name="connsiteX292" fmla="*/ 1620517 w 3905665"/>
              <a:gd name="connsiteY292" fmla="*/ 2871949 h 3403632"/>
              <a:gd name="connsiteX293" fmla="*/ 1615580 w 3905665"/>
              <a:gd name="connsiteY293" fmla="*/ 2867012 h 3403632"/>
              <a:gd name="connsiteX294" fmla="*/ 1620517 w 3905665"/>
              <a:gd name="connsiteY294" fmla="*/ 2862075 h 3403632"/>
              <a:gd name="connsiteX295" fmla="*/ 1077215 w 3905665"/>
              <a:gd name="connsiteY295" fmla="*/ 2858372 h 3403632"/>
              <a:gd name="connsiteX296" fmla="*/ 1083879 w 3905665"/>
              <a:gd name="connsiteY296" fmla="*/ 2865038 h 3403632"/>
              <a:gd name="connsiteX297" fmla="*/ 1077215 w 3905665"/>
              <a:gd name="connsiteY297" fmla="*/ 2871454 h 3403632"/>
              <a:gd name="connsiteX298" fmla="*/ 1070550 w 3905665"/>
              <a:gd name="connsiteY298" fmla="*/ 2865038 h 3403632"/>
              <a:gd name="connsiteX299" fmla="*/ 1077215 w 3905665"/>
              <a:gd name="connsiteY299" fmla="*/ 2858372 h 3403632"/>
              <a:gd name="connsiteX300" fmla="*/ 56804 w 3905665"/>
              <a:gd name="connsiteY300" fmla="*/ 2852943 h 3403632"/>
              <a:gd name="connsiteX301" fmla="*/ 60014 w 3905665"/>
              <a:gd name="connsiteY301" fmla="*/ 2856152 h 3403632"/>
              <a:gd name="connsiteX302" fmla="*/ 56804 w 3905665"/>
              <a:gd name="connsiteY302" fmla="*/ 2859609 h 3403632"/>
              <a:gd name="connsiteX303" fmla="*/ 53349 w 3905665"/>
              <a:gd name="connsiteY303" fmla="*/ 2856152 h 3403632"/>
              <a:gd name="connsiteX304" fmla="*/ 56804 w 3905665"/>
              <a:gd name="connsiteY304" fmla="*/ 2852943 h 3403632"/>
              <a:gd name="connsiteX305" fmla="*/ 743749 w 3905665"/>
              <a:gd name="connsiteY305" fmla="*/ 2849732 h 3403632"/>
              <a:gd name="connsiteX306" fmla="*/ 748193 w 3905665"/>
              <a:gd name="connsiteY306" fmla="*/ 2854174 h 3403632"/>
              <a:gd name="connsiteX307" fmla="*/ 743749 w 3905665"/>
              <a:gd name="connsiteY307" fmla="*/ 2858618 h 3403632"/>
              <a:gd name="connsiteX308" fmla="*/ 739307 w 3905665"/>
              <a:gd name="connsiteY308" fmla="*/ 2854174 h 3403632"/>
              <a:gd name="connsiteX309" fmla="*/ 743749 w 3905665"/>
              <a:gd name="connsiteY309" fmla="*/ 2849732 h 3403632"/>
              <a:gd name="connsiteX310" fmla="*/ 172570 w 3905665"/>
              <a:gd name="connsiteY310" fmla="*/ 2843067 h 3403632"/>
              <a:gd name="connsiteX311" fmla="*/ 176027 w 3905665"/>
              <a:gd name="connsiteY311" fmla="*/ 2846524 h 3403632"/>
              <a:gd name="connsiteX312" fmla="*/ 172570 w 3905665"/>
              <a:gd name="connsiteY312" fmla="*/ 2849979 h 3403632"/>
              <a:gd name="connsiteX313" fmla="*/ 169115 w 3905665"/>
              <a:gd name="connsiteY313" fmla="*/ 2846524 h 3403632"/>
              <a:gd name="connsiteX314" fmla="*/ 172570 w 3905665"/>
              <a:gd name="connsiteY314" fmla="*/ 2843067 h 3403632"/>
              <a:gd name="connsiteX315" fmla="*/ 1408477 w 3905665"/>
              <a:gd name="connsiteY315" fmla="*/ 2839612 h 3403632"/>
              <a:gd name="connsiteX316" fmla="*/ 1417363 w 3905665"/>
              <a:gd name="connsiteY316" fmla="*/ 2848498 h 3403632"/>
              <a:gd name="connsiteX317" fmla="*/ 1408477 w 3905665"/>
              <a:gd name="connsiteY317" fmla="*/ 2857384 h 3403632"/>
              <a:gd name="connsiteX318" fmla="*/ 1399591 w 3905665"/>
              <a:gd name="connsiteY318" fmla="*/ 2848498 h 3403632"/>
              <a:gd name="connsiteX319" fmla="*/ 1408477 w 3905665"/>
              <a:gd name="connsiteY319" fmla="*/ 2839612 h 3403632"/>
              <a:gd name="connsiteX320" fmla="*/ 288088 w 3905665"/>
              <a:gd name="connsiteY320" fmla="*/ 2829739 h 3403632"/>
              <a:gd name="connsiteX321" fmla="*/ 291545 w 3905665"/>
              <a:gd name="connsiteY321" fmla="*/ 2833194 h 3403632"/>
              <a:gd name="connsiteX322" fmla="*/ 288088 w 3905665"/>
              <a:gd name="connsiteY322" fmla="*/ 2836651 h 3403632"/>
              <a:gd name="connsiteX323" fmla="*/ 284633 w 3905665"/>
              <a:gd name="connsiteY323" fmla="*/ 2833194 h 3403632"/>
              <a:gd name="connsiteX324" fmla="*/ 288088 w 3905665"/>
              <a:gd name="connsiteY324" fmla="*/ 2829739 h 3403632"/>
              <a:gd name="connsiteX325" fmla="*/ 855566 w 3905665"/>
              <a:gd name="connsiteY325" fmla="*/ 2818383 h 3403632"/>
              <a:gd name="connsiteX326" fmla="*/ 860008 w 3905665"/>
              <a:gd name="connsiteY326" fmla="*/ 2822827 h 3403632"/>
              <a:gd name="connsiteX327" fmla="*/ 855566 w 3905665"/>
              <a:gd name="connsiteY327" fmla="*/ 2827515 h 3403632"/>
              <a:gd name="connsiteX328" fmla="*/ 850876 w 3905665"/>
              <a:gd name="connsiteY328" fmla="*/ 2822827 h 3403632"/>
              <a:gd name="connsiteX329" fmla="*/ 855566 w 3905665"/>
              <a:gd name="connsiteY329" fmla="*/ 2818383 h 3403632"/>
              <a:gd name="connsiteX330" fmla="*/ 1185825 w 3905665"/>
              <a:gd name="connsiteY330" fmla="*/ 2817399 h 3403632"/>
              <a:gd name="connsiteX331" fmla="*/ 1192737 w 3905665"/>
              <a:gd name="connsiteY331" fmla="*/ 2824310 h 3403632"/>
              <a:gd name="connsiteX332" fmla="*/ 1185825 w 3905665"/>
              <a:gd name="connsiteY332" fmla="*/ 2831222 h 3403632"/>
              <a:gd name="connsiteX333" fmla="*/ 1178914 w 3905665"/>
              <a:gd name="connsiteY333" fmla="*/ 2824310 h 3403632"/>
              <a:gd name="connsiteX334" fmla="*/ 1185825 w 3905665"/>
              <a:gd name="connsiteY334" fmla="*/ 2817399 h 3403632"/>
              <a:gd name="connsiteX335" fmla="*/ 402864 w 3905665"/>
              <a:gd name="connsiteY335" fmla="*/ 2812459 h 3403632"/>
              <a:gd name="connsiteX336" fmla="*/ 406321 w 3905665"/>
              <a:gd name="connsiteY336" fmla="*/ 2815916 h 3403632"/>
              <a:gd name="connsiteX337" fmla="*/ 402864 w 3905665"/>
              <a:gd name="connsiteY337" fmla="*/ 2819371 h 3403632"/>
              <a:gd name="connsiteX338" fmla="*/ 399409 w 3905665"/>
              <a:gd name="connsiteY338" fmla="*/ 2815916 h 3403632"/>
              <a:gd name="connsiteX339" fmla="*/ 402864 w 3905665"/>
              <a:gd name="connsiteY339" fmla="*/ 2812459 h 3403632"/>
              <a:gd name="connsiteX340" fmla="*/ 1929299 w 3905665"/>
              <a:gd name="connsiteY340" fmla="*/ 2811967 h 3403632"/>
              <a:gd name="connsiteX341" fmla="*/ 1936943 w 3905665"/>
              <a:gd name="connsiteY341" fmla="*/ 2819619 h 3403632"/>
              <a:gd name="connsiteX342" fmla="*/ 1929299 w 3905665"/>
              <a:gd name="connsiteY342" fmla="*/ 2827269 h 3403632"/>
              <a:gd name="connsiteX343" fmla="*/ 1921652 w 3905665"/>
              <a:gd name="connsiteY343" fmla="*/ 2819619 h 3403632"/>
              <a:gd name="connsiteX344" fmla="*/ 1929299 w 3905665"/>
              <a:gd name="connsiteY344" fmla="*/ 2811967 h 3403632"/>
              <a:gd name="connsiteX345" fmla="*/ 1723447 w 3905665"/>
              <a:gd name="connsiteY345" fmla="*/ 2807771 h 3403632"/>
              <a:gd name="connsiteX346" fmla="*/ 1728381 w 3905665"/>
              <a:gd name="connsiteY346" fmla="*/ 2812708 h 3403632"/>
              <a:gd name="connsiteX347" fmla="*/ 1723447 w 3905665"/>
              <a:gd name="connsiteY347" fmla="*/ 2817645 h 3403632"/>
              <a:gd name="connsiteX348" fmla="*/ 1718509 w 3905665"/>
              <a:gd name="connsiteY348" fmla="*/ 2812708 h 3403632"/>
              <a:gd name="connsiteX349" fmla="*/ 1723447 w 3905665"/>
              <a:gd name="connsiteY349" fmla="*/ 2807771 h 3403632"/>
              <a:gd name="connsiteX350" fmla="*/ 517148 w 3905665"/>
              <a:gd name="connsiteY350" fmla="*/ 2791728 h 3403632"/>
              <a:gd name="connsiteX351" fmla="*/ 520605 w 3905665"/>
              <a:gd name="connsiteY351" fmla="*/ 2795185 h 3403632"/>
              <a:gd name="connsiteX352" fmla="*/ 517148 w 3905665"/>
              <a:gd name="connsiteY352" fmla="*/ 2798640 h 3403632"/>
              <a:gd name="connsiteX353" fmla="*/ 513693 w 3905665"/>
              <a:gd name="connsiteY353" fmla="*/ 2795185 h 3403632"/>
              <a:gd name="connsiteX354" fmla="*/ 517148 w 3905665"/>
              <a:gd name="connsiteY354" fmla="*/ 2791728 h 3403632"/>
              <a:gd name="connsiteX355" fmla="*/ 1513876 w 3905665"/>
              <a:gd name="connsiteY355" fmla="*/ 2789999 h 3403632"/>
              <a:gd name="connsiteX356" fmla="*/ 1523011 w 3905665"/>
              <a:gd name="connsiteY356" fmla="*/ 2799131 h 3403632"/>
              <a:gd name="connsiteX357" fmla="*/ 1513876 w 3905665"/>
              <a:gd name="connsiteY357" fmla="*/ 2808266 h 3403632"/>
              <a:gd name="connsiteX358" fmla="*/ 1504743 w 3905665"/>
              <a:gd name="connsiteY358" fmla="*/ 2799131 h 3403632"/>
              <a:gd name="connsiteX359" fmla="*/ 1513876 w 3905665"/>
              <a:gd name="connsiteY359" fmla="*/ 2789999 h 3403632"/>
              <a:gd name="connsiteX360" fmla="*/ 966395 w 3905665"/>
              <a:gd name="connsiteY360" fmla="*/ 2783580 h 3403632"/>
              <a:gd name="connsiteX361" fmla="*/ 971085 w 3905665"/>
              <a:gd name="connsiteY361" fmla="*/ 2788268 h 3403632"/>
              <a:gd name="connsiteX362" fmla="*/ 966395 w 3905665"/>
              <a:gd name="connsiteY362" fmla="*/ 2792958 h 3403632"/>
              <a:gd name="connsiteX363" fmla="*/ 961704 w 3905665"/>
              <a:gd name="connsiteY363" fmla="*/ 2788268 h 3403632"/>
              <a:gd name="connsiteX364" fmla="*/ 966395 w 3905665"/>
              <a:gd name="connsiteY364" fmla="*/ 2783580 h 3403632"/>
              <a:gd name="connsiteX365" fmla="*/ 1293199 w 3905665"/>
              <a:gd name="connsiteY365" fmla="*/ 2773215 h 3403632"/>
              <a:gd name="connsiteX366" fmla="*/ 1300359 w 3905665"/>
              <a:gd name="connsiteY366" fmla="*/ 2780373 h 3403632"/>
              <a:gd name="connsiteX367" fmla="*/ 1293199 w 3905665"/>
              <a:gd name="connsiteY367" fmla="*/ 2787530 h 3403632"/>
              <a:gd name="connsiteX368" fmla="*/ 1286042 w 3905665"/>
              <a:gd name="connsiteY368" fmla="*/ 2780373 h 3403632"/>
              <a:gd name="connsiteX369" fmla="*/ 1293199 w 3905665"/>
              <a:gd name="connsiteY369" fmla="*/ 2773215 h 3403632"/>
              <a:gd name="connsiteX370" fmla="*/ 630697 w 3905665"/>
              <a:gd name="connsiteY370" fmla="*/ 2767044 h 3403632"/>
              <a:gd name="connsiteX371" fmla="*/ 634156 w 3905665"/>
              <a:gd name="connsiteY371" fmla="*/ 2770501 h 3403632"/>
              <a:gd name="connsiteX372" fmla="*/ 630697 w 3905665"/>
              <a:gd name="connsiteY372" fmla="*/ 2773956 h 3403632"/>
              <a:gd name="connsiteX373" fmla="*/ 627243 w 3905665"/>
              <a:gd name="connsiteY373" fmla="*/ 2770501 h 3403632"/>
              <a:gd name="connsiteX374" fmla="*/ 630697 w 3905665"/>
              <a:gd name="connsiteY374" fmla="*/ 2767044 h 3403632"/>
              <a:gd name="connsiteX375" fmla="*/ 1824888 w 3905665"/>
              <a:gd name="connsiteY375" fmla="*/ 2750260 h 3403632"/>
              <a:gd name="connsiteX376" fmla="*/ 1830073 w 3905665"/>
              <a:gd name="connsiteY376" fmla="*/ 2755443 h 3403632"/>
              <a:gd name="connsiteX377" fmla="*/ 1824888 w 3905665"/>
              <a:gd name="connsiteY377" fmla="*/ 2760626 h 3403632"/>
              <a:gd name="connsiteX378" fmla="*/ 1819690 w 3905665"/>
              <a:gd name="connsiteY378" fmla="*/ 2755443 h 3403632"/>
              <a:gd name="connsiteX379" fmla="*/ 1824888 w 3905665"/>
              <a:gd name="connsiteY379" fmla="*/ 2750260 h 3403632"/>
              <a:gd name="connsiteX380" fmla="*/ 2027996 w 3905665"/>
              <a:gd name="connsiteY380" fmla="*/ 2749518 h 3403632"/>
              <a:gd name="connsiteX381" fmla="*/ 2036387 w 3905665"/>
              <a:gd name="connsiteY381" fmla="*/ 2757909 h 3403632"/>
              <a:gd name="connsiteX382" fmla="*/ 2027996 w 3905665"/>
              <a:gd name="connsiteY382" fmla="*/ 2766303 h 3403632"/>
              <a:gd name="connsiteX383" fmla="*/ 2019602 w 3905665"/>
              <a:gd name="connsiteY383" fmla="*/ 2757909 h 3403632"/>
              <a:gd name="connsiteX384" fmla="*/ 2027996 w 3905665"/>
              <a:gd name="connsiteY384" fmla="*/ 2749518 h 3403632"/>
              <a:gd name="connsiteX385" fmla="*/ 1075977 w 3905665"/>
              <a:gd name="connsiteY385" fmla="*/ 2745074 h 3403632"/>
              <a:gd name="connsiteX386" fmla="*/ 1080914 w 3905665"/>
              <a:gd name="connsiteY386" fmla="*/ 2750011 h 3403632"/>
              <a:gd name="connsiteX387" fmla="*/ 1075977 w 3905665"/>
              <a:gd name="connsiteY387" fmla="*/ 2754947 h 3403632"/>
              <a:gd name="connsiteX388" fmla="*/ 1071040 w 3905665"/>
              <a:gd name="connsiteY388" fmla="*/ 2750011 h 3403632"/>
              <a:gd name="connsiteX389" fmla="*/ 1075977 w 3905665"/>
              <a:gd name="connsiteY389" fmla="*/ 2745074 h 3403632"/>
              <a:gd name="connsiteX390" fmla="*/ 56804 w 3905665"/>
              <a:gd name="connsiteY390" fmla="*/ 2744333 h 3403632"/>
              <a:gd name="connsiteX391" fmla="*/ 59765 w 3905665"/>
              <a:gd name="connsiteY391" fmla="*/ 2747295 h 3403632"/>
              <a:gd name="connsiteX392" fmla="*/ 56804 w 3905665"/>
              <a:gd name="connsiteY392" fmla="*/ 2750257 h 3403632"/>
              <a:gd name="connsiteX393" fmla="*/ 54088 w 3905665"/>
              <a:gd name="connsiteY393" fmla="*/ 2747295 h 3403632"/>
              <a:gd name="connsiteX394" fmla="*/ 56804 w 3905665"/>
              <a:gd name="connsiteY394" fmla="*/ 2744333 h 3403632"/>
              <a:gd name="connsiteX395" fmla="*/ 743255 w 3905665"/>
              <a:gd name="connsiteY395" fmla="*/ 2738409 h 3403632"/>
              <a:gd name="connsiteX396" fmla="*/ 746711 w 3905665"/>
              <a:gd name="connsiteY396" fmla="*/ 2741866 h 3403632"/>
              <a:gd name="connsiteX397" fmla="*/ 743255 w 3905665"/>
              <a:gd name="connsiteY397" fmla="*/ 2745321 h 3403632"/>
              <a:gd name="connsiteX398" fmla="*/ 739799 w 3905665"/>
              <a:gd name="connsiteY398" fmla="*/ 2741866 h 3403632"/>
              <a:gd name="connsiteX399" fmla="*/ 743255 w 3905665"/>
              <a:gd name="connsiteY399" fmla="*/ 2738409 h 3403632"/>
              <a:gd name="connsiteX400" fmla="*/ 1617798 w 3905665"/>
              <a:gd name="connsiteY400" fmla="*/ 2736683 h 3403632"/>
              <a:gd name="connsiteX401" fmla="*/ 1627423 w 3905665"/>
              <a:gd name="connsiteY401" fmla="*/ 2746310 h 3403632"/>
              <a:gd name="connsiteX402" fmla="*/ 1617798 w 3905665"/>
              <a:gd name="connsiteY402" fmla="*/ 2755935 h 3403632"/>
              <a:gd name="connsiteX403" fmla="*/ 1608170 w 3905665"/>
              <a:gd name="connsiteY403" fmla="*/ 2746310 h 3403632"/>
              <a:gd name="connsiteX404" fmla="*/ 1617798 w 3905665"/>
              <a:gd name="connsiteY404" fmla="*/ 2736683 h 3403632"/>
              <a:gd name="connsiteX405" fmla="*/ 172570 w 3905665"/>
              <a:gd name="connsiteY405" fmla="*/ 2734708 h 3403632"/>
              <a:gd name="connsiteX406" fmla="*/ 175283 w 3905665"/>
              <a:gd name="connsiteY406" fmla="*/ 2737424 h 3403632"/>
              <a:gd name="connsiteX407" fmla="*/ 172570 w 3905665"/>
              <a:gd name="connsiteY407" fmla="*/ 2740140 h 3403632"/>
              <a:gd name="connsiteX408" fmla="*/ 170100 w 3905665"/>
              <a:gd name="connsiteY408" fmla="*/ 2737424 h 3403632"/>
              <a:gd name="connsiteX409" fmla="*/ 172570 w 3905665"/>
              <a:gd name="connsiteY409" fmla="*/ 2734708 h 3403632"/>
              <a:gd name="connsiteX410" fmla="*/ 1399096 w 3905665"/>
              <a:gd name="connsiteY410" fmla="*/ 2726068 h 3403632"/>
              <a:gd name="connsiteX411" fmla="*/ 1406499 w 3905665"/>
              <a:gd name="connsiteY411" fmla="*/ 2733474 h 3403632"/>
              <a:gd name="connsiteX412" fmla="*/ 1399096 w 3905665"/>
              <a:gd name="connsiteY412" fmla="*/ 2740878 h 3403632"/>
              <a:gd name="connsiteX413" fmla="*/ 1391689 w 3905665"/>
              <a:gd name="connsiteY413" fmla="*/ 2733474 h 3403632"/>
              <a:gd name="connsiteX414" fmla="*/ 1399096 w 3905665"/>
              <a:gd name="connsiteY414" fmla="*/ 2726068 h 3403632"/>
              <a:gd name="connsiteX415" fmla="*/ 288088 w 3905665"/>
              <a:gd name="connsiteY415" fmla="*/ 2721132 h 3403632"/>
              <a:gd name="connsiteX416" fmla="*/ 290555 w 3905665"/>
              <a:gd name="connsiteY416" fmla="*/ 2723599 h 3403632"/>
              <a:gd name="connsiteX417" fmla="*/ 288088 w 3905665"/>
              <a:gd name="connsiteY417" fmla="*/ 2726069 h 3403632"/>
              <a:gd name="connsiteX418" fmla="*/ 285618 w 3905665"/>
              <a:gd name="connsiteY418" fmla="*/ 2723599 h 3403632"/>
              <a:gd name="connsiteX419" fmla="*/ 288088 w 3905665"/>
              <a:gd name="connsiteY419" fmla="*/ 2721132 h 3403632"/>
              <a:gd name="connsiteX420" fmla="*/ 855068 w 3905665"/>
              <a:gd name="connsiteY420" fmla="*/ 2706322 h 3403632"/>
              <a:gd name="connsiteX421" fmla="*/ 858526 w 3905665"/>
              <a:gd name="connsiteY421" fmla="*/ 2709777 h 3403632"/>
              <a:gd name="connsiteX422" fmla="*/ 855068 w 3905665"/>
              <a:gd name="connsiteY422" fmla="*/ 2713234 h 3403632"/>
              <a:gd name="connsiteX423" fmla="*/ 851614 w 3905665"/>
              <a:gd name="connsiteY423" fmla="*/ 2709777 h 3403632"/>
              <a:gd name="connsiteX424" fmla="*/ 855068 w 3905665"/>
              <a:gd name="connsiteY424" fmla="*/ 2706322 h 3403632"/>
              <a:gd name="connsiteX425" fmla="*/ 403108 w 3905665"/>
              <a:gd name="connsiteY425" fmla="*/ 2703606 h 3403632"/>
              <a:gd name="connsiteX426" fmla="*/ 405332 w 3905665"/>
              <a:gd name="connsiteY426" fmla="*/ 2705827 h 3403632"/>
              <a:gd name="connsiteX427" fmla="*/ 403108 w 3905665"/>
              <a:gd name="connsiteY427" fmla="*/ 2708048 h 3403632"/>
              <a:gd name="connsiteX428" fmla="*/ 400887 w 3905665"/>
              <a:gd name="connsiteY428" fmla="*/ 2705827 h 3403632"/>
              <a:gd name="connsiteX429" fmla="*/ 403108 w 3905665"/>
              <a:gd name="connsiteY429" fmla="*/ 2703606 h 3403632"/>
              <a:gd name="connsiteX430" fmla="*/ 1184341 w 3905665"/>
              <a:gd name="connsiteY430" fmla="*/ 2703360 h 3403632"/>
              <a:gd name="connsiteX431" fmla="*/ 1189278 w 3905665"/>
              <a:gd name="connsiteY431" fmla="*/ 2708297 h 3403632"/>
              <a:gd name="connsiteX432" fmla="*/ 1184341 w 3905665"/>
              <a:gd name="connsiteY432" fmla="*/ 2713234 h 3403632"/>
              <a:gd name="connsiteX433" fmla="*/ 1179404 w 3905665"/>
              <a:gd name="connsiteY433" fmla="*/ 2708297 h 3403632"/>
              <a:gd name="connsiteX434" fmla="*/ 1184341 w 3905665"/>
              <a:gd name="connsiteY434" fmla="*/ 2703360 h 3403632"/>
              <a:gd name="connsiteX435" fmla="*/ 1924364 w 3905665"/>
              <a:gd name="connsiteY435" fmla="*/ 2689783 h 3403632"/>
              <a:gd name="connsiteX436" fmla="*/ 1930034 w 3905665"/>
              <a:gd name="connsiteY436" fmla="*/ 2695215 h 3403632"/>
              <a:gd name="connsiteX437" fmla="*/ 1924364 w 3905665"/>
              <a:gd name="connsiteY437" fmla="*/ 2700644 h 3403632"/>
              <a:gd name="connsiteX438" fmla="*/ 1918936 w 3905665"/>
              <a:gd name="connsiteY438" fmla="*/ 2695215 h 3403632"/>
              <a:gd name="connsiteX439" fmla="*/ 1924364 w 3905665"/>
              <a:gd name="connsiteY439" fmla="*/ 2689783 h 3403632"/>
              <a:gd name="connsiteX440" fmla="*/ 2125001 w 3905665"/>
              <a:gd name="connsiteY440" fmla="*/ 2684600 h 3403632"/>
              <a:gd name="connsiteX441" fmla="*/ 2134133 w 3905665"/>
              <a:gd name="connsiteY441" fmla="*/ 2693732 h 3403632"/>
              <a:gd name="connsiteX442" fmla="*/ 2125001 w 3905665"/>
              <a:gd name="connsiteY442" fmla="*/ 2702864 h 3403632"/>
              <a:gd name="connsiteX443" fmla="*/ 2115869 w 3905665"/>
              <a:gd name="connsiteY443" fmla="*/ 2693732 h 3403632"/>
              <a:gd name="connsiteX444" fmla="*/ 2125001 w 3905665"/>
              <a:gd name="connsiteY444" fmla="*/ 2684600 h 3403632"/>
              <a:gd name="connsiteX445" fmla="*/ 517146 w 3905665"/>
              <a:gd name="connsiteY445" fmla="*/ 2682379 h 3403632"/>
              <a:gd name="connsiteX446" fmla="*/ 519120 w 3905665"/>
              <a:gd name="connsiteY446" fmla="*/ 2684354 h 3403632"/>
              <a:gd name="connsiteX447" fmla="*/ 517146 w 3905665"/>
              <a:gd name="connsiteY447" fmla="*/ 2686328 h 3403632"/>
              <a:gd name="connsiteX448" fmla="*/ 515172 w 3905665"/>
              <a:gd name="connsiteY448" fmla="*/ 2684354 h 3403632"/>
              <a:gd name="connsiteX449" fmla="*/ 517146 w 3905665"/>
              <a:gd name="connsiteY449" fmla="*/ 2682379 h 3403632"/>
              <a:gd name="connsiteX450" fmla="*/ 1719988 w 3905665"/>
              <a:gd name="connsiteY450" fmla="*/ 2680405 h 3403632"/>
              <a:gd name="connsiteX451" fmla="*/ 1730110 w 3905665"/>
              <a:gd name="connsiteY451" fmla="*/ 2690525 h 3403632"/>
              <a:gd name="connsiteX452" fmla="*/ 1719988 w 3905665"/>
              <a:gd name="connsiteY452" fmla="*/ 2700398 h 3403632"/>
              <a:gd name="connsiteX453" fmla="*/ 1710116 w 3905665"/>
              <a:gd name="connsiteY453" fmla="*/ 2690525 h 3403632"/>
              <a:gd name="connsiteX454" fmla="*/ 1719988 w 3905665"/>
              <a:gd name="connsiteY454" fmla="*/ 2680405 h 3403632"/>
              <a:gd name="connsiteX455" fmla="*/ 1503507 w 3905665"/>
              <a:gd name="connsiteY455" fmla="*/ 2675219 h 3403632"/>
              <a:gd name="connsiteX456" fmla="*/ 1511157 w 3905665"/>
              <a:gd name="connsiteY456" fmla="*/ 2682871 h 3403632"/>
              <a:gd name="connsiteX457" fmla="*/ 1503507 w 3905665"/>
              <a:gd name="connsiteY457" fmla="*/ 2690521 h 3403632"/>
              <a:gd name="connsiteX458" fmla="*/ 1495855 w 3905665"/>
              <a:gd name="connsiteY458" fmla="*/ 2682871 h 3403632"/>
              <a:gd name="connsiteX459" fmla="*/ 1503507 w 3905665"/>
              <a:gd name="connsiteY459" fmla="*/ 2675219 h 3403632"/>
              <a:gd name="connsiteX460" fmla="*/ 965405 w 3905665"/>
              <a:gd name="connsiteY460" fmla="*/ 2670531 h 3403632"/>
              <a:gd name="connsiteX461" fmla="*/ 968862 w 3905665"/>
              <a:gd name="connsiteY461" fmla="*/ 2673988 h 3403632"/>
              <a:gd name="connsiteX462" fmla="*/ 965405 w 3905665"/>
              <a:gd name="connsiteY462" fmla="*/ 2677443 h 3403632"/>
              <a:gd name="connsiteX463" fmla="*/ 961951 w 3905665"/>
              <a:gd name="connsiteY463" fmla="*/ 2673988 h 3403632"/>
              <a:gd name="connsiteX464" fmla="*/ 965405 w 3905665"/>
              <a:gd name="connsiteY464" fmla="*/ 2670531 h 3403632"/>
              <a:gd name="connsiteX465" fmla="*/ 1291222 w 3905665"/>
              <a:gd name="connsiteY465" fmla="*/ 2657942 h 3403632"/>
              <a:gd name="connsiteX466" fmla="*/ 1296406 w 3905665"/>
              <a:gd name="connsiteY466" fmla="*/ 2663125 h 3403632"/>
              <a:gd name="connsiteX467" fmla="*/ 1291222 w 3905665"/>
              <a:gd name="connsiteY467" fmla="*/ 2668311 h 3403632"/>
              <a:gd name="connsiteX468" fmla="*/ 1286039 w 3905665"/>
              <a:gd name="connsiteY468" fmla="*/ 2663125 h 3403632"/>
              <a:gd name="connsiteX469" fmla="*/ 1291222 w 3905665"/>
              <a:gd name="connsiteY469" fmla="*/ 2657942 h 3403632"/>
              <a:gd name="connsiteX470" fmla="*/ 630698 w 3905665"/>
              <a:gd name="connsiteY470" fmla="*/ 2656955 h 3403632"/>
              <a:gd name="connsiteX471" fmla="*/ 632424 w 3905665"/>
              <a:gd name="connsiteY471" fmla="*/ 2658683 h 3403632"/>
              <a:gd name="connsiteX472" fmla="*/ 630698 w 3905665"/>
              <a:gd name="connsiteY472" fmla="*/ 2660409 h 3403632"/>
              <a:gd name="connsiteX473" fmla="*/ 628969 w 3905665"/>
              <a:gd name="connsiteY473" fmla="*/ 2658683 h 3403632"/>
              <a:gd name="connsiteX474" fmla="*/ 630698 w 3905665"/>
              <a:gd name="connsiteY474" fmla="*/ 2656955 h 3403632"/>
              <a:gd name="connsiteX475" fmla="*/ 56060 w 3905665"/>
              <a:gd name="connsiteY475" fmla="*/ 2635974 h 3403632"/>
              <a:gd name="connsiteX476" fmla="*/ 58776 w 3905665"/>
              <a:gd name="connsiteY476" fmla="*/ 2638690 h 3403632"/>
              <a:gd name="connsiteX477" fmla="*/ 56060 w 3905665"/>
              <a:gd name="connsiteY477" fmla="*/ 2641406 h 3403632"/>
              <a:gd name="connsiteX478" fmla="*/ 53345 w 3905665"/>
              <a:gd name="connsiteY478" fmla="*/ 2638690 h 3403632"/>
              <a:gd name="connsiteX479" fmla="*/ 56060 w 3905665"/>
              <a:gd name="connsiteY479" fmla="*/ 2635974 h 3403632"/>
              <a:gd name="connsiteX480" fmla="*/ 1074743 w 3905665"/>
              <a:gd name="connsiteY480" fmla="*/ 2631038 h 3403632"/>
              <a:gd name="connsiteX481" fmla="*/ 1078197 w 3905665"/>
              <a:gd name="connsiteY481" fmla="*/ 2634495 h 3403632"/>
              <a:gd name="connsiteX482" fmla="*/ 1074743 w 3905665"/>
              <a:gd name="connsiteY482" fmla="*/ 2638196 h 3403632"/>
              <a:gd name="connsiteX483" fmla="*/ 1071039 w 3905665"/>
              <a:gd name="connsiteY483" fmla="*/ 2634495 h 3403632"/>
              <a:gd name="connsiteX484" fmla="*/ 1074743 w 3905665"/>
              <a:gd name="connsiteY484" fmla="*/ 2631038 h 3403632"/>
              <a:gd name="connsiteX485" fmla="*/ 743006 w 3905665"/>
              <a:gd name="connsiteY485" fmla="*/ 2628076 h 3403632"/>
              <a:gd name="connsiteX486" fmla="*/ 744487 w 3905665"/>
              <a:gd name="connsiteY486" fmla="*/ 2629556 h 3403632"/>
              <a:gd name="connsiteX487" fmla="*/ 743006 w 3905665"/>
              <a:gd name="connsiteY487" fmla="*/ 2631038 h 3403632"/>
              <a:gd name="connsiteX488" fmla="*/ 741522 w 3905665"/>
              <a:gd name="connsiteY488" fmla="*/ 2629556 h 3403632"/>
              <a:gd name="connsiteX489" fmla="*/ 743006 w 3905665"/>
              <a:gd name="connsiteY489" fmla="*/ 2628076 h 3403632"/>
              <a:gd name="connsiteX490" fmla="*/ 2022072 w 3905665"/>
              <a:gd name="connsiteY490" fmla="*/ 2626101 h 3403632"/>
              <a:gd name="connsiteX491" fmla="*/ 2027996 w 3905665"/>
              <a:gd name="connsiteY491" fmla="*/ 2632025 h 3403632"/>
              <a:gd name="connsiteX492" fmla="*/ 2022072 w 3905665"/>
              <a:gd name="connsiteY492" fmla="*/ 2637949 h 3403632"/>
              <a:gd name="connsiteX493" fmla="*/ 2016148 w 3905665"/>
              <a:gd name="connsiteY493" fmla="*/ 2632025 h 3403632"/>
              <a:gd name="connsiteX494" fmla="*/ 2022072 w 3905665"/>
              <a:gd name="connsiteY494" fmla="*/ 2626101 h 3403632"/>
              <a:gd name="connsiteX495" fmla="*/ 172070 w 3905665"/>
              <a:gd name="connsiteY495" fmla="*/ 2626101 h 3403632"/>
              <a:gd name="connsiteX496" fmla="*/ 174539 w 3905665"/>
              <a:gd name="connsiteY496" fmla="*/ 2628571 h 3403632"/>
              <a:gd name="connsiteX497" fmla="*/ 172070 w 3905665"/>
              <a:gd name="connsiteY497" fmla="*/ 2631038 h 3403632"/>
              <a:gd name="connsiteX498" fmla="*/ 169603 w 3905665"/>
              <a:gd name="connsiteY498" fmla="*/ 2628571 h 3403632"/>
              <a:gd name="connsiteX499" fmla="*/ 172070 w 3905665"/>
              <a:gd name="connsiteY499" fmla="*/ 2626101 h 3403632"/>
              <a:gd name="connsiteX500" fmla="*/ 1820442 w 3905665"/>
              <a:gd name="connsiteY500" fmla="*/ 2621411 h 3403632"/>
              <a:gd name="connsiteX501" fmla="*/ 1830813 w 3905665"/>
              <a:gd name="connsiteY501" fmla="*/ 2631777 h 3403632"/>
              <a:gd name="connsiteX502" fmla="*/ 1820442 w 3905665"/>
              <a:gd name="connsiteY502" fmla="*/ 2642146 h 3403632"/>
              <a:gd name="connsiteX503" fmla="*/ 1810081 w 3905665"/>
              <a:gd name="connsiteY503" fmla="*/ 2631777 h 3403632"/>
              <a:gd name="connsiteX504" fmla="*/ 1820442 w 3905665"/>
              <a:gd name="connsiteY504" fmla="*/ 2621411 h 3403632"/>
              <a:gd name="connsiteX505" fmla="*/ 1606442 w 3905665"/>
              <a:gd name="connsiteY505" fmla="*/ 2621164 h 3403632"/>
              <a:gd name="connsiteX506" fmla="*/ 1614588 w 3905665"/>
              <a:gd name="connsiteY506" fmla="*/ 2629309 h 3403632"/>
              <a:gd name="connsiteX507" fmla="*/ 1606442 w 3905665"/>
              <a:gd name="connsiteY507" fmla="*/ 2637208 h 3403632"/>
              <a:gd name="connsiteX508" fmla="*/ 1598543 w 3905665"/>
              <a:gd name="connsiteY508" fmla="*/ 2629309 h 3403632"/>
              <a:gd name="connsiteX509" fmla="*/ 1606442 w 3905665"/>
              <a:gd name="connsiteY509" fmla="*/ 2621164 h 3403632"/>
              <a:gd name="connsiteX510" fmla="*/ 2220032 w 3905665"/>
              <a:gd name="connsiteY510" fmla="*/ 2616228 h 3403632"/>
              <a:gd name="connsiteX511" fmla="*/ 2230154 w 3905665"/>
              <a:gd name="connsiteY511" fmla="*/ 2626348 h 3403632"/>
              <a:gd name="connsiteX512" fmla="*/ 2220032 w 3905665"/>
              <a:gd name="connsiteY512" fmla="*/ 2636467 h 3403632"/>
              <a:gd name="connsiteX513" fmla="*/ 2209912 w 3905665"/>
              <a:gd name="connsiteY513" fmla="*/ 2626348 h 3403632"/>
              <a:gd name="connsiteX514" fmla="*/ 2220032 w 3905665"/>
              <a:gd name="connsiteY514" fmla="*/ 2616228 h 3403632"/>
              <a:gd name="connsiteX515" fmla="*/ 287591 w 3905665"/>
              <a:gd name="connsiteY515" fmla="*/ 2612032 h 3403632"/>
              <a:gd name="connsiteX516" fmla="*/ 289812 w 3905665"/>
              <a:gd name="connsiteY516" fmla="*/ 2614253 h 3403632"/>
              <a:gd name="connsiteX517" fmla="*/ 287591 w 3905665"/>
              <a:gd name="connsiteY517" fmla="*/ 2616474 h 3403632"/>
              <a:gd name="connsiteX518" fmla="*/ 285370 w 3905665"/>
              <a:gd name="connsiteY518" fmla="*/ 2614253 h 3403632"/>
              <a:gd name="connsiteX519" fmla="*/ 287591 w 3905665"/>
              <a:gd name="connsiteY519" fmla="*/ 2612032 h 3403632"/>
              <a:gd name="connsiteX520" fmla="*/ 1396624 w 3905665"/>
              <a:gd name="connsiteY520" fmla="*/ 2609316 h 3403632"/>
              <a:gd name="connsiteX521" fmla="*/ 1402053 w 3905665"/>
              <a:gd name="connsiteY521" fmla="*/ 2614748 h 3403632"/>
              <a:gd name="connsiteX522" fmla="*/ 1396624 w 3905665"/>
              <a:gd name="connsiteY522" fmla="*/ 2619931 h 3403632"/>
              <a:gd name="connsiteX523" fmla="*/ 1391192 w 3905665"/>
              <a:gd name="connsiteY523" fmla="*/ 2614748 h 3403632"/>
              <a:gd name="connsiteX524" fmla="*/ 1396624 w 3905665"/>
              <a:gd name="connsiteY524" fmla="*/ 2609316 h 3403632"/>
              <a:gd name="connsiteX525" fmla="*/ 402367 w 3905665"/>
              <a:gd name="connsiteY525" fmla="*/ 2593765 h 3403632"/>
              <a:gd name="connsiteX526" fmla="*/ 404341 w 3905665"/>
              <a:gd name="connsiteY526" fmla="*/ 2595740 h 3403632"/>
              <a:gd name="connsiteX527" fmla="*/ 402367 w 3905665"/>
              <a:gd name="connsiteY527" fmla="*/ 2597714 h 3403632"/>
              <a:gd name="connsiteX528" fmla="*/ 400392 w 3905665"/>
              <a:gd name="connsiteY528" fmla="*/ 2595740 h 3403632"/>
              <a:gd name="connsiteX529" fmla="*/ 402367 w 3905665"/>
              <a:gd name="connsiteY529" fmla="*/ 2593765 h 3403632"/>
              <a:gd name="connsiteX530" fmla="*/ 854575 w 3905665"/>
              <a:gd name="connsiteY530" fmla="*/ 2592778 h 3403632"/>
              <a:gd name="connsiteX531" fmla="*/ 858032 w 3905665"/>
              <a:gd name="connsiteY531" fmla="*/ 2596233 h 3403632"/>
              <a:gd name="connsiteX532" fmla="*/ 854575 w 3905665"/>
              <a:gd name="connsiteY532" fmla="*/ 2599690 h 3403632"/>
              <a:gd name="connsiteX533" fmla="*/ 851120 w 3905665"/>
              <a:gd name="connsiteY533" fmla="*/ 2596233 h 3403632"/>
              <a:gd name="connsiteX534" fmla="*/ 854575 w 3905665"/>
              <a:gd name="connsiteY534" fmla="*/ 2592778 h 3403632"/>
              <a:gd name="connsiteX535" fmla="*/ 1182613 w 3905665"/>
              <a:gd name="connsiteY535" fmla="*/ 2588087 h 3403632"/>
              <a:gd name="connsiteX536" fmla="*/ 1186068 w 3905665"/>
              <a:gd name="connsiteY536" fmla="*/ 2591791 h 3403632"/>
              <a:gd name="connsiteX537" fmla="*/ 1182613 w 3905665"/>
              <a:gd name="connsiteY537" fmla="*/ 2595245 h 3403632"/>
              <a:gd name="connsiteX538" fmla="*/ 1178910 w 3905665"/>
              <a:gd name="connsiteY538" fmla="*/ 2591791 h 3403632"/>
              <a:gd name="connsiteX539" fmla="*/ 1182613 w 3905665"/>
              <a:gd name="connsiteY539" fmla="*/ 2588087 h 3403632"/>
              <a:gd name="connsiteX540" fmla="*/ 516652 w 3905665"/>
              <a:gd name="connsiteY540" fmla="*/ 2571798 h 3403632"/>
              <a:gd name="connsiteX541" fmla="*/ 518378 w 3905665"/>
              <a:gd name="connsiteY541" fmla="*/ 2573526 h 3403632"/>
              <a:gd name="connsiteX542" fmla="*/ 516652 w 3905665"/>
              <a:gd name="connsiteY542" fmla="*/ 2575255 h 3403632"/>
              <a:gd name="connsiteX543" fmla="*/ 514924 w 3905665"/>
              <a:gd name="connsiteY543" fmla="*/ 2573526 h 3403632"/>
              <a:gd name="connsiteX544" fmla="*/ 516652 w 3905665"/>
              <a:gd name="connsiteY544" fmla="*/ 2571798 h 3403632"/>
              <a:gd name="connsiteX545" fmla="*/ 1707644 w 3905665"/>
              <a:gd name="connsiteY545" fmla="*/ 2563899 h 3403632"/>
              <a:gd name="connsiteX546" fmla="*/ 1716037 w 3905665"/>
              <a:gd name="connsiteY546" fmla="*/ 2572290 h 3403632"/>
              <a:gd name="connsiteX547" fmla="*/ 1707644 w 3905665"/>
              <a:gd name="connsiteY547" fmla="*/ 2580684 h 3403632"/>
              <a:gd name="connsiteX548" fmla="*/ 1699253 w 3905665"/>
              <a:gd name="connsiteY548" fmla="*/ 2572290 h 3403632"/>
              <a:gd name="connsiteX549" fmla="*/ 1707644 w 3905665"/>
              <a:gd name="connsiteY549" fmla="*/ 2563899 h 3403632"/>
              <a:gd name="connsiteX550" fmla="*/ 2118090 w 3905665"/>
              <a:gd name="connsiteY550" fmla="*/ 2559703 h 3403632"/>
              <a:gd name="connsiteX551" fmla="*/ 2124507 w 3905665"/>
              <a:gd name="connsiteY551" fmla="*/ 2566120 h 3403632"/>
              <a:gd name="connsiteX552" fmla="*/ 2118090 w 3905665"/>
              <a:gd name="connsiteY552" fmla="*/ 2572539 h 3403632"/>
              <a:gd name="connsiteX553" fmla="*/ 2111671 w 3905665"/>
              <a:gd name="connsiteY553" fmla="*/ 2566120 h 3403632"/>
              <a:gd name="connsiteX554" fmla="*/ 2118090 w 3905665"/>
              <a:gd name="connsiteY554" fmla="*/ 2559703 h 3403632"/>
              <a:gd name="connsiteX555" fmla="*/ 1919180 w 3905665"/>
              <a:gd name="connsiteY555" fmla="*/ 2558713 h 3403632"/>
              <a:gd name="connsiteX556" fmla="*/ 1930281 w 3905665"/>
              <a:gd name="connsiteY556" fmla="*/ 2569820 h 3403632"/>
              <a:gd name="connsiteX557" fmla="*/ 1919180 w 3905665"/>
              <a:gd name="connsiteY557" fmla="*/ 2580927 h 3403632"/>
              <a:gd name="connsiteX558" fmla="*/ 1908080 w 3905665"/>
              <a:gd name="connsiteY558" fmla="*/ 2569820 h 3403632"/>
              <a:gd name="connsiteX559" fmla="*/ 1919180 w 3905665"/>
              <a:gd name="connsiteY559" fmla="*/ 2558713 h 3403632"/>
              <a:gd name="connsiteX560" fmla="*/ 1500545 w 3905665"/>
              <a:gd name="connsiteY560" fmla="*/ 2557234 h 3403632"/>
              <a:gd name="connsiteX561" fmla="*/ 1505975 w 3905665"/>
              <a:gd name="connsiteY561" fmla="*/ 2562666 h 3403632"/>
              <a:gd name="connsiteX562" fmla="*/ 1500545 w 3905665"/>
              <a:gd name="connsiteY562" fmla="*/ 2568095 h 3403632"/>
              <a:gd name="connsiteX563" fmla="*/ 1495113 w 3905665"/>
              <a:gd name="connsiteY563" fmla="*/ 2562666 h 3403632"/>
              <a:gd name="connsiteX564" fmla="*/ 1500545 w 3905665"/>
              <a:gd name="connsiteY564" fmla="*/ 2557234 h 3403632"/>
              <a:gd name="connsiteX565" fmla="*/ 964662 w 3905665"/>
              <a:gd name="connsiteY565" fmla="*/ 2556000 h 3403632"/>
              <a:gd name="connsiteX566" fmla="*/ 967869 w 3905665"/>
              <a:gd name="connsiteY566" fmla="*/ 2559208 h 3403632"/>
              <a:gd name="connsiteX567" fmla="*/ 964662 w 3905665"/>
              <a:gd name="connsiteY567" fmla="*/ 2562416 h 3403632"/>
              <a:gd name="connsiteX568" fmla="*/ 961453 w 3905665"/>
              <a:gd name="connsiteY568" fmla="*/ 2559208 h 3403632"/>
              <a:gd name="connsiteX569" fmla="*/ 964662 w 3905665"/>
              <a:gd name="connsiteY569" fmla="*/ 2556000 h 3403632"/>
              <a:gd name="connsiteX570" fmla="*/ 2313088 w 3905665"/>
              <a:gd name="connsiteY570" fmla="*/ 2545881 h 3403632"/>
              <a:gd name="connsiteX571" fmla="*/ 2323948 w 3905665"/>
              <a:gd name="connsiteY571" fmla="*/ 2556742 h 3403632"/>
              <a:gd name="connsiteX572" fmla="*/ 2313088 w 3905665"/>
              <a:gd name="connsiteY572" fmla="*/ 2567602 h 3403632"/>
              <a:gd name="connsiteX573" fmla="*/ 2302227 w 3905665"/>
              <a:gd name="connsiteY573" fmla="*/ 2556742 h 3403632"/>
              <a:gd name="connsiteX574" fmla="*/ 2313088 w 3905665"/>
              <a:gd name="connsiteY574" fmla="*/ 2545881 h 3403632"/>
              <a:gd name="connsiteX575" fmla="*/ 629951 w 3905665"/>
              <a:gd name="connsiteY575" fmla="*/ 2545632 h 3403632"/>
              <a:gd name="connsiteX576" fmla="*/ 631433 w 3905665"/>
              <a:gd name="connsiteY576" fmla="*/ 2547112 h 3403632"/>
              <a:gd name="connsiteX577" fmla="*/ 629951 w 3905665"/>
              <a:gd name="connsiteY577" fmla="*/ 2548594 h 3403632"/>
              <a:gd name="connsiteX578" fmla="*/ 628472 w 3905665"/>
              <a:gd name="connsiteY578" fmla="*/ 2547112 h 3403632"/>
              <a:gd name="connsiteX579" fmla="*/ 629951 w 3905665"/>
              <a:gd name="connsiteY579" fmla="*/ 2545632 h 3403632"/>
              <a:gd name="connsiteX580" fmla="*/ 1289000 w 3905665"/>
              <a:gd name="connsiteY580" fmla="*/ 2541190 h 3403632"/>
              <a:gd name="connsiteX581" fmla="*/ 1292703 w 3905665"/>
              <a:gd name="connsiteY581" fmla="*/ 2544893 h 3403632"/>
              <a:gd name="connsiteX582" fmla="*/ 1289000 w 3905665"/>
              <a:gd name="connsiteY582" fmla="*/ 2548594 h 3403632"/>
              <a:gd name="connsiteX583" fmla="*/ 1285296 w 3905665"/>
              <a:gd name="connsiteY583" fmla="*/ 2544893 h 3403632"/>
              <a:gd name="connsiteX584" fmla="*/ 1289000 w 3905665"/>
              <a:gd name="connsiteY584" fmla="*/ 2541190 h 3403632"/>
              <a:gd name="connsiteX585" fmla="*/ 56799 w 3905665"/>
              <a:gd name="connsiteY585" fmla="*/ 2526872 h 3403632"/>
              <a:gd name="connsiteX586" fmla="*/ 59761 w 3905665"/>
              <a:gd name="connsiteY586" fmla="*/ 2529834 h 3403632"/>
              <a:gd name="connsiteX587" fmla="*/ 56799 w 3905665"/>
              <a:gd name="connsiteY587" fmla="*/ 2532796 h 3403632"/>
              <a:gd name="connsiteX588" fmla="*/ 53838 w 3905665"/>
              <a:gd name="connsiteY588" fmla="*/ 2529834 h 3403632"/>
              <a:gd name="connsiteX589" fmla="*/ 56799 w 3905665"/>
              <a:gd name="connsiteY589" fmla="*/ 2526872 h 3403632"/>
              <a:gd name="connsiteX590" fmla="*/ 172812 w 3905665"/>
              <a:gd name="connsiteY590" fmla="*/ 2516507 h 3403632"/>
              <a:gd name="connsiteX591" fmla="*/ 175527 w 3905665"/>
              <a:gd name="connsiteY591" fmla="*/ 2519223 h 3403632"/>
              <a:gd name="connsiteX592" fmla="*/ 172812 w 3905665"/>
              <a:gd name="connsiteY592" fmla="*/ 2521939 h 3403632"/>
              <a:gd name="connsiteX593" fmla="*/ 170096 w 3905665"/>
              <a:gd name="connsiteY593" fmla="*/ 2519223 h 3403632"/>
              <a:gd name="connsiteX594" fmla="*/ 172812 w 3905665"/>
              <a:gd name="connsiteY594" fmla="*/ 2516507 h 3403632"/>
              <a:gd name="connsiteX595" fmla="*/ 1073753 w 3905665"/>
              <a:gd name="connsiteY595" fmla="*/ 2515765 h 3403632"/>
              <a:gd name="connsiteX596" fmla="*/ 1076715 w 3905665"/>
              <a:gd name="connsiteY596" fmla="*/ 2518727 h 3403632"/>
              <a:gd name="connsiteX597" fmla="*/ 1073753 w 3905665"/>
              <a:gd name="connsiteY597" fmla="*/ 2521689 h 3403632"/>
              <a:gd name="connsiteX598" fmla="*/ 1070792 w 3905665"/>
              <a:gd name="connsiteY598" fmla="*/ 2518727 h 3403632"/>
              <a:gd name="connsiteX599" fmla="*/ 1073753 w 3905665"/>
              <a:gd name="connsiteY599" fmla="*/ 2515765 h 3403632"/>
              <a:gd name="connsiteX600" fmla="*/ 742260 w 3905665"/>
              <a:gd name="connsiteY600" fmla="*/ 2513545 h 3403632"/>
              <a:gd name="connsiteX601" fmla="*/ 745471 w 3905665"/>
              <a:gd name="connsiteY601" fmla="*/ 2517000 h 3403632"/>
              <a:gd name="connsiteX602" fmla="*/ 742260 w 3905665"/>
              <a:gd name="connsiteY602" fmla="*/ 2520211 h 3403632"/>
              <a:gd name="connsiteX603" fmla="*/ 739053 w 3905665"/>
              <a:gd name="connsiteY603" fmla="*/ 2517000 h 3403632"/>
              <a:gd name="connsiteX604" fmla="*/ 742260 w 3905665"/>
              <a:gd name="connsiteY604" fmla="*/ 2513545 h 3403632"/>
              <a:gd name="connsiteX605" fmla="*/ 1806867 w 3905665"/>
              <a:gd name="connsiteY605" fmla="*/ 2503671 h 3403632"/>
              <a:gd name="connsiteX606" fmla="*/ 1815753 w 3905665"/>
              <a:gd name="connsiteY606" fmla="*/ 2512557 h 3403632"/>
              <a:gd name="connsiteX607" fmla="*/ 1806867 w 3905665"/>
              <a:gd name="connsiteY607" fmla="*/ 2521443 h 3403632"/>
              <a:gd name="connsiteX608" fmla="*/ 1797989 w 3905665"/>
              <a:gd name="connsiteY608" fmla="*/ 2512557 h 3403632"/>
              <a:gd name="connsiteX609" fmla="*/ 1806867 w 3905665"/>
              <a:gd name="connsiteY609" fmla="*/ 2503671 h 3403632"/>
              <a:gd name="connsiteX610" fmla="*/ 288330 w 3905665"/>
              <a:gd name="connsiteY610" fmla="*/ 2501943 h 3403632"/>
              <a:gd name="connsiteX611" fmla="*/ 290797 w 3905665"/>
              <a:gd name="connsiteY611" fmla="*/ 2504410 h 3403632"/>
              <a:gd name="connsiteX612" fmla="*/ 288330 w 3905665"/>
              <a:gd name="connsiteY612" fmla="*/ 2506880 h 3403632"/>
              <a:gd name="connsiteX613" fmla="*/ 285860 w 3905665"/>
              <a:gd name="connsiteY613" fmla="*/ 2504410 h 3403632"/>
              <a:gd name="connsiteX614" fmla="*/ 288330 w 3905665"/>
              <a:gd name="connsiteY614" fmla="*/ 2501943 h 3403632"/>
              <a:gd name="connsiteX615" fmla="*/ 1602490 w 3905665"/>
              <a:gd name="connsiteY615" fmla="*/ 2501696 h 3403632"/>
              <a:gd name="connsiteX616" fmla="*/ 1608168 w 3905665"/>
              <a:gd name="connsiteY616" fmla="*/ 2507374 h 3403632"/>
              <a:gd name="connsiteX617" fmla="*/ 1602490 w 3905665"/>
              <a:gd name="connsiteY617" fmla="*/ 2513049 h 3403632"/>
              <a:gd name="connsiteX618" fmla="*/ 1596812 w 3905665"/>
              <a:gd name="connsiteY618" fmla="*/ 2507374 h 3403632"/>
              <a:gd name="connsiteX619" fmla="*/ 1602490 w 3905665"/>
              <a:gd name="connsiteY619" fmla="*/ 2501696 h 3403632"/>
              <a:gd name="connsiteX620" fmla="*/ 2015899 w 3905665"/>
              <a:gd name="connsiteY620" fmla="*/ 2493057 h 3403632"/>
              <a:gd name="connsiteX621" fmla="*/ 2027996 w 3905665"/>
              <a:gd name="connsiteY621" fmla="*/ 2505151 h 3403632"/>
              <a:gd name="connsiteX622" fmla="*/ 2015899 w 3905665"/>
              <a:gd name="connsiteY622" fmla="*/ 2517248 h 3403632"/>
              <a:gd name="connsiteX623" fmla="*/ 2003805 w 3905665"/>
              <a:gd name="connsiteY623" fmla="*/ 2505151 h 3403632"/>
              <a:gd name="connsiteX624" fmla="*/ 2015899 w 3905665"/>
              <a:gd name="connsiteY624" fmla="*/ 2493057 h 3403632"/>
              <a:gd name="connsiteX625" fmla="*/ 1393908 w 3905665"/>
              <a:gd name="connsiteY625" fmla="*/ 2491328 h 3403632"/>
              <a:gd name="connsiteX626" fmla="*/ 1397611 w 3905665"/>
              <a:gd name="connsiteY626" fmla="*/ 2495031 h 3403632"/>
              <a:gd name="connsiteX627" fmla="*/ 1393908 w 3905665"/>
              <a:gd name="connsiteY627" fmla="*/ 2498735 h 3403632"/>
              <a:gd name="connsiteX628" fmla="*/ 1390205 w 3905665"/>
              <a:gd name="connsiteY628" fmla="*/ 2495031 h 3403632"/>
              <a:gd name="connsiteX629" fmla="*/ 1393908 w 3905665"/>
              <a:gd name="connsiteY629" fmla="*/ 2491328 h 3403632"/>
              <a:gd name="connsiteX630" fmla="*/ 2211887 w 3905665"/>
              <a:gd name="connsiteY630" fmla="*/ 2490587 h 3403632"/>
              <a:gd name="connsiteX631" fmla="*/ 2218799 w 3905665"/>
              <a:gd name="connsiteY631" fmla="*/ 2497498 h 3403632"/>
              <a:gd name="connsiteX632" fmla="*/ 2211887 w 3905665"/>
              <a:gd name="connsiteY632" fmla="*/ 2504410 h 3403632"/>
              <a:gd name="connsiteX633" fmla="*/ 2204976 w 3905665"/>
              <a:gd name="connsiteY633" fmla="*/ 2497498 h 3403632"/>
              <a:gd name="connsiteX634" fmla="*/ 2211887 w 3905665"/>
              <a:gd name="connsiteY634" fmla="*/ 2490587 h 3403632"/>
              <a:gd name="connsiteX635" fmla="*/ 403353 w 3905665"/>
              <a:gd name="connsiteY635" fmla="*/ 2483183 h 3403632"/>
              <a:gd name="connsiteX636" fmla="*/ 405577 w 3905665"/>
              <a:gd name="connsiteY636" fmla="*/ 2485404 h 3403632"/>
              <a:gd name="connsiteX637" fmla="*/ 403353 w 3905665"/>
              <a:gd name="connsiteY637" fmla="*/ 2487625 h 3403632"/>
              <a:gd name="connsiteX638" fmla="*/ 401132 w 3905665"/>
              <a:gd name="connsiteY638" fmla="*/ 2485404 h 3403632"/>
              <a:gd name="connsiteX639" fmla="*/ 403353 w 3905665"/>
              <a:gd name="connsiteY639" fmla="*/ 2483183 h 3403632"/>
              <a:gd name="connsiteX640" fmla="*/ 853339 w 3905665"/>
              <a:gd name="connsiteY640" fmla="*/ 2479726 h 3403632"/>
              <a:gd name="connsiteX641" fmla="*/ 856301 w 3905665"/>
              <a:gd name="connsiteY641" fmla="*/ 2482688 h 3403632"/>
              <a:gd name="connsiteX642" fmla="*/ 853339 w 3905665"/>
              <a:gd name="connsiteY642" fmla="*/ 2485650 h 3403632"/>
              <a:gd name="connsiteX643" fmla="*/ 850377 w 3905665"/>
              <a:gd name="connsiteY643" fmla="*/ 2482688 h 3403632"/>
              <a:gd name="connsiteX644" fmla="*/ 853339 w 3905665"/>
              <a:gd name="connsiteY644" fmla="*/ 2479726 h 3403632"/>
              <a:gd name="connsiteX645" fmla="*/ 2404172 w 3905665"/>
              <a:gd name="connsiteY645" fmla="*/ 2472815 h 3403632"/>
              <a:gd name="connsiteX646" fmla="*/ 2415774 w 3905665"/>
              <a:gd name="connsiteY646" fmla="*/ 2484417 h 3403632"/>
              <a:gd name="connsiteX647" fmla="*/ 2404172 w 3905665"/>
              <a:gd name="connsiteY647" fmla="*/ 2496019 h 3403632"/>
              <a:gd name="connsiteX648" fmla="*/ 2392570 w 3905665"/>
              <a:gd name="connsiteY648" fmla="*/ 2484417 h 3403632"/>
              <a:gd name="connsiteX649" fmla="*/ 2404172 w 3905665"/>
              <a:gd name="connsiteY649" fmla="*/ 2472815 h 3403632"/>
              <a:gd name="connsiteX650" fmla="*/ 1181129 w 3905665"/>
              <a:gd name="connsiteY650" fmla="*/ 2471581 h 3403632"/>
              <a:gd name="connsiteX651" fmla="*/ 1183845 w 3905665"/>
              <a:gd name="connsiteY651" fmla="*/ 2474297 h 3403632"/>
              <a:gd name="connsiteX652" fmla="*/ 1181129 w 3905665"/>
              <a:gd name="connsiteY652" fmla="*/ 2477013 h 3403632"/>
              <a:gd name="connsiteX653" fmla="*/ 1178413 w 3905665"/>
              <a:gd name="connsiteY653" fmla="*/ 2474297 h 3403632"/>
              <a:gd name="connsiteX654" fmla="*/ 1181129 w 3905665"/>
              <a:gd name="connsiteY654" fmla="*/ 2471581 h 3403632"/>
              <a:gd name="connsiteX655" fmla="*/ 517388 w 3905665"/>
              <a:gd name="connsiteY655" fmla="*/ 2460228 h 3403632"/>
              <a:gd name="connsiteX656" fmla="*/ 519363 w 3905665"/>
              <a:gd name="connsiteY656" fmla="*/ 2462203 h 3403632"/>
              <a:gd name="connsiteX657" fmla="*/ 517388 w 3905665"/>
              <a:gd name="connsiteY657" fmla="*/ 2464424 h 3403632"/>
              <a:gd name="connsiteX658" fmla="*/ 515414 w 3905665"/>
              <a:gd name="connsiteY658" fmla="*/ 2462203 h 3403632"/>
              <a:gd name="connsiteX659" fmla="*/ 517388 w 3905665"/>
              <a:gd name="connsiteY659" fmla="*/ 2460228 h 3403632"/>
              <a:gd name="connsiteX660" fmla="*/ 1702954 w 3905665"/>
              <a:gd name="connsiteY660" fmla="*/ 2443444 h 3403632"/>
              <a:gd name="connsiteX661" fmla="*/ 1708629 w 3905665"/>
              <a:gd name="connsiteY661" fmla="*/ 2449122 h 3403632"/>
              <a:gd name="connsiteX662" fmla="*/ 1702954 w 3905665"/>
              <a:gd name="connsiteY662" fmla="*/ 2454797 h 3403632"/>
              <a:gd name="connsiteX663" fmla="*/ 1697276 w 3905665"/>
              <a:gd name="connsiteY663" fmla="*/ 2449122 h 3403632"/>
              <a:gd name="connsiteX664" fmla="*/ 1702954 w 3905665"/>
              <a:gd name="connsiteY664" fmla="*/ 2443444 h 3403632"/>
              <a:gd name="connsiteX665" fmla="*/ 963428 w 3905665"/>
              <a:gd name="connsiteY665" fmla="*/ 2441715 h 3403632"/>
              <a:gd name="connsiteX666" fmla="*/ 966141 w 3905665"/>
              <a:gd name="connsiteY666" fmla="*/ 2444431 h 3403632"/>
              <a:gd name="connsiteX667" fmla="*/ 963428 w 3905665"/>
              <a:gd name="connsiteY667" fmla="*/ 2447147 h 3403632"/>
              <a:gd name="connsiteX668" fmla="*/ 960712 w 3905665"/>
              <a:gd name="connsiteY668" fmla="*/ 2444431 h 3403632"/>
              <a:gd name="connsiteX669" fmla="*/ 963428 w 3905665"/>
              <a:gd name="connsiteY669" fmla="*/ 2441715 h 3403632"/>
              <a:gd name="connsiteX670" fmla="*/ 1904378 w 3905665"/>
              <a:gd name="connsiteY670" fmla="*/ 2440235 h 3403632"/>
              <a:gd name="connsiteX671" fmla="*/ 1913997 w 3905665"/>
              <a:gd name="connsiteY671" fmla="*/ 2449862 h 3403632"/>
              <a:gd name="connsiteX672" fmla="*/ 1904378 w 3905665"/>
              <a:gd name="connsiteY672" fmla="*/ 2459487 h 3403632"/>
              <a:gd name="connsiteX673" fmla="*/ 1894743 w 3905665"/>
              <a:gd name="connsiteY673" fmla="*/ 2449862 h 3403632"/>
              <a:gd name="connsiteX674" fmla="*/ 1904378 w 3905665"/>
              <a:gd name="connsiteY674" fmla="*/ 2440235 h 3403632"/>
              <a:gd name="connsiteX675" fmla="*/ 1497086 w 3905665"/>
              <a:gd name="connsiteY675" fmla="*/ 2438012 h 3403632"/>
              <a:gd name="connsiteX676" fmla="*/ 1500790 w 3905665"/>
              <a:gd name="connsiteY676" fmla="*/ 2441715 h 3403632"/>
              <a:gd name="connsiteX677" fmla="*/ 1497086 w 3905665"/>
              <a:gd name="connsiteY677" fmla="*/ 2445416 h 3403632"/>
              <a:gd name="connsiteX678" fmla="*/ 1493383 w 3905665"/>
              <a:gd name="connsiteY678" fmla="*/ 2441715 h 3403632"/>
              <a:gd name="connsiteX679" fmla="*/ 1497086 w 3905665"/>
              <a:gd name="connsiteY679" fmla="*/ 2438012 h 3403632"/>
              <a:gd name="connsiteX680" fmla="*/ 630444 w 3905665"/>
              <a:gd name="connsiteY680" fmla="*/ 2432829 h 3403632"/>
              <a:gd name="connsiteX681" fmla="*/ 632419 w 3905665"/>
              <a:gd name="connsiteY681" fmla="*/ 2434804 h 3403632"/>
              <a:gd name="connsiteX682" fmla="*/ 630444 w 3905665"/>
              <a:gd name="connsiteY682" fmla="*/ 2436778 h 3403632"/>
              <a:gd name="connsiteX683" fmla="*/ 628470 w 3905665"/>
              <a:gd name="connsiteY683" fmla="*/ 2434804 h 3403632"/>
              <a:gd name="connsiteX684" fmla="*/ 630444 w 3905665"/>
              <a:gd name="connsiteY684" fmla="*/ 2432829 h 3403632"/>
              <a:gd name="connsiteX685" fmla="*/ 2110684 w 3905665"/>
              <a:gd name="connsiteY685" fmla="*/ 2424435 h 3403632"/>
              <a:gd name="connsiteX686" fmla="*/ 2123765 w 3905665"/>
              <a:gd name="connsiteY686" fmla="*/ 2437517 h 3403632"/>
              <a:gd name="connsiteX687" fmla="*/ 2110684 w 3905665"/>
              <a:gd name="connsiteY687" fmla="*/ 2450598 h 3403632"/>
              <a:gd name="connsiteX688" fmla="*/ 2097602 w 3905665"/>
              <a:gd name="connsiteY688" fmla="*/ 2437517 h 3403632"/>
              <a:gd name="connsiteX689" fmla="*/ 2110684 w 3905665"/>
              <a:gd name="connsiteY689" fmla="*/ 2424435 h 3403632"/>
              <a:gd name="connsiteX690" fmla="*/ 1287022 w 3905665"/>
              <a:gd name="connsiteY690" fmla="*/ 2423943 h 3403632"/>
              <a:gd name="connsiteX691" fmla="*/ 1289492 w 3905665"/>
              <a:gd name="connsiteY691" fmla="*/ 2426413 h 3403632"/>
              <a:gd name="connsiteX692" fmla="*/ 1287022 w 3905665"/>
              <a:gd name="connsiteY692" fmla="*/ 2428880 h 3403632"/>
              <a:gd name="connsiteX693" fmla="*/ 1284555 w 3905665"/>
              <a:gd name="connsiteY693" fmla="*/ 2426413 h 3403632"/>
              <a:gd name="connsiteX694" fmla="*/ 1287022 w 3905665"/>
              <a:gd name="connsiteY694" fmla="*/ 2423943 h 3403632"/>
              <a:gd name="connsiteX695" fmla="*/ 2303955 w 3905665"/>
              <a:gd name="connsiteY695" fmla="*/ 2418760 h 3403632"/>
              <a:gd name="connsiteX696" fmla="*/ 2311359 w 3905665"/>
              <a:gd name="connsiteY696" fmla="*/ 2425918 h 3403632"/>
              <a:gd name="connsiteX697" fmla="*/ 2303955 w 3905665"/>
              <a:gd name="connsiteY697" fmla="*/ 2433324 h 3403632"/>
              <a:gd name="connsiteX698" fmla="*/ 2296549 w 3905665"/>
              <a:gd name="connsiteY698" fmla="*/ 2425918 h 3403632"/>
              <a:gd name="connsiteX699" fmla="*/ 2303955 w 3905665"/>
              <a:gd name="connsiteY699" fmla="*/ 2418760 h 3403632"/>
              <a:gd name="connsiteX700" fmla="*/ 57043 w 3905665"/>
              <a:gd name="connsiteY700" fmla="*/ 2418019 h 3403632"/>
              <a:gd name="connsiteX701" fmla="*/ 60005 w 3905665"/>
              <a:gd name="connsiteY701" fmla="*/ 2420981 h 3403632"/>
              <a:gd name="connsiteX702" fmla="*/ 57043 w 3905665"/>
              <a:gd name="connsiteY702" fmla="*/ 2423943 h 3403632"/>
              <a:gd name="connsiteX703" fmla="*/ 54081 w 3905665"/>
              <a:gd name="connsiteY703" fmla="*/ 2420981 h 3403632"/>
              <a:gd name="connsiteX704" fmla="*/ 57043 w 3905665"/>
              <a:gd name="connsiteY704" fmla="*/ 2418019 h 3403632"/>
              <a:gd name="connsiteX705" fmla="*/ 173057 w 3905665"/>
              <a:gd name="connsiteY705" fmla="*/ 2407158 h 3403632"/>
              <a:gd name="connsiteX706" fmla="*/ 175772 w 3905665"/>
              <a:gd name="connsiteY706" fmla="*/ 2409874 h 3403632"/>
              <a:gd name="connsiteX707" fmla="*/ 173057 w 3905665"/>
              <a:gd name="connsiteY707" fmla="*/ 2412590 h 3403632"/>
              <a:gd name="connsiteX708" fmla="*/ 170341 w 3905665"/>
              <a:gd name="connsiteY708" fmla="*/ 2409874 h 3403632"/>
              <a:gd name="connsiteX709" fmla="*/ 173057 w 3905665"/>
              <a:gd name="connsiteY709" fmla="*/ 2407158 h 3403632"/>
              <a:gd name="connsiteX710" fmla="*/ 742755 w 3905665"/>
              <a:gd name="connsiteY710" fmla="*/ 2401729 h 3403632"/>
              <a:gd name="connsiteX711" fmla="*/ 744479 w 3905665"/>
              <a:gd name="connsiteY711" fmla="*/ 2403457 h 3403632"/>
              <a:gd name="connsiteX712" fmla="*/ 742755 w 3905665"/>
              <a:gd name="connsiteY712" fmla="*/ 2405183 h 3403632"/>
              <a:gd name="connsiteX713" fmla="*/ 741024 w 3905665"/>
              <a:gd name="connsiteY713" fmla="*/ 2403457 h 3403632"/>
              <a:gd name="connsiteX714" fmla="*/ 742755 w 3905665"/>
              <a:gd name="connsiteY714" fmla="*/ 2401729 h 3403632"/>
              <a:gd name="connsiteX715" fmla="*/ 1071779 w 3905665"/>
              <a:gd name="connsiteY715" fmla="*/ 2400001 h 3403632"/>
              <a:gd name="connsiteX716" fmla="*/ 1074246 w 3905665"/>
              <a:gd name="connsiteY716" fmla="*/ 2402471 h 3403632"/>
              <a:gd name="connsiteX717" fmla="*/ 1071779 w 3905665"/>
              <a:gd name="connsiteY717" fmla="*/ 2404938 h 3403632"/>
              <a:gd name="connsiteX718" fmla="*/ 1069310 w 3905665"/>
              <a:gd name="connsiteY718" fmla="*/ 2402471 h 3403632"/>
              <a:gd name="connsiteX719" fmla="*/ 1071779 w 3905665"/>
              <a:gd name="connsiteY719" fmla="*/ 2400001 h 3403632"/>
              <a:gd name="connsiteX720" fmla="*/ 2493273 w 3905665"/>
              <a:gd name="connsiteY720" fmla="*/ 2397285 h 3403632"/>
              <a:gd name="connsiteX721" fmla="*/ 2505616 w 3905665"/>
              <a:gd name="connsiteY721" fmla="*/ 2409625 h 3403632"/>
              <a:gd name="connsiteX722" fmla="*/ 2493273 w 3905665"/>
              <a:gd name="connsiteY722" fmla="*/ 2421968 h 3403632"/>
              <a:gd name="connsiteX723" fmla="*/ 2480933 w 3905665"/>
              <a:gd name="connsiteY723" fmla="*/ 2409625 h 3403632"/>
              <a:gd name="connsiteX724" fmla="*/ 2493273 w 3905665"/>
              <a:gd name="connsiteY724" fmla="*/ 2397285 h 3403632"/>
              <a:gd name="connsiteX725" fmla="*/ 288571 w 3905665"/>
              <a:gd name="connsiteY725" fmla="*/ 2392102 h 3403632"/>
              <a:gd name="connsiteX726" fmla="*/ 291041 w 3905665"/>
              <a:gd name="connsiteY726" fmla="*/ 2394572 h 3403632"/>
              <a:gd name="connsiteX727" fmla="*/ 288571 w 3905665"/>
              <a:gd name="connsiteY727" fmla="*/ 2397039 h 3403632"/>
              <a:gd name="connsiteX728" fmla="*/ 286104 w 3905665"/>
              <a:gd name="connsiteY728" fmla="*/ 2394572 h 3403632"/>
              <a:gd name="connsiteX729" fmla="*/ 288571 w 3905665"/>
              <a:gd name="connsiteY729" fmla="*/ 2392102 h 3403632"/>
              <a:gd name="connsiteX730" fmla="*/ 1801188 w 3905665"/>
              <a:gd name="connsiteY730" fmla="*/ 2381241 h 3403632"/>
              <a:gd name="connsiteX731" fmla="*/ 1807603 w 3905665"/>
              <a:gd name="connsiteY731" fmla="*/ 2387660 h 3403632"/>
              <a:gd name="connsiteX732" fmla="*/ 1801188 w 3905665"/>
              <a:gd name="connsiteY732" fmla="*/ 2393831 h 3403632"/>
              <a:gd name="connsiteX733" fmla="*/ 1794772 w 3905665"/>
              <a:gd name="connsiteY733" fmla="*/ 2387660 h 3403632"/>
              <a:gd name="connsiteX734" fmla="*/ 1801188 w 3905665"/>
              <a:gd name="connsiteY734" fmla="*/ 2381241 h 3403632"/>
              <a:gd name="connsiteX735" fmla="*/ 1598289 w 3905665"/>
              <a:gd name="connsiteY735" fmla="*/ 2381241 h 3403632"/>
              <a:gd name="connsiteX736" fmla="*/ 1601993 w 3905665"/>
              <a:gd name="connsiteY736" fmla="*/ 2384944 h 3403632"/>
              <a:gd name="connsiteX737" fmla="*/ 1598289 w 3905665"/>
              <a:gd name="connsiteY737" fmla="*/ 2388648 h 3403632"/>
              <a:gd name="connsiteX738" fmla="*/ 1594586 w 3905665"/>
              <a:gd name="connsiteY738" fmla="*/ 2384944 h 3403632"/>
              <a:gd name="connsiteX739" fmla="*/ 1598289 w 3905665"/>
              <a:gd name="connsiteY739" fmla="*/ 2381241 h 3403632"/>
              <a:gd name="connsiteX740" fmla="*/ 1999855 w 3905665"/>
              <a:gd name="connsiteY740" fmla="*/ 2373342 h 3403632"/>
              <a:gd name="connsiteX741" fmla="*/ 2010467 w 3905665"/>
              <a:gd name="connsiteY741" fmla="*/ 2383957 h 3403632"/>
              <a:gd name="connsiteX742" fmla="*/ 1999855 w 3905665"/>
              <a:gd name="connsiteY742" fmla="*/ 2394322 h 3403632"/>
              <a:gd name="connsiteX743" fmla="*/ 1989241 w 3905665"/>
              <a:gd name="connsiteY743" fmla="*/ 2383957 h 3403632"/>
              <a:gd name="connsiteX744" fmla="*/ 1999855 w 3905665"/>
              <a:gd name="connsiteY744" fmla="*/ 2373342 h 3403632"/>
              <a:gd name="connsiteX745" fmla="*/ 403352 w 3905665"/>
              <a:gd name="connsiteY745" fmla="*/ 2372848 h 3403632"/>
              <a:gd name="connsiteX746" fmla="*/ 405575 w 3905665"/>
              <a:gd name="connsiteY746" fmla="*/ 2375069 h 3403632"/>
              <a:gd name="connsiteX747" fmla="*/ 403352 w 3905665"/>
              <a:gd name="connsiteY747" fmla="*/ 2377290 h 3403632"/>
              <a:gd name="connsiteX748" fmla="*/ 401131 w 3905665"/>
              <a:gd name="connsiteY748" fmla="*/ 2375069 h 3403632"/>
              <a:gd name="connsiteX749" fmla="*/ 403352 w 3905665"/>
              <a:gd name="connsiteY749" fmla="*/ 2372848 h 3403632"/>
              <a:gd name="connsiteX750" fmla="*/ 1391187 w 3905665"/>
              <a:gd name="connsiteY750" fmla="*/ 2372601 h 3403632"/>
              <a:gd name="connsiteX751" fmla="*/ 1393411 w 3905665"/>
              <a:gd name="connsiteY751" fmla="*/ 2374822 h 3403632"/>
              <a:gd name="connsiteX752" fmla="*/ 1391187 w 3905665"/>
              <a:gd name="connsiteY752" fmla="*/ 2377046 h 3403632"/>
              <a:gd name="connsiteX753" fmla="*/ 1388967 w 3905665"/>
              <a:gd name="connsiteY753" fmla="*/ 2374822 h 3403632"/>
              <a:gd name="connsiteX754" fmla="*/ 1391187 w 3905665"/>
              <a:gd name="connsiteY754" fmla="*/ 2372601 h 3403632"/>
              <a:gd name="connsiteX755" fmla="*/ 853579 w 3905665"/>
              <a:gd name="connsiteY755" fmla="*/ 2366677 h 3403632"/>
              <a:gd name="connsiteX756" fmla="*/ 855061 w 3905665"/>
              <a:gd name="connsiteY756" fmla="*/ 2368157 h 3403632"/>
              <a:gd name="connsiteX757" fmla="*/ 853579 w 3905665"/>
              <a:gd name="connsiteY757" fmla="*/ 2369639 h 3403632"/>
              <a:gd name="connsiteX758" fmla="*/ 852099 w 3905665"/>
              <a:gd name="connsiteY758" fmla="*/ 2368157 h 3403632"/>
              <a:gd name="connsiteX759" fmla="*/ 853579 w 3905665"/>
              <a:gd name="connsiteY759" fmla="*/ 2366677 h 3403632"/>
              <a:gd name="connsiteX760" fmla="*/ 1178658 w 3905665"/>
              <a:gd name="connsiteY760" fmla="*/ 2354583 h 3403632"/>
              <a:gd name="connsiteX761" fmla="*/ 1180881 w 3905665"/>
              <a:gd name="connsiteY761" fmla="*/ 2356804 h 3403632"/>
              <a:gd name="connsiteX762" fmla="*/ 1178658 w 3905665"/>
              <a:gd name="connsiteY762" fmla="*/ 2359025 h 3403632"/>
              <a:gd name="connsiteX763" fmla="*/ 1176437 w 3905665"/>
              <a:gd name="connsiteY763" fmla="*/ 2356804 h 3403632"/>
              <a:gd name="connsiteX764" fmla="*/ 1178658 w 3905665"/>
              <a:gd name="connsiteY764" fmla="*/ 2354583 h 3403632"/>
              <a:gd name="connsiteX765" fmla="*/ 2203494 w 3905665"/>
              <a:gd name="connsiteY765" fmla="*/ 2353347 h 3403632"/>
              <a:gd name="connsiteX766" fmla="*/ 2217317 w 3905665"/>
              <a:gd name="connsiteY766" fmla="*/ 2367170 h 3403632"/>
              <a:gd name="connsiteX767" fmla="*/ 2203494 w 3905665"/>
              <a:gd name="connsiteY767" fmla="*/ 2380993 h 3403632"/>
              <a:gd name="connsiteX768" fmla="*/ 2189671 w 3905665"/>
              <a:gd name="connsiteY768" fmla="*/ 2367170 h 3403632"/>
              <a:gd name="connsiteX769" fmla="*/ 2203494 w 3905665"/>
              <a:gd name="connsiteY769" fmla="*/ 2353347 h 3403632"/>
              <a:gd name="connsiteX770" fmla="*/ 517387 w 3905665"/>
              <a:gd name="connsiteY770" fmla="*/ 2348659 h 3403632"/>
              <a:gd name="connsiteX771" fmla="*/ 519362 w 3905665"/>
              <a:gd name="connsiteY771" fmla="*/ 2350883 h 3403632"/>
              <a:gd name="connsiteX772" fmla="*/ 517387 w 3905665"/>
              <a:gd name="connsiteY772" fmla="*/ 2353104 h 3403632"/>
              <a:gd name="connsiteX773" fmla="*/ 515412 w 3905665"/>
              <a:gd name="connsiteY773" fmla="*/ 2350883 h 3403632"/>
              <a:gd name="connsiteX774" fmla="*/ 517387 w 3905665"/>
              <a:gd name="connsiteY774" fmla="*/ 2348659 h 3403632"/>
              <a:gd name="connsiteX775" fmla="*/ 2393804 w 3905665"/>
              <a:gd name="connsiteY775" fmla="*/ 2344463 h 3403632"/>
              <a:gd name="connsiteX776" fmla="*/ 2401703 w 3905665"/>
              <a:gd name="connsiteY776" fmla="*/ 2352115 h 3403632"/>
              <a:gd name="connsiteX777" fmla="*/ 2393804 w 3905665"/>
              <a:gd name="connsiteY777" fmla="*/ 2359765 h 3403632"/>
              <a:gd name="connsiteX778" fmla="*/ 2386151 w 3905665"/>
              <a:gd name="connsiteY778" fmla="*/ 2352115 h 3403632"/>
              <a:gd name="connsiteX779" fmla="*/ 2393804 w 3905665"/>
              <a:gd name="connsiteY779" fmla="*/ 2344463 h 3403632"/>
              <a:gd name="connsiteX780" fmla="*/ 963174 w 3905665"/>
              <a:gd name="connsiteY780" fmla="*/ 2325209 h 3403632"/>
              <a:gd name="connsiteX781" fmla="*/ 966631 w 3905665"/>
              <a:gd name="connsiteY781" fmla="*/ 2328664 h 3403632"/>
              <a:gd name="connsiteX782" fmla="*/ 963174 w 3905665"/>
              <a:gd name="connsiteY782" fmla="*/ 2332121 h 3403632"/>
              <a:gd name="connsiteX783" fmla="*/ 959720 w 3905665"/>
              <a:gd name="connsiteY783" fmla="*/ 2328664 h 3403632"/>
              <a:gd name="connsiteX784" fmla="*/ 963174 w 3905665"/>
              <a:gd name="connsiteY784" fmla="*/ 2325209 h 3403632"/>
              <a:gd name="connsiteX785" fmla="*/ 1697765 w 3905665"/>
              <a:gd name="connsiteY785" fmla="*/ 2320767 h 3403632"/>
              <a:gd name="connsiteX786" fmla="*/ 1701962 w 3905665"/>
              <a:gd name="connsiteY786" fmla="*/ 2324963 h 3403632"/>
              <a:gd name="connsiteX787" fmla="*/ 1697765 w 3905665"/>
              <a:gd name="connsiteY787" fmla="*/ 2329161 h 3403632"/>
              <a:gd name="connsiteX788" fmla="*/ 1693570 w 3905665"/>
              <a:gd name="connsiteY788" fmla="*/ 2324963 h 3403632"/>
              <a:gd name="connsiteX789" fmla="*/ 1697765 w 3905665"/>
              <a:gd name="connsiteY789" fmla="*/ 2320767 h 3403632"/>
              <a:gd name="connsiteX790" fmla="*/ 630442 w 3905665"/>
              <a:gd name="connsiteY790" fmla="*/ 2320519 h 3403632"/>
              <a:gd name="connsiteX791" fmla="*/ 632417 w 3905665"/>
              <a:gd name="connsiteY791" fmla="*/ 2322494 h 3403632"/>
              <a:gd name="connsiteX792" fmla="*/ 630442 w 3905665"/>
              <a:gd name="connsiteY792" fmla="*/ 2324468 h 3403632"/>
              <a:gd name="connsiteX793" fmla="*/ 628468 w 3905665"/>
              <a:gd name="connsiteY793" fmla="*/ 2322494 h 3403632"/>
              <a:gd name="connsiteX794" fmla="*/ 630442 w 3905665"/>
              <a:gd name="connsiteY794" fmla="*/ 2320519 h 3403632"/>
              <a:gd name="connsiteX795" fmla="*/ 2580162 w 3905665"/>
              <a:gd name="connsiteY795" fmla="*/ 2319285 h 3403632"/>
              <a:gd name="connsiteX796" fmla="*/ 2593243 w 3905665"/>
              <a:gd name="connsiteY796" fmla="*/ 2332369 h 3403632"/>
              <a:gd name="connsiteX797" fmla="*/ 2580162 w 3905665"/>
              <a:gd name="connsiteY797" fmla="*/ 2345451 h 3403632"/>
              <a:gd name="connsiteX798" fmla="*/ 2567080 w 3905665"/>
              <a:gd name="connsiteY798" fmla="*/ 2332369 h 3403632"/>
              <a:gd name="connsiteX799" fmla="*/ 2580162 w 3905665"/>
              <a:gd name="connsiteY799" fmla="*/ 2319285 h 3403632"/>
              <a:gd name="connsiteX800" fmla="*/ 1493381 w 3905665"/>
              <a:gd name="connsiteY800" fmla="*/ 2318052 h 3403632"/>
              <a:gd name="connsiteX801" fmla="*/ 1495355 w 3905665"/>
              <a:gd name="connsiteY801" fmla="*/ 2320027 h 3403632"/>
              <a:gd name="connsiteX802" fmla="*/ 1493381 w 3905665"/>
              <a:gd name="connsiteY802" fmla="*/ 2322001 h 3403632"/>
              <a:gd name="connsiteX803" fmla="*/ 1491406 w 3905665"/>
              <a:gd name="connsiteY803" fmla="*/ 2320027 h 3403632"/>
              <a:gd name="connsiteX804" fmla="*/ 1493381 w 3905665"/>
              <a:gd name="connsiteY804" fmla="*/ 2318052 h 3403632"/>
              <a:gd name="connsiteX805" fmla="*/ 1897702 w 3905665"/>
              <a:gd name="connsiteY805" fmla="*/ 2315831 h 3403632"/>
              <a:gd name="connsiteX806" fmla="*/ 1904619 w 3905665"/>
              <a:gd name="connsiteY806" fmla="*/ 2322989 h 3403632"/>
              <a:gd name="connsiteX807" fmla="*/ 1897702 w 3905665"/>
              <a:gd name="connsiteY807" fmla="*/ 2330146 h 3403632"/>
              <a:gd name="connsiteX808" fmla="*/ 1890543 w 3905665"/>
              <a:gd name="connsiteY808" fmla="*/ 2322989 h 3403632"/>
              <a:gd name="connsiteX809" fmla="*/ 1897702 w 3905665"/>
              <a:gd name="connsiteY809" fmla="*/ 2315831 h 3403632"/>
              <a:gd name="connsiteX810" fmla="*/ 55069 w 3905665"/>
              <a:gd name="connsiteY810" fmla="*/ 2309658 h 3403632"/>
              <a:gd name="connsiteX811" fmla="*/ 57536 w 3905665"/>
              <a:gd name="connsiteY811" fmla="*/ 2312128 h 3403632"/>
              <a:gd name="connsiteX812" fmla="*/ 55069 w 3905665"/>
              <a:gd name="connsiteY812" fmla="*/ 2314595 h 3403632"/>
              <a:gd name="connsiteX813" fmla="*/ 52599 w 3905665"/>
              <a:gd name="connsiteY813" fmla="*/ 2312128 h 3403632"/>
              <a:gd name="connsiteX814" fmla="*/ 55069 w 3905665"/>
              <a:gd name="connsiteY814" fmla="*/ 2309658 h 3403632"/>
              <a:gd name="connsiteX815" fmla="*/ 1284059 w 3905665"/>
              <a:gd name="connsiteY815" fmla="*/ 2305216 h 3403632"/>
              <a:gd name="connsiteX816" fmla="*/ 1286033 w 3905665"/>
              <a:gd name="connsiteY816" fmla="*/ 2307191 h 3403632"/>
              <a:gd name="connsiteX817" fmla="*/ 1284059 w 3905665"/>
              <a:gd name="connsiteY817" fmla="*/ 2309165 h 3403632"/>
              <a:gd name="connsiteX818" fmla="*/ 1282084 w 3905665"/>
              <a:gd name="connsiteY818" fmla="*/ 2307191 h 3403632"/>
              <a:gd name="connsiteX819" fmla="*/ 1284059 w 3905665"/>
              <a:gd name="connsiteY819" fmla="*/ 2305216 h 3403632"/>
              <a:gd name="connsiteX820" fmla="*/ 2093158 w 3905665"/>
              <a:gd name="connsiteY820" fmla="*/ 2303734 h 3403632"/>
              <a:gd name="connsiteX821" fmla="*/ 2104514 w 3905665"/>
              <a:gd name="connsiteY821" fmla="*/ 2315087 h 3403632"/>
              <a:gd name="connsiteX822" fmla="*/ 2093158 w 3905665"/>
              <a:gd name="connsiteY822" fmla="*/ 2326443 h 3403632"/>
              <a:gd name="connsiteX823" fmla="*/ 2081805 w 3905665"/>
              <a:gd name="connsiteY823" fmla="*/ 2315087 h 3403632"/>
              <a:gd name="connsiteX824" fmla="*/ 2093158 w 3905665"/>
              <a:gd name="connsiteY824" fmla="*/ 2303734 h 3403632"/>
              <a:gd name="connsiteX825" fmla="*/ 170584 w 3905665"/>
              <a:gd name="connsiteY825" fmla="*/ 2299046 h 3403632"/>
              <a:gd name="connsiteX826" fmla="*/ 172559 w 3905665"/>
              <a:gd name="connsiteY826" fmla="*/ 2301021 h 3403632"/>
              <a:gd name="connsiteX827" fmla="*/ 170584 w 3905665"/>
              <a:gd name="connsiteY827" fmla="*/ 2302995 h 3403632"/>
              <a:gd name="connsiteX828" fmla="*/ 168610 w 3905665"/>
              <a:gd name="connsiteY828" fmla="*/ 2301021 h 3403632"/>
              <a:gd name="connsiteX829" fmla="*/ 170584 w 3905665"/>
              <a:gd name="connsiteY829" fmla="*/ 2299046 h 3403632"/>
              <a:gd name="connsiteX830" fmla="*/ 742506 w 3905665"/>
              <a:gd name="connsiteY830" fmla="*/ 2288431 h 3403632"/>
              <a:gd name="connsiteX831" fmla="*/ 744232 w 3905665"/>
              <a:gd name="connsiteY831" fmla="*/ 2290159 h 3403632"/>
              <a:gd name="connsiteX832" fmla="*/ 742506 w 3905665"/>
              <a:gd name="connsiteY832" fmla="*/ 2291888 h 3403632"/>
              <a:gd name="connsiteX833" fmla="*/ 740777 w 3905665"/>
              <a:gd name="connsiteY833" fmla="*/ 2290159 h 3403632"/>
              <a:gd name="connsiteX834" fmla="*/ 742506 w 3905665"/>
              <a:gd name="connsiteY834" fmla="*/ 2288431 h 3403632"/>
              <a:gd name="connsiteX835" fmla="*/ 285365 w 3905665"/>
              <a:gd name="connsiteY835" fmla="*/ 2283495 h 3403632"/>
              <a:gd name="connsiteX836" fmla="*/ 287090 w 3905665"/>
              <a:gd name="connsiteY836" fmla="*/ 2285224 h 3403632"/>
              <a:gd name="connsiteX837" fmla="*/ 285365 w 3905665"/>
              <a:gd name="connsiteY837" fmla="*/ 2286703 h 3403632"/>
              <a:gd name="connsiteX838" fmla="*/ 283882 w 3905665"/>
              <a:gd name="connsiteY838" fmla="*/ 2285224 h 3403632"/>
              <a:gd name="connsiteX839" fmla="*/ 285365 w 3905665"/>
              <a:gd name="connsiteY839" fmla="*/ 2283495 h 3403632"/>
              <a:gd name="connsiteX840" fmla="*/ 1071034 w 3905665"/>
              <a:gd name="connsiteY840" fmla="*/ 2282012 h 3403632"/>
              <a:gd name="connsiteX841" fmla="*/ 1074242 w 3905665"/>
              <a:gd name="connsiteY841" fmla="*/ 2285220 h 3403632"/>
              <a:gd name="connsiteX842" fmla="*/ 1071034 w 3905665"/>
              <a:gd name="connsiteY842" fmla="*/ 2288428 h 3403632"/>
              <a:gd name="connsiteX843" fmla="*/ 1067826 w 3905665"/>
              <a:gd name="connsiteY843" fmla="*/ 2285220 h 3403632"/>
              <a:gd name="connsiteX844" fmla="*/ 1071034 w 3905665"/>
              <a:gd name="connsiteY844" fmla="*/ 2282012 h 3403632"/>
              <a:gd name="connsiteX845" fmla="*/ 2294328 w 3905665"/>
              <a:gd name="connsiteY845" fmla="*/ 2279050 h 3403632"/>
              <a:gd name="connsiteX846" fmla="*/ 2309139 w 3905665"/>
              <a:gd name="connsiteY846" fmla="*/ 2293860 h 3403632"/>
              <a:gd name="connsiteX847" fmla="*/ 2294328 w 3905665"/>
              <a:gd name="connsiteY847" fmla="*/ 2308671 h 3403632"/>
              <a:gd name="connsiteX848" fmla="*/ 2279518 w 3905665"/>
              <a:gd name="connsiteY848" fmla="*/ 2293860 h 3403632"/>
              <a:gd name="connsiteX849" fmla="*/ 2294328 w 3905665"/>
              <a:gd name="connsiteY849" fmla="*/ 2279050 h 3403632"/>
              <a:gd name="connsiteX850" fmla="*/ 2481425 w 3905665"/>
              <a:gd name="connsiteY850" fmla="*/ 2267202 h 3403632"/>
              <a:gd name="connsiteX851" fmla="*/ 2489573 w 3905665"/>
              <a:gd name="connsiteY851" fmla="*/ 2275347 h 3403632"/>
              <a:gd name="connsiteX852" fmla="*/ 2481425 w 3905665"/>
              <a:gd name="connsiteY852" fmla="*/ 2283495 h 3403632"/>
              <a:gd name="connsiteX853" fmla="*/ 2473280 w 3905665"/>
              <a:gd name="connsiteY853" fmla="*/ 2275347 h 3403632"/>
              <a:gd name="connsiteX854" fmla="*/ 2481425 w 3905665"/>
              <a:gd name="connsiteY854" fmla="*/ 2267202 h 3403632"/>
              <a:gd name="connsiteX855" fmla="*/ 399646 w 3905665"/>
              <a:gd name="connsiteY855" fmla="*/ 2262019 h 3403632"/>
              <a:gd name="connsiteX856" fmla="*/ 402854 w 3905665"/>
              <a:gd name="connsiteY856" fmla="*/ 2265227 h 3403632"/>
              <a:gd name="connsiteX857" fmla="*/ 399646 w 3905665"/>
              <a:gd name="connsiteY857" fmla="*/ 2268435 h 3403632"/>
              <a:gd name="connsiteX858" fmla="*/ 396438 w 3905665"/>
              <a:gd name="connsiteY858" fmla="*/ 2265227 h 3403632"/>
              <a:gd name="connsiteX859" fmla="*/ 399646 w 3905665"/>
              <a:gd name="connsiteY859" fmla="*/ 2262019 h 3403632"/>
              <a:gd name="connsiteX860" fmla="*/ 1593845 w 3905665"/>
              <a:gd name="connsiteY860" fmla="*/ 2258562 h 3403632"/>
              <a:gd name="connsiteX861" fmla="*/ 1596560 w 3905665"/>
              <a:gd name="connsiteY861" fmla="*/ 2261278 h 3403632"/>
              <a:gd name="connsiteX862" fmla="*/ 1593845 w 3905665"/>
              <a:gd name="connsiteY862" fmla="*/ 2263994 h 3403632"/>
              <a:gd name="connsiteX863" fmla="*/ 1591129 w 3905665"/>
              <a:gd name="connsiteY863" fmla="*/ 2261278 h 3403632"/>
              <a:gd name="connsiteX864" fmla="*/ 1593845 w 3905665"/>
              <a:gd name="connsiteY864" fmla="*/ 2258562 h 3403632"/>
              <a:gd name="connsiteX865" fmla="*/ 1795267 w 3905665"/>
              <a:gd name="connsiteY865" fmla="*/ 2256837 h 3403632"/>
              <a:gd name="connsiteX866" fmla="*/ 1799956 w 3905665"/>
              <a:gd name="connsiteY866" fmla="*/ 2261527 h 3403632"/>
              <a:gd name="connsiteX867" fmla="*/ 1795267 w 3905665"/>
              <a:gd name="connsiteY867" fmla="*/ 2266218 h 3403632"/>
              <a:gd name="connsiteX868" fmla="*/ 1790575 w 3905665"/>
              <a:gd name="connsiteY868" fmla="*/ 2261527 h 3403632"/>
              <a:gd name="connsiteX869" fmla="*/ 1795267 w 3905665"/>
              <a:gd name="connsiteY869" fmla="*/ 2256837 h 3403632"/>
              <a:gd name="connsiteX870" fmla="*/ 1387485 w 3905665"/>
              <a:gd name="connsiteY870" fmla="*/ 2252392 h 3403632"/>
              <a:gd name="connsiteX871" fmla="*/ 1389213 w 3905665"/>
              <a:gd name="connsiteY871" fmla="*/ 2254120 h 3403632"/>
              <a:gd name="connsiteX872" fmla="*/ 1387485 w 3905665"/>
              <a:gd name="connsiteY872" fmla="*/ 2255849 h 3403632"/>
              <a:gd name="connsiteX873" fmla="*/ 1385756 w 3905665"/>
              <a:gd name="connsiteY873" fmla="*/ 2254120 h 3403632"/>
              <a:gd name="connsiteX874" fmla="*/ 1387485 w 3905665"/>
              <a:gd name="connsiteY874" fmla="*/ 2252392 h 3403632"/>
              <a:gd name="connsiteX875" fmla="*/ 853088 w 3905665"/>
              <a:gd name="connsiteY875" fmla="*/ 2251900 h 3403632"/>
              <a:gd name="connsiteX876" fmla="*/ 854568 w 3905665"/>
              <a:gd name="connsiteY876" fmla="*/ 2253380 h 3403632"/>
              <a:gd name="connsiteX877" fmla="*/ 853088 w 3905665"/>
              <a:gd name="connsiteY877" fmla="*/ 2254862 h 3403632"/>
              <a:gd name="connsiteX878" fmla="*/ 851605 w 3905665"/>
              <a:gd name="connsiteY878" fmla="*/ 2253380 h 3403632"/>
              <a:gd name="connsiteX879" fmla="*/ 853088 w 3905665"/>
              <a:gd name="connsiteY879" fmla="*/ 2251900 h 3403632"/>
              <a:gd name="connsiteX880" fmla="*/ 1991957 w 3905665"/>
              <a:gd name="connsiteY880" fmla="*/ 2247456 h 3403632"/>
              <a:gd name="connsiteX881" fmla="*/ 1999856 w 3905665"/>
              <a:gd name="connsiteY881" fmla="*/ 2255355 h 3403632"/>
              <a:gd name="connsiteX882" fmla="*/ 1991957 w 3905665"/>
              <a:gd name="connsiteY882" fmla="*/ 2263254 h 3403632"/>
              <a:gd name="connsiteX883" fmla="*/ 1984058 w 3905665"/>
              <a:gd name="connsiteY883" fmla="*/ 2255355 h 3403632"/>
              <a:gd name="connsiteX884" fmla="*/ 1991957 w 3905665"/>
              <a:gd name="connsiteY884" fmla="*/ 2247456 h 3403632"/>
              <a:gd name="connsiteX885" fmla="*/ 2664827 w 3905665"/>
              <a:gd name="connsiteY885" fmla="*/ 2238569 h 3403632"/>
              <a:gd name="connsiteX886" fmla="*/ 2678650 w 3905665"/>
              <a:gd name="connsiteY886" fmla="*/ 2252638 h 3403632"/>
              <a:gd name="connsiteX887" fmla="*/ 2664827 w 3905665"/>
              <a:gd name="connsiteY887" fmla="*/ 2266461 h 3403632"/>
              <a:gd name="connsiteX888" fmla="*/ 2651004 w 3905665"/>
              <a:gd name="connsiteY888" fmla="*/ 2252638 h 3403632"/>
              <a:gd name="connsiteX889" fmla="*/ 2664827 w 3905665"/>
              <a:gd name="connsiteY889" fmla="*/ 2238569 h 3403632"/>
              <a:gd name="connsiteX890" fmla="*/ 512943 w 3905665"/>
              <a:gd name="connsiteY890" fmla="*/ 2237336 h 3403632"/>
              <a:gd name="connsiteX891" fmla="*/ 515905 w 3905665"/>
              <a:gd name="connsiteY891" fmla="*/ 2240298 h 3403632"/>
              <a:gd name="connsiteX892" fmla="*/ 512943 w 3905665"/>
              <a:gd name="connsiteY892" fmla="*/ 2243260 h 3403632"/>
              <a:gd name="connsiteX893" fmla="*/ 509981 w 3905665"/>
              <a:gd name="connsiteY893" fmla="*/ 2240298 h 3403632"/>
              <a:gd name="connsiteX894" fmla="*/ 512943 w 3905665"/>
              <a:gd name="connsiteY894" fmla="*/ 2237336 h 3403632"/>
              <a:gd name="connsiteX895" fmla="*/ 1177423 w 3905665"/>
              <a:gd name="connsiteY895" fmla="*/ 2235115 h 3403632"/>
              <a:gd name="connsiteX896" fmla="*/ 1180385 w 3905665"/>
              <a:gd name="connsiteY896" fmla="*/ 2238077 h 3403632"/>
              <a:gd name="connsiteX897" fmla="*/ 1177423 w 3905665"/>
              <a:gd name="connsiteY897" fmla="*/ 2241039 h 3403632"/>
              <a:gd name="connsiteX898" fmla="*/ 1174461 w 3905665"/>
              <a:gd name="connsiteY898" fmla="*/ 2238077 h 3403632"/>
              <a:gd name="connsiteX899" fmla="*/ 1177423 w 3905665"/>
              <a:gd name="connsiteY899" fmla="*/ 2235115 h 3403632"/>
              <a:gd name="connsiteX900" fmla="*/ 2184488 w 3905665"/>
              <a:gd name="connsiteY900" fmla="*/ 2231412 h 3403632"/>
              <a:gd name="connsiteX901" fmla="*/ 2196585 w 3905665"/>
              <a:gd name="connsiteY901" fmla="*/ 2243506 h 3403632"/>
              <a:gd name="connsiteX902" fmla="*/ 2184488 w 3905665"/>
              <a:gd name="connsiteY902" fmla="*/ 2255603 h 3403632"/>
              <a:gd name="connsiteX903" fmla="*/ 2172394 w 3905665"/>
              <a:gd name="connsiteY903" fmla="*/ 2243506 h 3403632"/>
              <a:gd name="connsiteX904" fmla="*/ 2184488 w 3905665"/>
              <a:gd name="connsiteY904" fmla="*/ 2231412 h 3403632"/>
              <a:gd name="connsiteX905" fmla="*/ 962188 w 3905665"/>
              <a:gd name="connsiteY905" fmla="*/ 2209196 h 3403632"/>
              <a:gd name="connsiteX906" fmla="*/ 965645 w 3905665"/>
              <a:gd name="connsiteY906" fmla="*/ 2212653 h 3403632"/>
              <a:gd name="connsiteX907" fmla="*/ 962188 w 3905665"/>
              <a:gd name="connsiteY907" fmla="*/ 2216108 h 3403632"/>
              <a:gd name="connsiteX908" fmla="*/ 958734 w 3905665"/>
              <a:gd name="connsiteY908" fmla="*/ 2212653 h 3403632"/>
              <a:gd name="connsiteX909" fmla="*/ 962188 w 3905665"/>
              <a:gd name="connsiteY909" fmla="*/ 2209196 h 3403632"/>
              <a:gd name="connsiteX910" fmla="*/ 625011 w 3905665"/>
              <a:gd name="connsiteY910" fmla="*/ 2208949 h 3403632"/>
              <a:gd name="connsiteX911" fmla="*/ 627479 w 3905665"/>
              <a:gd name="connsiteY911" fmla="*/ 2211416 h 3403632"/>
              <a:gd name="connsiteX912" fmla="*/ 625011 w 3905665"/>
              <a:gd name="connsiteY912" fmla="*/ 2213886 h 3403632"/>
              <a:gd name="connsiteX913" fmla="*/ 622542 w 3905665"/>
              <a:gd name="connsiteY913" fmla="*/ 2211416 h 3403632"/>
              <a:gd name="connsiteX914" fmla="*/ 625011 w 3905665"/>
              <a:gd name="connsiteY914" fmla="*/ 2208949 h 3403632"/>
              <a:gd name="connsiteX915" fmla="*/ 2382696 w 3905665"/>
              <a:gd name="connsiteY915" fmla="*/ 2202284 h 3403632"/>
              <a:gd name="connsiteX916" fmla="*/ 2398494 w 3905665"/>
              <a:gd name="connsiteY916" fmla="*/ 2218081 h 3403632"/>
              <a:gd name="connsiteX917" fmla="*/ 2382696 w 3905665"/>
              <a:gd name="connsiteY917" fmla="*/ 2233879 h 3403632"/>
              <a:gd name="connsiteX918" fmla="*/ 2366899 w 3905665"/>
              <a:gd name="connsiteY918" fmla="*/ 2218081 h 3403632"/>
              <a:gd name="connsiteX919" fmla="*/ 2382696 w 3905665"/>
              <a:gd name="connsiteY919" fmla="*/ 2202284 h 3403632"/>
              <a:gd name="connsiteX920" fmla="*/ 55067 w 3905665"/>
              <a:gd name="connsiteY920" fmla="*/ 2201297 h 3403632"/>
              <a:gd name="connsiteX921" fmla="*/ 57288 w 3905665"/>
              <a:gd name="connsiteY921" fmla="*/ 2203521 h 3403632"/>
              <a:gd name="connsiteX922" fmla="*/ 55067 w 3905665"/>
              <a:gd name="connsiteY922" fmla="*/ 2205742 h 3403632"/>
              <a:gd name="connsiteX923" fmla="*/ 52598 w 3905665"/>
              <a:gd name="connsiteY923" fmla="*/ 2203521 h 3403632"/>
              <a:gd name="connsiteX924" fmla="*/ 55067 w 3905665"/>
              <a:gd name="connsiteY924" fmla="*/ 2201297 h 3403632"/>
              <a:gd name="connsiteX925" fmla="*/ 1692331 w 3905665"/>
              <a:gd name="connsiteY925" fmla="*/ 2196363 h 3403632"/>
              <a:gd name="connsiteX926" fmla="*/ 1695540 w 3905665"/>
              <a:gd name="connsiteY926" fmla="*/ 2199571 h 3403632"/>
              <a:gd name="connsiteX927" fmla="*/ 1692331 w 3905665"/>
              <a:gd name="connsiteY927" fmla="*/ 2202782 h 3403632"/>
              <a:gd name="connsiteX928" fmla="*/ 1689123 w 3905665"/>
              <a:gd name="connsiteY928" fmla="*/ 2199571 h 3403632"/>
              <a:gd name="connsiteX929" fmla="*/ 1692331 w 3905665"/>
              <a:gd name="connsiteY929" fmla="*/ 2196363 h 3403632"/>
              <a:gd name="connsiteX930" fmla="*/ 1488934 w 3905665"/>
              <a:gd name="connsiteY930" fmla="*/ 2195373 h 3403632"/>
              <a:gd name="connsiteX931" fmla="*/ 1490909 w 3905665"/>
              <a:gd name="connsiteY931" fmla="*/ 2197348 h 3403632"/>
              <a:gd name="connsiteX932" fmla="*/ 1488934 w 3905665"/>
              <a:gd name="connsiteY932" fmla="*/ 2199322 h 3403632"/>
              <a:gd name="connsiteX933" fmla="*/ 1486959 w 3905665"/>
              <a:gd name="connsiteY933" fmla="*/ 2197348 h 3403632"/>
              <a:gd name="connsiteX934" fmla="*/ 1488934 w 3905665"/>
              <a:gd name="connsiteY934" fmla="*/ 2195373 h 3403632"/>
              <a:gd name="connsiteX935" fmla="*/ 1890541 w 3905665"/>
              <a:gd name="connsiteY935" fmla="*/ 2189944 h 3403632"/>
              <a:gd name="connsiteX936" fmla="*/ 1895477 w 3905665"/>
              <a:gd name="connsiteY936" fmla="*/ 2195127 h 3403632"/>
              <a:gd name="connsiteX937" fmla="*/ 1890541 w 3905665"/>
              <a:gd name="connsiteY937" fmla="*/ 2200313 h 3403632"/>
              <a:gd name="connsiteX938" fmla="*/ 1885359 w 3905665"/>
              <a:gd name="connsiteY938" fmla="*/ 2195127 h 3403632"/>
              <a:gd name="connsiteX939" fmla="*/ 1890541 w 3905665"/>
              <a:gd name="connsiteY939" fmla="*/ 2189944 h 3403632"/>
              <a:gd name="connsiteX940" fmla="*/ 170586 w 3905665"/>
              <a:gd name="connsiteY940" fmla="*/ 2189698 h 3403632"/>
              <a:gd name="connsiteX941" fmla="*/ 172561 w 3905665"/>
              <a:gd name="connsiteY941" fmla="*/ 2191427 h 3403632"/>
              <a:gd name="connsiteX942" fmla="*/ 170586 w 3905665"/>
              <a:gd name="connsiteY942" fmla="*/ 2193402 h 3403632"/>
              <a:gd name="connsiteX943" fmla="*/ 168857 w 3905665"/>
              <a:gd name="connsiteY943" fmla="*/ 2191427 h 3403632"/>
              <a:gd name="connsiteX944" fmla="*/ 170586 w 3905665"/>
              <a:gd name="connsiteY944" fmla="*/ 2189698 h 3403632"/>
              <a:gd name="connsiteX945" fmla="*/ 2566831 w 3905665"/>
              <a:gd name="connsiteY945" fmla="*/ 2187723 h 3403632"/>
              <a:gd name="connsiteX946" fmla="*/ 2575471 w 3905665"/>
              <a:gd name="connsiteY946" fmla="*/ 2196363 h 3403632"/>
              <a:gd name="connsiteX947" fmla="*/ 2566831 w 3905665"/>
              <a:gd name="connsiteY947" fmla="*/ 2205003 h 3403632"/>
              <a:gd name="connsiteX948" fmla="*/ 2558191 w 3905665"/>
              <a:gd name="connsiteY948" fmla="*/ 2196363 h 3403632"/>
              <a:gd name="connsiteX949" fmla="*/ 2566831 w 3905665"/>
              <a:gd name="connsiteY949" fmla="*/ 2187723 h 3403632"/>
              <a:gd name="connsiteX950" fmla="*/ 1282082 w 3905665"/>
              <a:gd name="connsiteY950" fmla="*/ 2184266 h 3403632"/>
              <a:gd name="connsiteX951" fmla="*/ 1284799 w 3905665"/>
              <a:gd name="connsiteY951" fmla="*/ 2186982 h 3403632"/>
              <a:gd name="connsiteX952" fmla="*/ 1282082 w 3905665"/>
              <a:gd name="connsiteY952" fmla="*/ 2189695 h 3403632"/>
              <a:gd name="connsiteX953" fmla="*/ 1279367 w 3905665"/>
              <a:gd name="connsiteY953" fmla="*/ 2186982 h 3403632"/>
              <a:gd name="connsiteX954" fmla="*/ 1282082 w 3905665"/>
              <a:gd name="connsiteY954" fmla="*/ 2184266 h 3403632"/>
              <a:gd name="connsiteX955" fmla="*/ 736084 w 3905665"/>
              <a:gd name="connsiteY955" fmla="*/ 2176367 h 3403632"/>
              <a:gd name="connsiteX956" fmla="*/ 738059 w 3905665"/>
              <a:gd name="connsiteY956" fmla="*/ 2178342 h 3403632"/>
              <a:gd name="connsiteX957" fmla="*/ 736084 w 3905665"/>
              <a:gd name="connsiteY957" fmla="*/ 2180316 h 3403632"/>
              <a:gd name="connsiteX958" fmla="*/ 734111 w 3905665"/>
              <a:gd name="connsiteY958" fmla="*/ 2178342 h 3403632"/>
              <a:gd name="connsiteX959" fmla="*/ 736084 w 3905665"/>
              <a:gd name="connsiteY959" fmla="*/ 2176367 h 3403632"/>
              <a:gd name="connsiteX960" fmla="*/ 2084274 w 3905665"/>
              <a:gd name="connsiteY960" fmla="*/ 2176121 h 3403632"/>
              <a:gd name="connsiteX961" fmla="*/ 2092911 w 3905665"/>
              <a:gd name="connsiteY961" fmla="*/ 2184761 h 3403632"/>
              <a:gd name="connsiteX962" fmla="*/ 2084274 w 3905665"/>
              <a:gd name="connsiteY962" fmla="*/ 2193401 h 3403632"/>
              <a:gd name="connsiteX963" fmla="*/ 2075634 w 3905665"/>
              <a:gd name="connsiteY963" fmla="*/ 2184761 h 3403632"/>
              <a:gd name="connsiteX964" fmla="*/ 2084274 w 3905665"/>
              <a:gd name="connsiteY964" fmla="*/ 2176121 h 3403632"/>
              <a:gd name="connsiteX965" fmla="*/ 285360 w 3905665"/>
              <a:gd name="connsiteY965" fmla="*/ 2171925 h 3403632"/>
              <a:gd name="connsiteX966" fmla="*/ 288817 w 3905665"/>
              <a:gd name="connsiteY966" fmla="*/ 2175380 h 3403632"/>
              <a:gd name="connsiteX967" fmla="*/ 285360 w 3905665"/>
              <a:gd name="connsiteY967" fmla="*/ 2178837 h 3403632"/>
              <a:gd name="connsiteX968" fmla="*/ 281906 w 3905665"/>
              <a:gd name="connsiteY968" fmla="*/ 2175380 h 3403632"/>
              <a:gd name="connsiteX969" fmla="*/ 285360 w 3905665"/>
              <a:gd name="connsiteY969" fmla="*/ 2171925 h 3403632"/>
              <a:gd name="connsiteX970" fmla="*/ 1069553 w 3905665"/>
              <a:gd name="connsiteY970" fmla="*/ 2164519 h 3403632"/>
              <a:gd name="connsiteX971" fmla="*/ 1072761 w 3905665"/>
              <a:gd name="connsiteY971" fmla="*/ 2167727 h 3403632"/>
              <a:gd name="connsiteX972" fmla="*/ 1069553 w 3905665"/>
              <a:gd name="connsiteY972" fmla="*/ 2170938 h 3403632"/>
              <a:gd name="connsiteX973" fmla="*/ 1066345 w 3905665"/>
              <a:gd name="connsiteY973" fmla="*/ 2167727 h 3403632"/>
              <a:gd name="connsiteX974" fmla="*/ 1069553 w 3905665"/>
              <a:gd name="connsiteY974" fmla="*/ 2164519 h 3403632"/>
              <a:gd name="connsiteX975" fmla="*/ 2273595 w 3905665"/>
              <a:gd name="connsiteY975" fmla="*/ 2156620 h 3403632"/>
              <a:gd name="connsiteX976" fmla="*/ 2286430 w 3905665"/>
              <a:gd name="connsiteY976" fmla="*/ 2169456 h 3403632"/>
              <a:gd name="connsiteX977" fmla="*/ 2273595 w 3905665"/>
              <a:gd name="connsiteY977" fmla="*/ 2182291 h 3403632"/>
              <a:gd name="connsiteX978" fmla="*/ 2260759 w 3905665"/>
              <a:gd name="connsiteY978" fmla="*/ 2169456 h 3403632"/>
              <a:gd name="connsiteX979" fmla="*/ 2273595 w 3905665"/>
              <a:gd name="connsiteY979" fmla="*/ 2156620 h 3403632"/>
              <a:gd name="connsiteX980" fmla="*/ 2747268 w 3905665"/>
              <a:gd name="connsiteY980" fmla="*/ 2155633 h 3403632"/>
              <a:gd name="connsiteX981" fmla="*/ 2762078 w 3905665"/>
              <a:gd name="connsiteY981" fmla="*/ 2170443 h 3403632"/>
              <a:gd name="connsiteX982" fmla="*/ 2747268 w 3905665"/>
              <a:gd name="connsiteY982" fmla="*/ 2185254 h 3403632"/>
              <a:gd name="connsiteX983" fmla="*/ 2732458 w 3905665"/>
              <a:gd name="connsiteY983" fmla="*/ 2170443 h 3403632"/>
              <a:gd name="connsiteX984" fmla="*/ 2747268 w 3905665"/>
              <a:gd name="connsiteY984" fmla="*/ 2155633 h 3403632"/>
              <a:gd name="connsiteX985" fmla="*/ 399644 w 3905665"/>
              <a:gd name="connsiteY985" fmla="*/ 2151438 h 3403632"/>
              <a:gd name="connsiteX986" fmla="*/ 402606 w 3905665"/>
              <a:gd name="connsiteY986" fmla="*/ 2154400 h 3403632"/>
              <a:gd name="connsiteX987" fmla="*/ 399644 w 3905665"/>
              <a:gd name="connsiteY987" fmla="*/ 2157362 h 3403632"/>
              <a:gd name="connsiteX988" fmla="*/ 396682 w 3905665"/>
              <a:gd name="connsiteY988" fmla="*/ 2154400 h 3403632"/>
              <a:gd name="connsiteX989" fmla="*/ 399644 w 3905665"/>
              <a:gd name="connsiteY989" fmla="*/ 2151438 h 3403632"/>
              <a:gd name="connsiteX990" fmla="*/ 845679 w 3905665"/>
              <a:gd name="connsiteY990" fmla="*/ 2139094 h 3403632"/>
              <a:gd name="connsiteX991" fmla="*/ 847408 w 3905665"/>
              <a:gd name="connsiteY991" fmla="*/ 2140574 h 3403632"/>
              <a:gd name="connsiteX992" fmla="*/ 845679 w 3905665"/>
              <a:gd name="connsiteY992" fmla="*/ 2142302 h 3403632"/>
              <a:gd name="connsiteX993" fmla="*/ 844200 w 3905665"/>
              <a:gd name="connsiteY993" fmla="*/ 2140574 h 3403632"/>
              <a:gd name="connsiteX994" fmla="*/ 845679 w 3905665"/>
              <a:gd name="connsiteY994" fmla="*/ 2139094 h 3403632"/>
              <a:gd name="connsiteX995" fmla="*/ 1588411 w 3905665"/>
              <a:gd name="connsiteY995" fmla="*/ 2135145 h 3403632"/>
              <a:gd name="connsiteX996" fmla="*/ 1590632 w 3905665"/>
              <a:gd name="connsiteY996" fmla="*/ 2137366 h 3403632"/>
              <a:gd name="connsiteX997" fmla="*/ 1588411 w 3905665"/>
              <a:gd name="connsiteY997" fmla="*/ 2139587 h 3403632"/>
              <a:gd name="connsiteX998" fmla="*/ 1586190 w 3905665"/>
              <a:gd name="connsiteY998" fmla="*/ 2137366 h 3403632"/>
              <a:gd name="connsiteX999" fmla="*/ 1588411 w 3905665"/>
              <a:gd name="connsiteY999" fmla="*/ 2135145 h 3403632"/>
              <a:gd name="connsiteX1000" fmla="*/ 1788597 w 3905665"/>
              <a:gd name="connsiteY1000" fmla="*/ 2132678 h 3403632"/>
              <a:gd name="connsiteX1001" fmla="*/ 1790326 w 3905665"/>
              <a:gd name="connsiteY1001" fmla="*/ 2134406 h 3403632"/>
              <a:gd name="connsiteX1002" fmla="*/ 1788597 w 3905665"/>
              <a:gd name="connsiteY1002" fmla="*/ 2136135 h 3403632"/>
              <a:gd name="connsiteX1003" fmla="*/ 1786869 w 3905665"/>
              <a:gd name="connsiteY1003" fmla="*/ 2134406 h 3403632"/>
              <a:gd name="connsiteX1004" fmla="*/ 1788597 w 3905665"/>
              <a:gd name="connsiteY1004" fmla="*/ 2132678 h 3403632"/>
              <a:gd name="connsiteX1005" fmla="*/ 1384767 w 3905665"/>
              <a:gd name="connsiteY1005" fmla="*/ 2129470 h 3403632"/>
              <a:gd name="connsiteX1006" fmla="*/ 1387481 w 3905665"/>
              <a:gd name="connsiteY1006" fmla="*/ 2131937 h 3403632"/>
              <a:gd name="connsiteX1007" fmla="*/ 1384767 w 3905665"/>
              <a:gd name="connsiteY1007" fmla="*/ 2134653 h 3403632"/>
              <a:gd name="connsiteX1008" fmla="*/ 1382298 w 3905665"/>
              <a:gd name="connsiteY1008" fmla="*/ 2131937 h 3403632"/>
              <a:gd name="connsiteX1009" fmla="*/ 1384767 w 3905665"/>
              <a:gd name="connsiteY1009" fmla="*/ 2129470 h 3403632"/>
              <a:gd name="connsiteX1010" fmla="*/ 512692 w 3905665"/>
              <a:gd name="connsiteY1010" fmla="*/ 2126508 h 3403632"/>
              <a:gd name="connsiteX1011" fmla="*/ 515162 w 3905665"/>
              <a:gd name="connsiteY1011" fmla="*/ 2128978 h 3403632"/>
              <a:gd name="connsiteX1012" fmla="*/ 512692 w 3905665"/>
              <a:gd name="connsiteY1012" fmla="*/ 2131445 h 3403632"/>
              <a:gd name="connsiteX1013" fmla="*/ 510225 w 3905665"/>
              <a:gd name="connsiteY1013" fmla="*/ 2128978 h 3403632"/>
              <a:gd name="connsiteX1014" fmla="*/ 512692 w 3905665"/>
              <a:gd name="connsiteY1014" fmla="*/ 2126508 h 3403632"/>
              <a:gd name="connsiteX1015" fmla="*/ 2468839 w 3905665"/>
              <a:gd name="connsiteY1015" fmla="*/ 2122805 h 3403632"/>
              <a:gd name="connsiteX1016" fmla="*/ 2485624 w 3905665"/>
              <a:gd name="connsiteY1016" fmla="*/ 2139590 h 3403632"/>
              <a:gd name="connsiteX1017" fmla="*/ 2468839 w 3905665"/>
              <a:gd name="connsiteY1017" fmla="*/ 2156375 h 3403632"/>
              <a:gd name="connsiteX1018" fmla="*/ 2452054 w 3905665"/>
              <a:gd name="connsiteY1018" fmla="*/ 2139590 h 3403632"/>
              <a:gd name="connsiteX1019" fmla="*/ 2468839 w 3905665"/>
              <a:gd name="connsiteY1019" fmla="*/ 2122805 h 3403632"/>
              <a:gd name="connsiteX1020" fmla="*/ 1983566 w 3905665"/>
              <a:gd name="connsiteY1020" fmla="*/ 2120584 h 3403632"/>
              <a:gd name="connsiteX1021" fmla="*/ 1988995 w 3905665"/>
              <a:gd name="connsiteY1021" fmla="*/ 2126016 h 3403632"/>
              <a:gd name="connsiteX1022" fmla="*/ 1983566 w 3905665"/>
              <a:gd name="connsiteY1022" fmla="*/ 2131445 h 3403632"/>
              <a:gd name="connsiteX1023" fmla="*/ 1978134 w 3905665"/>
              <a:gd name="connsiteY1023" fmla="*/ 2126016 h 3403632"/>
              <a:gd name="connsiteX1024" fmla="*/ 1983566 w 3905665"/>
              <a:gd name="connsiteY1024" fmla="*/ 2120584 h 3403632"/>
              <a:gd name="connsiteX1025" fmla="*/ 1175447 w 3905665"/>
              <a:gd name="connsiteY1025" fmla="*/ 2115893 h 3403632"/>
              <a:gd name="connsiteX1026" fmla="*/ 1178408 w 3905665"/>
              <a:gd name="connsiteY1026" fmla="*/ 2118855 h 3403632"/>
              <a:gd name="connsiteX1027" fmla="*/ 1175447 w 3905665"/>
              <a:gd name="connsiteY1027" fmla="*/ 2121817 h 3403632"/>
              <a:gd name="connsiteX1028" fmla="*/ 1172484 w 3905665"/>
              <a:gd name="connsiteY1028" fmla="*/ 2118855 h 3403632"/>
              <a:gd name="connsiteX1029" fmla="*/ 1175447 w 3905665"/>
              <a:gd name="connsiteY1029" fmla="*/ 2115893 h 3403632"/>
              <a:gd name="connsiteX1030" fmla="*/ 2649770 w 3905665"/>
              <a:gd name="connsiteY1030" fmla="*/ 2105279 h 3403632"/>
              <a:gd name="connsiteX1031" fmla="*/ 2659149 w 3905665"/>
              <a:gd name="connsiteY1031" fmla="*/ 2114660 h 3403632"/>
              <a:gd name="connsiteX1032" fmla="*/ 2649770 w 3905665"/>
              <a:gd name="connsiteY1032" fmla="*/ 2124038 h 3403632"/>
              <a:gd name="connsiteX1033" fmla="*/ 2640389 w 3905665"/>
              <a:gd name="connsiteY1033" fmla="*/ 2114660 h 3403632"/>
              <a:gd name="connsiteX1034" fmla="*/ 2649770 w 3905665"/>
              <a:gd name="connsiteY1034" fmla="*/ 2105279 h 3403632"/>
              <a:gd name="connsiteX1035" fmla="*/ 2174122 w 3905665"/>
              <a:gd name="connsiteY1035" fmla="*/ 2102071 h 3403632"/>
              <a:gd name="connsiteX1036" fmla="*/ 2183500 w 3905665"/>
              <a:gd name="connsiteY1036" fmla="*/ 2111452 h 3403632"/>
              <a:gd name="connsiteX1037" fmla="*/ 2174122 w 3905665"/>
              <a:gd name="connsiteY1037" fmla="*/ 2120830 h 3403632"/>
              <a:gd name="connsiteX1038" fmla="*/ 2164741 w 3905665"/>
              <a:gd name="connsiteY1038" fmla="*/ 2111452 h 3403632"/>
              <a:gd name="connsiteX1039" fmla="*/ 2174122 w 3905665"/>
              <a:gd name="connsiteY1039" fmla="*/ 2102071 h 3403632"/>
              <a:gd name="connsiteX1040" fmla="*/ 953792 w 3905665"/>
              <a:gd name="connsiteY1040" fmla="*/ 2097629 h 3403632"/>
              <a:gd name="connsiteX1041" fmla="*/ 955026 w 3905665"/>
              <a:gd name="connsiteY1041" fmla="*/ 2098863 h 3403632"/>
              <a:gd name="connsiteX1042" fmla="*/ 953792 w 3905665"/>
              <a:gd name="connsiteY1042" fmla="*/ 2100099 h 3403632"/>
              <a:gd name="connsiteX1043" fmla="*/ 952559 w 3905665"/>
              <a:gd name="connsiteY1043" fmla="*/ 2098863 h 3403632"/>
              <a:gd name="connsiteX1044" fmla="*/ 953792 w 3905665"/>
              <a:gd name="connsiteY1044" fmla="*/ 2097629 h 3403632"/>
              <a:gd name="connsiteX1045" fmla="*/ 624760 w 3905665"/>
              <a:gd name="connsiteY1045" fmla="*/ 2096888 h 3403632"/>
              <a:gd name="connsiteX1046" fmla="*/ 626735 w 3905665"/>
              <a:gd name="connsiteY1046" fmla="*/ 2098863 h 3403632"/>
              <a:gd name="connsiteX1047" fmla="*/ 624760 w 3905665"/>
              <a:gd name="connsiteY1047" fmla="*/ 2100837 h 3403632"/>
              <a:gd name="connsiteX1048" fmla="*/ 622785 w 3905665"/>
              <a:gd name="connsiteY1048" fmla="*/ 2098863 h 3403632"/>
              <a:gd name="connsiteX1049" fmla="*/ 624760 w 3905665"/>
              <a:gd name="connsiteY1049" fmla="*/ 2096888 h 3403632"/>
              <a:gd name="connsiteX1050" fmla="*/ 54817 w 3905665"/>
              <a:gd name="connsiteY1050" fmla="*/ 2091705 h 3403632"/>
              <a:gd name="connsiteX1051" fmla="*/ 57532 w 3905665"/>
              <a:gd name="connsiteY1051" fmla="*/ 2094421 h 3403632"/>
              <a:gd name="connsiteX1052" fmla="*/ 54817 w 3905665"/>
              <a:gd name="connsiteY1052" fmla="*/ 2097134 h 3403632"/>
              <a:gd name="connsiteX1053" fmla="*/ 52101 w 3905665"/>
              <a:gd name="connsiteY1053" fmla="*/ 2094421 h 3403632"/>
              <a:gd name="connsiteX1054" fmla="*/ 54817 w 3905665"/>
              <a:gd name="connsiteY1054" fmla="*/ 2091705 h 3403632"/>
              <a:gd name="connsiteX1055" fmla="*/ 170335 w 3905665"/>
              <a:gd name="connsiteY1055" fmla="*/ 2079857 h 3403632"/>
              <a:gd name="connsiteX1056" fmla="*/ 172556 w 3905665"/>
              <a:gd name="connsiteY1056" fmla="*/ 2082327 h 3403632"/>
              <a:gd name="connsiteX1057" fmla="*/ 170335 w 3905665"/>
              <a:gd name="connsiteY1057" fmla="*/ 2084548 h 3403632"/>
              <a:gd name="connsiteX1058" fmla="*/ 167865 w 3905665"/>
              <a:gd name="connsiteY1058" fmla="*/ 2082327 h 3403632"/>
              <a:gd name="connsiteX1059" fmla="*/ 170335 w 3905665"/>
              <a:gd name="connsiteY1059" fmla="*/ 2079857 h 3403632"/>
              <a:gd name="connsiteX1060" fmla="*/ 2360234 w 3905665"/>
              <a:gd name="connsiteY1060" fmla="*/ 2078374 h 3403632"/>
              <a:gd name="connsiteX1061" fmla="*/ 2374057 w 3905665"/>
              <a:gd name="connsiteY1061" fmla="*/ 2092197 h 3403632"/>
              <a:gd name="connsiteX1062" fmla="*/ 2360234 w 3905665"/>
              <a:gd name="connsiteY1062" fmla="*/ 2106020 h 3403632"/>
              <a:gd name="connsiteX1063" fmla="*/ 2346411 w 3905665"/>
              <a:gd name="connsiteY1063" fmla="*/ 2092197 h 3403632"/>
              <a:gd name="connsiteX1064" fmla="*/ 2360234 w 3905665"/>
              <a:gd name="connsiteY1064" fmla="*/ 2078374 h 3403632"/>
              <a:gd name="connsiteX1065" fmla="*/ 1485231 w 3905665"/>
              <a:gd name="connsiteY1065" fmla="*/ 2070968 h 3403632"/>
              <a:gd name="connsiteX1066" fmla="*/ 1487698 w 3905665"/>
              <a:gd name="connsiteY1066" fmla="*/ 2073438 h 3403632"/>
              <a:gd name="connsiteX1067" fmla="*/ 1485231 w 3905665"/>
              <a:gd name="connsiteY1067" fmla="*/ 2075905 h 3403632"/>
              <a:gd name="connsiteX1068" fmla="*/ 1482761 w 3905665"/>
              <a:gd name="connsiteY1068" fmla="*/ 2073438 h 3403632"/>
              <a:gd name="connsiteX1069" fmla="*/ 1485231 w 3905665"/>
              <a:gd name="connsiteY1069" fmla="*/ 2070968 h 3403632"/>
              <a:gd name="connsiteX1070" fmla="*/ 1685913 w 3905665"/>
              <a:gd name="connsiteY1070" fmla="*/ 2070722 h 3403632"/>
              <a:gd name="connsiteX1071" fmla="*/ 1688628 w 3905665"/>
              <a:gd name="connsiteY1071" fmla="*/ 2073438 h 3403632"/>
              <a:gd name="connsiteX1072" fmla="*/ 1685913 w 3905665"/>
              <a:gd name="connsiteY1072" fmla="*/ 2076154 h 3403632"/>
              <a:gd name="connsiteX1073" fmla="*/ 1683196 w 3905665"/>
              <a:gd name="connsiteY1073" fmla="*/ 2073438 h 3403632"/>
              <a:gd name="connsiteX1074" fmla="*/ 1685913 w 3905665"/>
              <a:gd name="connsiteY1074" fmla="*/ 2070722 h 3403632"/>
              <a:gd name="connsiteX1075" fmla="*/ 2827242 w 3905665"/>
              <a:gd name="connsiteY1075" fmla="*/ 2070476 h 3403632"/>
              <a:gd name="connsiteX1076" fmla="*/ 2842791 w 3905665"/>
              <a:gd name="connsiteY1076" fmla="*/ 2086027 h 3403632"/>
              <a:gd name="connsiteX1077" fmla="*/ 2827242 w 3905665"/>
              <a:gd name="connsiteY1077" fmla="*/ 2101579 h 3403632"/>
              <a:gd name="connsiteX1078" fmla="*/ 2811691 w 3905665"/>
              <a:gd name="connsiteY1078" fmla="*/ 2086027 h 3403632"/>
              <a:gd name="connsiteX1079" fmla="*/ 2827242 w 3905665"/>
              <a:gd name="connsiteY1079" fmla="*/ 2070476 h 3403632"/>
              <a:gd name="connsiteX1080" fmla="*/ 1882639 w 3905665"/>
              <a:gd name="connsiteY1080" fmla="*/ 2064057 h 3403632"/>
              <a:gd name="connsiteX1081" fmla="*/ 1884862 w 3905665"/>
              <a:gd name="connsiteY1081" fmla="*/ 2066278 h 3403632"/>
              <a:gd name="connsiteX1082" fmla="*/ 1882639 w 3905665"/>
              <a:gd name="connsiteY1082" fmla="*/ 2068502 h 3403632"/>
              <a:gd name="connsiteX1083" fmla="*/ 1880419 w 3905665"/>
              <a:gd name="connsiteY1083" fmla="*/ 2066278 h 3403632"/>
              <a:gd name="connsiteX1084" fmla="*/ 1882639 w 3905665"/>
              <a:gd name="connsiteY1084" fmla="*/ 2064057 h 3403632"/>
              <a:gd name="connsiteX1085" fmla="*/ 285111 w 3905665"/>
              <a:gd name="connsiteY1085" fmla="*/ 2063318 h 3403632"/>
              <a:gd name="connsiteX1086" fmla="*/ 287086 w 3905665"/>
              <a:gd name="connsiteY1086" fmla="*/ 2065293 h 3403632"/>
              <a:gd name="connsiteX1087" fmla="*/ 285111 w 3905665"/>
              <a:gd name="connsiteY1087" fmla="*/ 2067267 h 3403632"/>
              <a:gd name="connsiteX1088" fmla="*/ 283137 w 3905665"/>
              <a:gd name="connsiteY1088" fmla="*/ 2065293 h 3403632"/>
              <a:gd name="connsiteX1089" fmla="*/ 285111 w 3905665"/>
              <a:gd name="connsiteY1089" fmla="*/ 2063318 h 3403632"/>
              <a:gd name="connsiteX1090" fmla="*/ 1279119 w 3905665"/>
              <a:gd name="connsiteY1090" fmla="*/ 2063072 h 3403632"/>
              <a:gd name="connsiteX1091" fmla="*/ 1282081 w 3905665"/>
              <a:gd name="connsiteY1091" fmla="*/ 2066034 h 3403632"/>
              <a:gd name="connsiteX1092" fmla="*/ 1279119 w 3905665"/>
              <a:gd name="connsiteY1092" fmla="*/ 2068750 h 3403632"/>
              <a:gd name="connsiteX1093" fmla="*/ 1276403 w 3905665"/>
              <a:gd name="connsiteY1093" fmla="*/ 2066034 h 3403632"/>
              <a:gd name="connsiteX1094" fmla="*/ 1279119 w 3905665"/>
              <a:gd name="connsiteY1094" fmla="*/ 2063072 h 3403632"/>
              <a:gd name="connsiteX1095" fmla="*/ 735587 w 3905665"/>
              <a:gd name="connsiteY1095" fmla="*/ 2062823 h 3403632"/>
              <a:gd name="connsiteX1096" fmla="*/ 737069 w 3905665"/>
              <a:gd name="connsiteY1096" fmla="*/ 2064303 h 3403632"/>
              <a:gd name="connsiteX1097" fmla="*/ 735587 w 3905665"/>
              <a:gd name="connsiteY1097" fmla="*/ 2065785 h 3403632"/>
              <a:gd name="connsiteX1098" fmla="*/ 734109 w 3905665"/>
              <a:gd name="connsiteY1098" fmla="*/ 2064303 h 3403632"/>
              <a:gd name="connsiteX1099" fmla="*/ 735587 w 3905665"/>
              <a:gd name="connsiteY1099" fmla="*/ 2062823 h 3403632"/>
              <a:gd name="connsiteX1100" fmla="*/ 1060176 w 3905665"/>
              <a:gd name="connsiteY1100" fmla="*/ 2051716 h 3403632"/>
              <a:gd name="connsiteX1101" fmla="*/ 1061164 w 3905665"/>
              <a:gd name="connsiteY1101" fmla="*/ 2052704 h 3403632"/>
              <a:gd name="connsiteX1102" fmla="*/ 1060176 w 3905665"/>
              <a:gd name="connsiteY1102" fmla="*/ 2053691 h 3403632"/>
              <a:gd name="connsiteX1103" fmla="*/ 1059189 w 3905665"/>
              <a:gd name="connsiteY1103" fmla="*/ 2052704 h 3403632"/>
              <a:gd name="connsiteX1104" fmla="*/ 1060176 w 3905665"/>
              <a:gd name="connsiteY1104" fmla="*/ 2051716 h 3403632"/>
              <a:gd name="connsiteX1105" fmla="*/ 2074398 w 3905665"/>
              <a:gd name="connsiteY1105" fmla="*/ 2047521 h 3403632"/>
              <a:gd name="connsiteX1106" fmla="*/ 2080322 w 3905665"/>
              <a:gd name="connsiteY1106" fmla="*/ 2053445 h 3403632"/>
              <a:gd name="connsiteX1107" fmla="*/ 2074398 w 3905665"/>
              <a:gd name="connsiteY1107" fmla="*/ 2059369 h 3403632"/>
              <a:gd name="connsiteX1108" fmla="*/ 2068474 w 3905665"/>
              <a:gd name="connsiteY1108" fmla="*/ 2053445 h 3403632"/>
              <a:gd name="connsiteX1109" fmla="*/ 2074398 w 3905665"/>
              <a:gd name="connsiteY1109" fmla="*/ 2047521 h 3403632"/>
              <a:gd name="connsiteX1110" fmla="*/ 399150 w 3905665"/>
              <a:gd name="connsiteY1110" fmla="*/ 2041843 h 3403632"/>
              <a:gd name="connsiteX1111" fmla="*/ 400875 w 3905665"/>
              <a:gd name="connsiteY1111" fmla="*/ 2043571 h 3403632"/>
              <a:gd name="connsiteX1112" fmla="*/ 399150 w 3905665"/>
              <a:gd name="connsiteY1112" fmla="*/ 2045300 h 3403632"/>
              <a:gd name="connsiteX1113" fmla="*/ 397421 w 3905665"/>
              <a:gd name="connsiteY1113" fmla="*/ 2043571 h 3403632"/>
              <a:gd name="connsiteX1114" fmla="*/ 399150 w 3905665"/>
              <a:gd name="connsiteY1114" fmla="*/ 2041843 h 3403632"/>
              <a:gd name="connsiteX1115" fmla="*/ 2552516 w 3905665"/>
              <a:gd name="connsiteY1115" fmla="*/ 2041102 h 3403632"/>
              <a:gd name="connsiteX1116" fmla="*/ 2570288 w 3905665"/>
              <a:gd name="connsiteY1116" fmla="*/ 2058628 h 3403632"/>
              <a:gd name="connsiteX1117" fmla="*/ 2552516 w 3905665"/>
              <a:gd name="connsiteY1117" fmla="*/ 2076400 h 3403632"/>
              <a:gd name="connsiteX1118" fmla="*/ 2534744 w 3905665"/>
              <a:gd name="connsiteY1118" fmla="*/ 2058628 h 3403632"/>
              <a:gd name="connsiteX1119" fmla="*/ 2552516 w 3905665"/>
              <a:gd name="connsiteY1119" fmla="*/ 2041102 h 3403632"/>
              <a:gd name="connsiteX1120" fmla="*/ 2261747 w 3905665"/>
              <a:gd name="connsiteY1120" fmla="*/ 2025058 h 3403632"/>
              <a:gd name="connsiteX1121" fmla="*/ 2271866 w 3905665"/>
              <a:gd name="connsiteY1121" fmla="*/ 2035178 h 3403632"/>
              <a:gd name="connsiteX1122" fmla="*/ 2261747 w 3905665"/>
              <a:gd name="connsiteY1122" fmla="*/ 2045300 h 3403632"/>
              <a:gd name="connsiteX1123" fmla="*/ 2251627 w 3905665"/>
              <a:gd name="connsiteY1123" fmla="*/ 2035178 h 3403632"/>
              <a:gd name="connsiteX1124" fmla="*/ 2261747 w 3905665"/>
              <a:gd name="connsiteY1124" fmla="*/ 2025058 h 3403632"/>
              <a:gd name="connsiteX1125" fmla="*/ 844690 w 3905665"/>
              <a:gd name="connsiteY1125" fmla="*/ 2024317 h 3403632"/>
              <a:gd name="connsiteX1126" fmla="*/ 845678 w 3905665"/>
              <a:gd name="connsiteY1126" fmla="*/ 2025304 h 3403632"/>
              <a:gd name="connsiteX1127" fmla="*/ 844690 w 3905665"/>
              <a:gd name="connsiteY1127" fmla="*/ 2026292 h 3403632"/>
              <a:gd name="connsiteX1128" fmla="*/ 843703 w 3905665"/>
              <a:gd name="connsiteY1128" fmla="*/ 2025304 h 3403632"/>
              <a:gd name="connsiteX1129" fmla="*/ 844690 w 3905665"/>
              <a:gd name="connsiteY1129" fmla="*/ 2024317 h 3403632"/>
              <a:gd name="connsiteX1130" fmla="*/ 2730484 w 3905665"/>
              <a:gd name="connsiteY1130" fmla="*/ 2020368 h 3403632"/>
              <a:gd name="connsiteX1131" fmla="*/ 2740850 w 3905665"/>
              <a:gd name="connsiteY1131" fmla="*/ 2030737 h 3403632"/>
              <a:gd name="connsiteX1132" fmla="*/ 2730484 w 3905665"/>
              <a:gd name="connsiteY1132" fmla="*/ 2041103 h 3403632"/>
              <a:gd name="connsiteX1133" fmla="*/ 2720115 w 3905665"/>
              <a:gd name="connsiteY1133" fmla="*/ 2030737 h 3403632"/>
              <a:gd name="connsiteX1134" fmla="*/ 2730484 w 3905665"/>
              <a:gd name="connsiteY1134" fmla="*/ 2020368 h 3403632"/>
              <a:gd name="connsiteX1135" fmla="*/ 512199 w 3905665"/>
              <a:gd name="connsiteY1135" fmla="*/ 2013705 h 3403632"/>
              <a:gd name="connsiteX1136" fmla="*/ 515654 w 3905665"/>
              <a:gd name="connsiteY1136" fmla="*/ 2017160 h 3403632"/>
              <a:gd name="connsiteX1137" fmla="*/ 512199 w 3905665"/>
              <a:gd name="connsiteY1137" fmla="*/ 2020617 h 3403632"/>
              <a:gd name="connsiteX1138" fmla="*/ 508496 w 3905665"/>
              <a:gd name="connsiteY1138" fmla="*/ 2017160 h 3403632"/>
              <a:gd name="connsiteX1139" fmla="*/ 512199 w 3905665"/>
              <a:gd name="connsiteY1139" fmla="*/ 2013705 h 3403632"/>
              <a:gd name="connsiteX1140" fmla="*/ 1583718 w 3905665"/>
              <a:gd name="connsiteY1140" fmla="*/ 2009015 h 3403632"/>
              <a:gd name="connsiteX1141" fmla="*/ 1585939 w 3905665"/>
              <a:gd name="connsiteY1141" fmla="*/ 2011236 h 3403632"/>
              <a:gd name="connsiteX1142" fmla="*/ 1583718 w 3905665"/>
              <a:gd name="connsiteY1142" fmla="*/ 2013457 h 3403632"/>
              <a:gd name="connsiteX1143" fmla="*/ 1581497 w 3905665"/>
              <a:gd name="connsiteY1143" fmla="*/ 2011236 h 3403632"/>
              <a:gd name="connsiteX1144" fmla="*/ 1583718 w 3905665"/>
              <a:gd name="connsiteY1144" fmla="*/ 2009015 h 3403632"/>
              <a:gd name="connsiteX1145" fmla="*/ 1381064 w 3905665"/>
              <a:gd name="connsiteY1145" fmla="*/ 2006299 h 3403632"/>
              <a:gd name="connsiteX1146" fmla="*/ 1383780 w 3905665"/>
              <a:gd name="connsiteY1146" fmla="*/ 2009015 h 3403632"/>
              <a:gd name="connsiteX1147" fmla="*/ 1381064 w 3905665"/>
              <a:gd name="connsiteY1147" fmla="*/ 2011731 h 3403632"/>
              <a:gd name="connsiteX1148" fmla="*/ 1378349 w 3905665"/>
              <a:gd name="connsiteY1148" fmla="*/ 2009015 h 3403632"/>
              <a:gd name="connsiteX1149" fmla="*/ 1381064 w 3905665"/>
              <a:gd name="connsiteY1149" fmla="*/ 2006299 h 3403632"/>
              <a:gd name="connsiteX1150" fmla="*/ 1780944 w 3905665"/>
              <a:gd name="connsiteY1150" fmla="*/ 2003583 h 3403632"/>
              <a:gd name="connsiteX1151" fmla="*/ 1783905 w 3905665"/>
              <a:gd name="connsiteY1151" fmla="*/ 2006545 h 3403632"/>
              <a:gd name="connsiteX1152" fmla="*/ 1780944 w 3905665"/>
              <a:gd name="connsiteY1152" fmla="*/ 2009507 h 3403632"/>
              <a:gd name="connsiteX1153" fmla="*/ 1777982 w 3905665"/>
              <a:gd name="connsiteY1153" fmla="*/ 2006545 h 3403632"/>
              <a:gd name="connsiteX1154" fmla="*/ 1780944 w 3905665"/>
              <a:gd name="connsiteY1154" fmla="*/ 2003583 h 3403632"/>
              <a:gd name="connsiteX1155" fmla="*/ 1164830 w 3905665"/>
              <a:gd name="connsiteY1155" fmla="*/ 2001857 h 3403632"/>
              <a:gd name="connsiteX1156" fmla="*/ 1165818 w 3905665"/>
              <a:gd name="connsiteY1156" fmla="*/ 2002844 h 3403632"/>
              <a:gd name="connsiteX1157" fmla="*/ 1164830 w 3905665"/>
              <a:gd name="connsiteY1157" fmla="*/ 2003832 h 3403632"/>
              <a:gd name="connsiteX1158" fmla="*/ 1163843 w 3905665"/>
              <a:gd name="connsiteY1158" fmla="*/ 2002844 h 3403632"/>
              <a:gd name="connsiteX1159" fmla="*/ 1164830 w 3905665"/>
              <a:gd name="connsiteY1159" fmla="*/ 2001857 h 3403632"/>
              <a:gd name="connsiteX1160" fmla="*/ 2444650 w 3905665"/>
              <a:gd name="connsiteY1160" fmla="*/ 1998154 h 3403632"/>
              <a:gd name="connsiteX1161" fmla="*/ 2459214 w 3905665"/>
              <a:gd name="connsiteY1161" fmla="*/ 2012718 h 3403632"/>
              <a:gd name="connsiteX1162" fmla="*/ 2444650 w 3905665"/>
              <a:gd name="connsiteY1162" fmla="*/ 2027279 h 3403632"/>
              <a:gd name="connsiteX1163" fmla="*/ 2430086 w 3905665"/>
              <a:gd name="connsiteY1163" fmla="*/ 2012718 h 3403632"/>
              <a:gd name="connsiteX1164" fmla="*/ 2444650 w 3905665"/>
              <a:gd name="connsiteY1164" fmla="*/ 1998154 h 3403632"/>
              <a:gd name="connsiteX1165" fmla="*/ 1974437 w 3905665"/>
              <a:gd name="connsiteY1165" fmla="*/ 1991735 h 3403632"/>
              <a:gd name="connsiteX1166" fmla="*/ 1977401 w 3905665"/>
              <a:gd name="connsiteY1166" fmla="*/ 1994697 h 3403632"/>
              <a:gd name="connsiteX1167" fmla="*/ 1974437 w 3905665"/>
              <a:gd name="connsiteY1167" fmla="*/ 1997659 h 3403632"/>
              <a:gd name="connsiteX1168" fmla="*/ 1971473 w 3905665"/>
              <a:gd name="connsiteY1168" fmla="*/ 1994697 h 3403632"/>
              <a:gd name="connsiteX1169" fmla="*/ 1974437 w 3905665"/>
              <a:gd name="connsiteY1169" fmla="*/ 1991735 h 3403632"/>
              <a:gd name="connsiteX1170" fmla="*/ 2904996 w 3905665"/>
              <a:gd name="connsiteY1170" fmla="*/ 1983095 h 3403632"/>
              <a:gd name="connsiteX1171" fmla="*/ 2921286 w 3905665"/>
              <a:gd name="connsiteY1171" fmla="*/ 1999387 h 3403632"/>
              <a:gd name="connsiteX1172" fmla="*/ 2904996 w 3905665"/>
              <a:gd name="connsiteY1172" fmla="*/ 2015677 h 3403632"/>
              <a:gd name="connsiteX1173" fmla="*/ 2888704 w 3905665"/>
              <a:gd name="connsiteY1173" fmla="*/ 1999387 h 3403632"/>
              <a:gd name="connsiteX1174" fmla="*/ 2904996 w 3905665"/>
              <a:gd name="connsiteY1174" fmla="*/ 1983095 h 3403632"/>
              <a:gd name="connsiteX1175" fmla="*/ 624017 w 3905665"/>
              <a:gd name="connsiteY1175" fmla="*/ 1982603 h 3403632"/>
              <a:gd name="connsiteX1176" fmla="*/ 627225 w 3905665"/>
              <a:gd name="connsiteY1176" fmla="*/ 1985811 h 3403632"/>
              <a:gd name="connsiteX1177" fmla="*/ 624017 w 3905665"/>
              <a:gd name="connsiteY1177" fmla="*/ 1989022 h 3403632"/>
              <a:gd name="connsiteX1178" fmla="*/ 620809 w 3905665"/>
              <a:gd name="connsiteY1178" fmla="*/ 1985811 h 3403632"/>
              <a:gd name="connsiteX1179" fmla="*/ 624017 w 3905665"/>
              <a:gd name="connsiteY1179" fmla="*/ 1982603 h 3403632"/>
              <a:gd name="connsiteX1180" fmla="*/ 54569 w 3905665"/>
              <a:gd name="connsiteY1180" fmla="*/ 1982603 h 3403632"/>
              <a:gd name="connsiteX1181" fmla="*/ 57285 w 3905665"/>
              <a:gd name="connsiteY1181" fmla="*/ 1985319 h 3403632"/>
              <a:gd name="connsiteX1182" fmla="*/ 54569 w 3905665"/>
              <a:gd name="connsiteY1182" fmla="*/ 1988035 h 3403632"/>
              <a:gd name="connsiteX1183" fmla="*/ 51853 w 3905665"/>
              <a:gd name="connsiteY1183" fmla="*/ 1985319 h 3403632"/>
              <a:gd name="connsiteX1184" fmla="*/ 54569 w 3905665"/>
              <a:gd name="connsiteY1184" fmla="*/ 1982603 h 3403632"/>
              <a:gd name="connsiteX1185" fmla="*/ 952310 w 3905665"/>
              <a:gd name="connsiteY1185" fmla="*/ 1981123 h 3403632"/>
              <a:gd name="connsiteX1186" fmla="*/ 953049 w 3905665"/>
              <a:gd name="connsiteY1186" fmla="*/ 1981864 h 3403632"/>
              <a:gd name="connsiteX1187" fmla="*/ 952310 w 3905665"/>
              <a:gd name="connsiteY1187" fmla="*/ 1982603 h 3403632"/>
              <a:gd name="connsiteX1188" fmla="*/ 951569 w 3905665"/>
              <a:gd name="connsiteY1188" fmla="*/ 1981864 h 3403632"/>
              <a:gd name="connsiteX1189" fmla="*/ 952310 w 3905665"/>
              <a:gd name="connsiteY1189" fmla="*/ 1981123 h 3403632"/>
              <a:gd name="connsiteX1190" fmla="*/ 2162766 w 3905665"/>
              <a:gd name="connsiteY1190" fmla="*/ 1971742 h 3403632"/>
              <a:gd name="connsiteX1191" fmla="*/ 2169182 w 3905665"/>
              <a:gd name="connsiteY1191" fmla="*/ 1978161 h 3403632"/>
              <a:gd name="connsiteX1192" fmla="*/ 2162766 w 3905665"/>
              <a:gd name="connsiteY1192" fmla="*/ 1984332 h 3403632"/>
              <a:gd name="connsiteX1193" fmla="*/ 2156347 w 3905665"/>
              <a:gd name="connsiteY1193" fmla="*/ 1978161 h 3403632"/>
              <a:gd name="connsiteX1194" fmla="*/ 2162766 w 3905665"/>
              <a:gd name="connsiteY1194" fmla="*/ 1971742 h 3403632"/>
              <a:gd name="connsiteX1195" fmla="*/ 170333 w 3905665"/>
              <a:gd name="connsiteY1195" fmla="*/ 1970508 h 3403632"/>
              <a:gd name="connsiteX1196" fmla="*/ 172554 w 3905665"/>
              <a:gd name="connsiteY1196" fmla="*/ 1972729 h 3403632"/>
              <a:gd name="connsiteX1197" fmla="*/ 170333 w 3905665"/>
              <a:gd name="connsiteY1197" fmla="*/ 1975199 h 3403632"/>
              <a:gd name="connsiteX1198" fmla="*/ 167864 w 3905665"/>
              <a:gd name="connsiteY1198" fmla="*/ 1972729 h 3403632"/>
              <a:gd name="connsiteX1199" fmla="*/ 170333 w 3905665"/>
              <a:gd name="connsiteY1199" fmla="*/ 1970508 h 3403632"/>
              <a:gd name="connsiteX1200" fmla="*/ 2633973 w 3905665"/>
              <a:gd name="connsiteY1200" fmla="*/ 1956932 h 3403632"/>
              <a:gd name="connsiteX1201" fmla="*/ 2652487 w 3905665"/>
              <a:gd name="connsiteY1201" fmla="*/ 1975445 h 3403632"/>
              <a:gd name="connsiteX1202" fmla="*/ 2633973 w 3905665"/>
              <a:gd name="connsiteY1202" fmla="*/ 1993959 h 3403632"/>
              <a:gd name="connsiteX1203" fmla="*/ 2615460 w 3905665"/>
              <a:gd name="connsiteY1203" fmla="*/ 1975445 h 3403632"/>
              <a:gd name="connsiteX1204" fmla="*/ 2633973 w 3905665"/>
              <a:gd name="connsiteY1204" fmla="*/ 1956932 h 3403632"/>
              <a:gd name="connsiteX1205" fmla="*/ 285110 w 3905665"/>
              <a:gd name="connsiteY1205" fmla="*/ 1953229 h 3403632"/>
              <a:gd name="connsiteX1206" fmla="*/ 287084 w 3905665"/>
              <a:gd name="connsiteY1206" fmla="*/ 1955204 h 3403632"/>
              <a:gd name="connsiteX1207" fmla="*/ 285110 w 3905665"/>
              <a:gd name="connsiteY1207" fmla="*/ 1957178 h 3403632"/>
              <a:gd name="connsiteX1208" fmla="*/ 283135 w 3905665"/>
              <a:gd name="connsiteY1208" fmla="*/ 1955204 h 3403632"/>
              <a:gd name="connsiteX1209" fmla="*/ 285110 w 3905665"/>
              <a:gd name="connsiteY1209" fmla="*/ 1953229 h 3403632"/>
              <a:gd name="connsiteX1210" fmla="*/ 1267269 w 3905665"/>
              <a:gd name="connsiteY1210" fmla="*/ 1947800 h 3403632"/>
              <a:gd name="connsiteX1211" fmla="*/ 1268256 w 3905665"/>
              <a:gd name="connsiteY1211" fmla="*/ 1948788 h 3403632"/>
              <a:gd name="connsiteX1212" fmla="*/ 1267269 w 3905665"/>
              <a:gd name="connsiteY1212" fmla="*/ 1949775 h 3403632"/>
              <a:gd name="connsiteX1213" fmla="*/ 1266281 w 3905665"/>
              <a:gd name="connsiteY1213" fmla="*/ 1948788 h 3403632"/>
              <a:gd name="connsiteX1214" fmla="*/ 1267269 w 3905665"/>
              <a:gd name="connsiteY1214" fmla="*/ 1947800 h 3403632"/>
              <a:gd name="connsiteX1215" fmla="*/ 734352 w 3905665"/>
              <a:gd name="connsiteY1215" fmla="*/ 1946812 h 3403632"/>
              <a:gd name="connsiteX1216" fmla="*/ 737314 w 3905665"/>
              <a:gd name="connsiteY1216" fmla="*/ 1949774 h 3403632"/>
              <a:gd name="connsiteX1217" fmla="*/ 734352 w 3905665"/>
              <a:gd name="connsiteY1217" fmla="*/ 1952736 h 3403632"/>
              <a:gd name="connsiteX1218" fmla="*/ 731390 w 3905665"/>
              <a:gd name="connsiteY1218" fmla="*/ 1949774 h 3403632"/>
              <a:gd name="connsiteX1219" fmla="*/ 734352 w 3905665"/>
              <a:gd name="connsiteY1219" fmla="*/ 1946812 h 3403632"/>
              <a:gd name="connsiteX1220" fmla="*/ 1480539 w 3905665"/>
              <a:gd name="connsiteY1220" fmla="*/ 1946317 h 3403632"/>
              <a:gd name="connsiteX1221" fmla="*/ 1483006 w 3905665"/>
              <a:gd name="connsiteY1221" fmla="*/ 1948787 h 3403632"/>
              <a:gd name="connsiteX1222" fmla="*/ 1480539 w 3905665"/>
              <a:gd name="connsiteY1222" fmla="*/ 1951254 h 3403632"/>
              <a:gd name="connsiteX1223" fmla="*/ 1478069 w 3905665"/>
              <a:gd name="connsiteY1223" fmla="*/ 1948787 h 3403632"/>
              <a:gd name="connsiteX1224" fmla="*/ 1480539 w 3905665"/>
              <a:gd name="connsiteY1224" fmla="*/ 1946317 h 3403632"/>
              <a:gd name="connsiteX1225" fmla="*/ 2346658 w 3905665"/>
              <a:gd name="connsiteY1225" fmla="*/ 1945579 h 3403632"/>
              <a:gd name="connsiteX1226" fmla="*/ 2357519 w 3905665"/>
              <a:gd name="connsiteY1226" fmla="*/ 1956440 h 3403632"/>
              <a:gd name="connsiteX1227" fmla="*/ 2346658 w 3905665"/>
              <a:gd name="connsiteY1227" fmla="*/ 1967300 h 3403632"/>
              <a:gd name="connsiteX1228" fmla="*/ 2335797 w 3905665"/>
              <a:gd name="connsiteY1228" fmla="*/ 1956440 h 3403632"/>
              <a:gd name="connsiteX1229" fmla="*/ 2346658 w 3905665"/>
              <a:gd name="connsiteY1229" fmla="*/ 1945579 h 3403632"/>
              <a:gd name="connsiteX1230" fmla="*/ 1679740 w 3905665"/>
              <a:gd name="connsiteY1230" fmla="*/ 1943604 h 3403632"/>
              <a:gd name="connsiteX1231" fmla="*/ 1681715 w 3905665"/>
              <a:gd name="connsiteY1231" fmla="*/ 1945579 h 3403632"/>
              <a:gd name="connsiteX1232" fmla="*/ 1679740 w 3905665"/>
              <a:gd name="connsiteY1232" fmla="*/ 1947554 h 3403632"/>
              <a:gd name="connsiteX1233" fmla="*/ 1677766 w 3905665"/>
              <a:gd name="connsiteY1233" fmla="*/ 1945579 h 3403632"/>
              <a:gd name="connsiteX1234" fmla="*/ 1679740 w 3905665"/>
              <a:gd name="connsiteY1234" fmla="*/ 1943604 h 3403632"/>
              <a:gd name="connsiteX1235" fmla="*/ 2808729 w 3905665"/>
              <a:gd name="connsiteY1235" fmla="*/ 1933728 h 3403632"/>
              <a:gd name="connsiteX1236" fmla="*/ 2819836 w 3905665"/>
              <a:gd name="connsiteY1236" fmla="*/ 1944835 h 3403632"/>
              <a:gd name="connsiteX1237" fmla="*/ 2808729 w 3905665"/>
              <a:gd name="connsiteY1237" fmla="*/ 1955945 h 3403632"/>
              <a:gd name="connsiteX1238" fmla="*/ 2797622 w 3905665"/>
              <a:gd name="connsiteY1238" fmla="*/ 1944835 h 3403632"/>
              <a:gd name="connsiteX1239" fmla="*/ 2808729 w 3905665"/>
              <a:gd name="connsiteY1239" fmla="*/ 1933728 h 3403632"/>
              <a:gd name="connsiteX1240" fmla="*/ 1058203 w 3905665"/>
              <a:gd name="connsiteY1240" fmla="*/ 1933482 h 3403632"/>
              <a:gd name="connsiteX1241" fmla="*/ 1058941 w 3905665"/>
              <a:gd name="connsiteY1241" fmla="*/ 1934223 h 3403632"/>
              <a:gd name="connsiteX1242" fmla="*/ 1058203 w 3905665"/>
              <a:gd name="connsiteY1242" fmla="*/ 1934962 h 3403632"/>
              <a:gd name="connsiteX1243" fmla="*/ 1057461 w 3905665"/>
              <a:gd name="connsiteY1243" fmla="*/ 1934223 h 3403632"/>
              <a:gd name="connsiteX1244" fmla="*/ 1058203 w 3905665"/>
              <a:gd name="connsiteY1244" fmla="*/ 1933482 h 3403632"/>
              <a:gd name="connsiteX1245" fmla="*/ 1873751 w 3905665"/>
              <a:gd name="connsiteY1245" fmla="*/ 1932743 h 3403632"/>
              <a:gd name="connsiteX1246" fmla="*/ 1877208 w 3905665"/>
              <a:gd name="connsiteY1246" fmla="*/ 1936198 h 3403632"/>
              <a:gd name="connsiteX1247" fmla="*/ 1873751 w 3905665"/>
              <a:gd name="connsiteY1247" fmla="*/ 1939655 h 3403632"/>
              <a:gd name="connsiteX1248" fmla="*/ 1870294 w 3905665"/>
              <a:gd name="connsiteY1248" fmla="*/ 1936198 h 3403632"/>
              <a:gd name="connsiteX1249" fmla="*/ 1873751 w 3905665"/>
              <a:gd name="connsiteY1249" fmla="*/ 1932743 h 3403632"/>
              <a:gd name="connsiteX1250" fmla="*/ 399148 w 3905665"/>
              <a:gd name="connsiteY1250" fmla="*/ 1930766 h 3403632"/>
              <a:gd name="connsiteX1251" fmla="*/ 400874 w 3905665"/>
              <a:gd name="connsiteY1251" fmla="*/ 1932494 h 3403632"/>
              <a:gd name="connsiteX1252" fmla="*/ 399148 w 3905665"/>
              <a:gd name="connsiteY1252" fmla="*/ 1934223 h 3403632"/>
              <a:gd name="connsiteX1253" fmla="*/ 397420 w 3905665"/>
              <a:gd name="connsiteY1253" fmla="*/ 1932494 h 3403632"/>
              <a:gd name="connsiteX1254" fmla="*/ 399148 w 3905665"/>
              <a:gd name="connsiteY1254" fmla="*/ 1930766 h 3403632"/>
              <a:gd name="connsiteX1255" fmla="*/ 2063784 w 3905665"/>
              <a:gd name="connsiteY1255" fmla="*/ 1917192 h 3403632"/>
              <a:gd name="connsiteX1256" fmla="*/ 2067241 w 3905665"/>
              <a:gd name="connsiteY1256" fmla="*/ 1920647 h 3403632"/>
              <a:gd name="connsiteX1257" fmla="*/ 2063784 w 3905665"/>
              <a:gd name="connsiteY1257" fmla="*/ 1924104 h 3403632"/>
              <a:gd name="connsiteX1258" fmla="*/ 2060329 w 3905665"/>
              <a:gd name="connsiteY1258" fmla="*/ 1920647 h 3403632"/>
              <a:gd name="connsiteX1259" fmla="*/ 2063784 w 3905665"/>
              <a:gd name="connsiteY1259" fmla="*/ 1917192 h 3403632"/>
              <a:gd name="connsiteX1260" fmla="*/ 2526597 w 3905665"/>
              <a:gd name="connsiteY1260" fmla="*/ 1915217 h 3403632"/>
              <a:gd name="connsiteX1261" fmla="*/ 2541902 w 3905665"/>
              <a:gd name="connsiteY1261" fmla="*/ 1930519 h 3403632"/>
              <a:gd name="connsiteX1262" fmla="*/ 2526597 w 3905665"/>
              <a:gd name="connsiteY1262" fmla="*/ 1945824 h 3403632"/>
              <a:gd name="connsiteX1263" fmla="*/ 2511294 w 3905665"/>
              <a:gd name="connsiteY1263" fmla="*/ 1930519 h 3403632"/>
              <a:gd name="connsiteX1264" fmla="*/ 2526597 w 3905665"/>
              <a:gd name="connsiteY1264" fmla="*/ 1915217 h 3403632"/>
              <a:gd name="connsiteX1265" fmla="*/ 843209 w 3905665"/>
              <a:gd name="connsiteY1265" fmla="*/ 1907073 h 3403632"/>
              <a:gd name="connsiteX1266" fmla="*/ 845676 w 3905665"/>
              <a:gd name="connsiteY1266" fmla="*/ 1909543 h 3403632"/>
              <a:gd name="connsiteX1267" fmla="*/ 843209 w 3905665"/>
              <a:gd name="connsiteY1267" fmla="*/ 1912010 h 3403632"/>
              <a:gd name="connsiteX1268" fmla="*/ 840493 w 3905665"/>
              <a:gd name="connsiteY1268" fmla="*/ 1909543 h 3403632"/>
              <a:gd name="connsiteX1269" fmla="*/ 843209 w 3905665"/>
              <a:gd name="connsiteY1269" fmla="*/ 1907073 h 3403632"/>
              <a:gd name="connsiteX1270" fmla="*/ 511949 w 3905665"/>
              <a:gd name="connsiteY1270" fmla="*/ 1901395 h 3403632"/>
              <a:gd name="connsiteX1271" fmla="*/ 515406 w 3905665"/>
              <a:gd name="connsiteY1271" fmla="*/ 1904852 h 3403632"/>
              <a:gd name="connsiteX1272" fmla="*/ 511949 w 3905665"/>
              <a:gd name="connsiteY1272" fmla="*/ 1908307 h 3403632"/>
              <a:gd name="connsiteX1273" fmla="*/ 508494 w 3905665"/>
              <a:gd name="connsiteY1273" fmla="*/ 1904852 h 3403632"/>
              <a:gd name="connsiteX1274" fmla="*/ 511949 w 3905665"/>
              <a:gd name="connsiteY1274" fmla="*/ 1901395 h 3403632"/>
              <a:gd name="connsiteX1275" fmla="*/ 2980280 w 3905665"/>
              <a:gd name="connsiteY1275" fmla="*/ 1893742 h 3403632"/>
              <a:gd name="connsiteX1276" fmla="*/ 2997314 w 3905665"/>
              <a:gd name="connsiteY1276" fmla="*/ 1910773 h 3403632"/>
              <a:gd name="connsiteX1277" fmla="*/ 2980280 w 3905665"/>
              <a:gd name="connsiteY1277" fmla="*/ 1927807 h 3403632"/>
              <a:gd name="connsiteX1278" fmla="*/ 2963249 w 3905665"/>
              <a:gd name="connsiteY1278" fmla="*/ 1910773 h 3403632"/>
              <a:gd name="connsiteX1279" fmla="*/ 2980280 w 3905665"/>
              <a:gd name="connsiteY1279" fmla="*/ 1893742 h 3403632"/>
              <a:gd name="connsiteX1280" fmla="*/ 2248665 w 3905665"/>
              <a:gd name="connsiteY1280" fmla="*/ 1893250 h 3403632"/>
              <a:gd name="connsiteX1281" fmla="*/ 2255576 w 3905665"/>
              <a:gd name="connsiteY1281" fmla="*/ 1899915 h 3403632"/>
              <a:gd name="connsiteX1282" fmla="*/ 2248665 w 3905665"/>
              <a:gd name="connsiteY1282" fmla="*/ 1906581 h 3403632"/>
              <a:gd name="connsiteX1283" fmla="*/ 2241753 w 3905665"/>
              <a:gd name="connsiteY1283" fmla="*/ 1899915 h 3403632"/>
              <a:gd name="connsiteX1284" fmla="*/ 2248665 w 3905665"/>
              <a:gd name="connsiteY1284" fmla="*/ 1893250 h 3403632"/>
              <a:gd name="connsiteX1285" fmla="*/ 1367732 w 3905665"/>
              <a:gd name="connsiteY1285" fmla="*/ 1890039 h 3403632"/>
              <a:gd name="connsiteX1286" fmla="*/ 1368720 w 3905665"/>
              <a:gd name="connsiteY1286" fmla="*/ 1891026 h 3403632"/>
              <a:gd name="connsiteX1287" fmla="*/ 1367732 w 3905665"/>
              <a:gd name="connsiteY1287" fmla="*/ 1892014 h 3403632"/>
              <a:gd name="connsiteX1288" fmla="*/ 1366745 w 3905665"/>
              <a:gd name="connsiteY1288" fmla="*/ 1891026 h 3403632"/>
              <a:gd name="connsiteX1289" fmla="*/ 1367732 w 3905665"/>
              <a:gd name="connsiteY1289" fmla="*/ 1890039 h 3403632"/>
              <a:gd name="connsiteX1290" fmla="*/ 1577792 w 3905665"/>
              <a:gd name="connsiteY1290" fmla="*/ 1882389 h 3403632"/>
              <a:gd name="connsiteX1291" fmla="*/ 1580016 w 3905665"/>
              <a:gd name="connsiteY1291" fmla="*/ 1884610 h 3403632"/>
              <a:gd name="connsiteX1292" fmla="*/ 1577792 w 3905665"/>
              <a:gd name="connsiteY1292" fmla="*/ 1886831 h 3403632"/>
              <a:gd name="connsiteX1293" fmla="*/ 1575571 w 3905665"/>
              <a:gd name="connsiteY1293" fmla="*/ 1884610 h 3403632"/>
              <a:gd name="connsiteX1294" fmla="*/ 1577792 w 3905665"/>
              <a:gd name="connsiteY1294" fmla="*/ 1882389 h 3403632"/>
              <a:gd name="connsiteX1295" fmla="*/ 1161869 w 3905665"/>
              <a:gd name="connsiteY1295" fmla="*/ 1881894 h 3403632"/>
              <a:gd name="connsiteX1296" fmla="*/ 1162361 w 3905665"/>
              <a:gd name="connsiteY1296" fmla="*/ 1882387 h 3403632"/>
              <a:gd name="connsiteX1297" fmla="*/ 1161869 w 3905665"/>
              <a:gd name="connsiteY1297" fmla="*/ 1882882 h 3403632"/>
              <a:gd name="connsiteX1298" fmla="*/ 1161374 w 3905665"/>
              <a:gd name="connsiteY1298" fmla="*/ 1882387 h 3403632"/>
              <a:gd name="connsiteX1299" fmla="*/ 1161869 w 3905665"/>
              <a:gd name="connsiteY1299" fmla="*/ 1881894 h 3403632"/>
              <a:gd name="connsiteX1300" fmla="*/ 1773533 w 3905665"/>
              <a:gd name="connsiteY1300" fmla="*/ 1874983 h 3403632"/>
              <a:gd name="connsiteX1301" fmla="*/ 1775260 w 3905665"/>
              <a:gd name="connsiteY1301" fmla="*/ 1876711 h 3403632"/>
              <a:gd name="connsiteX1302" fmla="*/ 1773533 w 3905665"/>
              <a:gd name="connsiteY1302" fmla="*/ 1878440 h 3403632"/>
              <a:gd name="connsiteX1303" fmla="*/ 1771807 w 3905665"/>
              <a:gd name="connsiteY1303" fmla="*/ 1876711 h 3403632"/>
              <a:gd name="connsiteX1304" fmla="*/ 1773533 w 3905665"/>
              <a:gd name="connsiteY1304" fmla="*/ 1874983 h 3403632"/>
              <a:gd name="connsiteX1305" fmla="*/ 56293 w 3905665"/>
              <a:gd name="connsiteY1305" fmla="*/ 1873500 h 3403632"/>
              <a:gd name="connsiteX1306" fmla="*/ 59255 w 3905665"/>
              <a:gd name="connsiteY1306" fmla="*/ 1876462 h 3403632"/>
              <a:gd name="connsiteX1307" fmla="*/ 56293 w 3905665"/>
              <a:gd name="connsiteY1307" fmla="*/ 1879424 h 3403632"/>
              <a:gd name="connsiteX1308" fmla="*/ 53331 w 3905665"/>
              <a:gd name="connsiteY1308" fmla="*/ 1876462 h 3403632"/>
              <a:gd name="connsiteX1309" fmla="*/ 56293 w 3905665"/>
              <a:gd name="connsiteY1309" fmla="*/ 1873500 h 3403632"/>
              <a:gd name="connsiteX1310" fmla="*/ 2712712 w 3905665"/>
              <a:gd name="connsiteY1310" fmla="*/ 1870046 h 3403632"/>
              <a:gd name="connsiteX1311" fmla="*/ 2732213 w 3905665"/>
              <a:gd name="connsiteY1311" fmla="*/ 1889547 h 3403632"/>
              <a:gd name="connsiteX1312" fmla="*/ 2712712 w 3905665"/>
              <a:gd name="connsiteY1312" fmla="*/ 1909045 h 3403632"/>
              <a:gd name="connsiteX1313" fmla="*/ 2693211 w 3905665"/>
              <a:gd name="connsiteY1313" fmla="*/ 1889547 h 3403632"/>
              <a:gd name="connsiteX1314" fmla="*/ 2712712 w 3905665"/>
              <a:gd name="connsiteY1314" fmla="*/ 1870046 h 3403632"/>
              <a:gd name="connsiteX1315" fmla="*/ 623523 w 3905665"/>
              <a:gd name="connsiteY1315" fmla="*/ 1869059 h 3403632"/>
              <a:gd name="connsiteX1316" fmla="*/ 626731 w 3905665"/>
              <a:gd name="connsiteY1316" fmla="*/ 1872267 h 3403632"/>
              <a:gd name="connsiteX1317" fmla="*/ 623523 w 3905665"/>
              <a:gd name="connsiteY1317" fmla="*/ 1875478 h 3403632"/>
              <a:gd name="connsiteX1318" fmla="*/ 620315 w 3905665"/>
              <a:gd name="connsiteY1318" fmla="*/ 1872267 h 3403632"/>
              <a:gd name="connsiteX1319" fmla="*/ 623523 w 3905665"/>
              <a:gd name="connsiteY1319" fmla="*/ 1869059 h 3403632"/>
              <a:gd name="connsiteX1320" fmla="*/ 2429345 w 3905665"/>
              <a:gd name="connsiteY1320" fmla="*/ 1863135 h 3403632"/>
              <a:gd name="connsiteX1321" fmla="*/ 2440947 w 3905665"/>
              <a:gd name="connsiteY1321" fmla="*/ 1874737 h 3403632"/>
              <a:gd name="connsiteX1322" fmla="*/ 2429345 w 3905665"/>
              <a:gd name="connsiteY1322" fmla="*/ 1886339 h 3403632"/>
              <a:gd name="connsiteX1323" fmla="*/ 2417743 w 3905665"/>
              <a:gd name="connsiteY1323" fmla="*/ 1874737 h 3403632"/>
              <a:gd name="connsiteX1324" fmla="*/ 2429345 w 3905665"/>
              <a:gd name="connsiteY1324" fmla="*/ 1863135 h 3403632"/>
              <a:gd name="connsiteX1325" fmla="*/ 950334 w 3905665"/>
              <a:gd name="connsiteY1325" fmla="*/ 1862147 h 3403632"/>
              <a:gd name="connsiteX1326" fmla="*/ 952558 w 3905665"/>
              <a:gd name="connsiteY1326" fmla="*/ 1864368 h 3403632"/>
              <a:gd name="connsiteX1327" fmla="*/ 950334 w 3905665"/>
              <a:gd name="connsiteY1327" fmla="*/ 1866589 h 3403632"/>
              <a:gd name="connsiteX1328" fmla="*/ 948113 w 3905665"/>
              <a:gd name="connsiteY1328" fmla="*/ 1864368 h 3403632"/>
              <a:gd name="connsiteX1329" fmla="*/ 950334 w 3905665"/>
              <a:gd name="connsiteY1329" fmla="*/ 1862147 h 3403632"/>
              <a:gd name="connsiteX1330" fmla="*/ 1963828 w 3905665"/>
              <a:gd name="connsiteY1330" fmla="*/ 1861406 h 3403632"/>
              <a:gd name="connsiteX1331" fmla="*/ 1965306 w 3905665"/>
              <a:gd name="connsiteY1331" fmla="*/ 1862886 h 3403632"/>
              <a:gd name="connsiteX1332" fmla="*/ 1963828 w 3905665"/>
              <a:gd name="connsiteY1332" fmla="*/ 1864614 h 3403632"/>
              <a:gd name="connsiteX1333" fmla="*/ 1962102 w 3905665"/>
              <a:gd name="connsiteY1333" fmla="*/ 1862886 h 3403632"/>
              <a:gd name="connsiteX1334" fmla="*/ 1963828 w 3905665"/>
              <a:gd name="connsiteY1334" fmla="*/ 1861406 h 3403632"/>
              <a:gd name="connsiteX1335" fmla="*/ 171814 w 3905665"/>
              <a:gd name="connsiteY1335" fmla="*/ 1859927 h 3403632"/>
              <a:gd name="connsiteX1336" fmla="*/ 174776 w 3905665"/>
              <a:gd name="connsiteY1336" fmla="*/ 1862889 h 3403632"/>
              <a:gd name="connsiteX1337" fmla="*/ 171814 w 3905665"/>
              <a:gd name="connsiteY1337" fmla="*/ 1865851 h 3403632"/>
              <a:gd name="connsiteX1338" fmla="*/ 168852 w 3905665"/>
              <a:gd name="connsiteY1338" fmla="*/ 1862889 h 3403632"/>
              <a:gd name="connsiteX1339" fmla="*/ 171814 w 3905665"/>
              <a:gd name="connsiteY1339" fmla="*/ 1859927 h 3403632"/>
              <a:gd name="connsiteX1340" fmla="*/ 2884508 w 3905665"/>
              <a:gd name="connsiteY1340" fmla="*/ 1844129 h 3403632"/>
              <a:gd name="connsiteX1341" fmla="*/ 2896605 w 3905665"/>
              <a:gd name="connsiteY1341" fmla="*/ 1856223 h 3403632"/>
              <a:gd name="connsiteX1342" fmla="*/ 2884508 w 3905665"/>
              <a:gd name="connsiteY1342" fmla="*/ 1868320 h 3403632"/>
              <a:gd name="connsiteX1343" fmla="*/ 2872414 w 3905665"/>
              <a:gd name="connsiteY1343" fmla="*/ 1856223 h 3403632"/>
              <a:gd name="connsiteX1344" fmla="*/ 2884508 w 3905665"/>
              <a:gd name="connsiteY1344" fmla="*/ 1844129 h 3403632"/>
              <a:gd name="connsiteX1345" fmla="*/ 286591 w 3905665"/>
              <a:gd name="connsiteY1345" fmla="*/ 1841906 h 3403632"/>
              <a:gd name="connsiteX1346" fmla="*/ 289307 w 3905665"/>
              <a:gd name="connsiteY1346" fmla="*/ 1844622 h 3403632"/>
              <a:gd name="connsiteX1347" fmla="*/ 286591 w 3905665"/>
              <a:gd name="connsiteY1347" fmla="*/ 1847338 h 3403632"/>
              <a:gd name="connsiteX1348" fmla="*/ 283876 w 3905665"/>
              <a:gd name="connsiteY1348" fmla="*/ 1844622 h 3403632"/>
              <a:gd name="connsiteX1349" fmla="*/ 286591 w 3905665"/>
              <a:gd name="connsiteY1349" fmla="*/ 1841906 h 3403632"/>
              <a:gd name="connsiteX1350" fmla="*/ 2150424 w 3905665"/>
              <a:gd name="connsiteY1350" fmla="*/ 1838944 h 3403632"/>
              <a:gd name="connsiteX1351" fmla="*/ 2154619 w 3905665"/>
              <a:gd name="connsiteY1351" fmla="*/ 1843140 h 3403632"/>
              <a:gd name="connsiteX1352" fmla="*/ 2150424 w 3905665"/>
              <a:gd name="connsiteY1352" fmla="*/ 1847335 h 3403632"/>
              <a:gd name="connsiteX1353" fmla="*/ 2146228 w 3905665"/>
              <a:gd name="connsiteY1353" fmla="*/ 1843140 h 3403632"/>
              <a:gd name="connsiteX1354" fmla="*/ 2150424 w 3905665"/>
              <a:gd name="connsiteY1354" fmla="*/ 1838944 h 3403632"/>
              <a:gd name="connsiteX1355" fmla="*/ 733609 w 3905665"/>
              <a:gd name="connsiteY1355" fmla="*/ 1832032 h 3403632"/>
              <a:gd name="connsiteX1356" fmla="*/ 736572 w 3905665"/>
              <a:gd name="connsiteY1356" fmla="*/ 1834748 h 3403632"/>
              <a:gd name="connsiteX1357" fmla="*/ 733609 w 3905665"/>
              <a:gd name="connsiteY1357" fmla="*/ 1837710 h 3403632"/>
              <a:gd name="connsiteX1358" fmla="*/ 730647 w 3905665"/>
              <a:gd name="connsiteY1358" fmla="*/ 1834748 h 3403632"/>
              <a:gd name="connsiteX1359" fmla="*/ 733609 w 3905665"/>
              <a:gd name="connsiteY1359" fmla="*/ 1832032 h 3403632"/>
              <a:gd name="connsiteX1360" fmla="*/ 2605830 w 3905665"/>
              <a:gd name="connsiteY1360" fmla="*/ 1829565 h 3403632"/>
              <a:gd name="connsiteX1361" fmla="*/ 2621876 w 3905665"/>
              <a:gd name="connsiteY1361" fmla="*/ 1845857 h 3403632"/>
              <a:gd name="connsiteX1362" fmla="*/ 2605830 w 3905665"/>
              <a:gd name="connsiteY1362" fmla="*/ 1862147 h 3403632"/>
              <a:gd name="connsiteX1363" fmla="*/ 2589540 w 3905665"/>
              <a:gd name="connsiteY1363" fmla="*/ 1845857 h 3403632"/>
              <a:gd name="connsiteX1364" fmla="*/ 2605830 w 3905665"/>
              <a:gd name="connsiteY1364" fmla="*/ 1829565 h 3403632"/>
              <a:gd name="connsiteX1365" fmla="*/ 1465727 w 3905665"/>
              <a:gd name="connsiteY1365" fmla="*/ 1827837 h 3403632"/>
              <a:gd name="connsiteX1366" fmla="*/ 1466963 w 3905665"/>
              <a:gd name="connsiteY1366" fmla="*/ 1829071 h 3403632"/>
              <a:gd name="connsiteX1367" fmla="*/ 1465727 w 3905665"/>
              <a:gd name="connsiteY1367" fmla="*/ 1830304 h 3403632"/>
              <a:gd name="connsiteX1368" fmla="*/ 1464493 w 3905665"/>
              <a:gd name="connsiteY1368" fmla="*/ 1829071 h 3403632"/>
              <a:gd name="connsiteX1369" fmla="*/ 1465727 w 3905665"/>
              <a:gd name="connsiteY1369" fmla="*/ 1827837 h 3403632"/>
              <a:gd name="connsiteX1370" fmla="*/ 1263318 w 3905665"/>
              <a:gd name="connsiteY1370" fmla="*/ 1825862 h 3403632"/>
              <a:gd name="connsiteX1371" fmla="*/ 1263810 w 3905665"/>
              <a:gd name="connsiteY1371" fmla="*/ 1826357 h 3403632"/>
              <a:gd name="connsiteX1372" fmla="*/ 1263318 w 3905665"/>
              <a:gd name="connsiteY1372" fmla="*/ 1826849 h 3403632"/>
              <a:gd name="connsiteX1373" fmla="*/ 1262823 w 3905665"/>
              <a:gd name="connsiteY1373" fmla="*/ 1826357 h 3403632"/>
              <a:gd name="connsiteX1374" fmla="*/ 1263318 w 3905665"/>
              <a:gd name="connsiteY1374" fmla="*/ 1825862 h 3403632"/>
              <a:gd name="connsiteX1375" fmla="*/ 400380 w 3905665"/>
              <a:gd name="connsiteY1375" fmla="*/ 1818458 h 3403632"/>
              <a:gd name="connsiteX1376" fmla="*/ 402850 w 3905665"/>
              <a:gd name="connsiteY1376" fmla="*/ 1820928 h 3403632"/>
              <a:gd name="connsiteX1377" fmla="*/ 400380 w 3905665"/>
              <a:gd name="connsiteY1377" fmla="*/ 1823395 h 3403632"/>
              <a:gd name="connsiteX1378" fmla="*/ 397913 w 3905665"/>
              <a:gd name="connsiteY1378" fmla="*/ 1820928 h 3403632"/>
              <a:gd name="connsiteX1379" fmla="*/ 400380 w 3905665"/>
              <a:gd name="connsiteY1379" fmla="*/ 1818458 h 3403632"/>
              <a:gd name="connsiteX1380" fmla="*/ 1672580 w 3905665"/>
              <a:gd name="connsiteY1380" fmla="*/ 1815001 h 3403632"/>
              <a:gd name="connsiteX1381" fmla="*/ 1674554 w 3905665"/>
              <a:gd name="connsiteY1381" fmla="*/ 1816976 h 3403632"/>
              <a:gd name="connsiteX1382" fmla="*/ 1672580 w 3905665"/>
              <a:gd name="connsiteY1382" fmla="*/ 1818950 h 3403632"/>
              <a:gd name="connsiteX1383" fmla="*/ 1670605 w 3905665"/>
              <a:gd name="connsiteY1383" fmla="*/ 1816976 h 3403632"/>
              <a:gd name="connsiteX1384" fmla="*/ 1672580 w 3905665"/>
              <a:gd name="connsiteY1384" fmla="*/ 1815001 h 3403632"/>
              <a:gd name="connsiteX1385" fmla="*/ 1055237 w 3905665"/>
              <a:gd name="connsiteY1385" fmla="*/ 1812780 h 3403632"/>
              <a:gd name="connsiteX1386" fmla="*/ 1057211 w 3905665"/>
              <a:gd name="connsiteY1386" fmla="*/ 1814755 h 3403632"/>
              <a:gd name="connsiteX1387" fmla="*/ 1055237 w 3905665"/>
              <a:gd name="connsiteY1387" fmla="*/ 1816729 h 3403632"/>
              <a:gd name="connsiteX1388" fmla="*/ 1053262 w 3905665"/>
              <a:gd name="connsiteY1388" fmla="*/ 1814755 h 3403632"/>
              <a:gd name="connsiteX1389" fmla="*/ 1055237 w 3905665"/>
              <a:gd name="connsiteY1389" fmla="*/ 1812780 h 3403632"/>
              <a:gd name="connsiteX1390" fmla="*/ 2331849 w 3905665"/>
              <a:gd name="connsiteY1390" fmla="*/ 1811298 h 3403632"/>
              <a:gd name="connsiteX1391" fmla="*/ 2339499 w 3905665"/>
              <a:gd name="connsiteY1391" fmla="*/ 1818950 h 3403632"/>
              <a:gd name="connsiteX1392" fmla="*/ 2331849 w 3905665"/>
              <a:gd name="connsiteY1392" fmla="*/ 1826600 h 3403632"/>
              <a:gd name="connsiteX1393" fmla="*/ 2324197 w 3905665"/>
              <a:gd name="connsiteY1393" fmla="*/ 1818950 h 3403632"/>
              <a:gd name="connsiteX1394" fmla="*/ 2331849 w 3905665"/>
              <a:gd name="connsiteY1394" fmla="*/ 1811298 h 3403632"/>
              <a:gd name="connsiteX1395" fmla="*/ 1864864 w 3905665"/>
              <a:gd name="connsiteY1395" fmla="*/ 1802661 h 3403632"/>
              <a:gd name="connsiteX1396" fmla="*/ 1866346 w 3905665"/>
              <a:gd name="connsiteY1396" fmla="*/ 1804389 h 3403632"/>
              <a:gd name="connsiteX1397" fmla="*/ 1864864 w 3905665"/>
              <a:gd name="connsiteY1397" fmla="*/ 1805869 h 3403632"/>
              <a:gd name="connsiteX1398" fmla="*/ 1863385 w 3905665"/>
              <a:gd name="connsiteY1398" fmla="*/ 1804389 h 3403632"/>
              <a:gd name="connsiteX1399" fmla="*/ 1864864 w 3905665"/>
              <a:gd name="connsiteY1399" fmla="*/ 1802661 h 3403632"/>
              <a:gd name="connsiteX1400" fmla="*/ 3052850 w 3905665"/>
              <a:gd name="connsiteY1400" fmla="*/ 1802166 h 3403632"/>
              <a:gd name="connsiteX1401" fmla="*/ 3070622 w 3905665"/>
              <a:gd name="connsiteY1401" fmla="*/ 1819938 h 3403632"/>
              <a:gd name="connsiteX1402" fmla="*/ 3052850 w 3905665"/>
              <a:gd name="connsiteY1402" fmla="*/ 1837710 h 3403632"/>
              <a:gd name="connsiteX1403" fmla="*/ 3035078 w 3905665"/>
              <a:gd name="connsiteY1403" fmla="*/ 1819938 h 3403632"/>
              <a:gd name="connsiteX1404" fmla="*/ 3052850 w 3905665"/>
              <a:gd name="connsiteY1404" fmla="*/ 1802166 h 3403632"/>
              <a:gd name="connsiteX1405" fmla="*/ 841725 w 3905665"/>
              <a:gd name="connsiteY1405" fmla="*/ 1790072 h 3403632"/>
              <a:gd name="connsiteX1406" fmla="*/ 844441 w 3905665"/>
              <a:gd name="connsiteY1406" fmla="*/ 1792788 h 3403632"/>
              <a:gd name="connsiteX1407" fmla="*/ 841725 w 3905665"/>
              <a:gd name="connsiteY1407" fmla="*/ 1795501 h 3403632"/>
              <a:gd name="connsiteX1408" fmla="*/ 839009 w 3905665"/>
              <a:gd name="connsiteY1408" fmla="*/ 1792788 h 3403632"/>
              <a:gd name="connsiteX1409" fmla="*/ 841725 w 3905665"/>
              <a:gd name="connsiteY1409" fmla="*/ 1790072 h 3403632"/>
              <a:gd name="connsiteX1410" fmla="*/ 513186 w 3905665"/>
              <a:gd name="connsiteY1410" fmla="*/ 1789331 h 3403632"/>
              <a:gd name="connsiteX1411" fmla="*/ 515653 w 3905665"/>
              <a:gd name="connsiteY1411" fmla="*/ 1791798 h 3403632"/>
              <a:gd name="connsiteX1412" fmla="*/ 513186 w 3905665"/>
              <a:gd name="connsiteY1412" fmla="*/ 1794268 h 3403632"/>
              <a:gd name="connsiteX1413" fmla="*/ 510716 w 3905665"/>
              <a:gd name="connsiteY1413" fmla="*/ 1791798 h 3403632"/>
              <a:gd name="connsiteX1414" fmla="*/ 513186 w 3905665"/>
              <a:gd name="connsiteY1414" fmla="*/ 1789331 h 3403632"/>
              <a:gd name="connsiteX1415" fmla="*/ 2051444 w 3905665"/>
              <a:gd name="connsiteY1415" fmla="*/ 1784394 h 3403632"/>
              <a:gd name="connsiteX1416" fmla="*/ 2053418 w 3905665"/>
              <a:gd name="connsiteY1416" fmla="*/ 1786369 h 3403632"/>
              <a:gd name="connsiteX1417" fmla="*/ 2051444 w 3905665"/>
              <a:gd name="connsiteY1417" fmla="*/ 1788343 h 3403632"/>
              <a:gd name="connsiteX1418" fmla="*/ 2049469 w 3905665"/>
              <a:gd name="connsiteY1418" fmla="*/ 1786369 h 3403632"/>
              <a:gd name="connsiteX1419" fmla="*/ 2051444 w 3905665"/>
              <a:gd name="connsiteY1419" fmla="*/ 1784394 h 3403632"/>
              <a:gd name="connsiteX1420" fmla="*/ 2788736 w 3905665"/>
              <a:gd name="connsiteY1420" fmla="*/ 1780939 h 3403632"/>
              <a:gd name="connsiteX1421" fmla="*/ 2809224 w 3905665"/>
              <a:gd name="connsiteY1421" fmla="*/ 1801427 h 3403632"/>
              <a:gd name="connsiteX1422" fmla="*/ 2788736 w 3905665"/>
              <a:gd name="connsiteY1422" fmla="*/ 1821915 h 3403632"/>
              <a:gd name="connsiteX1423" fmla="*/ 2768248 w 3905665"/>
              <a:gd name="connsiteY1423" fmla="*/ 1801427 h 3403632"/>
              <a:gd name="connsiteX1424" fmla="*/ 2788736 w 3905665"/>
              <a:gd name="connsiteY1424" fmla="*/ 1780939 h 3403632"/>
              <a:gd name="connsiteX1425" fmla="*/ 2509322 w 3905665"/>
              <a:gd name="connsiteY1425" fmla="*/ 1778470 h 3403632"/>
              <a:gd name="connsiteX1426" fmla="*/ 2521662 w 3905665"/>
              <a:gd name="connsiteY1426" fmla="*/ 1790813 h 3403632"/>
              <a:gd name="connsiteX1427" fmla="*/ 2509322 w 3905665"/>
              <a:gd name="connsiteY1427" fmla="*/ 1803153 h 3403632"/>
              <a:gd name="connsiteX1428" fmla="*/ 2496979 w 3905665"/>
              <a:gd name="connsiteY1428" fmla="*/ 1790813 h 3403632"/>
              <a:gd name="connsiteX1429" fmla="*/ 2509322 w 3905665"/>
              <a:gd name="connsiteY1429" fmla="*/ 1778470 h 3403632"/>
              <a:gd name="connsiteX1430" fmla="*/ 1362794 w 3905665"/>
              <a:gd name="connsiteY1430" fmla="*/ 1765883 h 3403632"/>
              <a:gd name="connsiteX1431" fmla="*/ 1363286 w 3905665"/>
              <a:gd name="connsiteY1431" fmla="*/ 1766375 h 3403632"/>
              <a:gd name="connsiteX1432" fmla="*/ 1362794 w 3905665"/>
              <a:gd name="connsiteY1432" fmla="*/ 1766870 h 3403632"/>
              <a:gd name="connsiteX1433" fmla="*/ 1362299 w 3905665"/>
              <a:gd name="connsiteY1433" fmla="*/ 1766375 h 3403632"/>
              <a:gd name="connsiteX1434" fmla="*/ 1362794 w 3905665"/>
              <a:gd name="connsiteY1434" fmla="*/ 1765883 h 3403632"/>
              <a:gd name="connsiteX1435" fmla="*/ 56540 w 3905665"/>
              <a:gd name="connsiteY1435" fmla="*/ 1762672 h 3403632"/>
              <a:gd name="connsiteX1436" fmla="*/ 61230 w 3905665"/>
              <a:gd name="connsiteY1436" fmla="*/ 1767362 h 3403632"/>
              <a:gd name="connsiteX1437" fmla="*/ 56540 w 3905665"/>
              <a:gd name="connsiteY1437" fmla="*/ 1772053 h 3403632"/>
              <a:gd name="connsiteX1438" fmla="*/ 51850 w 3905665"/>
              <a:gd name="connsiteY1438" fmla="*/ 1767362 h 3403632"/>
              <a:gd name="connsiteX1439" fmla="*/ 56540 w 3905665"/>
              <a:gd name="connsiteY1439" fmla="*/ 1762672 h 3403632"/>
              <a:gd name="connsiteX1440" fmla="*/ 1561254 w 3905665"/>
              <a:gd name="connsiteY1440" fmla="*/ 1762426 h 3403632"/>
              <a:gd name="connsiteX1441" fmla="*/ 1562488 w 3905665"/>
              <a:gd name="connsiteY1441" fmla="*/ 1763660 h 3403632"/>
              <a:gd name="connsiteX1442" fmla="*/ 1561254 w 3905665"/>
              <a:gd name="connsiteY1442" fmla="*/ 1764896 h 3403632"/>
              <a:gd name="connsiteX1443" fmla="*/ 1560021 w 3905665"/>
              <a:gd name="connsiteY1443" fmla="*/ 1763660 h 3403632"/>
              <a:gd name="connsiteX1444" fmla="*/ 1561254 w 3905665"/>
              <a:gd name="connsiteY1444" fmla="*/ 1762426 h 3403632"/>
              <a:gd name="connsiteX1445" fmla="*/ 1158165 w 3905665"/>
              <a:gd name="connsiteY1445" fmla="*/ 1759218 h 3403632"/>
              <a:gd name="connsiteX1446" fmla="*/ 1159891 w 3905665"/>
              <a:gd name="connsiteY1446" fmla="*/ 1760946 h 3403632"/>
              <a:gd name="connsiteX1447" fmla="*/ 1158165 w 3905665"/>
              <a:gd name="connsiteY1447" fmla="*/ 1762672 h 3403632"/>
              <a:gd name="connsiteX1448" fmla="*/ 1156683 w 3905665"/>
              <a:gd name="connsiteY1448" fmla="*/ 1760946 h 3403632"/>
              <a:gd name="connsiteX1449" fmla="*/ 1158165 w 3905665"/>
              <a:gd name="connsiteY1449" fmla="*/ 1759218 h 3403632"/>
              <a:gd name="connsiteX1450" fmla="*/ 2234595 w 3905665"/>
              <a:gd name="connsiteY1450" fmla="*/ 1758231 h 3403632"/>
              <a:gd name="connsiteX1451" fmla="*/ 2239286 w 3905665"/>
              <a:gd name="connsiteY1451" fmla="*/ 1762921 h 3403632"/>
              <a:gd name="connsiteX1452" fmla="*/ 2234595 w 3905665"/>
              <a:gd name="connsiteY1452" fmla="*/ 1767612 h 3403632"/>
              <a:gd name="connsiteX1453" fmla="*/ 2229905 w 3905665"/>
              <a:gd name="connsiteY1453" fmla="*/ 1762921 h 3403632"/>
              <a:gd name="connsiteX1454" fmla="*/ 2234595 w 3905665"/>
              <a:gd name="connsiteY1454" fmla="*/ 1758231 h 3403632"/>
              <a:gd name="connsiteX1455" fmla="*/ 624262 w 3905665"/>
              <a:gd name="connsiteY1455" fmla="*/ 1755761 h 3403632"/>
              <a:gd name="connsiteX1456" fmla="*/ 626483 w 3905665"/>
              <a:gd name="connsiteY1456" fmla="*/ 1757982 h 3403632"/>
              <a:gd name="connsiteX1457" fmla="*/ 624262 w 3905665"/>
              <a:gd name="connsiteY1457" fmla="*/ 1760203 h 3403632"/>
              <a:gd name="connsiteX1458" fmla="*/ 622041 w 3905665"/>
              <a:gd name="connsiteY1458" fmla="*/ 1757982 h 3403632"/>
              <a:gd name="connsiteX1459" fmla="*/ 624262 w 3905665"/>
              <a:gd name="connsiteY1459" fmla="*/ 1755761 h 3403632"/>
              <a:gd name="connsiteX1460" fmla="*/ 2957571 w 3905665"/>
              <a:gd name="connsiteY1460" fmla="*/ 1752553 h 3403632"/>
              <a:gd name="connsiteX1461" fmla="*/ 2970655 w 3905665"/>
              <a:gd name="connsiteY1461" fmla="*/ 1765635 h 3403632"/>
              <a:gd name="connsiteX1462" fmla="*/ 2957571 w 3905665"/>
              <a:gd name="connsiteY1462" fmla="*/ 1778716 h 3403632"/>
              <a:gd name="connsiteX1463" fmla="*/ 2944489 w 3905665"/>
              <a:gd name="connsiteY1463" fmla="*/ 1765635 h 3403632"/>
              <a:gd name="connsiteX1464" fmla="*/ 2957571 w 3905665"/>
              <a:gd name="connsiteY1464" fmla="*/ 1752553 h 3403632"/>
              <a:gd name="connsiteX1465" fmla="*/ 172058 w 3905665"/>
              <a:gd name="connsiteY1465" fmla="*/ 1747862 h 3403632"/>
              <a:gd name="connsiteX1466" fmla="*/ 177488 w 3905665"/>
              <a:gd name="connsiteY1466" fmla="*/ 1753294 h 3403632"/>
              <a:gd name="connsiteX1467" fmla="*/ 172058 w 3905665"/>
              <a:gd name="connsiteY1467" fmla="*/ 1758723 h 3403632"/>
              <a:gd name="connsiteX1468" fmla="*/ 166627 w 3905665"/>
              <a:gd name="connsiteY1468" fmla="*/ 1753294 h 3403632"/>
              <a:gd name="connsiteX1469" fmla="*/ 172058 w 3905665"/>
              <a:gd name="connsiteY1469" fmla="*/ 1747862 h 3403632"/>
              <a:gd name="connsiteX1470" fmla="*/ 1764894 w 3905665"/>
              <a:gd name="connsiteY1470" fmla="*/ 1743913 h 3403632"/>
              <a:gd name="connsiteX1471" fmla="*/ 1766621 w 3905665"/>
              <a:gd name="connsiteY1471" fmla="*/ 1745888 h 3403632"/>
              <a:gd name="connsiteX1472" fmla="*/ 1764894 w 3905665"/>
              <a:gd name="connsiteY1472" fmla="*/ 1747617 h 3403632"/>
              <a:gd name="connsiteX1473" fmla="*/ 1763165 w 3905665"/>
              <a:gd name="connsiteY1473" fmla="*/ 1745888 h 3403632"/>
              <a:gd name="connsiteX1474" fmla="*/ 1764894 w 3905665"/>
              <a:gd name="connsiteY1474" fmla="*/ 1743913 h 3403632"/>
              <a:gd name="connsiteX1475" fmla="*/ 948111 w 3905665"/>
              <a:gd name="connsiteY1475" fmla="*/ 1743421 h 3403632"/>
              <a:gd name="connsiteX1476" fmla="*/ 950827 w 3905665"/>
              <a:gd name="connsiteY1476" fmla="*/ 1746137 h 3403632"/>
              <a:gd name="connsiteX1477" fmla="*/ 948111 w 3905665"/>
              <a:gd name="connsiteY1477" fmla="*/ 1748853 h 3403632"/>
              <a:gd name="connsiteX1478" fmla="*/ 945395 w 3905665"/>
              <a:gd name="connsiteY1478" fmla="*/ 1746137 h 3403632"/>
              <a:gd name="connsiteX1479" fmla="*/ 948111 w 3905665"/>
              <a:gd name="connsiteY1479" fmla="*/ 1743421 h 3403632"/>
              <a:gd name="connsiteX1480" fmla="*/ 2682596 w 3905665"/>
              <a:gd name="connsiteY1480" fmla="*/ 1741692 h 3403632"/>
              <a:gd name="connsiteX1481" fmla="*/ 2699630 w 3905665"/>
              <a:gd name="connsiteY1481" fmla="*/ 1758723 h 3403632"/>
              <a:gd name="connsiteX1482" fmla="*/ 2682596 w 3905665"/>
              <a:gd name="connsiteY1482" fmla="*/ 1775757 h 3403632"/>
              <a:gd name="connsiteX1483" fmla="*/ 2665565 w 3905665"/>
              <a:gd name="connsiteY1483" fmla="*/ 1758723 h 3403632"/>
              <a:gd name="connsiteX1484" fmla="*/ 2682596 w 3905665"/>
              <a:gd name="connsiteY1484" fmla="*/ 1741692 h 3403632"/>
              <a:gd name="connsiteX1485" fmla="*/ 287082 w 3905665"/>
              <a:gd name="connsiteY1485" fmla="*/ 1727869 h 3403632"/>
              <a:gd name="connsiteX1486" fmla="*/ 293255 w 3905665"/>
              <a:gd name="connsiteY1486" fmla="*/ 1734039 h 3403632"/>
              <a:gd name="connsiteX1487" fmla="*/ 287082 w 3905665"/>
              <a:gd name="connsiteY1487" fmla="*/ 1740212 h 3403632"/>
              <a:gd name="connsiteX1488" fmla="*/ 280912 w 3905665"/>
              <a:gd name="connsiteY1488" fmla="*/ 1734039 h 3403632"/>
              <a:gd name="connsiteX1489" fmla="*/ 287082 w 3905665"/>
              <a:gd name="connsiteY1489" fmla="*/ 1727869 h 3403632"/>
              <a:gd name="connsiteX1490" fmla="*/ 1953224 w 3905665"/>
              <a:gd name="connsiteY1490" fmla="*/ 1727377 h 3403632"/>
              <a:gd name="connsiteX1491" fmla="*/ 1954704 w 3905665"/>
              <a:gd name="connsiteY1491" fmla="*/ 1728857 h 3403632"/>
              <a:gd name="connsiteX1492" fmla="*/ 1953224 w 3905665"/>
              <a:gd name="connsiteY1492" fmla="*/ 1730093 h 3403632"/>
              <a:gd name="connsiteX1493" fmla="*/ 1951743 w 3905665"/>
              <a:gd name="connsiteY1493" fmla="*/ 1728857 h 3403632"/>
              <a:gd name="connsiteX1494" fmla="*/ 1953224 w 3905665"/>
              <a:gd name="connsiteY1494" fmla="*/ 1727377 h 3403632"/>
              <a:gd name="connsiteX1495" fmla="*/ 2412563 w 3905665"/>
              <a:gd name="connsiteY1495" fmla="*/ 1726882 h 3403632"/>
              <a:gd name="connsiteX1496" fmla="*/ 2421203 w 3905665"/>
              <a:gd name="connsiteY1496" fmla="*/ 1735522 h 3403632"/>
              <a:gd name="connsiteX1497" fmla="*/ 2412563 w 3905665"/>
              <a:gd name="connsiteY1497" fmla="*/ 1744162 h 3403632"/>
              <a:gd name="connsiteX1498" fmla="*/ 2403923 w 3905665"/>
              <a:gd name="connsiteY1498" fmla="*/ 1735522 h 3403632"/>
              <a:gd name="connsiteX1499" fmla="*/ 2412563 w 3905665"/>
              <a:gd name="connsiteY1499" fmla="*/ 1726882 h 3403632"/>
              <a:gd name="connsiteX1500" fmla="*/ 733854 w 3905665"/>
              <a:gd name="connsiteY1500" fmla="*/ 1716762 h 3403632"/>
              <a:gd name="connsiteX1501" fmla="*/ 735828 w 3905665"/>
              <a:gd name="connsiteY1501" fmla="*/ 1718737 h 3403632"/>
              <a:gd name="connsiteX1502" fmla="*/ 733854 w 3905665"/>
              <a:gd name="connsiteY1502" fmla="*/ 1720958 h 3403632"/>
              <a:gd name="connsiteX1503" fmla="*/ 731632 w 3905665"/>
              <a:gd name="connsiteY1503" fmla="*/ 1718737 h 3403632"/>
              <a:gd name="connsiteX1504" fmla="*/ 733854 w 3905665"/>
              <a:gd name="connsiteY1504" fmla="*/ 1716762 h 3403632"/>
              <a:gd name="connsiteX1505" fmla="*/ 3122950 w 3905665"/>
              <a:gd name="connsiteY1505" fmla="*/ 1708369 h 3403632"/>
              <a:gd name="connsiteX1506" fmla="*/ 3141709 w 3905665"/>
              <a:gd name="connsiteY1506" fmla="*/ 1726882 h 3403632"/>
              <a:gd name="connsiteX1507" fmla="*/ 3122950 w 3905665"/>
              <a:gd name="connsiteY1507" fmla="*/ 1745642 h 3403632"/>
              <a:gd name="connsiteX1508" fmla="*/ 3104190 w 3905665"/>
              <a:gd name="connsiteY1508" fmla="*/ 1726882 h 3403632"/>
              <a:gd name="connsiteX1509" fmla="*/ 3122950 w 3905665"/>
              <a:gd name="connsiteY1509" fmla="*/ 1708369 h 3403632"/>
              <a:gd name="connsiteX1510" fmla="*/ 2136355 w 3905665"/>
              <a:gd name="connsiteY1510" fmla="*/ 1704666 h 3403632"/>
              <a:gd name="connsiteX1511" fmla="*/ 2138576 w 3905665"/>
              <a:gd name="connsiteY1511" fmla="*/ 1706887 h 3403632"/>
              <a:gd name="connsiteX1512" fmla="*/ 2136355 w 3905665"/>
              <a:gd name="connsiteY1512" fmla="*/ 1709357 h 3403632"/>
              <a:gd name="connsiteX1513" fmla="*/ 2134134 w 3905665"/>
              <a:gd name="connsiteY1513" fmla="*/ 1706887 h 3403632"/>
              <a:gd name="connsiteX1514" fmla="*/ 2136355 w 3905665"/>
              <a:gd name="connsiteY1514" fmla="*/ 1704666 h 3403632"/>
              <a:gd name="connsiteX1515" fmla="*/ 400871 w 3905665"/>
              <a:gd name="connsiteY1515" fmla="*/ 1702199 h 3403632"/>
              <a:gd name="connsiteX1516" fmla="*/ 407782 w 3905665"/>
              <a:gd name="connsiteY1516" fmla="*/ 1709111 h 3403632"/>
              <a:gd name="connsiteX1517" fmla="*/ 400871 w 3905665"/>
              <a:gd name="connsiteY1517" fmla="*/ 1716022 h 3403632"/>
              <a:gd name="connsiteX1518" fmla="*/ 393960 w 3905665"/>
              <a:gd name="connsiteY1518" fmla="*/ 1709111 h 3403632"/>
              <a:gd name="connsiteX1519" fmla="*/ 400871 w 3905665"/>
              <a:gd name="connsiteY1519" fmla="*/ 1702199 h 3403632"/>
              <a:gd name="connsiteX1520" fmla="*/ 1459554 w 3905665"/>
              <a:gd name="connsiteY1520" fmla="*/ 1701952 h 3403632"/>
              <a:gd name="connsiteX1521" fmla="*/ 1460046 w 3905665"/>
              <a:gd name="connsiteY1521" fmla="*/ 1702444 h 3403632"/>
              <a:gd name="connsiteX1522" fmla="*/ 1459554 w 3905665"/>
              <a:gd name="connsiteY1522" fmla="*/ 1702939 h 3403632"/>
              <a:gd name="connsiteX1523" fmla="*/ 1459059 w 3905665"/>
              <a:gd name="connsiteY1523" fmla="*/ 1702444 h 3403632"/>
              <a:gd name="connsiteX1524" fmla="*/ 1459554 w 3905665"/>
              <a:gd name="connsiteY1524" fmla="*/ 1701952 h 3403632"/>
              <a:gd name="connsiteX1525" fmla="*/ 1258625 w 3905665"/>
              <a:gd name="connsiteY1525" fmla="*/ 1701952 h 3403632"/>
              <a:gd name="connsiteX1526" fmla="*/ 1259862 w 3905665"/>
              <a:gd name="connsiteY1526" fmla="*/ 1703186 h 3403632"/>
              <a:gd name="connsiteX1527" fmla="*/ 1258625 w 3905665"/>
              <a:gd name="connsiteY1527" fmla="*/ 1704422 h 3403632"/>
              <a:gd name="connsiteX1528" fmla="*/ 1257392 w 3905665"/>
              <a:gd name="connsiteY1528" fmla="*/ 1703186 h 3403632"/>
              <a:gd name="connsiteX1529" fmla="*/ 1258625 w 3905665"/>
              <a:gd name="connsiteY1529" fmla="*/ 1701952 h 3403632"/>
              <a:gd name="connsiteX1530" fmla="*/ 1654311 w 3905665"/>
              <a:gd name="connsiteY1530" fmla="*/ 1693312 h 3403632"/>
              <a:gd name="connsiteX1531" fmla="*/ 1655547 w 3905665"/>
              <a:gd name="connsiteY1531" fmla="*/ 1694546 h 3403632"/>
              <a:gd name="connsiteX1532" fmla="*/ 1654311 w 3905665"/>
              <a:gd name="connsiteY1532" fmla="*/ 1695782 h 3403632"/>
              <a:gd name="connsiteX1533" fmla="*/ 1653078 w 3905665"/>
              <a:gd name="connsiteY1533" fmla="*/ 1694546 h 3403632"/>
              <a:gd name="connsiteX1534" fmla="*/ 1654311 w 3905665"/>
              <a:gd name="connsiteY1534" fmla="*/ 1693312 h 3403632"/>
              <a:gd name="connsiteX1535" fmla="*/ 1052273 w 3905665"/>
              <a:gd name="connsiteY1535" fmla="*/ 1692079 h 3403632"/>
              <a:gd name="connsiteX1536" fmla="*/ 1054989 w 3905665"/>
              <a:gd name="connsiteY1536" fmla="*/ 1694795 h 3403632"/>
              <a:gd name="connsiteX1537" fmla="*/ 1052273 w 3905665"/>
              <a:gd name="connsiteY1537" fmla="*/ 1697511 h 3403632"/>
              <a:gd name="connsiteX1538" fmla="*/ 1049311 w 3905665"/>
              <a:gd name="connsiteY1538" fmla="*/ 1694795 h 3403632"/>
              <a:gd name="connsiteX1539" fmla="*/ 1052273 w 3905665"/>
              <a:gd name="connsiteY1539" fmla="*/ 1692079 h 3403632"/>
              <a:gd name="connsiteX1540" fmla="*/ 2586578 w 3905665"/>
              <a:gd name="connsiteY1540" fmla="*/ 1691092 h 3403632"/>
              <a:gd name="connsiteX1541" fmla="*/ 2599659 w 3905665"/>
              <a:gd name="connsiteY1541" fmla="*/ 1704174 h 3403632"/>
              <a:gd name="connsiteX1542" fmla="*/ 2586578 w 3905665"/>
              <a:gd name="connsiteY1542" fmla="*/ 1717255 h 3403632"/>
              <a:gd name="connsiteX1543" fmla="*/ 2573496 w 3905665"/>
              <a:gd name="connsiteY1543" fmla="*/ 1704174 h 3403632"/>
              <a:gd name="connsiteX1544" fmla="*/ 2586578 w 3905665"/>
              <a:gd name="connsiteY1544" fmla="*/ 1691092 h 3403632"/>
              <a:gd name="connsiteX1545" fmla="*/ 2862294 w 3905665"/>
              <a:gd name="connsiteY1545" fmla="*/ 1689609 h 3403632"/>
              <a:gd name="connsiteX1546" fmla="*/ 2883767 w 3905665"/>
              <a:gd name="connsiteY1546" fmla="*/ 1711084 h 3403632"/>
              <a:gd name="connsiteX1547" fmla="*/ 2862294 w 3905665"/>
              <a:gd name="connsiteY1547" fmla="*/ 1732557 h 3403632"/>
              <a:gd name="connsiteX1548" fmla="*/ 2840819 w 3905665"/>
              <a:gd name="connsiteY1548" fmla="*/ 1711084 h 3403632"/>
              <a:gd name="connsiteX1549" fmla="*/ 2862294 w 3905665"/>
              <a:gd name="connsiteY1549" fmla="*/ 1689609 h 3403632"/>
              <a:gd name="connsiteX1550" fmla="*/ 2315804 w 3905665"/>
              <a:gd name="connsiteY1550" fmla="*/ 1674553 h 3403632"/>
              <a:gd name="connsiteX1551" fmla="*/ 2321236 w 3905665"/>
              <a:gd name="connsiteY1551" fmla="*/ 1679736 h 3403632"/>
              <a:gd name="connsiteX1552" fmla="*/ 2315804 w 3905665"/>
              <a:gd name="connsiteY1552" fmla="*/ 1685168 h 3403632"/>
              <a:gd name="connsiteX1553" fmla="*/ 2310621 w 3905665"/>
              <a:gd name="connsiteY1553" fmla="*/ 1679736 h 3403632"/>
              <a:gd name="connsiteX1554" fmla="*/ 2315804 w 3905665"/>
              <a:gd name="connsiteY1554" fmla="*/ 1674553 h 3403632"/>
              <a:gd name="connsiteX1555" fmla="*/ 841475 w 3905665"/>
              <a:gd name="connsiteY1555" fmla="*/ 1672825 h 3403632"/>
              <a:gd name="connsiteX1556" fmla="*/ 843698 w 3905665"/>
              <a:gd name="connsiteY1556" fmla="*/ 1675046 h 3403632"/>
              <a:gd name="connsiteX1557" fmla="*/ 841475 w 3905665"/>
              <a:gd name="connsiteY1557" fmla="*/ 1677267 h 3403632"/>
              <a:gd name="connsiteX1558" fmla="*/ 839254 w 3905665"/>
              <a:gd name="connsiteY1558" fmla="*/ 1675046 h 3403632"/>
              <a:gd name="connsiteX1559" fmla="*/ 841475 w 3905665"/>
              <a:gd name="connsiteY1559" fmla="*/ 1672825 h 3403632"/>
              <a:gd name="connsiteX1560" fmla="*/ 513184 w 3905665"/>
              <a:gd name="connsiteY1560" fmla="*/ 1671345 h 3403632"/>
              <a:gd name="connsiteX1561" fmla="*/ 520834 w 3905665"/>
              <a:gd name="connsiteY1561" fmla="*/ 1678997 h 3403632"/>
              <a:gd name="connsiteX1562" fmla="*/ 513184 w 3905665"/>
              <a:gd name="connsiteY1562" fmla="*/ 1686650 h 3403632"/>
              <a:gd name="connsiteX1563" fmla="*/ 505532 w 3905665"/>
              <a:gd name="connsiteY1563" fmla="*/ 1678997 h 3403632"/>
              <a:gd name="connsiteX1564" fmla="*/ 513184 w 3905665"/>
              <a:gd name="connsiteY1564" fmla="*/ 1671345 h 3403632"/>
              <a:gd name="connsiteX1565" fmla="*/ 1854497 w 3905665"/>
              <a:gd name="connsiteY1565" fmla="*/ 1669370 h 3403632"/>
              <a:gd name="connsiteX1566" fmla="*/ 1856222 w 3905665"/>
              <a:gd name="connsiteY1566" fmla="*/ 1671098 h 3403632"/>
              <a:gd name="connsiteX1567" fmla="*/ 1854497 w 3905665"/>
              <a:gd name="connsiteY1567" fmla="*/ 1672827 h 3403632"/>
              <a:gd name="connsiteX1568" fmla="*/ 1852771 w 3905665"/>
              <a:gd name="connsiteY1568" fmla="*/ 1671098 h 3403632"/>
              <a:gd name="connsiteX1569" fmla="*/ 1854497 w 3905665"/>
              <a:gd name="connsiteY1569" fmla="*/ 1669370 h 3403632"/>
              <a:gd name="connsiteX1570" fmla="*/ 3027918 w 3905665"/>
              <a:gd name="connsiteY1570" fmla="*/ 1659002 h 3403632"/>
              <a:gd name="connsiteX1571" fmla="*/ 3041741 w 3905665"/>
              <a:gd name="connsiteY1571" fmla="*/ 1673071 h 3403632"/>
              <a:gd name="connsiteX1572" fmla="*/ 3027918 w 3905665"/>
              <a:gd name="connsiteY1572" fmla="*/ 1686894 h 3403632"/>
              <a:gd name="connsiteX1573" fmla="*/ 3013849 w 3905665"/>
              <a:gd name="connsiteY1573" fmla="*/ 1673071 h 3403632"/>
              <a:gd name="connsiteX1574" fmla="*/ 3027918 w 3905665"/>
              <a:gd name="connsiteY1574" fmla="*/ 1659002 h 3403632"/>
              <a:gd name="connsiteX1575" fmla="*/ 57772 w 3905665"/>
              <a:gd name="connsiteY1575" fmla="*/ 1655299 h 3403632"/>
              <a:gd name="connsiteX1576" fmla="*/ 60488 w 3905665"/>
              <a:gd name="connsiteY1576" fmla="*/ 1658015 h 3403632"/>
              <a:gd name="connsiteX1577" fmla="*/ 57772 w 3905665"/>
              <a:gd name="connsiteY1577" fmla="*/ 1660731 h 3403632"/>
              <a:gd name="connsiteX1578" fmla="*/ 55056 w 3905665"/>
              <a:gd name="connsiteY1578" fmla="*/ 1658015 h 3403632"/>
              <a:gd name="connsiteX1579" fmla="*/ 57772 w 3905665"/>
              <a:gd name="connsiteY1579" fmla="*/ 1655299 h 3403632"/>
              <a:gd name="connsiteX1580" fmla="*/ 2756649 w 3905665"/>
              <a:gd name="connsiteY1580" fmla="*/ 1651844 h 3403632"/>
              <a:gd name="connsiteX1581" fmla="*/ 2774421 w 3905665"/>
              <a:gd name="connsiteY1581" fmla="*/ 1669616 h 3403632"/>
              <a:gd name="connsiteX1582" fmla="*/ 2756649 w 3905665"/>
              <a:gd name="connsiteY1582" fmla="*/ 1687388 h 3403632"/>
              <a:gd name="connsiteX1583" fmla="*/ 2738877 w 3905665"/>
              <a:gd name="connsiteY1583" fmla="*/ 1669616 h 3403632"/>
              <a:gd name="connsiteX1584" fmla="*/ 2756649 w 3905665"/>
              <a:gd name="connsiteY1584" fmla="*/ 1651844 h 3403632"/>
              <a:gd name="connsiteX1585" fmla="*/ 2039103 w 3905665"/>
              <a:gd name="connsiteY1585" fmla="*/ 1648636 h 3403632"/>
              <a:gd name="connsiteX1586" fmla="*/ 2040339 w 3905665"/>
              <a:gd name="connsiteY1586" fmla="*/ 1649870 h 3403632"/>
              <a:gd name="connsiteX1587" fmla="*/ 2039103 w 3905665"/>
              <a:gd name="connsiteY1587" fmla="*/ 1651106 h 3403632"/>
              <a:gd name="connsiteX1588" fmla="*/ 2037869 w 3905665"/>
              <a:gd name="connsiteY1588" fmla="*/ 1649870 h 3403632"/>
              <a:gd name="connsiteX1589" fmla="*/ 2039103 w 3905665"/>
              <a:gd name="connsiteY1589" fmla="*/ 1648636 h 3403632"/>
              <a:gd name="connsiteX1590" fmla="*/ 173291 w 3905665"/>
              <a:gd name="connsiteY1590" fmla="*/ 1640984 h 3403632"/>
              <a:gd name="connsiteX1591" fmla="*/ 175761 w 3905665"/>
              <a:gd name="connsiteY1591" fmla="*/ 1643454 h 3403632"/>
              <a:gd name="connsiteX1592" fmla="*/ 173291 w 3905665"/>
              <a:gd name="connsiteY1592" fmla="*/ 1645921 h 3403632"/>
              <a:gd name="connsiteX1593" fmla="*/ 170824 w 3905665"/>
              <a:gd name="connsiteY1593" fmla="*/ 1643454 h 3403632"/>
              <a:gd name="connsiteX1594" fmla="*/ 173291 w 3905665"/>
              <a:gd name="connsiteY1594" fmla="*/ 1640984 h 3403632"/>
              <a:gd name="connsiteX1595" fmla="*/ 1356869 w 3905665"/>
              <a:gd name="connsiteY1595" fmla="*/ 1639996 h 3403632"/>
              <a:gd name="connsiteX1596" fmla="*/ 1357856 w 3905665"/>
              <a:gd name="connsiteY1596" fmla="*/ 1640984 h 3403632"/>
              <a:gd name="connsiteX1597" fmla="*/ 1356869 w 3905665"/>
              <a:gd name="connsiteY1597" fmla="*/ 1641971 h 3403632"/>
              <a:gd name="connsiteX1598" fmla="*/ 1355881 w 3905665"/>
              <a:gd name="connsiteY1598" fmla="*/ 1640984 h 3403632"/>
              <a:gd name="connsiteX1599" fmla="*/ 1356869 w 3905665"/>
              <a:gd name="connsiteY1599" fmla="*/ 1639996 h 3403632"/>
              <a:gd name="connsiteX1600" fmla="*/ 2490560 w 3905665"/>
              <a:gd name="connsiteY1600" fmla="*/ 1639750 h 3403632"/>
              <a:gd name="connsiteX1601" fmla="*/ 2500185 w 3905665"/>
              <a:gd name="connsiteY1601" fmla="*/ 1649377 h 3403632"/>
              <a:gd name="connsiteX1602" fmla="*/ 2490560 w 3905665"/>
              <a:gd name="connsiteY1602" fmla="*/ 1659002 h 3403632"/>
              <a:gd name="connsiteX1603" fmla="*/ 2480933 w 3905665"/>
              <a:gd name="connsiteY1603" fmla="*/ 1649377 h 3403632"/>
              <a:gd name="connsiteX1604" fmla="*/ 2490560 w 3905665"/>
              <a:gd name="connsiteY1604" fmla="*/ 1639750 h 3403632"/>
              <a:gd name="connsiteX1605" fmla="*/ 1154214 w 3905665"/>
              <a:gd name="connsiteY1605" fmla="*/ 1636293 h 3403632"/>
              <a:gd name="connsiteX1606" fmla="*/ 1156930 w 3905665"/>
              <a:gd name="connsiteY1606" fmla="*/ 1639009 h 3403632"/>
              <a:gd name="connsiteX1607" fmla="*/ 1154214 w 3905665"/>
              <a:gd name="connsiteY1607" fmla="*/ 1641725 h 3403632"/>
              <a:gd name="connsiteX1608" fmla="*/ 1151499 w 3905665"/>
              <a:gd name="connsiteY1608" fmla="*/ 1639009 h 3403632"/>
              <a:gd name="connsiteX1609" fmla="*/ 1154214 w 3905665"/>
              <a:gd name="connsiteY1609" fmla="*/ 1636293 h 3403632"/>
              <a:gd name="connsiteX1610" fmla="*/ 624015 w 3905665"/>
              <a:gd name="connsiteY1610" fmla="*/ 1635060 h 3403632"/>
              <a:gd name="connsiteX1611" fmla="*/ 632406 w 3905665"/>
              <a:gd name="connsiteY1611" fmla="*/ 1643451 h 3403632"/>
              <a:gd name="connsiteX1612" fmla="*/ 624015 w 3905665"/>
              <a:gd name="connsiteY1612" fmla="*/ 1651845 h 3403632"/>
              <a:gd name="connsiteX1613" fmla="*/ 615620 w 3905665"/>
              <a:gd name="connsiteY1613" fmla="*/ 1643451 h 3403632"/>
              <a:gd name="connsiteX1614" fmla="*/ 624015 w 3905665"/>
              <a:gd name="connsiteY1614" fmla="*/ 1635060 h 3403632"/>
              <a:gd name="connsiteX1615" fmla="*/ 1553599 w 3905665"/>
              <a:gd name="connsiteY1615" fmla="*/ 1634318 h 3403632"/>
              <a:gd name="connsiteX1616" fmla="*/ 1554094 w 3905665"/>
              <a:gd name="connsiteY1616" fmla="*/ 1634813 h 3403632"/>
              <a:gd name="connsiteX1617" fmla="*/ 1553599 w 3905665"/>
              <a:gd name="connsiteY1617" fmla="*/ 1635305 h 3403632"/>
              <a:gd name="connsiteX1618" fmla="*/ 1553107 w 3905665"/>
              <a:gd name="connsiteY1618" fmla="*/ 1634813 h 3403632"/>
              <a:gd name="connsiteX1619" fmla="*/ 1553599 w 3905665"/>
              <a:gd name="connsiteY1619" fmla="*/ 1634318 h 3403632"/>
              <a:gd name="connsiteX1620" fmla="*/ 947120 w 3905665"/>
              <a:gd name="connsiteY1620" fmla="*/ 1623706 h 3403632"/>
              <a:gd name="connsiteX1621" fmla="*/ 949589 w 3905665"/>
              <a:gd name="connsiteY1621" fmla="*/ 1626173 h 3403632"/>
              <a:gd name="connsiteX1622" fmla="*/ 947120 w 3905665"/>
              <a:gd name="connsiteY1622" fmla="*/ 1628643 h 3403632"/>
              <a:gd name="connsiteX1623" fmla="*/ 944653 w 3905665"/>
              <a:gd name="connsiteY1623" fmla="*/ 1626173 h 3403632"/>
              <a:gd name="connsiteX1624" fmla="*/ 947120 w 3905665"/>
              <a:gd name="connsiteY1624" fmla="*/ 1623706 h 3403632"/>
              <a:gd name="connsiteX1625" fmla="*/ 2218552 w 3905665"/>
              <a:gd name="connsiteY1625" fmla="*/ 1621978 h 3403632"/>
              <a:gd name="connsiteX1626" fmla="*/ 2221268 w 3905665"/>
              <a:gd name="connsiteY1626" fmla="*/ 1624694 h 3403632"/>
              <a:gd name="connsiteX1627" fmla="*/ 2218552 w 3905665"/>
              <a:gd name="connsiteY1627" fmla="*/ 1627410 h 3403632"/>
              <a:gd name="connsiteX1628" fmla="*/ 2215836 w 3905665"/>
              <a:gd name="connsiteY1628" fmla="*/ 1624694 h 3403632"/>
              <a:gd name="connsiteX1629" fmla="*/ 2218552 w 3905665"/>
              <a:gd name="connsiteY1629" fmla="*/ 1621978 h 3403632"/>
              <a:gd name="connsiteX1630" fmla="*/ 288068 w 3905665"/>
              <a:gd name="connsiteY1630" fmla="*/ 1621237 h 3403632"/>
              <a:gd name="connsiteX1631" fmla="*/ 290043 w 3905665"/>
              <a:gd name="connsiteY1631" fmla="*/ 1623212 h 3403632"/>
              <a:gd name="connsiteX1632" fmla="*/ 288068 w 3905665"/>
              <a:gd name="connsiteY1632" fmla="*/ 1625186 h 3403632"/>
              <a:gd name="connsiteX1633" fmla="*/ 286093 w 3905665"/>
              <a:gd name="connsiteY1633" fmla="*/ 1623212 h 3403632"/>
              <a:gd name="connsiteX1634" fmla="*/ 288068 w 3905665"/>
              <a:gd name="connsiteY1634" fmla="*/ 1621237 h 3403632"/>
              <a:gd name="connsiteX1635" fmla="*/ 1744648 w 3905665"/>
              <a:gd name="connsiteY1635" fmla="*/ 1620496 h 3403632"/>
              <a:gd name="connsiteX1636" fmla="*/ 1746132 w 3905665"/>
              <a:gd name="connsiteY1636" fmla="*/ 1621729 h 3403632"/>
              <a:gd name="connsiteX1637" fmla="*/ 1744648 w 3905665"/>
              <a:gd name="connsiteY1637" fmla="*/ 1623212 h 3403632"/>
              <a:gd name="connsiteX1638" fmla="*/ 1743415 w 3905665"/>
              <a:gd name="connsiteY1638" fmla="*/ 1621729 h 3403632"/>
              <a:gd name="connsiteX1639" fmla="*/ 1744648 w 3905665"/>
              <a:gd name="connsiteY1639" fmla="*/ 1620496 h 3403632"/>
              <a:gd name="connsiteX1640" fmla="*/ 3190337 w 3905665"/>
              <a:gd name="connsiteY1640" fmla="*/ 1612597 h 3403632"/>
              <a:gd name="connsiteX1641" fmla="*/ 3209835 w 3905665"/>
              <a:gd name="connsiteY1641" fmla="*/ 1632098 h 3403632"/>
              <a:gd name="connsiteX1642" fmla="*/ 3190337 w 3905665"/>
              <a:gd name="connsiteY1642" fmla="*/ 1651596 h 3403632"/>
              <a:gd name="connsiteX1643" fmla="*/ 3170836 w 3905665"/>
              <a:gd name="connsiteY1643" fmla="*/ 1632098 h 3403632"/>
              <a:gd name="connsiteX1644" fmla="*/ 3190337 w 3905665"/>
              <a:gd name="connsiteY1644" fmla="*/ 1612597 h 3403632"/>
              <a:gd name="connsiteX1645" fmla="*/ 2661124 w 3905665"/>
              <a:gd name="connsiteY1645" fmla="*/ 1601523 h 3403632"/>
              <a:gd name="connsiteX1646" fmla="*/ 2674947 w 3905665"/>
              <a:gd name="connsiteY1646" fmla="*/ 1615313 h 3403632"/>
              <a:gd name="connsiteX1647" fmla="*/ 2661124 w 3905665"/>
              <a:gd name="connsiteY1647" fmla="*/ 1629136 h 3403632"/>
              <a:gd name="connsiteX1648" fmla="*/ 2647301 w 3905665"/>
              <a:gd name="connsiteY1648" fmla="*/ 1615313 h 3403632"/>
              <a:gd name="connsiteX1649" fmla="*/ 2661124 w 3905665"/>
              <a:gd name="connsiteY1649" fmla="*/ 1601523 h 3403632"/>
              <a:gd name="connsiteX1650" fmla="*/ 2933134 w 3905665"/>
              <a:gd name="connsiteY1650" fmla="*/ 1596098 h 3403632"/>
              <a:gd name="connsiteX1651" fmla="*/ 2955347 w 3905665"/>
              <a:gd name="connsiteY1651" fmla="*/ 1618521 h 3403632"/>
              <a:gd name="connsiteX1652" fmla="*/ 2933134 w 3905665"/>
              <a:gd name="connsiteY1652" fmla="*/ 1640984 h 3403632"/>
              <a:gd name="connsiteX1653" fmla="*/ 2910671 w 3905665"/>
              <a:gd name="connsiteY1653" fmla="*/ 1618521 h 3403632"/>
              <a:gd name="connsiteX1654" fmla="*/ 2933134 w 3905665"/>
              <a:gd name="connsiteY1654" fmla="*/ 1596098 h 3403632"/>
              <a:gd name="connsiteX1655" fmla="*/ 401614 w 3905665"/>
              <a:gd name="connsiteY1655" fmla="*/ 1595331 h 3403632"/>
              <a:gd name="connsiteX1656" fmla="*/ 403340 w 3905665"/>
              <a:gd name="connsiteY1656" fmla="*/ 1597059 h 3403632"/>
              <a:gd name="connsiteX1657" fmla="*/ 401614 w 3905665"/>
              <a:gd name="connsiteY1657" fmla="*/ 1598788 h 3403632"/>
              <a:gd name="connsiteX1658" fmla="*/ 399886 w 3905665"/>
              <a:gd name="connsiteY1658" fmla="*/ 1597059 h 3403632"/>
              <a:gd name="connsiteX1659" fmla="*/ 401614 w 3905665"/>
              <a:gd name="connsiteY1659" fmla="*/ 1595331 h 3403632"/>
              <a:gd name="connsiteX1660" fmla="*/ 733113 w 3905665"/>
              <a:gd name="connsiteY1660" fmla="*/ 1593603 h 3403632"/>
              <a:gd name="connsiteX1661" fmla="*/ 742248 w 3905665"/>
              <a:gd name="connsiteY1661" fmla="*/ 1602723 h 3403632"/>
              <a:gd name="connsiteX1662" fmla="*/ 733113 w 3905665"/>
              <a:gd name="connsiteY1662" fmla="*/ 1611858 h 3403632"/>
              <a:gd name="connsiteX1663" fmla="*/ 723981 w 3905665"/>
              <a:gd name="connsiteY1663" fmla="*/ 1602723 h 3403632"/>
              <a:gd name="connsiteX1664" fmla="*/ 733113 w 3905665"/>
              <a:gd name="connsiteY1664" fmla="*/ 1593603 h 3403632"/>
              <a:gd name="connsiteX1665" fmla="*/ 1941123 w 3905665"/>
              <a:gd name="connsiteY1665" fmla="*/ 1591888 h 3403632"/>
              <a:gd name="connsiteX1666" fmla="*/ 1942604 w 3905665"/>
              <a:gd name="connsiteY1666" fmla="*/ 1593366 h 3403632"/>
              <a:gd name="connsiteX1667" fmla="*/ 1941123 w 3905665"/>
              <a:gd name="connsiteY1667" fmla="*/ 1594847 h 3403632"/>
              <a:gd name="connsiteX1668" fmla="*/ 1939644 w 3905665"/>
              <a:gd name="connsiteY1668" fmla="*/ 1593366 h 3403632"/>
              <a:gd name="connsiteX1669" fmla="*/ 1941123 w 3905665"/>
              <a:gd name="connsiteY1669" fmla="*/ 1591888 h 3403632"/>
              <a:gd name="connsiteX1670" fmla="*/ 2394545 w 3905665"/>
              <a:gd name="connsiteY1670" fmla="*/ 1588190 h 3403632"/>
              <a:gd name="connsiteX1671" fmla="*/ 2400469 w 3905665"/>
              <a:gd name="connsiteY1671" fmla="*/ 1594113 h 3403632"/>
              <a:gd name="connsiteX1672" fmla="*/ 2394545 w 3905665"/>
              <a:gd name="connsiteY1672" fmla="*/ 1600035 h 3403632"/>
              <a:gd name="connsiteX1673" fmla="*/ 2388621 w 3905665"/>
              <a:gd name="connsiteY1673" fmla="*/ 1594113 h 3403632"/>
              <a:gd name="connsiteX1674" fmla="*/ 2394545 w 3905665"/>
              <a:gd name="connsiteY1674" fmla="*/ 1588190 h 3403632"/>
              <a:gd name="connsiteX1675" fmla="*/ 1253690 w 3905665"/>
              <a:gd name="connsiteY1675" fmla="*/ 1575835 h 3403632"/>
              <a:gd name="connsiteX1676" fmla="*/ 1256652 w 3905665"/>
              <a:gd name="connsiteY1676" fmla="*/ 1578797 h 3403632"/>
              <a:gd name="connsiteX1677" fmla="*/ 1253690 w 3905665"/>
              <a:gd name="connsiteY1677" fmla="*/ 1581514 h 3403632"/>
              <a:gd name="connsiteX1678" fmla="*/ 1250975 w 3905665"/>
              <a:gd name="connsiteY1678" fmla="*/ 1578797 h 3403632"/>
              <a:gd name="connsiteX1679" fmla="*/ 1253690 w 3905665"/>
              <a:gd name="connsiteY1679" fmla="*/ 1575835 h 3403632"/>
              <a:gd name="connsiteX1680" fmla="*/ 1452147 w 3905665"/>
              <a:gd name="connsiteY1680" fmla="*/ 1574110 h 3403632"/>
              <a:gd name="connsiteX1681" fmla="*/ 1452885 w 3905665"/>
              <a:gd name="connsiteY1681" fmla="*/ 1574851 h 3403632"/>
              <a:gd name="connsiteX1682" fmla="*/ 1452147 w 3905665"/>
              <a:gd name="connsiteY1682" fmla="*/ 1575589 h 3403632"/>
              <a:gd name="connsiteX1683" fmla="*/ 1451405 w 3905665"/>
              <a:gd name="connsiteY1683" fmla="*/ 1574851 h 3403632"/>
              <a:gd name="connsiteX1684" fmla="*/ 1452147 w 3905665"/>
              <a:gd name="connsiteY1684" fmla="*/ 1574110 h 3403632"/>
              <a:gd name="connsiteX1685" fmla="*/ 1050297 w 3905665"/>
              <a:gd name="connsiteY1685" fmla="*/ 1570403 h 3403632"/>
              <a:gd name="connsiteX1686" fmla="*/ 1052767 w 3905665"/>
              <a:gd name="connsiteY1686" fmla="*/ 1572873 h 3403632"/>
              <a:gd name="connsiteX1687" fmla="*/ 1050297 w 3905665"/>
              <a:gd name="connsiteY1687" fmla="*/ 1575339 h 3403632"/>
              <a:gd name="connsiteX1688" fmla="*/ 1047830 w 3905665"/>
              <a:gd name="connsiteY1688" fmla="*/ 1572873 h 3403632"/>
              <a:gd name="connsiteX1689" fmla="*/ 1050297 w 3905665"/>
              <a:gd name="connsiteY1689" fmla="*/ 1570403 h 3403632"/>
              <a:gd name="connsiteX1690" fmla="*/ 2122039 w 3905665"/>
              <a:gd name="connsiteY1690" fmla="*/ 1567453 h 3403632"/>
              <a:gd name="connsiteX1691" fmla="*/ 2123027 w 3905665"/>
              <a:gd name="connsiteY1691" fmla="*/ 1568440 h 3403632"/>
              <a:gd name="connsiteX1692" fmla="*/ 2122039 w 3905665"/>
              <a:gd name="connsiteY1692" fmla="*/ 1569428 h 3403632"/>
              <a:gd name="connsiteX1693" fmla="*/ 2121052 w 3905665"/>
              <a:gd name="connsiteY1693" fmla="*/ 1568440 h 3403632"/>
              <a:gd name="connsiteX1694" fmla="*/ 2122039 w 3905665"/>
              <a:gd name="connsiteY1694" fmla="*/ 1567453 h 3403632"/>
              <a:gd name="connsiteX1695" fmla="*/ 513922 w 3905665"/>
              <a:gd name="connsiteY1695" fmla="*/ 1563984 h 3403632"/>
              <a:gd name="connsiteX1696" fmla="*/ 515404 w 3905665"/>
              <a:gd name="connsiteY1696" fmla="*/ 1565463 h 3403632"/>
              <a:gd name="connsiteX1697" fmla="*/ 513922 w 3905665"/>
              <a:gd name="connsiteY1697" fmla="*/ 1566945 h 3403632"/>
              <a:gd name="connsiteX1698" fmla="*/ 512442 w 3905665"/>
              <a:gd name="connsiteY1698" fmla="*/ 1565463 h 3403632"/>
              <a:gd name="connsiteX1699" fmla="*/ 513922 w 3905665"/>
              <a:gd name="connsiteY1699" fmla="*/ 1563984 h 3403632"/>
              <a:gd name="connsiteX1700" fmla="*/ 3095798 w 3905665"/>
              <a:gd name="connsiteY1700" fmla="*/ 1563524 h 3403632"/>
              <a:gd name="connsiteX1701" fmla="*/ 3110608 w 3905665"/>
              <a:gd name="connsiteY1701" fmla="*/ 1578329 h 3403632"/>
              <a:gd name="connsiteX1702" fmla="*/ 3095798 w 3905665"/>
              <a:gd name="connsiteY1702" fmla="*/ 1593137 h 3403632"/>
              <a:gd name="connsiteX1703" fmla="*/ 3080988 w 3905665"/>
              <a:gd name="connsiteY1703" fmla="*/ 1578329 h 3403632"/>
              <a:gd name="connsiteX1704" fmla="*/ 3095798 w 3905665"/>
              <a:gd name="connsiteY1704" fmla="*/ 1563524 h 3403632"/>
              <a:gd name="connsiteX1705" fmla="*/ 1645174 w 3905665"/>
              <a:gd name="connsiteY1705" fmla="*/ 1563251 h 3403632"/>
              <a:gd name="connsiteX1706" fmla="*/ 1645422 w 3905665"/>
              <a:gd name="connsiteY1706" fmla="*/ 1563498 h 3403632"/>
              <a:gd name="connsiteX1707" fmla="*/ 1645174 w 3905665"/>
              <a:gd name="connsiteY1707" fmla="*/ 1563743 h 3403632"/>
              <a:gd name="connsiteX1708" fmla="*/ 1644928 w 3905665"/>
              <a:gd name="connsiteY1708" fmla="*/ 1563498 h 3403632"/>
              <a:gd name="connsiteX1709" fmla="*/ 1645174 w 3905665"/>
              <a:gd name="connsiteY1709" fmla="*/ 1563251 h 3403632"/>
              <a:gd name="connsiteX1710" fmla="*/ 2827983 w 3905665"/>
              <a:gd name="connsiteY1710" fmla="*/ 1559323 h 3403632"/>
              <a:gd name="connsiteX1711" fmla="*/ 2846497 w 3905665"/>
              <a:gd name="connsiteY1711" fmla="*/ 1578080 h 3403632"/>
              <a:gd name="connsiteX1712" fmla="*/ 2827983 w 3905665"/>
              <a:gd name="connsiteY1712" fmla="*/ 1596594 h 3403632"/>
              <a:gd name="connsiteX1713" fmla="*/ 2809470 w 3905665"/>
              <a:gd name="connsiteY1713" fmla="*/ 1578080 h 3403632"/>
              <a:gd name="connsiteX1714" fmla="*/ 2827983 w 3905665"/>
              <a:gd name="connsiteY1714" fmla="*/ 1559323 h 3403632"/>
              <a:gd name="connsiteX1715" fmla="*/ 2565598 w 3905665"/>
              <a:gd name="connsiteY1715" fmla="*/ 1549930 h 3403632"/>
              <a:gd name="connsiteX1716" fmla="*/ 2576212 w 3905665"/>
              <a:gd name="connsiteY1716" fmla="*/ 1560798 h 3403632"/>
              <a:gd name="connsiteX1717" fmla="*/ 2565598 w 3905665"/>
              <a:gd name="connsiteY1717" fmla="*/ 1571410 h 3403632"/>
              <a:gd name="connsiteX1718" fmla="*/ 2554983 w 3905665"/>
              <a:gd name="connsiteY1718" fmla="*/ 1560798 h 3403632"/>
              <a:gd name="connsiteX1719" fmla="*/ 2565598 w 3905665"/>
              <a:gd name="connsiteY1719" fmla="*/ 1549930 h 3403632"/>
              <a:gd name="connsiteX1720" fmla="*/ 839993 w 3905665"/>
              <a:gd name="connsiteY1720" fmla="*/ 1547199 h 3403632"/>
              <a:gd name="connsiteX1721" fmla="*/ 849866 w 3905665"/>
              <a:gd name="connsiteY1721" fmla="*/ 1556829 h 3403632"/>
              <a:gd name="connsiteX1722" fmla="*/ 839993 w 3905665"/>
              <a:gd name="connsiteY1722" fmla="*/ 1566700 h 3403632"/>
              <a:gd name="connsiteX1723" fmla="*/ 830366 w 3905665"/>
              <a:gd name="connsiteY1723" fmla="*/ 1556829 h 3403632"/>
              <a:gd name="connsiteX1724" fmla="*/ 839993 w 3905665"/>
              <a:gd name="connsiteY1724" fmla="*/ 1547199 h 3403632"/>
              <a:gd name="connsiteX1725" fmla="*/ 57771 w 3905665"/>
              <a:gd name="connsiteY1725" fmla="*/ 1545222 h 3403632"/>
              <a:gd name="connsiteX1726" fmla="*/ 61475 w 3905665"/>
              <a:gd name="connsiteY1726" fmla="*/ 1548926 h 3403632"/>
              <a:gd name="connsiteX1727" fmla="*/ 57771 w 3905665"/>
              <a:gd name="connsiteY1727" fmla="*/ 1552622 h 3403632"/>
              <a:gd name="connsiteX1728" fmla="*/ 54068 w 3905665"/>
              <a:gd name="connsiteY1728" fmla="*/ 1548926 h 3403632"/>
              <a:gd name="connsiteX1729" fmla="*/ 57771 w 3905665"/>
              <a:gd name="connsiteY1729" fmla="*/ 1545222 h 3403632"/>
              <a:gd name="connsiteX1730" fmla="*/ 1832279 w 3905665"/>
              <a:gd name="connsiteY1730" fmla="*/ 1544495 h 3403632"/>
              <a:gd name="connsiteX1731" fmla="*/ 1833756 w 3905665"/>
              <a:gd name="connsiteY1731" fmla="*/ 1545974 h 3403632"/>
              <a:gd name="connsiteX1732" fmla="*/ 1832279 w 3905665"/>
              <a:gd name="connsiteY1732" fmla="*/ 1547455 h 3403632"/>
              <a:gd name="connsiteX1733" fmla="*/ 1830795 w 3905665"/>
              <a:gd name="connsiteY1733" fmla="*/ 1545974 h 3403632"/>
              <a:gd name="connsiteX1734" fmla="*/ 1832279 w 3905665"/>
              <a:gd name="connsiteY1734" fmla="*/ 1544495 h 3403632"/>
              <a:gd name="connsiteX1735" fmla="*/ 2297785 w 3905665"/>
              <a:gd name="connsiteY1735" fmla="*/ 1536605 h 3403632"/>
              <a:gd name="connsiteX1736" fmla="*/ 2300747 w 3905665"/>
              <a:gd name="connsiteY1736" fmla="*/ 1539566 h 3403632"/>
              <a:gd name="connsiteX1737" fmla="*/ 2297785 w 3905665"/>
              <a:gd name="connsiteY1737" fmla="*/ 1542528 h 3403632"/>
              <a:gd name="connsiteX1738" fmla="*/ 2294823 w 3905665"/>
              <a:gd name="connsiteY1738" fmla="*/ 1539566 h 3403632"/>
              <a:gd name="connsiteX1739" fmla="*/ 2297785 w 3905665"/>
              <a:gd name="connsiteY1739" fmla="*/ 1536605 h 3403632"/>
              <a:gd name="connsiteX1740" fmla="*/ 173535 w 3905665"/>
              <a:gd name="connsiteY1740" fmla="*/ 1529673 h 3403632"/>
              <a:gd name="connsiteX1741" fmla="*/ 177484 w 3905665"/>
              <a:gd name="connsiteY1741" fmla="*/ 1533622 h 3403632"/>
              <a:gd name="connsiteX1742" fmla="*/ 173535 w 3905665"/>
              <a:gd name="connsiteY1742" fmla="*/ 1537325 h 3403632"/>
              <a:gd name="connsiteX1743" fmla="*/ 169586 w 3905665"/>
              <a:gd name="connsiteY1743" fmla="*/ 1533622 h 3403632"/>
              <a:gd name="connsiteX1744" fmla="*/ 173535 w 3905665"/>
              <a:gd name="connsiteY1744" fmla="*/ 1529673 h 3403632"/>
              <a:gd name="connsiteX1745" fmla="*/ 624256 w 3905665"/>
              <a:gd name="connsiteY1745" fmla="*/ 1524985 h 3403632"/>
              <a:gd name="connsiteX1746" fmla="*/ 627467 w 3905665"/>
              <a:gd name="connsiteY1746" fmla="*/ 1528192 h 3403632"/>
              <a:gd name="connsiteX1747" fmla="*/ 624256 w 3905665"/>
              <a:gd name="connsiteY1747" fmla="*/ 1531402 h 3403632"/>
              <a:gd name="connsiteX1748" fmla="*/ 621048 w 3905665"/>
              <a:gd name="connsiteY1748" fmla="*/ 1528192 h 3403632"/>
              <a:gd name="connsiteX1749" fmla="*/ 624256 w 3905665"/>
              <a:gd name="connsiteY1749" fmla="*/ 1524985 h 3403632"/>
              <a:gd name="connsiteX1750" fmla="*/ 3255009 w 3905665"/>
              <a:gd name="connsiteY1750" fmla="*/ 1515157 h 3403632"/>
              <a:gd name="connsiteX1751" fmla="*/ 3275248 w 3905665"/>
              <a:gd name="connsiteY1751" fmla="*/ 1535390 h 3403632"/>
              <a:gd name="connsiteX1752" fmla="*/ 3255009 w 3905665"/>
              <a:gd name="connsiteY1752" fmla="*/ 1555632 h 3403632"/>
              <a:gd name="connsiteX1753" fmla="*/ 3234767 w 3905665"/>
              <a:gd name="connsiteY1753" fmla="*/ 1535390 h 3403632"/>
              <a:gd name="connsiteX1754" fmla="*/ 3255009 w 3905665"/>
              <a:gd name="connsiteY1754" fmla="*/ 1515157 h 3403632"/>
              <a:gd name="connsiteX1755" fmla="*/ 1151002 w 3905665"/>
              <a:gd name="connsiteY1755" fmla="*/ 1511908 h 3403632"/>
              <a:gd name="connsiteX1756" fmla="*/ 1153718 w 3905665"/>
              <a:gd name="connsiteY1756" fmla="*/ 1514624 h 3403632"/>
              <a:gd name="connsiteX1757" fmla="*/ 1151002 w 3905665"/>
              <a:gd name="connsiteY1757" fmla="*/ 1517339 h 3403632"/>
              <a:gd name="connsiteX1758" fmla="*/ 1148286 w 3905665"/>
              <a:gd name="connsiteY1758" fmla="*/ 1514624 h 3403632"/>
              <a:gd name="connsiteX1759" fmla="*/ 1151002 w 3905665"/>
              <a:gd name="connsiteY1759" fmla="*/ 1511908 h 3403632"/>
              <a:gd name="connsiteX1760" fmla="*/ 1350202 w 3905665"/>
              <a:gd name="connsiteY1760" fmla="*/ 1511418 h 3403632"/>
              <a:gd name="connsiteX1761" fmla="*/ 1353164 w 3905665"/>
              <a:gd name="connsiteY1761" fmla="*/ 1514380 h 3403632"/>
              <a:gd name="connsiteX1762" fmla="*/ 1350202 w 3905665"/>
              <a:gd name="connsiteY1762" fmla="*/ 1517096 h 3403632"/>
              <a:gd name="connsiteX1763" fmla="*/ 1347239 w 3905665"/>
              <a:gd name="connsiteY1763" fmla="*/ 1514380 h 3403632"/>
              <a:gd name="connsiteX1764" fmla="*/ 1350202 w 3905665"/>
              <a:gd name="connsiteY1764" fmla="*/ 1511418 h 3403632"/>
              <a:gd name="connsiteX1765" fmla="*/ 2024786 w 3905665"/>
              <a:gd name="connsiteY1765" fmla="*/ 1511179 h 3403632"/>
              <a:gd name="connsiteX1766" fmla="*/ 2026022 w 3905665"/>
              <a:gd name="connsiteY1766" fmla="*/ 1512413 h 3403632"/>
              <a:gd name="connsiteX1767" fmla="*/ 2024786 w 3905665"/>
              <a:gd name="connsiteY1767" fmla="*/ 1513649 h 3403632"/>
              <a:gd name="connsiteX1768" fmla="*/ 2023552 w 3905665"/>
              <a:gd name="connsiteY1768" fmla="*/ 1512413 h 3403632"/>
              <a:gd name="connsiteX1769" fmla="*/ 2024786 w 3905665"/>
              <a:gd name="connsiteY1769" fmla="*/ 1511179 h 3403632"/>
              <a:gd name="connsiteX1770" fmla="*/ 2732953 w 3905665"/>
              <a:gd name="connsiteY1770" fmla="*/ 1509467 h 3403632"/>
              <a:gd name="connsiteX1771" fmla="*/ 2747514 w 3905665"/>
              <a:gd name="connsiteY1771" fmla="*/ 1524030 h 3403632"/>
              <a:gd name="connsiteX1772" fmla="*/ 2732953 w 3905665"/>
              <a:gd name="connsiteY1772" fmla="*/ 1538589 h 3403632"/>
              <a:gd name="connsiteX1773" fmla="*/ 2718389 w 3905665"/>
              <a:gd name="connsiteY1773" fmla="*/ 1524030 h 3403632"/>
              <a:gd name="connsiteX1774" fmla="*/ 2732953 w 3905665"/>
              <a:gd name="connsiteY1774" fmla="*/ 1509467 h 3403632"/>
              <a:gd name="connsiteX1775" fmla="*/ 288313 w 3905665"/>
              <a:gd name="connsiteY1775" fmla="*/ 1508201 h 3403632"/>
              <a:gd name="connsiteX1776" fmla="*/ 292263 w 3905665"/>
              <a:gd name="connsiteY1776" fmla="*/ 1512151 h 3403632"/>
              <a:gd name="connsiteX1777" fmla="*/ 288313 w 3905665"/>
              <a:gd name="connsiteY1777" fmla="*/ 1516100 h 3403632"/>
              <a:gd name="connsiteX1778" fmla="*/ 284364 w 3905665"/>
              <a:gd name="connsiteY1778" fmla="*/ 1512151 h 3403632"/>
              <a:gd name="connsiteX1779" fmla="*/ 288313 w 3905665"/>
              <a:gd name="connsiteY1779" fmla="*/ 1508201 h 3403632"/>
              <a:gd name="connsiteX1780" fmla="*/ 1544711 w 3905665"/>
              <a:gd name="connsiteY1780" fmla="*/ 1504259 h 3403632"/>
              <a:gd name="connsiteX1781" fmla="*/ 1544960 w 3905665"/>
              <a:gd name="connsiteY1781" fmla="*/ 1504754 h 3403632"/>
              <a:gd name="connsiteX1782" fmla="*/ 1544711 w 3905665"/>
              <a:gd name="connsiteY1782" fmla="*/ 1505246 h 3403632"/>
              <a:gd name="connsiteX1783" fmla="*/ 1544219 w 3905665"/>
              <a:gd name="connsiteY1783" fmla="*/ 1504754 h 3403632"/>
              <a:gd name="connsiteX1784" fmla="*/ 1544711 w 3905665"/>
              <a:gd name="connsiteY1784" fmla="*/ 1504259 h 3403632"/>
              <a:gd name="connsiteX1785" fmla="*/ 3001263 w 3905665"/>
              <a:gd name="connsiteY1785" fmla="*/ 1500833 h 3403632"/>
              <a:gd name="connsiteX1786" fmla="*/ 3024464 w 3905665"/>
              <a:gd name="connsiteY1786" fmla="*/ 1524037 h 3403632"/>
              <a:gd name="connsiteX1787" fmla="*/ 3001263 w 3905665"/>
              <a:gd name="connsiteY1787" fmla="*/ 1547229 h 3403632"/>
              <a:gd name="connsiteX1788" fmla="*/ 2978059 w 3905665"/>
              <a:gd name="connsiteY1788" fmla="*/ 1524037 h 3403632"/>
              <a:gd name="connsiteX1789" fmla="*/ 3001263 w 3905665"/>
              <a:gd name="connsiteY1789" fmla="*/ 1500833 h 3403632"/>
              <a:gd name="connsiteX1790" fmla="*/ 2470073 w 3905665"/>
              <a:gd name="connsiteY1790" fmla="*/ 1499586 h 3403632"/>
              <a:gd name="connsiteX1791" fmla="*/ 2476492 w 3905665"/>
              <a:gd name="connsiteY1791" fmla="*/ 1506005 h 3403632"/>
              <a:gd name="connsiteX1792" fmla="*/ 2470073 w 3905665"/>
              <a:gd name="connsiteY1792" fmla="*/ 1512424 h 3403632"/>
              <a:gd name="connsiteX1793" fmla="*/ 2463656 w 3905665"/>
              <a:gd name="connsiteY1793" fmla="*/ 1506005 h 3403632"/>
              <a:gd name="connsiteX1794" fmla="*/ 2470073 w 3905665"/>
              <a:gd name="connsiteY1794" fmla="*/ 1499586 h 3403632"/>
              <a:gd name="connsiteX1795" fmla="*/ 944651 w 3905665"/>
              <a:gd name="connsiteY1795" fmla="*/ 1495615 h 3403632"/>
              <a:gd name="connsiteX1796" fmla="*/ 955019 w 3905665"/>
              <a:gd name="connsiteY1796" fmla="*/ 1505982 h 3403632"/>
              <a:gd name="connsiteX1797" fmla="*/ 944651 w 3905665"/>
              <a:gd name="connsiteY1797" fmla="*/ 1516351 h 3403632"/>
              <a:gd name="connsiteX1798" fmla="*/ 934285 w 3905665"/>
              <a:gd name="connsiteY1798" fmla="*/ 1505982 h 3403632"/>
              <a:gd name="connsiteX1799" fmla="*/ 944651 w 3905665"/>
              <a:gd name="connsiteY1799" fmla="*/ 1495615 h 3403632"/>
              <a:gd name="connsiteX1800" fmla="*/ 1733542 w 3905665"/>
              <a:gd name="connsiteY1800" fmla="*/ 1488215 h 3403632"/>
              <a:gd name="connsiteX1801" fmla="*/ 1733790 w 3905665"/>
              <a:gd name="connsiteY1801" fmla="*/ 1488461 h 3403632"/>
              <a:gd name="connsiteX1802" fmla="*/ 1733542 w 3905665"/>
              <a:gd name="connsiteY1802" fmla="*/ 1488710 h 3403632"/>
              <a:gd name="connsiteX1803" fmla="*/ 1733296 w 3905665"/>
              <a:gd name="connsiteY1803" fmla="*/ 1488461 h 3403632"/>
              <a:gd name="connsiteX1804" fmla="*/ 1733542 w 3905665"/>
              <a:gd name="connsiteY1804" fmla="*/ 1488215 h 3403632"/>
              <a:gd name="connsiteX1805" fmla="*/ 2202014 w 3905665"/>
              <a:gd name="connsiteY1805" fmla="*/ 1483039 h 3403632"/>
              <a:gd name="connsiteX1806" fmla="*/ 2202753 w 3905665"/>
              <a:gd name="connsiteY1806" fmla="*/ 1483779 h 3403632"/>
              <a:gd name="connsiteX1807" fmla="*/ 2202014 w 3905665"/>
              <a:gd name="connsiteY1807" fmla="*/ 1484518 h 3403632"/>
              <a:gd name="connsiteX1808" fmla="*/ 2201273 w 3905665"/>
              <a:gd name="connsiteY1808" fmla="*/ 1483779 h 3403632"/>
              <a:gd name="connsiteX1809" fmla="*/ 2202014 w 3905665"/>
              <a:gd name="connsiteY1809" fmla="*/ 1483039 h 3403632"/>
              <a:gd name="connsiteX1810" fmla="*/ 732866 w 3905665"/>
              <a:gd name="connsiteY1810" fmla="*/ 1482530 h 3403632"/>
              <a:gd name="connsiteX1811" fmla="*/ 735828 w 3905665"/>
              <a:gd name="connsiteY1811" fmla="*/ 1485492 h 3403632"/>
              <a:gd name="connsiteX1812" fmla="*/ 732866 w 3905665"/>
              <a:gd name="connsiteY1812" fmla="*/ 1488454 h 3403632"/>
              <a:gd name="connsiteX1813" fmla="*/ 729904 w 3905665"/>
              <a:gd name="connsiteY1813" fmla="*/ 1485492 h 3403632"/>
              <a:gd name="connsiteX1814" fmla="*/ 732866 w 3905665"/>
              <a:gd name="connsiteY1814" fmla="*/ 1482530 h 3403632"/>
              <a:gd name="connsiteX1815" fmla="*/ 401610 w 3905665"/>
              <a:gd name="connsiteY1815" fmla="*/ 1480554 h 3403632"/>
              <a:gd name="connsiteX1816" fmla="*/ 405805 w 3905665"/>
              <a:gd name="connsiteY1816" fmla="*/ 1484749 h 3403632"/>
              <a:gd name="connsiteX1817" fmla="*/ 401610 w 3905665"/>
              <a:gd name="connsiteY1817" fmla="*/ 1488945 h 3403632"/>
              <a:gd name="connsiteX1818" fmla="*/ 397414 w 3905665"/>
              <a:gd name="connsiteY1818" fmla="*/ 1484749 h 3403632"/>
              <a:gd name="connsiteX1819" fmla="*/ 401610 w 3905665"/>
              <a:gd name="connsiteY1819" fmla="*/ 1480554 h 3403632"/>
              <a:gd name="connsiteX1820" fmla="*/ 3160716 w 3905665"/>
              <a:gd name="connsiteY1820" fmla="*/ 1465777 h 3403632"/>
              <a:gd name="connsiteX1821" fmla="*/ 3176514 w 3905665"/>
              <a:gd name="connsiteY1821" fmla="*/ 1481575 h 3403632"/>
              <a:gd name="connsiteX1822" fmla="*/ 3160716 w 3905665"/>
              <a:gd name="connsiteY1822" fmla="*/ 1497378 h 3403632"/>
              <a:gd name="connsiteX1823" fmla="*/ 3144919 w 3905665"/>
              <a:gd name="connsiteY1823" fmla="*/ 1481575 h 3403632"/>
              <a:gd name="connsiteX1824" fmla="*/ 3160716 w 3905665"/>
              <a:gd name="connsiteY1824" fmla="*/ 1465777 h 3403632"/>
              <a:gd name="connsiteX1825" fmla="*/ 1916693 w 3905665"/>
              <a:gd name="connsiteY1825" fmla="*/ 1465260 h 3403632"/>
              <a:gd name="connsiteX1826" fmla="*/ 1918175 w 3905665"/>
              <a:gd name="connsiteY1826" fmla="*/ 1466746 h 3403632"/>
              <a:gd name="connsiteX1827" fmla="*/ 1916693 w 3905665"/>
              <a:gd name="connsiteY1827" fmla="*/ 1468226 h 3403632"/>
              <a:gd name="connsiteX1828" fmla="*/ 1915214 w 3905665"/>
              <a:gd name="connsiteY1828" fmla="*/ 1466746 h 3403632"/>
              <a:gd name="connsiteX1829" fmla="*/ 1916693 w 3905665"/>
              <a:gd name="connsiteY1829" fmla="*/ 1465260 h 3403632"/>
              <a:gd name="connsiteX1830" fmla="*/ 2896357 w 3905665"/>
              <a:gd name="connsiteY1830" fmla="*/ 1464782 h 3403632"/>
              <a:gd name="connsiteX1831" fmla="*/ 2915858 w 3905665"/>
              <a:gd name="connsiteY1831" fmla="*/ 1484288 h 3403632"/>
              <a:gd name="connsiteX1832" fmla="*/ 2896357 w 3905665"/>
              <a:gd name="connsiteY1832" fmla="*/ 1503795 h 3403632"/>
              <a:gd name="connsiteX1833" fmla="*/ 2876856 w 3905665"/>
              <a:gd name="connsiteY1833" fmla="*/ 1484288 h 3403632"/>
              <a:gd name="connsiteX1834" fmla="*/ 2896357 w 3905665"/>
              <a:gd name="connsiteY1834" fmla="*/ 1464782 h 3403632"/>
              <a:gd name="connsiteX1835" fmla="*/ 2637674 w 3905665"/>
              <a:gd name="connsiteY1835" fmla="*/ 1457875 h 3403632"/>
              <a:gd name="connsiteX1836" fmla="*/ 2649522 w 3905665"/>
              <a:gd name="connsiteY1836" fmla="*/ 1469473 h 3403632"/>
              <a:gd name="connsiteX1837" fmla="*/ 2637674 w 3905665"/>
              <a:gd name="connsiteY1837" fmla="*/ 1481320 h 3403632"/>
              <a:gd name="connsiteX1838" fmla="*/ 2626072 w 3905665"/>
              <a:gd name="connsiteY1838" fmla="*/ 1469473 h 3403632"/>
              <a:gd name="connsiteX1839" fmla="*/ 2637674 w 3905665"/>
              <a:gd name="connsiteY1839" fmla="*/ 1457875 h 3403632"/>
              <a:gd name="connsiteX1840" fmla="*/ 2374057 w 3905665"/>
              <a:gd name="connsiteY1840" fmla="*/ 1448236 h 3403632"/>
              <a:gd name="connsiteX1841" fmla="*/ 2377512 w 3905665"/>
              <a:gd name="connsiteY1841" fmla="*/ 1451687 h 3403632"/>
              <a:gd name="connsiteX1842" fmla="*/ 2374057 w 3905665"/>
              <a:gd name="connsiteY1842" fmla="*/ 1455155 h 3403632"/>
              <a:gd name="connsiteX1843" fmla="*/ 2370600 w 3905665"/>
              <a:gd name="connsiteY1843" fmla="*/ 1451687 h 3403632"/>
              <a:gd name="connsiteX1844" fmla="*/ 2374057 w 3905665"/>
              <a:gd name="connsiteY1844" fmla="*/ 1448236 h 3403632"/>
              <a:gd name="connsiteX1845" fmla="*/ 1248999 w 3905665"/>
              <a:gd name="connsiteY1845" fmla="*/ 1448220 h 3403632"/>
              <a:gd name="connsiteX1846" fmla="*/ 1252699 w 3905665"/>
              <a:gd name="connsiteY1846" fmla="*/ 1451924 h 3403632"/>
              <a:gd name="connsiteX1847" fmla="*/ 1248999 w 3905665"/>
              <a:gd name="connsiteY1847" fmla="*/ 1455628 h 3403632"/>
              <a:gd name="connsiteX1848" fmla="*/ 1245295 w 3905665"/>
              <a:gd name="connsiteY1848" fmla="*/ 1451924 h 3403632"/>
              <a:gd name="connsiteX1849" fmla="*/ 1248999 w 3905665"/>
              <a:gd name="connsiteY1849" fmla="*/ 1448220 h 3403632"/>
              <a:gd name="connsiteX1850" fmla="*/ 513426 w 3905665"/>
              <a:gd name="connsiteY1850" fmla="*/ 1446986 h 3403632"/>
              <a:gd name="connsiteX1851" fmla="*/ 517870 w 3905665"/>
              <a:gd name="connsiteY1851" fmla="*/ 1451425 h 3403632"/>
              <a:gd name="connsiteX1852" fmla="*/ 513426 w 3905665"/>
              <a:gd name="connsiteY1852" fmla="*/ 1455873 h 3403632"/>
              <a:gd name="connsiteX1853" fmla="*/ 508984 w 3905665"/>
              <a:gd name="connsiteY1853" fmla="*/ 1451425 h 3403632"/>
              <a:gd name="connsiteX1854" fmla="*/ 513426 w 3905665"/>
              <a:gd name="connsiteY1854" fmla="*/ 1446986 h 3403632"/>
              <a:gd name="connsiteX1855" fmla="*/ 1444000 w 3905665"/>
              <a:gd name="connsiteY1855" fmla="*/ 1442548 h 3403632"/>
              <a:gd name="connsiteX1856" fmla="*/ 1446715 w 3905665"/>
              <a:gd name="connsiteY1856" fmla="*/ 1445510 h 3403632"/>
              <a:gd name="connsiteX1857" fmla="*/ 1444000 w 3905665"/>
              <a:gd name="connsiteY1857" fmla="*/ 1448470 h 3403632"/>
              <a:gd name="connsiteX1858" fmla="*/ 1441038 w 3905665"/>
              <a:gd name="connsiteY1858" fmla="*/ 1445510 h 3403632"/>
              <a:gd name="connsiteX1859" fmla="*/ 1444000 w 3905665"/>
              <a:gd name="connsiteY1859" fmla="*/ 1442548 h 3403632"/>
              <a:gd name="connsiteX1860" fmla="*/ 1046839 w 3905665"/>
              <a:gd name="connsiteY1860" fmla="*/ 1439086 h 3403632"/>
              <a:gd name="connsiteX1861" fmla="*/ 1057945 w 3905665"/>
              <a:gd name="connsiteY1861" fmla="*/ 1450193 h 3403632"/>
              <a:gd name="connsiteX1862" fmla="*/ 1046839 w 3905665"/>
              <a:gd name="connsiteY1862" fmla="*/ 1461303 h 3403632"/>
              <a:gd name="connsiteX1863" fmla="*/ 1035732 w 3905665"/>
              <a:gd name="connsiteY1863" fmla="*/ 1450193 h 3403632"/>
              <a:gd name="connsiteX1864" fmla="*/ 1046839 w 3905665"/>
              <a:gd name="connsiteY1864" fmla="*/ 1439086 h 3403632"/>
              <a:gd name="connsiteX1865" fmla="*/ 839004 w 3905665"/>
              <a:gd name="connsiteY1865" fmla="*/ 1434644 h 3403632"/>
              <a:gd name="connsiteX1866" fmla="*/ 841720 w 3905665"/>
              <a:gd name="connsiteY1866" fmla="*/ 1437359 h 3403632"/>
              <a:gd name="connsiteX1867" fmla="*/ 839004 w 3905665"/>
              <a:gd name="connsiteY1867" fmla="*/ 1440074 h 3403632"/>
              <a:gd name="connsiteX1868" fmla="*/ 836289 w 3905665"/>
              <a:gd name="connsiteY1868" fmla="*/ 1437359 h 3403632"/>
              <a:gd name="connsiteX1869" fmla="*/ 839004 w 3905665"/>
              <a:gd name="connsiteY1869" fmla="*/ 1434644 h 3403632"/>
              <a:gd name="connsiteX1870" fmla="*/ 1634314 w 3905665"/>
              <a:gd name="connsiteY1870" fmla="*/ 1430946 h 3403632"/>
              <a:gd name="connsiteX1871" fmla="*/ 1634560 w 3905665"/>
              <a:gd name="connsiteY1871" fmla="*/ 1431191 h 3403632"/>
              <a:gd name="connsiteX1872" fmla="*/ 1634314 w 3905665"/>
              <a:gd name="connsiteY1872" fmla="*/ 1431191 h 3403632"/>
              <a:gd name="connsiteX1873" fmla="*/ 2105501 w 3905665"/>
              <a:gd name="connsiteY1873" fmla="*/ 1427501 h 3403632"/>
              <a:gd name="connsiteX1874" fmla="*/ 2106488 w 3905665"/>
              <a:gd name="connsiteY1874" fmla="*/ 1428488 h 3403632"/>
              <a:gd name="connsiteX1875" fmla="*/ 2105501 w 3905665"/>
              <a:gd name="connsiteY1875" fmla="*/ 1429469 h 3403632"/>
              <a:gd name="connsiteX1876" fmla="*/ 2104513 w 3905665"/>
              <a:gd name="connsiteY1876" fmla="*/ 1428488 h 3403632"/>
              <a:gd name="connsiteX1877" fmla="*/ 2105501 w 3905665"/>
              <a:gd name="connsiteY1877" fmla="*/ 1427501 h 3403632"/>
              <a:gd name="connsiteX1878" fmla="*/ 3316963 w 3905665"/>
              <a:gd name="connsiteY1878" fmla="*/ 1415921 h 3403632"/>
              <a:gd name="connsiteX1879" fmla="*/ 3337943 w 3905665"/>
              <a:gd name="connsiteY1879" fmla="*/ 1436901 h 3403632"/>
              <a:gd name="connsiteX1880" fmla="*/ 3316963 w 3905665"/>
              <a:gd name="connsiteY1880" fmla="*/ 1457887 h 3403632"/>
              <a:gd name="connsiteX1881" fmla="*/ 3295982 w 3905665"/>
              <a:gd name="connsiteY1881" fmla="*/ 1436901 h 3403632"/>
              <a:gd name="connsiteX1882" fmla="*/ 3316963 w 3905665"/>
              <a:gd name="connsiteY1882" fmla="*/ 1415921 h 3403632"/>
              <a:gd name="connsiteX1883" fmla="*/ 2801817 w 3905665"/>
              <a:gd name="connsiteY1883" fmla="*/ 1415170 h 3403632"/>
              <a:gd name="connsiteX1884" fmla="*/ 2817122 w 3905665"/>
              <a:gd name="connsiteY1884" fmla="*/ 1430474 h 3403632"/>
              <a:gd name="connsiteX1885" fmla="*/ 2801817 w 3905665"/>
              <a:gd name="connsiteY1885" fmla="*/ 1445777 h 3403632"/>
              <a:gd name="connsiteX1886" fmla="*/ 2786515 w 3905665"/>
              <a:gd name="connsiteY1886" fmla="*/ 1430474 h 3403632"/>
              <a:gd name="connsiteX1887" fmla="*/ 2801817 w 3905665"/>
              <a:gd name="connsiteY1887" fmla="*/ 1415170 h 3403632"/>
              <a:gd name="connsiteX1888" fmla="*/ 623516 w 3905665"/>
              <a:gd name="connsiteY1888" fmla="*/ 1408229 h 3403632"/>
              <a:gd name="connsiteX1889" fmla="*/ 627958 w 3905665"/>
              <a:gd name="connsiteY1889" fmla="*/ 1412674 h 3403632"/>
              <a:gd name="connsiteX1890" fmla="*/ 623516 w 3905665"/>
              <a:gd name="connsiteY1890" fmla="*/ 1417116 h 3403632"/>
              <a:gd name="connsiteX1891" fmla="*/ 618826 w 3905665"/>
              <a:gd name="connsiteY1891" fmla="*/ 1412674 h 3403632"/>
              <a:gd name="connsiteX1892" fmla="*/ 623516 w 3905665"/>
              <a:gd name="connsiteY1892" fmla="*/ 1408229 h 3403632"/>
              <a:gd name="connsiteX1893" fmla="*/ 2542643 w 3905665"/>
              <a:gd name="connsiteY1893" fmla="*/ 1408007 h 3403632"/>
              <a:gd name="connsiteX1894" fmla="*/ 2549800 w 3905665"/>
              <a:gd name="connsiteY1894" fmla="*/ 1415166 h 3403632"/>
              <a:gd name="connsiteX1895" fmla="*/ 2542643 w 3905665"/>
              <a:gd name="connsiteY1895" fmla="*/ 1422326 h 3403632"/>
              <a:gd name="connsiteX1896" fmla="*/ 2535485 w 3905665"/>
              <a:gd name="connsiteY1896" fmla="*/ 1415166 h 3403632"/>
              <a:gd name="connsiteX1897" fmla="*/ 2542643 w 3905665"/>
              <a:gd name="connsiteY1897" fmla="*/ 1408007 h 3403632"/>
              <a:gd name="connsiteX1898" fmla="*/ 3066425 w 3905665"/>
              <a:gd name="connsiteY1898" fmla="*/ 1403327 h 3403632"/>
              <a:gd name="connsiteX1899" fmla="*/ 3090616 w 3905665"/>
              <a:gd name="connsiteY1899" fmla="*/ 1427517 h 3403632"/>
              <a:gd name="connsiteX1900" fmla="*/ 3066425 w 3905665"/>
              <a:gd name="connsiteY1900" fmla="*/ 1451699 h 3403632"/>
              <a:gd name="connsiteX1901" fmla="*/ 3042236 w 3905665"/>
              <a:gd name="connsiteY1901" fmla="*/ 1427517 h 3403632"/>
              <a:gd name="connsiteX1902" fmla="*/ 3066425 w 3905665"/>
              <a:gd name="connsiteY1902" fmla="*/ 1403327 h 3403632"/>
              <a:gd name="connsiteX1903" fmla="*/ 2278777 w 3905665"/>
              <a:gd name="connsiteY1903" fmla="*/ 1395906 h 3403632"/>
              <a:gd name="connsiteX1904" fmla="*/ 2279272 w 3905665"/>
              <a:gd name="connsiteY1904" fmla="*/ 1396402 h 3403632"/>
              <a:gd name="connsiteX1905" fmla="*/ 2278777 w 3905665"/>
              <a:gd name="connsiteY1905" fmla="*/ 1396893 h 3403632"/>
              <a:gd name="connsiteX1906" fmla="*/ 2278285 w 3905665"/>
              <a:gd name="connsiteY1906" fmla="*/ 1396402 h 3403632"/>
              <a:gd name="connsiteX1907" fmla="*/ 2278777 w 3905665"/>
              <a:gd name="connsiteY1907" fmla="*/ 1395906 h 3403632"/>
              <a:gd name="connsiteX1908" fmla="*/ 1998373 w 3905665"/>
              <a:gd name="connsiteY1908" fmla="*/ 1382818 h 3403632"/>
              <a:gd name="connsiteX1909" fmla="*/ 1999855 w 3905665"/>
              <a:gd name="connsiteY1909" fmla="*/ 1384298 h 3403632"/>
              <a:gd name="connsiteX1910" fmla="*/ 1998373 w 3905665"/>
              <a:gd name="connsiteY1910" fmla="*/ 1385779 h 3403632"/>
              <a:gd name="connsiteX1911" fmla="*/ 1996893 w 3905665"/>
              <a:gd name="connsiteY1911" fmla="*/ 1384298 h 3403632"/>
              <a:gd name="connsiteX1912" fmla="*/ 1998373 w 3905665"/>
              <a:gd name="connsiteY1912" fmla="*/ 1382818 h 3403632"/>
              <a:gd name="connsiteX1913" fmla="*/ 942675 w 3905665"/>
              <a:gd name="connsiteY1913" fmla="*/ 1381822 h 3403632"/>
              <a:gd name="connsiteX1914" fmla="*/ 944898 w 3905665"/>
              <a:gd name="connsiteY1914" fmla="*/ 1384043 h 3403632"/>
              <a:gd name="connsiteX1915" fmla="*/ 942675 w 3905665"/>
              <a:gd name="connsiteY1915" fmla="*/ 1386512 h 3403632"/>
              <a:gd name="connsiteX1916" fmla="*/ 940453 w 3905665"/>
              <a:gd name="connsiteY1916" fmla="*/ 1384043 h 3403632"/>
              <a:gd name="connsiteX1917" fmla="*/ 942675 w 3905665"/>
              <a:gd name="connsiteY1917" fmla="*/ 1381822 h 3403632"/>
              <a:gd name="connsiteX1918" fmla="*/ 1344276 w 3905665"/>
              <a:gd name="connsiteY1918" fmla="*/ 1380588 h 3403632"/>
              <a:gd name="connsiteX1919" fmla="*/ 1348720 w 3905665"/>
              <a:gd name="connsiteY1919" fmla="*/ 1385030 h 3403632"/>
              <a:gd name="connsiteX1920" fmla="*/ 1344276 w 3905665"/>
              <a:gd name="connsiteY1920" fmla="*/ 1389475 h 3403632"/>
              <a:gd name="connsiteX1921" fmla="*/ 1339834 w 3905665"/>
              <a:gd name="connsiteY1921" fmla="*/ 1385030 h 3403632"/>
              <a:gd name="connsiteX1922" fmla="*/ 1344276 w 3905665"/>
              <a:gd name="connsiteY1922" fmla="*/ 1380588 h 3403632"/>
              <a:gd name="connsiteX1923" fmla="*/ 1146310 w 3905665"/>
              <a:gd name="connsiteY1923" fmla="*/ 1377874 h 3403632"/>
              <a:gd name="connsiteX1924" fmla="*/ 1158158 w 3905665"/>
              <a:gd name="connsiteY1924" fmla="*/ 1389723 h 3403632"/>
              <a:gd name="connsiteX1925" fmla="*/ 1146310 w 3905665"/>
              <a:gd name="connsiteY1925" fmla="*/ 1401570 h 3403632"/>
              <a:gd name="connsiteX1926" fmla="*/ 1134462 w 3905665"/>
              <a:gd name="connsiteY1926" fmla="*/ 1389723 h 3403632"/>
              <a:gd name="connsiteX1927" fmla="*/ 1146310 w 3905665"/>
              <a:gd name="connsiteY1927" fmla="*/ 1377874 h 3403632"/>
              <a:gd name="connsiteX1928" fmla="*/ 1534836 w 3905665"/>
              <a:gd name="connsiteY1928" fmla="*/ 1370225 h 3403632"/>
              <a:gd name="connsiteX1929" fmla="*/ 1537798 w 3905665"/>
              <a:gd name="connsiteY1929" fmla="*/ 1372941 h 3403632"/>
              <a:gd name="connsiteX1930" fmla="*/ 1534836 w 3905665"/>
              <a:gd name="connsiteY1930" fmla="*/ 1375903 h 3403632"/>
              <a:gd name="connsiteX1931" fmla="*/ 1531874 w 3905665"/>
              <a:gd name="connsiteY1931" fmla="*/ 1372941 h 3403632"/>
              <a:gd name="connsiteX1932" fmla="*/ 1534836 w 3905665"/>
              <a:gd name="connsiteY1932" fmla="*/ 1370225 h 3403632"/>
              <a:gd name="connsiteX1933" fmla="*/ 2962016 w 3905665"/>
              <a:gd name="connsiteY1933" fmla="*/ 1368519 h 3403632"/>
              <a:gd name="connsiteX1934" fmla="*/ 2982255 w 3905665"/>
              <a:gd name="connsiteY1934" fmla="*/ 1388762 h 3403632"/>
              <a:gd name="connsiteX1935" fmla="*/ 2962016 w 3905665"/>
              <a:gd name="connsiteY1935" fmla="*/ 1409002 h 3403632"/>
              <a:gd name="connsiteX1936" fmla="*/ 2941774 w 3905665"/>
              <a:gd name="connsiteY1936" fmla="*/ 1388762 h 3403632"/>
              <a:gd name="connsiteX1937" fmla="*/ 2962016 w 3905665"/>
              <a:gd name="connsiteY1937" fmla="*/ 1368519 h 3403632"/>
              <a:gd name="connsiteX1938" fmla="*/ 3222673 w 3905665"/>
              <a:gd name="connsiteY1938" fmla="*/ 1366303 h 3403632"/>
              <a:gd name="connsiteX1939" fmla="*/ 3239458 w 3905665"/>
              <a:gd name="connsiteY1939" fmla="*/ 1383090 h 3403632"/>
              <a:gd name="connsiteX1940" fmla="*/ 3222673 w 3905665"/>
              <a:gd name="connsiteY1940" fmla="*/ 1399629 h 3403632"/>
              <a:gd name="connsiteX1941" fmla="*/ 3206134 w 3905665"/>
              <a:gd name="connsiteY1941" fmla="*/ 1383090 h 3403632"/>
              <a:gd name="connsiteX1942" fmla="*/ 3222673 w 3905665"/>
              <a:gd name="connsiteY1942" fmla="*/ 1366303 h 3403632"/>
              <a:gd name="connsiteX1943" fmla="*/ 2707034 w 3905665"/>
              <a:gd name="connsiteY1943" fmla="*/ 1363576 h 3403632"/>
              <a:gd name="connsiteX1944" fmla="*/ 2719869 w 3905665"/>
              <a:gd name="connsiteY1944" fmla="*/ 1376167 h 3403632"/>
              <a:gd name="connsiteX1945" fmla="*/ 2707034 w 3905665"/>
              <a:gd name="connsiteY1945" fmla="*/ 1389003 h 3403632"/>
              <a:gd name="connsiteX1946" fmla="*/ 2694198 w 3905665"/>
              <a:gd name="connsiteY1946" fmla="*/ 1376167 h 3403632"/>
              <a:gd name="connsiteX1947" fmla="*/ 2707034 w 3905665"/>
              <a:gd name="connsiteY1947" fmla="*/ 1363576 h 3403632"/>
              <a:gd name="connsiteX1948" fmla="*/ 731136 w 3905665"/>
              <a:gd name="connsiteY1948" fmla="*/ 1363058 h 3403632"/>
              <a:gd name="connsiteX1949" fmla="*/ 735827 w 3905665"/>
              <a:gd name="connsiteY1949" fmla="*/ 1367748 h 3403632"/>
              <a:gd name="connsiteX1950" fmla="*/ 731136 w 3905665"/>
              <a:gd name="connsiteY1950" fmla="*/ 1372439 h 3403632"/>
              <a:gd name="connsiteX1951" fmla="*/ 726445 w 3905665"/>
              <a:gd name="connsiteY1951" fmla="*/ 1367748 h 3403632"/>
              <a:gd name="connsiteX1952" fmla="*/ 731136 w 3905665"/>
              <a:gd name="connsiteY1952" fmla="*/ 1363058 h 3403632"/>
              <a:gd name="connsiteX1953" fmla="*/ 2447364 w 3905665"/>
              <a:gd name="connsiteY1953" fmla="*/ 1357647 h 3403632"/>
              <a:gd name="connsiteX1954" fmla="*/ 2451067 w 3905665"/>
              <a:gd name="connsiteY1954" fmla="*/ 1361350 h 3403632"/>
              <a:gd name="connsiteX1955" fmla="*/ 2447364 w 3905665"/>
              <a:gd name="connsiteY1955" fmla="*/ 1365054 h 3403632"/>
              <a:gd name="connsiteX1956" fmla="*/ 2443414 w 3905665"/>
              <a:gd name="connsiteY1956" fmla="*/ 1361350 h 3403632"/>
              <a:gd name="connsiteX1957" fmla="*/ 2447364 w 3905665"/>
              <a:gd name="connsiteY1957" fmla="*/ 1357647 h 3403632"/>
              <a:gd name="connsiteX1958" fmla="*/ 1720953 w 3905665"/>
              <a:gd name="connsiteY1958" fmla="*/ 1352946 h 3403632"/>
              <a:gd name="connsiteX1959" fmla="*/ 1721693 w 3905665"/>
              <a:gd name="connsiteY1959" fmla="*/ 1353687 h 3403632"/>
              <a:gd name="connsiteX1960" fmla="*/ 1720953 w 3905665"/>
              <a:gd name="connsiteY1960" fmla="*/ 1354426 h 3403632"/>
              <a:gd name="connsiteX1961" fmla="*/ 1720213 w 3905665"/>
              <a:gd name="connsiteY1961" fmla="*/ 1353687 h 3403632"/>
              <a:gd name="connsiteX1962" fmla="*/ 1720953 w 3905665"/>
              <a:gd name="connsiteY1962" fmla="*/ 1352946 h 3403632"/>
              <a:gd name="connsiteX1963" fmla="*/ 2183008 w 3905665"/>
              <a:gd name="connsiteY1963" fmla="*/ 1340609 h 3403632"/>
              <a:gd name="connsiteX1964" fmla="*/ 2183746 w 3905665"/>
              <a:gd name="connsiteY1964" fmla="*/ 1341351 h 3403632"/>
              <a:gd name="connsiteX1965" fmla="*/ 2183008 w 3905665"/>
              <a:gd name="connsiteY1965" fmla="*/ 1342090 h 3403632"/>
              <a:gd name="connsiteX1966" fmla="*/ 2182267 w 3905665"/>
              <a:gd name="connsiteY1966" fmla="*/ 1341351 h 3403632"/>
              <a:gd name="connsiteX1967" fmla="*/ 2183008 w 3905665"/>
              <a:gd name="connsiteY1967" fmla="*/ 1340609 h 3403632"/>
              <a:gd name="connsiteX1968" fmla="*/ 55795 w 3905665"/>
              <a:gd name="connsiteY1968" fmla="*/ 1328004 h 3403632"/>
              <a:gd name="connsiteX1969" fmla="*/ 58510 w 3905665"/>
              <a:gd name="connsiteY1969" fmla="*/ 1330720 h 3403632"/>
              <a:gd name="connsiteX1970" fmla="*/ 55795 w 3905665"/>
              <a:gd name="connsiteY1970" fmla="*/ 1333436 h 3403632"/>
              <a:gd name="connsiteX1971" fmla="*/ 53079 w 3905665"/>
              <a:gd name="connsiteY1971" fmla="*/ 1330720 h 3403632"/>
              <a:gd name="connsiteX1972" fmla="*/ 55795 w 3905665"/>
              <a:gd name="connsiteY1972" fmla="*/ 1328004 h 3403632"/>
              <a:gd name="connsiteX1973" fmla="*/ 1901392 w 3905665"/>
              <a:gd name="connsiteY1973" fmla="*/ 1327275 h 3403632"/>
              <a:gd name="connsiteX1974" fmla="*/ 1902380 w 3905665"/>
              <a:gd name="connsiteY1974" fmla="*/ 1328262 h 3403632"/>
              <a:gd name="connsiteX1975" fmla="*/ 1901392 w 3905665"/>
              <a:gd name="connsiteY1975" fmla="*/ 1329250 h 3403632"/>
              <a:gd name="connsiteX1976" fmla="*/ 1900404 w 3905665"/>
              <a:gd name="connsiteY1976" fmla="*/ 1328262 h 3403632"/>
              <a:gd name="connsiteX1977" fmla="*/ 1901392 w 3905665"/>
              <a:gd name="connsiteY1977" fmla="*/ 1327275 h 3403632"/>
              <a:gd name="connsiteX1978" fmla="*/ 1043383 w 3905665"/>
              <a:gd name="connsiteY1978" fmla="*/ 1324059 h 3403632"/>
              <a:gd name="connsiteX1979" fmla="*/ 1045358 w 3905665"/>
              <a:gd name="connsiteY1979" fmla="*/ 1326033 h 3403632"/>
              <a:gd name="connsiteX1980" fmla="*/ 1043383 w 3905665"/>
              <a:gd name="connsiteY1980" fmla="*/ 1328008 h 3403632"/>
              <a:gd name="connsiteX1981" fmla="*/ 1041408 w 3905665"/>
              <a:gd name="connsiteY1981" fmla="*/ 1326033 h 3403632"/>
              <a:gd name="connsiteX1982" fmla="*/ 1043383 w 3905665"/>
              <a:gd name="connsiteY1982" fmla="*/ 1324059 h 3403632"/>
              <a:gd name="connsiteX1983" fmla="*/ 2867475 w 3905665"/>
              <a:gd name="connsiteY1983" fmla="*/ 1318651 h 3403632"/>
              <a:gd name="connsiteX1984" fmla="*/ 2883518 w 3905665"/>
              <a:gd name="connsiteY1984" fmla="*/ 1334696 h 3403632"/>
              <a:gd name="connsiteX1985" fmla="*/ 2867475 w 3905665"/>
              <a:gd name="connsiteY1985" fmla="*/ 1350991 h 3403632"/>
              <a:gd name="connsiteX1986" fmla="*/ 2851431 w 3905665"/>
              <a:gd name="connsiteY1986" fmla="*/ 1334696 h 3403632"/>
              <a:gd name="connsiteX1987" fmla="*/ 2867475 w 3905665"/>
              <a:gd name="connsiteY1987" fmla="*/ 1318651 h 3403632"/>
              <a:gd name="connsiteX1988" fmla="*/ 3376203 w 3905665"/>
              <a:gd name="connsiteY1988" fmla="*/ 1314957 h 3403632"/>
              <a:gd name="connsiteX1989" fmla="*/ 3397924 w 3905665"/>
              <a:gd name="connsiteY1989" fmla="*/ 1336680 h 3403632"/>
              <a:gd name="connsiteX1990" fmla="*/ 3376203 w 3905665"/>
              <a:gd name="connsiteY1990" fmla="*/ 1358404 h 3403632"/>
              <a:gd name="connsiteX1991" fmla="*/ 3354481 w 3905665"/>
              <a:gd name="connsiteY1991" fmla="*/ 1336680 h 3403632"/>
              <a:gd name="connsiteX1992" fmla="*/ 3376203 w 3905665"/>
              <a:gd name="connsiteY1992" fmla="*/ 1314957 h 3403632"/>
              <a:gd name="connsiteX1993" fmla="*/ 2612248 w 3905665"/>
              <a:gd name="connsiteY1993" fmla="*/ 1314449 h 3403632"/>
              <a:gd name="connsiteX1994" fmla="*/ 2619898 w 3905665"/>
              <a:gd name="connsiteY1994" fmla="*/ 1322101 h 3403632"/>
              <a:gd name="connsiteX1995" fmla="*/ 2612248 w 3905665"/>
              <a:gd name="connsiteY1995" fmla="*/ 1329754 h 3403632"/>
              <a:gd name="connsiteX1996" fmla="*/ 2604596 w 3905665"/>
              <a:gd name="connsiteY1996" fmla="*/ 1322101 h 3403632"/>
              <a:gd name="connsiteX1997" fmla="*/ 2612248 w 3905665"/>
              <a:gd name="connsiteY1997" fmla="*/ 1314449 h 3403632"/>
              <a:gd name="connsiteX1998" fmla="*/ 836536 w 3905665"/>
              <a:gd name="connsiteY1998" fmla="*/ 1312455 h 3403632"/>
              <a:gd name="connsiteX1999" fmla="*/ 841473 w 3905665"/>
              <a:gd name="connsiteY1999" fmla="*/ 1317638 h 3403632"/>
              <a:gd name="connsiteX2000" fmla="*/ 836536 w 3905665"/>
              <a:gd name="connsiteY2000" fmla="*/ 1322575 h 3403632"/>
              <a:gd name="connsiteX2001" fmla="*/ 831353 w 3905665"/>
              <a:gd name="connsiteY2001" fmla="*/ 1317638 h 3403632"/>
              <a:gd name="connsiteX2002" fmla="*/ 836536 w 3905665"/>
              <a:gd name="connsiteY2002" fmla="*/ 1312455 h 3403632"/>
              <a:gd name="connsiteX2003" fmla="*/ 170571 w 3905665"/>
              <a:gd name="connsiteY2003" fmla="*/ 1312453 h 3403632"/>
              <a:gd name="connsiteX2004" fmla="*/ 172053 w 3905665"/>
              <a:gd name="connsiteY2004" fmla="*/ 1313932 h 3403632"/>
              <a:gd name="connsiteX2005" fmla="*/ 170571 w 3905665"/>
              <a:gd name="connsiteY2005" fmla="*/ 1315414 h 3403632"/>
              <a:gd name="connsiteX2006" fmla="*/ 169092 w 3905665"/>
              <a:gd name="connsiteY2006" fmla="*/ 1313932 h 3403632"/>
              <a:gd name="connsiteX2007" fmla="*/ 170571 w 3905665"/>
              <a:gd name="connsiteY2007" fmla="*/ 1312453 h 3403632"/>
              <a:gd name="connsiteX2008" fmla="*/ 1242827 w 3905665"/>
              <a:gd name="connsiteY2008" fmla="*/ 1311966 h 3403632"/>
              <a:gd name="connsiteX2009" fmla="*/ 1255414 w 3905665"/>
              <a:gd name="connsiteY2009" fmla="*/ 1324555 h 3403632"/>
              <a:gd name="connsiteX2010" fmla="*/ 1242827 w 3905665"/>
              <a:gd name="connsiteY2010" fmla="*/ 1337146 h 3403632"/>
              <a:gd name="connsiteX2011" fmla="*/ 1230238 w 3905665"/>
              <a:gd name="connsiteY2011" fmla="*/ 1324555 h 3403632"/>
              <a:gd name="connsiteX2012" fmla="*/ 1242827 w 3905665"/>
              <a:gd name="connsiteY2012" fmla="*/ 1311966 h 3403632"/>
              <a:gd name="connsiteX2013" fmla="*/ 1436099 w 3905665"/>
              <a:gd name="connsiteY2013" fmla="*/ 1308756 h 3403632"/>
              <a:gd name="connsiteX2014" fmla="*/ 1441282 w 3905665"/>
              <a:gd name="connsiteY2014" fmla="*/ 1313939 h 3403632"/>
              <a:gd name="connsiteX2015" fmla="*/ 1436099 w 3905665"/>
              <a:gd name="connsiteY2015" fmla="*/ 1319123 h 3403632"/>
              <a:gd name="connsiteX2016" fmla="*/ 1430916 w 3905665"/>
              <a:gd name="connsiteY2016" fmla="*/ 1313939 h 3403632"/>
              <a:gd name="connsiteX2017" fmla="*/ 1436099 w 3905665"/>
              <a:gd name="connsiteY2017" fmla="*/ 1308756 h 3403632"/>
              <a:gd name="connsiteX2018" fmla="*/ 2352581 w 3905665"/>
              <a:gd name="connsiteY2018" fmla="*/ 1305807 h 3403632"/>
              <a:gd name="connsiteX2019" fmla="*/ 2352827 w 3905665"/>
              <a:gd name="connsiteY2019" fmla="*/ 1306053 h 3403632"/>
              <a:gd name="connsiteX2020" fmla="*/ 2352581 w 3905665"/>
              <a:gd name="connsiteY2020" fmla="*/ 1306549 h 3403632"/>
              <a:gd name="connsiteX2021" fmla="*/ 2352335 w 3905665"/>
              <a:gd name="connsiteY2021" fmla="*/ 1306053 h 3403632"/>
              <a:gd name="connsiteX2022" fmla="*/ 2352581 w 3905665"/>
              <a:gd name="connsiteY2022" fmla="*/ 1305807 h 3403632"/>
              <a:gd name="connsiteX2023" fmla="*/ 3128629 w 3905665"/>
              <a:gd name="connsiteY2023" fmla="*/ 1303597 h 3403632"/>
              <a:gd name="connsiteX2024" fmla="*/ 3153805 w 3905665"/>
              <a:gd name="connsiteY2024" fmla="*/ 1328774 h 3403632"/>
              <a:gd name="connsiteX2025" fmla="*/ 3128629 w 3905665"/>
              <a:gd name="connsiteY2025" fmla="*/ 1353956 h 3403632"/>
              <a:gd name="connsiteX2026" fmla="*/ 3103451 w 3905665"/>
              <a:gd name="connsiteY2026" fmla="*/ 1328774 h 3403632"/>
              <a:gd name="connsiteX2027" fmla="*/ 3128629 w 3905665"/>
              <a:gd name="connsiteY2027" fmla="*/ 1303597 h 3403632"/>
              <a:gd name="connsiteX2028" fmla="*/ 616109 w 3905665"/>
              <a:gd name="connsiteY2028" fmla="*/ 1298633 h 3403632"/>
              <a:gd name="connsiteX2029" fmla="*/ 616354 w 3905665"/>
              <a:gd name="connsiteY2029" fmla="*/ 1298877 h 3403632"/>
              <a:gd name="connsiteX2030" fmla="*/ 616109 w 3905665"/>
              <a:gd name="connsiteY2030" fmla="*/ 1299126 h 3403632"/>
              <a:gd name="connsiteX2031" fmla="*/ 615863 w 3905665"/>
              <a:gd name="connsiteY2031" fmla="*/ 1298877 h 3403632"/>
              <a:gd name="connsiteX2032" fmla="*/ 616109 w 3905665"/>
              <a:gd name="connsiteY2032" fmla="*/ 1298633 h 3403632"/>
              <a:gd name="connsiteX2033" fmla="*/ 2076373 w 3905665"/>
              <a:gd name="connsiteY2033" fmla="*/ 1296667 h 3403632"/>
              <a:gd name="connsiteX2034" fmla="*/ 2078347 w 3905665"/>
              <a:gd name="connsiteY2034" fmla="*/ 1298645 h 3403632"/>
              <a:gd name="connsiteX2035" fmla="*/ 2076373 w 3905665"/>
              <a:gd name="connsiteY2035" fmla="*/ 1300618 h 3403632"/>
              <a:gd name="connsiteX2036" fmla="*/ 2074398 w 3905665"/>
              <a:gd name="connsiteY2036" fmla="*/ 1298645 h 3403632"/>
              <a:gd name="connsiteX2037" fmla="*/ 2076373 w 3905665"/>
              <a:gd name="connsiteY2037" fmla="*/ 1296667 h 3403632"/>
              <a:gd name="connsiteX2038" fmla="*/ 1622461 w 3905665"/>
              <a:gd name="connsiteY2038" fmla="*/ 1293702 h 3403632"/>
              <a:gd name="connsiteX2039" fmla="*/ 1625669 w 3905665"/>
              <a:gd name="connsiteY2039" fmla="*/ 1296908 h 3403632"/>
              <a:gd name="connsiteX2040" fmla="*/ 1622461 w 3905665"/>
              <a:gd name="connsiteY2040" fmla="*/ 1300121 h 3403632"/>
              <a:gd name="connsiteX2041" fmla="*/ 1619253 w 3905665"/>
              <a:gd name="connsiteY2041" fmla="*/ 1296908 h 3403632"/>
              <a:gd name="connsiteX2042" fmla="*/ 1622461 w 3905665"/>
              <a:gd name="connsiteY2042" fmla="*/ 1293702 h 3403632"/>
              <a:gd name="connsiteX2043" fmla="*/ 284118 w 3905665"/>
              <a:gd name="connsiteY2043" fmla="*/ 1289993 h 3403632"/>
              <a:gd name="connsiteX2044" fmla="*/ 284856 w 3905665"/>
              <a:gd name="connsiteY2044" fmla="*/ 1290734 h 3403632"/>
              <a:gd name="connsiteX2045" fmla="*/ 284118 w 3905665"/>
              <a:gd name="connsiteY2045" fmla="*/ 1291473 h 3403632"/>
              <a:gd name="connsiteX2046" fmla="*/ 283377 w 3905665"/>
              <a:gd name="connsiteY2046" fmla="*/ 1290734 h 3403632"/>
              <a:gd name="connsiteX2047" fmla="*/ 284118 w 3905665"/>
              <a:gd name="connsiteY2047" fmla="*/ 1289993 h 3403632"/>
              <a:gd name="connsiteX2048" fmla="*/ 1804134 w 3905665"/>
              <a:gd name="connsiteY2048" fmla="*/ 1270997 h 3403632"/>
              <a:gd name="connsiteX2049" fmla="*/ 1805860 w 3905665"/>
              <a:gd name="connsiteY2049" fmla="*/ 1272725 h 3403632"/>
              <a:gd name="connsiteX2050" fmla="*/ 1804134 w 3905665"/>
              <a:gd name="connsiteY2050" fmla="*/ 1274450 h 3403632"/>
              <a:gd name="connsiteX2051" fmla="*/ 1802407 w 3905665"/>
              <a:gd name="connsiteY2051" fmla="*/ 1272725 h 3403632"/>
              <a:gd name="connsiteX2052" fmla="*/ 1804134 w 3905665"/>
              <a:gd name="connsiteY2052" fmla="*/ 1270997 h 3403632"/>
              <a:gd name="connsiteX2053" fmla="*/ 3024711 w 3905665"/>
              <a:gd name="connsiteY2053" fmla="*/ 1270030 h 3403632"/>
              <a:gd name="connsiteX2054" fmla="*/ 3045694 w 3905665"/>
              <a:gd name="connsiteY2054" fmla="*/ 1291005 h 3403632"/>
              <a:gd name="connsiteX2055" fmla="*/ 3024711 w 3905665"/>
              <a:gd name="connsiteY2055" fmla="*/ 1311987 h 3403632"/>
              <a:gd name="connsiteX2056" fmla="*/ 3003484 w 3905665"/>
              <a:gd name="connsiteY2056" fmla="*/ 1291005 h 3403632"/>
              <a:gd name="connsiteX2057" fmla="*/ 3024711 w 3905665"/>
              <a:gd name="connsiteY2057" fmla="*/ 1270030 h 3403632"/>
              <a:gd name="connsiteX2058" fmla="*/ 2773185 w 3905665"/>
              <a:gd name="connsiteY2058" fmla="*/ 1266817 h 3403632"/>
              <a:gd name="connsiteX2059" fmla="*/ 2786762 w 3905665"/>
              <a:gd name="connsiteY2059" fmla="*/ 1280636 h 3403632"/>
              <a:gd name="connsiteX2060" fmla="*/ 2773185 w 3905665"/>
              <a:gd name="connsiteY2060" fmla="*/ 1294456 h 3403632"/>
              <a:gd name="connsiteX2061" fmla="*/ 2759362 w 3905665"/>
              <a:gd name="connsiteY2061" fmla="*/ 1280636 h 3403632"/>
              <a:gd name="connsiteX2062" fmla="*/ 2773185 w 3905665"/>
              <a:gd name="connsiteY2062" fmla="*/ 1266817 h 3403632"/>
              <a:gd name="connsiteX2063" fmla="*/ 3281913 w 3905665"/>
              <a:gd name="connsiteY2063" fmla="*/ 1265349 h 3403632"/>
              <a:gd name="connsiteX2064" fmla="*/ 3299436 w 3905665"/>
              <a:gd name="connsiteY2064" fmla="*/ 1282869 h 3403632"/>
              <a:gd name="connsiteX2065" fmla="*/ 3281913 w 3905665"/>
              <a:gd name="connsiteY2065" fmla="*/ 1300391 h 3403632"/>
              <a:gd name="connsiteX2066" fmla="*/ 3264387 w 3905665"/>
              <a:gd name="connsiteY2066" fmla="*/ 1282869 h 3403632"/>
              <a:gd name="connsiteX2067" fmla="*/ 3281913 w 3905665"/>
              <a:gd name="connsiteY2067" fmla="*/ 1265349 h 3403632"/>
              <a:gd name="connsiteX2068" fmla="*/ 2517219 w 3905665"/>
              <a:gd name="connsiteY2068" fmla="*/ 1264097 h 3403632"/>
              <a:gd name="connsiteX2069" fmla="*/ 2521414 w 3905665"/>
              <a:gd name="connsiteY2069" fmla="*/ 1268291 h 3403632"/>
              <a:gd name="connsiteX2070" fmla="*/ 2517219 w 3905665"/>
              <a:gd name="connsiteY2070" fmla="*/ 1272486 h 3403632"/>
              <a:gd name="connsiteX2071" fmla="*/ 2513023 w 3905665"/>
              <a:gd name="connsiteY2071" fmla="*/ 1268291 h 3403632"/>
              <a:gd name="connsiteX2072" fmla="*/ 2517219 w 3905665"/>
              <a:gd name="connsiteY2072" fmla="*/ 1264097 h 3403632"/>
              <a:gd name="connsiteX2073" fmla="*/ 1141375 w 3905665"/>
              <a:gd name="connsiteY2073" fmla="*/ 1261117 h 3403632"/>
              <a:gd name="connsiteX2074" fmla="*/ 1143101 w 3905665"/>
              <a:gd name="connsiteY2074" fmla="*/ 1262845 h 3403632"/>
              <a:gd name="connsiteX2075" fmla="*/ 1141375 w 3905665"/>
              <a:gd name="connsiteY2075" fmla="*/ 1264571 h 3403632"/>
              <a:gd name="connsiteX2076" fmla="*/ 1139647 w 3905665"/>
              <a:gd name="connsiteY2076" fmla="*/ 1262845 h 3403632"/>
              <a:gd name="connsiteX2077" fmla="*/ 1141375 w 3905665"/>
              <a:gd name="connsiteY2077" fmla="*/ 1261117 h 3403632"/>
              <a:gd name="connsiteX2078" fmla="*/ 396177 w 3905665"/>
              <a:gd name="connsiteY2078" fmla="*/ 1260375 h 3403632"/>
              <a:gd name="connsiteX2079" fmla="*/ 396672 w 3905665"/>
              <a:gd name="connsiteY2079" fmla="*/ 1260867 h 3403632"/>
              <a:gd name="connsiteX2080" fmla="*/ 396177 w 3905665"/>
              <a:gd name="connsiteY2080" fmla="*/ 1261362 h 3403632"/>
              <a:gd name="connsiteX2081" fmla="*/ 395684 w 3905665"/>
              <a:gd name="connsiteY2081" fmla="*/ 1260867 h 3403632"/>
              <a:gd name="connsiteX2082" fmla="*/ 396177 w 3905665"/>
              <a:gd name="connsiteY2082" fmla="*/ 1260375 h 3403632"/>
              <a:gd name="connsiteX2083" fmla="*/ 938973 w 3905665"/>
              <a:gd name="connsiteY2083" fmla="*/ 1256180 h 3403632"/>
              <a:gd name="connsiteX2084" fmla="*/ 944648 w 3905665"/>
              <a:gd name="connsiteY2084" fmla="*/ 1261857 h 3403632"/>
              <a:gd name="connsiteX2085" fmla="*/ 938973 w 3905665"/>
              <a:gd name="connsiteY2085" fmla="*/ 1267534 h 3403632"/>
              <a:gd name="connsiteX2086" fmla="*/ 933295 w 3905665"/>
              <a:gd name="connsiteY2086" fmla="*/ 1261857 h 3403632"/>
              <a:gd name="connsiteX2087" fmla="*/ 938973 w 3905665"/>
              <a:gd name="connsiteY2087" fmla="*/ 1256180 h 3403632"/>
              <a:gd name="connsiteX2088" fmla="*/ 722495 w 3905665"/>
              <a:gd name="connsiteY2088" fmla="*/ 1251736 h 3403632"/>
              <a:gd name="connsiteX2089" fmla="*/ 723234 w 3905665"/>
              <a:gd name="connsiteY2089" fmla="*/ 1252478 h 3403632"/>
              <a:gd name="connsiteX2090" fmla="*/ 722495 w 3905665"/>
              <a:gd name="connsiteY2090" fmla="*/ 1253216 h 3403632"/>
              <a:gd name="connsiteX2091" fmla="*/ 721754 w 3905665"/>
              <a:gd name="connsiteY2091" fmla="*/ 1252478 h 3403632"/>
              <a:gd name="connsiteX2092" fmla="*/ 722495 w 3905665"/>
              <a:gd name="connsiteY2092" fmla="*/ 1251736 h 3403632"/>
              <a:gd name="connsiteX2093" fmla="*/ 2257304 w 3905665"/>
              <a:gd name="connsiteY2093" fmla="*/ 1250768 h 3403632"/>
              <a:gd name="connsiteX2094" fmla="*/ 2258043 w 3905665"/>
              <a:gd name="connsiteY2094" fmla="*/ 1251509 h 3403632"/>
              <a:gd name="connsiteX2095" fmla="*/ 2257304 w 3905665"/>
              <a:gd name="connsiteY2095" fmla="*/ 1252247 h 3403632"/>
              <a:gd name="connsiteX2096" fmla="*/ 2256563 w 3905665"/>
              <a:gd name="connsiteY2096" fmla="*/ 1251509 h 3403632"/>
              <a:gd name="connsiteX2097" fmla="*/ 2257304 w 3905665"/>
              <a:gd name="connsiteY2097" fmla="*/ 1250768 h 3403632"/>
              <a:gd name="connsiteX2098" fmla="*/ 1980355 w 3905665"/>
              <a:gd name="connsiteY2098" fmla="*/ 1241627 h 3403632"/>
              <a:gd name="connsiteX2099" fmla="*/ 1982329 w 3905665"/>
              <a:gd name="connsiteY2099" fmla="*/ 1243602 h 3403632"/>
              <a:gd name="connsiteX2100" fmla="*/ 1980355 w 3905665"/>
              <a:gd name="connsiteY2100" fmla="*/ 1245577 h 3403632"/>
              <a:gd name="connsiteX2101" fmla="*/ 1978380 w 3905665"/>
              <a:gd name="connsiteY2101" fmla="*/ 1243602 h 3403632"/>
              <a:gd name="connsiteX2102" fmla="*/ 1980355 w 3905665"/>
              <a:gd name="connsiteY2102" fmla="*/ 1241627 h 3403632"/>
              <a:gd name="connsiteX2103" fmla="*/ 1336128 w 3905665"/>
              <a:gd name="connsiteY2103" fmla="*/ 1241619 h 3403632"/>
              <a:gd name="connsiteX2104" fmla="*/ 1349458 w 3905665"/>
              <a:gd name="connsiteY2104" fmla="*/ 1254949 h 3403632"/>
              <a:gd name="connsiteX2105" fmla="*/ 1336128 w 3905665"/>
              <a:gd name="connsiteY2105" fmla="*/ 1268276 h 3403632"/>
              <a:gd name="connsiteX2106" fmla="*/ 1322800 w 3905665"/>
              <a:gd name="connsiteY2106" fmla="*/ 1254949 h 3403632"/>
              <a:gd name="connsiteX2107" fmla="*/ 1336128 w 3905665"/>
              <a:gd name="connsiteY2107" fmla="*/ 1241619 h 3403632"/>
              <a:gd name="connsiteX2108" fmla="*/ 1524712 w 3905665"/>
              <a:gd name="connsiteY2108" fmla="*/ 1232488 h 3403632"/>
              <a:gd name="connsiteX2109" fmla="*/ 1530885 w 3905665"/>
              <a:gd name="connsiteY2109" fmla="*/ 1238659 h 3403632"/>
              <a:gd name="connsiteX2110" fmla="*/ 1524712 w 3905665"/>
              <a:gd name="connsiteY2110" fmla="*/ 1244832 h 3403632"/>
              <a:gd name="connsiteX2111" fmla="*/ 1518542 w 3905665"/>
              <a:gd name="connsiteY2111" fmla="*/ 1238659 h 3403632"/>
              <a:gd name="connsiteX2112" fmla="*/ 1524712 w 3905665"/>
              <a:gd name="connsiteY2112" fmla="*/ 1232488 h 3403632"/>
              <a:gd name="connsiteX2113" fmla="*/ 2930172 w 3905665"/>
              <a:gd name="connsiteY2113" fmla="*/ 1220412 h 3403632"/>
              <a:gd name="connsiteX2114" fmla="*/ 2947203 w 3905665"/>
              <a:gd name="connsiteY2114" fmla="*/ 1237202 h 3403632"/>
              <a:gd name="connsiteX2115" fmla="*/ 2930172 w 3905665"/>
              <a:gd name="connsiteY2115" fmla="*/ 1253988 h 3403632"/>
              <a:gd name="connsiteX2116" fmla="*/ 2913387 w 3905665"/>
              <a:gd name="connsiteY2116" fmla="*/ 1237202 h 3403632"/>
              <a:gd name="connsiteX2117" fmla="*/ 2930172 w 3905665"/>
              <a:gd name="connsiteY2117" fmla="*/ 1220412 h 3403632"/>
              <a:gd name="connsiteX2118" fmla="*/ 2678647 w 3905665"/>
              <a:gd name="connsiteY2118" fmla="*/ 1218433 h 3403632"/>
              <a:gd name="connsiteX2119" fmla="*/ 2687041 w 3905665"/>
              <a:gd name="connsiteY2119" fmla="*/ 1226828 h 3403632"/>
              <a:gd name="connsiteX2120" fmla="*/ 2678647 w 3905665"/>
              <a:gd name="connsiteY2120" fmla="*/ 1234975 h 3403632"/>
              <a:gd name="connsiteX2121" fmla="*/ 2670502 w 3905665"/>
              <a:gd name="connsiteY2121" fmla="*/ 1226828 h 3403632"/>
              <a:gd name="connsiteX2122" fmla="*/ 2678647 w 3905665"/>
              <a:gd name="connsiteY2122" fmla="*/ 1218433 h 3403632"/>
              <a:gd name="connsiteX2123" fmla="*/ 56040 w 3905665"/>
              <a:gd name="connsiteY2123" fmla="*/ 1218410 h 3403632"/>
              <a:gd name="connsiteX2124" fmla="*/ 58755 w 3905665"/>
              <a:gd name="connsiteY2124" fmla="*/ 1221125 h 3403632"/>
              <a:gd name="connsiteX2125" fmla="*/ 56040 w 3905665"/>
              <a:gd name="connsiteY2125" fmla="*/ 1224087 h 3403632"/>
              <a:gd name="connsiteX2126" fmla="*/ 53078 w 3905665"/>
              <a:gd name="connsiteY2126" fmla="*/ 1221125 h 3403632"/>
              <a:gd name="connsiteX2127" fmla="*/ 56040 w 3905665"/>
              <a:gd name="connsiteY2127" fmla="*/ 1218410 h 3403632"/>
              <a:gd name="connsiteX2128" fmla="*/ 1706632 w 3905665"/>
              <a:gd name="connsiteY2128" fmla="*/ 1214470 h 3403632"/>
              <a:gd name="connsiteX2129" fmla="*/ 1708858 w 3905665"/>
              <a:gd name="connsiteY2129" fmla="*/ 1216691 h 3403632"/>
              <a:gd name="connsiteX2130" fmla="*/ 1706632 w 3905665"/>
              <a:gd name="connsiteY2130" fmla="*/ 1218911 h 3403632"/>
              <a:gd name="connsiteX2131" fmla="*/ 1704413 w 3905665"/>
              <a:gd name="connsiteY2131" fmla="*/ 1216691 h 3403632"/>
              <a:gd name="connsiteX2132" fmla="*/ 1706632 w 3905665"/>
              <a:gd name="connsiteY2132" fmla="*/ 1214470 h 3403632"/>
              <a:gd name="connsiteX2133" fmla="*/ 2422929 w 3905665"/>
              <a:gd name="connsiteY2133" fmla="*/ 1213248 h 3403632"/>
              <a:gd name="connsiteX2134" fmla="*/ 2423175 w 3905665"/>
              <a:gd name="connsiteY2134" fmla="*/ 1213494 h 3403632"/>
              <a:gd name="connsiteX2135" fmla="*/ 2422929 w 3905665"/>
              <a:gd name="connsiteY2135" fmla="*/ 1213742 h 3403632"/>
              <a:gd name="connsiteX2136" fmla="*/ 2422929 w 3905665"/>
              <a:gd name="connsiteY2136" fmla="*/ 1213494 h 3403632"/>
              <a:gd name="connsiteX2137" fmla="*/ 3432481 w 3905665"/>
              <a:gd name="connsiteY2137" fmla="*/ 1212281 h 3403632"/>
              <a:gd name="connsiteX2138" fmla="*/ 3454944 w 3905665"/>
              <a:gd name="connsiteY2138" fmla="*/ 1234744 h 3403632"/>
              <a:gd name="connsiteX2139" fmla="*/ 3432481 w 3905665"/>
              <a:gd name="connsiteY2139" fmla="*/ 1257456 h 3403632"/>
              <a:gd name="connsiteX2140" fmla="*/ 3410018 w 3905665"/>
              <a:gd name="connsiteY2140" fmla="*/ 1234744 h 3403632"/>
              <a:gd name="connsiteX2141" fmla="*/ 3432481 w 3905665"/>
              <a:gd name="connsiteY2141" fmla="*/ 1212281 h 3403632"/>
              <a:gd name="connsiteX2142" fmla="*/ 2151413 w 3905665"/>
              <a:gd name="connsiteY2142" fmla="*/ 1207567 h 3403632"/>
              <a:gd name="connsiteX2143" fmla="*/ 2154129 w 3905665"/>
              <a:gd name="connsiteY2143" fmla="*/ 1210282 h 3403632"/>
              <a:gd name="connsiteX2144" fmla="*/ 2151413 w 3905665"/>
              <a:gd name="connsiteY2144" fmla="*/ 1212995 h 3403632"/>
              <a:gd name="connsiteX2145" fmla="*/ 2148697 w 3905665"/>
              <a:gd name="connsiteY2145" fmla="*/ 1210282 h 3403632"/>
              <a:gd name="connsiteX2146" fmla="*/ 2151413 w 3905665"/>
              <a:gd name="connsiteY2146" fmla="*/ 1207567 h 3403632"/>
              <a:gd name="connsiteX2147" fmla="*/ 3187867 w 3905665"/>
              <a:gd name="connsiteY2147" fmla="*/ 1202405 h 3403632"/>
              <a:gd name="connsiteX2148" fmla="*/ 3214033 w 3905665"/>
              <a:gd name="connsiteY2148" fmla="*/ 1228564 h 3403632"/>
              <a:gd name="connsiteX2149" fmla="*/ 3187867 w 3905665"/>
              <a:gd name="connsiteY2149" fmla="*/ 1254735 h 3403632"/>
              <a:gd name="connsiteX2150" fmla="*/ 3161704 w 3905665"/>
              <a:gd name="connsiteY2150" fmla="*/ 1228564 h 3403632"/>
              <a:gd name="connsiteX2151" fmla="*/ 3187867 w 3905665"/>
              <a:gd name="connsiteY2151" fmla="*/ 1202405 h 3403632"/>
              <a:gd name="connsiteX2152" fmla="*/ 825920 w 3905665"/>
              <a:gd name="connsiteY2152" fmla="*/ 1199406 h 3403632"/>
              <a:gd name="connsiteX2153" fmla="*/ 827156 w 3905665"/>
              <a:gd name="connsiteY2153" fmla="*/ 1200640 h 3403632"/>
              <a:gd name="connsiteX2154" fmla="*/ 825920 w 3905665"/>
              <a:gd name="connsiteY2154" fmla="*/ 1201874 h 3403632"/>
              <a:gd name="connsiteX2155" fmla="*/ 824441 w 3905665"/>
              <a:gd name="connsiteY2155" fmla="*/ 1200640 h 3403632"/>
              <a:gd name="connsiteX2156" fmla="*/ 825920 w 3905665"/>
              <a:gd name="connsiteY2156" fmla="*/ 1199406 h 3403632"/>
              <a:gd name="connsiteX2157" fmla="*/ 170819 w 3905665"/>
              <a:gd name="connsiteY2157" fmla="*/ 1198909 h 3403632"/>
              <a:gd name="connsiteX2158" fmla="*/ 175507 w 3905665"/>
              <a:gd name="connsiteY2158" fmla="*/ 1203600 h 3403632"/>
              <a:gd name="connsiteX2159" fmla="*/ 170819 w 3905665"/>
              <a:gd name="connsiteY2159" fmla="*/ 1208290 h 3403632"/>
              <a:gd name="connsiteX2160" fmla="*/ 166129 w 3905665"/>
              <a:gd name="connsiteY2160" fmla="*/ 1203600 h 3403632"/>
              <a:gd name="connsiteX2161" fmla="*/ 170819 w 3905665"/>
              <a:gd name="connsiteY2161" fmla="*/ 1198909 h 3403632"/>
              <a:gd name="connsiteX2162" fmla="*/ 1038445 w 3905665"/>
              <a:gd name="connsiteY2162" fmla="*/ 1194718 h 3403632"/>
              <a:gd name="connsiteX2163" fmla="*/ 1044617 w 3905665"/>
              <a:gd name="connsiteY2163" fmla="*/ 1200888 h 3403632"/>
              <a:gd name="connsiteX2164" fmla="*/ 1038445 w 3905665"/>
              <a:gd name="connsiteY2164" fmla="*/ 1207062 h 3403632"/>
              <a:gd name="connsiteX2165" fmla="*/ 1032275 w 3905665"/>
              <a:gd name="connsiteY2165" fmla="*/ 1200888 h 3403632"/>
              <a:gd name="connsiteX2166" fmla="*/ 1038445 w 3905665"/>
              <a:gd name="connsiteY2166" fmla="*/ 1194718 h 3403632"/>
              <a:gd name="connsiteX2167" fmla="*/ 1236157 w 3905665"/>
              <a:gd name="connsiteY2167" fmla="*/ 1193485 h 3403632"/>
              <a:gd name="connsiteX2168" fmla="*/ 1237639 w 3905665"/>
              <a:gd name="connsiteY2168" fmla="*/ 1194965 h 3403632"/>
              <a:gd name="connsiteX2169" fmla="*/ 1236157 w 3905665"/>
              <a:gd name="connsiteY2169" fmla="*/ 1196201 h 3403632"/>
              <a:gd name="connsiteX2170" fmla="*/ 1234678 w 3905665"/>
              <a:gd name="connsiteY2170" fmla="*/ 1194965 h 3403632"/>
              <a:gd name="connsiteX2171" fmla="*/ 1236157 w 3905665"/>
              <a:gd name="connsiteY2171" fmla="*/ 1193485 h 3403632"/>
              <a:gd name="connsiteX2172" fmla="*/ 1883864 w 3905665"/>
              <a:gd name="connsiteY2172" fmla="*/ 1185841 h 3403632"/>
              <a:gd name="connsiteX2173" fmla="*/ 1886580 w 3905665"/>
              <a:gd name="connsiteY2173" fmla="*/ 1188558 h 3403632"/>
              <a:gd name="connsiteX2174" fmla="*/ 1883864 w 3905665"/>
              <a:gd name="connsiteY2174" fmla="*/ 1191272 h 3403632"/>
              <a:gd name="connsiteX2175" fmla="*/ 1881147 w 3905665"/>
              <a:gd name="connsiteY2175" fmla="*/ 1188558 h 3403632"/>
              <a:gd name="connsiteX2176" fmla="*/ 1883864 w 3905665"/>
              <a:gd name="connsiteY2176" fmla="*/ 1185841 h 3403632"/>
              <a:gd name="connsiteX2177" fmla="*/ 614379 w 3905665"/>
              <a:gd name="connsiteY2177" fmla="*/ 1181879 h 3403632"/>
              <a:gd name="connsiteX2178" fmla="*/ 614628 w 3905665"/>
              <a:gd name="connsiteY2178" fmla="*/ 1182125 h 3403632"/>
              <a:gd name="connsiteX2179" fmla="*/ 614379 w 3905665"/>
              <a:gd name="connsiteY2179" fmla="*/ 1182374 h 3403632"/>
              <a:gd name="connsiteX2180" fmla="*/ 614133 w 3905665"/>
              <a:gd name="connsiteY2180" fmla="*/ 1182125 h 3403632"/>
              <a:gd name="connsiteX2181" fmla="*/ 614379 w 3905665"/>
              <a:gd name="connsiteY2181" fmla="*/ 1181879 h 3403632"/>
              <a:gd name="connsiteX2182" fmla="*/ 284114 w 3905665"/>
              <a:gd name="connsiteY2182" fmla="*/ 1172005 h 3403632"/>
              <a:gd name="connsiteX2183" fmla="*/ 291025 w 3905665"/>
              <a:gd name="connsiteY2183" fmla="*/ 1178917 h 3403632"/>
              <a:gd name="connsiteX2184" fmla="*/ 284114 w 3905665"/>
              <a:gd name="connsiteY2184" fmla="*/ 1185828 h 3403632"/>
              <a:gd name="connsiteX2185" fmla="*/ 277202 w 3905665"/>
              <a:gd name="connsiteY2185" fmla="*/ 1178917 h 3403632"/>
              <a:gd name="connsiteX2186" fmla="*/ 284114 w 3905665"/>
              <a:gd name="connsiteY2186" fmla="*/ 1172005 h 3403632"/>
              <a:gd name="connsiteX2187" fmla="*/ 3084197 w 3905665"/>
              <a:gd name="connsiteY2187" fmla="*/ 1169321 h 3403632"/>
              <a:gd name="connsiteX2188" fmla="*/ 3106164 w 3905665"/>
              <a:gd name="connsiteY2188" fmla="*/ 1191291 h 3403632"/>
              <a:gd name="connsiteX2189" fmla="*/ 3084197 w 3905665"/>
              <a:gd name="connsiteY2189" fmla="*/ 1213257 h 3403632"/>
              <a:gd name="connsiteX2190" fmla="*/ 3062229 w 3905665"/>
              <a:gd name="connsiteY2190" fmla="*/ 1191291 h 3403632"/>
              <a:gd name="connsiteX2191" fmla="*/ 3084197 w 3905665"/>
              <a:gd name="connsiteY2191" fmla="*/ 1169321 h 3403632"/>
              <a:gd name="connsiteX2192" fmla="*/ 2584111 w 3905665"/>
              <a:gd name="connsiteY2192" fmla="*/ 1168573 h 3403632"/>
              <a:gd name="connsiteX2193" fmla="*/ 2588553 w 3905665"/>
              <a:gd name="connsiteY2193" fmla="*/ 1173014 h 3403632"/>
              <a:gd name="connsiteX2194" fmla="*/ 2584111 w 3905665"/>
              <a:gd name="connsiteY2194" fmla="*/ 1177459 h 3403632"/>
              <a:gd name="connsiteX2195" fmla="*/ 2579667 w 3905665"/>
              <a:gd name="connsiteY2195" fmla="*/ 1173014 h 3403632"/>
              <a:gd name="connsiteX2196" fmla="*/ 2584111 w 3905665"/>
              <a:gd name="connsiteY2196" fmla="*/ 1168573 h 3403632"/>
              <a:gd name="connsiteX2197" fmla="*/ 2836128 w 3905665"/>
              <a:gd name="connsiteY2197" fmla="*/ 1168329 h 3403632"/>
              <a:gd name="connsiteX2198" fmla="*/ 2850938 w 3905665"/>
              <a:gd name="connsiteY2198" fmla="*/ 1183140 h 3403632"/>
              <a:gd name="connsiteX2199" fmla="*/ 2836128 w 3905665"/>
              <a:gd name="connsiteY2199" fmla="*/ 1197951 h 3403632"/>
              <a:gd name="connsiteX2200" fmla="*/ 2821318 w 3905665"/>
              <a:gd name="connsiteY2200" fmla="*/ 1183140 h 3403632"/>
              <a:gd name="connsiteX2201" fmla="*/ 2836128 w 3905665"/>
              <a:gd name="connsiteY2201" fmla="*/ 1168329 h 3403632"/>
              <a:gd name="connsiteX2202" fmla="*/ 1425979 w 3905665"/>
              <a:gd name="connsiteY2202" fmla="*/ 1166829 h 3403632"/>
              <a:gd name="connsiteX2203" fmla="*/ 1440048 w 3905665"/>
              <a:gd name="connsiteY2203" fmla="*/ 1180898 h 3403632"/>
              <a:gd name="connsiteX2204" fmla="*/ 1425979 w 3905665"/>
              <a:gd name="connsiteY2204" fmla="*/ 1194967 h 3403632"/>
              <a:gd name="connsiteX2205" fmla="*/ 1411910 w 3905665"/>
              <a:gd name="connsiteY2205" fmla="*/ 1180898 h 3403632"/>
              <a:gd name="connsiteX2206" fmla="*/ 1425979 w 3905665"/>
              <a:gd name="connsiteY2206" fmla="*/ 1166829 h 3403632"/>
              <a:gd name="connsiteX2207" fmla="*/ 3338192 w 3905665"/>
              <a:gd name="connsiteY2207" fmla="*/ 1161182 h 3403632"/>
              <a:gd name="connsiteX2208" fmla="*/ 3357939 w 3905665"/>
              <a:gd name="connsiteY2208" fmla="*/ 1180929 h 3403632"/>
              <a:gd name="connsiteX2209" fmla="*/ 3338192 w 3905665"/>
              <a:gd name="connsiteY2209" fmla="*/ 1200678 h 3403632"/>
              <a:gd name="connsiteX2210" fmla="*/ 3318445 w 3905665"/>
              <a:gd name="connsiteY2210" fmla="*/ 1180929 h 3403632"/>
              <a:gd name="connsiteX2211" fmla="*/ 3338192 w 3905665"/>
              <a:gd name="connsiteY2211" fmla="*/ 1161182 h 3403632"/>
              <a:gd name="connsiteX2212" fmla="*/ 2328390 w 3905665"/>
              <a:gd name="connsiteY2212" fmla="*/ 1158445 h 3403632"/>
              <a:gd name="connsiteX2213" fmla="*/ 2328885 w 3905665"/>
              <a:gd name="connsiteY2213" fmla="*/ 1158941 h 3403632"/>
              <a:gd name="connsiteX2214" fmla="*/ 2328390 w 3905665"/>
              <a:gd name="connsiteY2214" fmla="*/ 1159433 h 3403632"/>
              <a:gd name="connsiteX2215" fmla="*/ 2327898 w 3905665"/>
              <a:gd name="connsiteY2215" fmla="*/ 1158941 h 3403632"/>
              <a:gd name="connsiteX2216" fmla="*/ 2328390 w 3905665"/>
              <a:gd name="connsiteY2216" fmla="*/ 1158445 h 3403632"/>
              <a:gd name="connsiteX2217" fmla="*/ 2055888 w 3905665"/>
              <a:gd name="connsiteY2217" fmla="*/ 1153506 h 3403632"/>
              <a:gd name="connsiteX2218" fmla="*/ 2057862 w 3905665"/>
              <a:gd name="connsiteY2218" fmla="*/ 1155481 h 3403632"/>
              <a:gd name="connsiteX2219" fmla="*/ 2055888 w 3905665"/>
              <a:gd name="connsiteY2219" fmla="*/ 1157455 h 3403632"/>
              <a:gd name="connsiteX2220" fmla="*/ 2053913 w 3905665"/>
              <a:gd name="connsiteY2220" fmla="*/ 1155481 h 3403632"/>
              <a:gd name="connsiteX2221" fmla="*/ 2055888 w 3905665"/>
              <a:gd name="connsiteY2221" fmla="*/ 1153506 h 3403632"/>
              <a:gd name="connsiteX2222" fmla="*/ 1610121 w 3905665"/>
              <a:gd name="connsiteY2222" fmla="*/ 1151771 h 3403632"/>
              <a:gd name="connsiteX2223" fmla="*/ 1617771 w 3905665"/>
              <a:gd name="connsiteY2223" fmla="*/ 1159424 h 3403632"/>
              <a:gd name="connsiteX2224" fmla="*/ 1610121 w 3905665"/>
              <a:gd name="connsiteY2224" fmla="*/ 1167073 h 3403632"/>
              <a:gd name="connsiteX2225" fmla="*/ 1602469 w 3905665"/>
              <a:gd name="connsiteY2225" fmla="*/ 1159424 h 3403632"/>
              <a:gd name="connsiteX2226" fmla="*/ 1610121 w 3905665"/>
              <a:gd name="connsiteY2226" fmla="*/ 1151771 h 3403632"/>
              <a:gd name="connsiteX2227" fmla="*/ 926380 w 3905665"/>
              <a:gd name="connsiteY2227" fmla="*/ 1140656 h 3403632"/>
              <a:gd name="connsiteX2228" fmla="*/ 928849 w 3905665"/>
              <a:gd name="connsiteY2228" fmla="*/ 1143128 h 3403632"/>
              <a:gd name="connsiteX2229" fmla="*/ 926380 w 3905665"/>
              <a:gd name="connsiteY2229" fmla="*/ 1145350 h 3403632"/>
              <a:gd name="connsiteX2230" fmla="*/ 924159 w 3905665"/>
              <a:gd name="connsiteY2230" fmla="*/ 1143128 h 3403632"/>
              <a:gd name="connsiteX2231" fmla="*/ 926380 w 3905665"/>
              <a:gd name="connsiteY2231" fmla="*/ 1140656 h 3403632"/>
              <a:gd name="connsiteX2232" fmla="*/ 395933 w 3905665"/>
              <a:gd name="connsiteY2232" fmla="*/ 1137694 h 3403632"/>
              <a:gd name="connsiteX2233" fmla="*/ 405557 w 3905665"/>
              <a:gd name="connsiteY2233" fmla="*/ 1147321 h 3403632"/>
              <a:gd name="connsiteX2234" fmla="*/ 395933 w 3905665"/>
              <a:gd name="connsiteY2234" fmla="*/ 1156946 h 3403632"/>
              <a:gd name="connsiteX2235" fmla="*/ 386305 w 3905665"/>
              <a:gd name="connsiteY2235" fmla="*/ 1147321 h 3403632"/>
              <a:gd name="connsiteX2236" fmla="*/ 395933 w 3905665"/>
              <a:gd name="connsiteY2236" fmla="*/ 1137694 h 3403632"/>
              <a:gd name="connsiteX2237" fmla="*/ 719535 w 3905665"/>
              <a:gd name="connsiteY2237" fmla="*/ 1130784 h 3403632"/>
              <a:gd name="connsiteX2238" fmla="*/ 722002 w 3905665"/>
              <a:gd name="connsiteY2238" fmla="*/ 1133250 h 3403632"/>
              <a:gd name="connsiteX2239" fmla="*/ 719535 w 3905665"/>
              <a:gd name="connsiteY2239" fmla="*/ 1135719 h 3403632"/>
              <a:gd name="connsiteX2240" fmla="*/ 717065 w 3905665"/>
              <a:gd name="connsiteY2240" fmla="*/ 1133250 h 3403632"/>
              <a:gd name="connsiteX2241" fmla="*/ 719535 w 3905665"/>
              <a:gd name="connsiteY2241" fmla="*/ 1130784 h 3403632"/>
              <a:gd name="connsiteX2242" fmla="*/ 1787348 w 3905665"/>
              <a:gd name="connsiteY2242" fmla="*/ 1130051 h 3403632"/>
              <a:gd name="connsiteX2243" fmla="*/ 1790557 w 3905665"/>
              <a:gd name="connsiteY2243" fmla="*/ 1133255 h 3403632"/>
              <a:gd name="connsiteX2244" fmla="*/ 1787348 w 3905665"/>
              <a:gd name="connsiteY2244" fmla="*/ 1136461 h 3403632"/>
              <a:gd name="connsiteX2245" fmla="*/ 1784141 w 3905665"/>
              <a:gd name="connsiteY2245" fmla="*/ 1133255 h 3403632"/>
              <a:gd name="connsiteX2246" fmla="*/ 1787348 w 3905665"/>
              <a:gd name="connsiteY2246" fmla="*/ 1130051 h 3403632"/>
              <a:gd name="connsiteX2247" fmla="*/ 1134709 w 3905665"/>
              <a:gd name="connsiteY2247" fmla="*/ 1128318 h 3403632"/>
              <a:gd name="connsiteX2248" fmla="*/ 1141372 w 3905665"/>
              <a:gd name="connsiteY2248" fmla="*/ 1134978 h 3403632"/>
              <a:gd name="connsiteX2249" fmla="*/ 1134709 w 3905665"/>
              <a:gd name="connsiteY2249" fmla="*/ 1141649 h 3403632"/>
              <a:gd name="connsiteX2250" fmla="*/ 1128044 w 3905665"/>
              <a:gd name="connsiteY2250" fmla="*/ 1134978 h 3403632"/>
              <a:gd name="connsiteX2251" fmla="*/ 1134709 w 3905665"/>
              <a:gd name="connsiteY2251" fmla="*/ 1128318 h 3403632"/>
              <a:gd name="connsiteX2252" fmla="*/ 1327243 w 3905665"/>
              <a:gd name="connsiteY2252" fmla="*/ 1121407 h 3403632"/>
              <a:gd name="connsiteX2253" fmla="*/ 1328230 w 3905665"/>
              <a:gd name="connsiteY2253" fmla="*/ 1122396 h 3403632"/>
              <a:gd name="connsiteX2254" fmla="*/ 1327243 w 3905665"/>
              <a:gd name="connsiteY2254" fmla="*/ 1123383 h 3403632"/>
              <a:gd name="connsiteX2255" fmla="*/ 1326255 w 3905665"/>
              <a:gd name="connsiteY2255" fmla="*/ 1122396 h 3403632"/>
              <a:gd name="connsiteX2256" fmla="*/ 1327243 w 3905665"/>
              <a:gd name="connsiteY2256" fmla="*/ 1121407 h 3403632"/>
              <a:gd name="connsiteX2257" fmla="*/ 2741839 w 3905665"/>
              <a:gd name="connsiteY2257" fmla="*/ 1120190 h 3403632"/>
              <a:gd name="connsiteX2258" fmla="*/ 2750725 w 3905665"/>
              <a:gd name="connsiteY2258" fmla="*/ 1129075 h 3403632"/>
              <a:gd name="connsiteX2259" fmla="*/ 2741839 w 3905665"/>
              <a:gd name="connsiteY2259" fmla="*/ 1137947 h 3403632"/>
              <a:gd name="connsiteX2260" fmla="*/ 2732953 w 3905665"/>
              <a:gd name="connsiteY2260" fmla="*/ 1129075 h 3403632"/>
              <a:gd name="connsiteX2261" fmla="*/ 2741839 w 3905665"/>
              <a:gd name="connsiteY2261" fmla="*/ 1120190 h 3403632"/>
              <a:gd name="connsiteX2262" fmla="*/ 2989907 w 3905665"/>
              <a:gd name="connsiteY2262" fmla="*/ 1119947 h 3403632"/>
              <a:gd name="connsiteX2263" fmla="*/ 3007679 w 3905665"/>
              <a:gd name="connsiteY2263" fmla="*/ 1137457 h 3403632"/>
              <a:gd name="connsiteX2264" fmla="*/ 2989907 w 3905665"/>
              <a:gd name="connsiteY2264" fmla="*/ 1155000 h 3403632"/>
              <a:gd name="connsiteX2265" fmla="*/ 2972381 w 3905665"/>
              <a:gd name="connsiteY2265" fmla="*/ 1137457 h 3403632"/>
              <a:gd name="connsiteX2266" fmla="*/ 2989907 w 3905665"/>
              <a:gd name="connsiteY2266" fmla="*/ 1119947 h 3403632"/>
              <a:gd name="connsiteX2267" fmla="*/ 2490065 w 3905665"/>
              <a:gd name="connsiteY2267" fmla="*/ 1118210 h 3403632"/>
              <a:gd name="connsiteX2268" fmla="*/ 2490561 w 3905665"/>
              <a:gd name="connsiteY2268" fmla="*/ 1118456 h 3403632"/>
              <a:gd name="connsiteX2269" fmla="*/ 2490065 w 3905665"/>
              <a:gd name="connsiteY2269" fmla="*/ 1118707 h 3403632"/>
              <a:gd name="connsiteX2270" fmla="*/ 2489819 w 3905665"/>
              <a:gd name="connsiteY2270" fmla="*/ 1118456 h 3403632"/>
              <a:gd name="connsiteX2271" fmla="*/ 2490065 w 3905665"/>
              <a:gd name="connsiteY2271" fmla="*/ 1118210 h 3403632"/>
              <a:gd name="connsiteX2272" fmla="*/ 2222994 w 3905665"/>
              <a:gd name="connsiteY2272" fmla="*/ 1116484 h 3403632"/>
              <a:gd name="connsiteX2273" fmla="*/ 2225461 w 3905665"/>
              <a:gd name="connsiteY2273" fmla="*/ 1118949 h 3403632"/>
              <a:gd name="connsiteX2274" fmla="*/ 2222994 w 3905665"/>
              <a:gd name="connsiteY2274" fmla="*/ 1121417 h 3403632"/>
              <a:gd name="connsiteX2275" fmla="*/ 2220524 w 3905665"/>
              <a:gd name="connsiteY2275" fmla="*/ 1118949 h 3403632"/>
              <a:gd name="connsiteX2276" fmla="*/ 2222994 w 3905665"/>
              <a:gd name="connsiteY2276" fmla="*/ 1116484 h 3403632"/>
              <a:gd name="connsiteX2277" fmla="*/ 55051 w 3905665"/>
              <a:gd name="connsiteY2277" fmla="*/ 1111776 h 3403632"/>
              <a:gd name="connsiteX2278" fmla="*/ 55297 w 3905665"/>
              <a:gd name="connsiteY2278" fmla="*/ 1112021 h 3403632"/>
              <a:gd name="connsiteX2279" fmla="*/ 55051 w 3905665"/>
              <a:gd name="connsiteY2279" fmla="*/ 1112021 h 3403632"/>
              <a:gd name="connsiteX2280" fmla="*/ 3485797 w 3905665"/>
              <a:gd name="connsiteY2280" fmla="*/ 1107124 h 3403632"/>
              <a:gd name="connsiteX2281" fmla="*/ 3510235 w 3905665"/>
              <a:gd name="connsiteY2281" fmla="*/ 1131556 h 3403632"/>
              <a:gd name="connsiteX2282" fmla="*/ 3485797 w 3905665"/>
              <a:gd name="connsiteY2282" fmla="*/ 1155997 h 3403632"/>
              <a:gd name="connsiteX2283" fmla="*/ 3461360 w 3905665"/>
              <a:gd name="connsiteY2283" fmla="*/ 1131556 h 3403632"/>
              <a:gd name="connsiteX2284" fmla="*/ 3485797 w 3905665"/>
              <a:gd name="connsiteY2284" fmla="*/ 1107124 h 3403632"/>
              <a:gd name="connsiteX2285" fmla="*/ 3244145 w 3905665"/>
              <a:gd name="connsiteY2285" fmla="*/ 1099716 h 3403632"/>
              <a:gd name="connsiteX2286" fmla="*/ 3271050 w 3905665"/>
              <a:gd name="connsiteY2286" fmla="*/ 1126614 h 3403632"/>
              <a:gd name="connsiteX2287" fmla="*/ 3244145 w 3905665"/>
              <a:gd name="connsiteY2287" fmla="*/ 1153529 h 3403632"/>
              <a:gd name="connsiteX2288" fmla="*/ 3217241 w 3905665"/>
              <a:gd name="connsiteY2288" fmla="*/ 1126614 h 3403632"/>
              <a:gd name="connsiteX2289" fmla="*/ 3244145 w 3905665"/>
              <a:gd name="connsiteY2289" fmla="*/ 1099716 h 3403632"/>
              <a:gd name="connsiteX2290" fmla="*/ 1960124 w 3905665"/>
              <a:gd name="connsiteY2290" fmla="*/ 1097474 h 3403632"/>
              <a:gd name="connsiteX2291" fmla="*/ 1963578 w 3905665"/>
              <a:gd name="connsiteY2291" fmla="*/ 1100931 h 3403632"/>
              <a:gd name="connsiteX2292" fmla="*/ 1960124 w 3905665"/>
              <a:gd name="connsiteY2292" fmla="*/ 1104385 h 3403632"/>
              <a:gd name="connsiteX2293" fmla="*/ 1956672 w 3905665"/>
              <a:gd name="connsiteY2293" fmla="*/ 1100931 h 3403632"/>
              <a:gd name="connsiteX2294" fmla="*/ 1960124 w 3905665"/>
              <a:gd name="connsiteY2294" fmla="*/ 1097474 h 3403632"/>
              <a:gd name="connsiteX2295" fmla="*/ 505526 w 3905665"/>
              <a:gd name="connsiteY2295" fmla="*/ 1096721 h 3403632"/>
              <a:gd name="connsiteX2296" fmla="*/ 517866 w 3905665"/>
              <a:gd name="connsiteY2296" fmla="*/ 1109064 h 3403632"/>
              <a:gd name="connsiteX2297" fmla="*/ 505526 w 3905665"/>
              <a:gd name="connsiteY2297" fmla="*/ 1121402 h 3403632"/>
              <a:gd name="connsiteX2298" fmla="*/ 493183 w 3905665"/>
              <a:gd name="connsiteY2298" fmla="*/ 1109064 h 3403632"/>
              <a:gd name="connsiteX2299" fmla="*/ 505526 w 3905665"/>
              <a:gd name="connsiteY2299" fmla="*/ 1096721 h 3403632"/>
              <a:gd name="connsiteX2300" fmla="*/ 169831 w 3905665"/>
              <a:gd name="connsiteY2300" fmla="*/ 1092275 h 3403632"/>
              <a:gd name="connsiteX2301" fmla="*/ 170818 w 3905665"/>
              <a:gd name="connsiteY2301" fmla="*/ 1093263 h 3403632"/>
              <a:gd name="connsiteX2302" fmla="*/ 169831 w 3905665"/>
              <a:gd name="connsiteY2302" fmla="*/ 1094251 h 3403632"/>
              <a:gd name="connsiteX2303" fmla="*/ 168844 w 3905665"/>
              <a:gd name="connsiteY2303" fmla="*/ 1093263 h 3403632"/>
              <a:gd name="connsiteX2304" fmla="*/ 169831 w 3905665"/>
              <a:gd name="connsiteY2304" fmla="*/ 1092275 h 3403632"/>
              <a:gd name="connsiteX2305" fmla="*/ 1512370 w 3905665"/>
              <a:gd name="connsiteY2305" fmla="*/ 1088087 h 3403632"/>
              <a:gd name="connsiteX2306" fmla="*/ 1527180 w 3905665"/>
              <a:gd name="connsiteY2306" fmla="*/ 1102898 h 3403632"/>
              <a:gd name="connsiteX2307" fmla="*/ 1512370 w 3905665"/>
              <a:gd name="connsiteY2307" fmla="*/ 1117707 h 3403632"/>
              <a:gd name="connsiteX2308" fmla="*/ 1497559 w 3905665"/>
              <a:gd name="connsiteY2308" fmla="*/ 1102898 h 3403632"/>
              <a:gd name="connsiteX2309" fmla="*/ 1512370 w 3905665"/>
              <a:gd name="connsiteY2309" fmla="*/ 1088087 h 3403632"/>
              <a:gd name="connsiteX2310" fmla="*/ 1023882 w 3905665"/>
              <a:gd name="connsiteY2310" fmla="*/ 1078456 h 3403632"/>
              <a:gd name="connsiteX2311" fmla="*/ 1025857 w 3905665"/>
              <a:gd name="connsiteY2311" fmla="*/ 1080431 h 3403632"/>
              <a:gd name="connsiteX2312" fmla="*/ 1023882 w 3905665"/>
              <a:gd name="connsiteY2312" fmla="*/ 1082405 h 3403632"/>
              <a:gd name="connsiteX2313" fmla="*/ 1021908 w 3905665"/>
              <a:gd name="connsiteY2313" fmla="*/ 1080431 h 3403632"/>
              <a:gd name="connsiteX2314" fmla="*/ 1023882 w 3905665"/>
              <a:gd name="connsiteY2314" fmla="*/ 1078456 h 3403632"/>
              <a:gd name="connsiteX2315" fmla="*/ 821724 w 3905665"/>
              <a:gd name="connsiteY2315" fmla="*/ 1073764 h 3403632"/>
              <a:gd name="connsiteX2316" fmla="*/ 826414 w 3905665"/>
              <a:gd name="connsiteY2316" fmla="*/ 1078701 h 3403632"/>
              <a:gd name="connsiteX2317" fmla="*/ 821724 w 3905665"/>
              <a:gd name="connsiteY2317" fmla="*/ 1083637 h 3403632"/>
              <a:gd name="connsiteX2318" fmla="*/ 816787 w 3905665"/>
              <a:gd name="connsiteY2318" fmla="*/ 1078701 h 3403632"/>
              <a:gd name="connsiteX2319" fmla="*/ 821724 w 3905665"/>
              <a:gd name="connsiteY2319" fmla="*/ 1073764 h 3403632"/>
              <a:gd name="connsiteX2320" fmla="*/ 2647547 w 3905665"/>
              <a:gd name="connsiteY2320" fmla="*/ 1070085 h 3403632"/>
              <a:gd name="connsiteX2321" fmla="*/ 2652976 w 3905665"/>
              <a:gd name="connsiteY2321" fmla="*/ 1075516 h 3403632"/>
              <a:gd name="connsiteX2322" fmla="*/ 2647547 w 3905665"/>
              <a:gd name="connsiteY2322" fmla="*/ 1080945 h 3403632"/>
              <a:gd name="connsiteX2323" fmla="*/ 2642115 w 3905665"/>
              <a:gd name="connsiteY2323" fmla="*/ 1075516 h 3403632"/>
              <a:gd name="connsiteX2324" fmla="*/ 2647547 w 3905665"/>
              <a:gd name="connsiteY2324" fmla="*/ 1070085 h 3403632"/>
              <a:gd name="connsiteX2325" fmla="*/ 2895862 w 3905665"/>
              <a:gd name="connsiteY2325" fmla="*/ 1067373 h 3403632"/>
              <a:gd name="connsiteX2326" fmla="*/ 2912154 w 3905665"/>
              <a:gd name="connsiteY2326" fmla="*/ 1083666 h 3403632"/>
              <a:gd name="connsiteX2327" fmla="*/ 2895862 w 3905665"/>
              <a:gd name="connsiteY2327" fmla="*/ 1099709 h 3403632"/>
              <a:gd name="connsiteX2328" fmla="*/ 2879818 w 3905665"/>
              <a:gd name="connsiteY2328" fmla="*/ 1083666 h 3403632"/>
              <a:gd name="connsiteX2329" fmla="*/ 2895862 w 3905665"/>
              <a:gd name="connsiteY2329" fmla="*/ 1067373 h 3403632"/>
              <a:gd name="connsiteX2330" fmla="*/ 1691576 w 3905665"/>
              <a:gd name="connsiteY2330" fmla="*/ 1067355 h 3403632"/>
              <a:gd name="connsiteX2331" fmla="*/ 1700955 w 3905665"/>
              <a:gd name="connsiteY2331" fmla="*/ 1076736 h 3403632"/>
              <a:gd name="connsiteX2332" fmla="*/ 1691576 w 3905665"/>
              <a:gd name="connsiteY2332" fmla="*/ 1086115 h 3403632"/>
              <a:gd name="connsiteX2333" fmla="*/ 1682195 w 3905665"/>
              <a:gd name="connsiteY2333" fmla="*/ 1076736 h 3403632"/>
              <a:gd name="connsiteX2334" fmla="*/ 1691576 w 3905665"/>
              <a:gd name="connsiteY2334" fmla="*/ 1067355 h 3403632"/>
              <a:gd name="connsiteX2335" fmla="*/ 3140721 w 3905665"/>
              <a:gd name="connsiteY2335" fmla="*/ 1066883 h 3403632"/>
              <a:gd name="connsiteX2336" fmla="*/ 3163676 w 3905665"/>
              <a:gd name="connsiteY2336" fmla="*/ 1089838 h 3403632"/>
              <a:gd name="connsiteX2337" fmla="*/ 3140721 w 3905665"/>
              <a:gd name="connsiteY2337" fmla="*/ 1112796 h 3403632"/>
              <a:gd name="connsiteX2338" fmla="*/ 3117766 w 3905665"/>
              <a:gd name="connsiteY2338" fmla="*/ 1089838 h 3403632"/>
              <a:gd name="connsiteX2339" fmla="*/ 3140721 w 3905665"/>
              <a:gd name="connsiteY2339" fmla="*/ 1066883 h 3403632"/>
              <a:gd name="connsiteX2340" fmla="*/ 283127 w 3905665"/>
              <a:gd name="connsiteY2340" fmla="*/ 1064876 h 3403632"/>
              <a:gd name="connsiteX2341" fmla="*/ 285350 w 3905665"/>
              <a:gd name="connsiteY2341" fmla="*/ 1067097 h 3403632"/>
              <a:gd name="connsiteX2342" fmla="*/ 283127 w 3905665"/>
              <a:gd name="connsiteY2342" fmla="*/ 1069321 h 3403632"/>
              <a:gd name="connsiteX2343" fmla="*/ 280906 w 3905665"/>
              <a:gd name="connsiteY2343" fmla="*/ 1067097 h 3403632"/>
              <a:gd name="connsiteX2344" fmla="*/ 283127 w 3905665"/>
              <a:gd name="connsiteY2344" fmla="*/ 1064876 h 3403632"/>
              <a:gd name="connsiteX2345" fmla="*/ 2395781 w 3905665"/>
              <a:gd name="connsiteY2345" fmla="*/ 1063662 h 3403632"/>
              <a:gd name="connsiteX2346" fmla="*/ 2396027 w 3905665"/>
              <a:gd name="connsiteY2346" fmla="*/ 1063908 h 3403632"/>
              <a:gd name="connsiteX2347" fmla="*/ 2395781 w 3905665"/>
              <a:gd name="connsiteY2347" fmla="*/ 1064154 h 3403632"/>
              <a:gd name="connsiteX2348" fmla="*/ 2395781 w 3905665"/>
              <a:gd name="connsiteY2348" fmla="*/ 1063662 h 3403632"/>
              <a:gd name="connsiteX2349" fmla="*/ 2127963 w 3905665"/>
              <a:gd name="connsiteY2349" fmla="*/ 1059215 h 3403632"/>
              <a:gd name="connsiteX2350" fmla="*/ 2133146 w 3905665"/>
              <a:gd name="connsiteY2350" fmla="*/ 1064399 h 3403632"/>
              <a:gd name="connsiteX2351" fmla="*/ 2127963 w 3905665"/>
              <a:gd name="connsiteY2351" fmla="*/ 1069830 h 3403632"/>
              <a:gd name="connsiteX2352" fmla="*/ 2122780 w 3905665"/>
              <a:gd name="connsiteY2352" fmla="*/ 1064399 h 3403632"/>
              <a:gd name="connsiteX2353" fmla="*/ 2127963 w 3905665"/>
              <a:gd name="connsiteY2353" fmla="*/ 1059215 h 3403632"/>
              <a:gd name="connsiteX2354" fmla="*/ 1227273 w 3905665"/>
              <a:gd name="connsiteY2354" fmla="*/ 1056244 h 3403632"/>
              <a:gd name="connsiteX2355" fmla="*/ 1234925 w 3905665"/>
              <a:gd name="connsiteY2355" fmla="*/ 1063896 h 3403632"/>
              <a:gd name="connsiteX2356" fmla="*/ 1227273 w 3905665"/>
              <a:gd name="connsiteY2356" fmla="*/ 1071546 h 3403632"/>
              <a:gd name="connsiteX2357" fmla="*/ 1219620 w 3905665"/>
              <a:gd name="connsiteY2357" fmla="*/ 1063896 h 3403632"/>
              <a:gd name="connsiteX2358" fmla="*/ 1227273 w 3905665"/>
              <a:gd name="connsiteY2358" fmla="*/ 1056244 h 3403632"/>
              <a:gd name="connsiteX2359" fmla="*/ 3391507 w 3905665"/>
              <a:gd name="connsiteY2359" fmla="*/ 1053065 h 3403632"/>
              <a:gd name="connsiteX2360" fmla="*/ 3415696 w 3905665"/>
              <a:gd name="connsiteY2360" fmla="*/ 1077254 h 3403632"/>
              <a:gd name="connsiteX2361" fmla="*/ 3391507 w 3905665"/>
              <a:gd name="connsiteY2361" fmla="*/ 1101446 h 3403632"/>
              <a:gd name="connsiteX2362" fmla="*/ 3367316 w 3905665"/>
              <a:gd name="connsiteY2362" fmla="*/ 1077254 h 3403632"/>
              <a:gd name="connsiteX2363" fmla="*/ 3391507 w 3905665"/>
              <a:gd name="connsiteY2363" fmla="*/ 1053065 h 3403632"/>
              <a:gd name="connsiteX2364" fmla="*/ 612653 w 3905665"/>
              <a:gd name="connsiteY2364" fmla="*/ 1049080 h 3403632"/>
              <a:gd name="connsiteX2365" fmla="*/ 627712 w 3905665"/>
              <a:gd name="connsiteY2365" fmla="*/ 1064137 h 3403632"/>
              <a:gd name="connsiteX2366" fmla="*/ 612653 w 3905665"/>
              <a:gd name="connsiteY2366" fmla="*/ 1079195 h 3403632"/>
              <a:gd name="connsiteX2367" fmla="*/ 597596 w 3905665"/>
              <a:gd name="connsiteY2367" fmla="*/ 1064137 h 3403632"/>
              <a:gd name="connsiteX2368" fmla="*/ 612653 w 3905665"/>
              <a:gd name="connsiteY2368" fmla="*/ 1049080 h 3403632"/>
              <a:gd name="connsiteX2369" fmla="*/ 1414870 w 3905665"/>
              <a:gd name="connsiteY2369" fmla="*/ 1044643 h 3403632"/>
              <a:gd name="connsiteX2370" fmla="*/ 1415609 w 3905665"/>
              <a:gd name="connsiteY2370" fmla="*/ 1045384 h 3403632"/>
              <a:gd name="connsiteX2371" fmla="*/ 1414870 w 3905665"/>
              <a:gd name="connsiteY2371" fmla="*/ 1046123 h 3403632"/>
              <a:gd name="connsiteX2372" fmla="*/ 1414129 w 3905665"/>
              <a:gd name="connsiteY2372" fmla="*/ 1045384 h 3403632"/>
              <a:gd name="connsiteX2373" fmla="*/ 1414870 w 3905665"/>
              <a:gd name="connsiteY2373" fmla="*/ 1044643 h 3403632"/>
              <a:gd name="connsiteX2374" fmla="*/ 1864608 w 3905665"/>
              <a:gd name="connsiteY2374" fmla="*/ 1041194 h 3403632"/>
              <a:gd name="connsiteX2375" fmla="*/ 1869541 w 3905665"/>
              <a:gd name="connsiteY2375" fmla="*/ 1046131 h 3403632"/>
              <a:gd name="connsiteX2376" fmla="*/ 1864608 w 3905665"/>
              <a:gd name="connsiteY2376" fmla="*/ 1051068 h 3403632"/>
              <a:gd name="connsiteX2377" fmla="*/ 1859671 w 3905665"/>
              <a:gd name="connsiteY2377" fmla="*/ 1046131 h 3403632"/>
              <a:gd name="connsiteX2378" fmla="*/ 1864608 w 3905665"/>
              <a:gd name="connsiteY2378" fmla="*/ 1041194 h 3403632"/>
              <a:gd name="connsiteX2379" fmla="*/ 394448 w 3905665"/>
              <a:gd name="connsiteY2379" fmla="*/ 1030319 h 3403632"/>
              <a:gd name="connsiteX2380" fmla="*/ 397656 w 3905665"/>
              <a:gd name="connsiteY2380" fmla="*/ 1033527 h 3403632"/>
              <a:gd name="connsiteX2381" fmla="*/ 394448 w 3905665"/>
              <a:gd name="connsiteY2381" fmla="*/ 1036735 h 3403632"/>
              <a:gd name="connsiteX2382" fmla="*/ 391240 w 3905665"/>
              <a:gd name="connsiteY2382" fmla="*/ 1033527 h 3403632"/>
              <a:gd name="connsiteX2383" fmla="*/ 394448 w 3905665"/>
              <a:gd name="connsiteY2383" fmla="*/ 1030319 h 3403632"/>
              <a:gd name="connsiteX2384" fmla="*/ 2290874 w 3905665"/>
              <a:gd name="connsiteY2384" fmla="*/ 1019725 h 3403632"/>
              <a:gd name="connsiteX2385" fmla="*/ 2296057 w 3905665"/>
              <a:gd name="connsiteY2385" fmla="*/ 1024907 h 3403632"/>
              <a:gd name="connsiteX2386" fmla="*/ 2290874 w 3905665"/>
              <a:gd name="connsiteY2386" fmla="*/ 1030090 h 3403632"/>
              <a:gd name="connsiteX2387" fmla="*/ 2285691 w 3905665"/>
              <a:gd name="connsiteY2387" fmla="*/ 1024907 h 3403632"/>
              <a:gd name="connsiteX2388" fmla="*/ 2290874 w 3905665"/>
              <a:gd name="connsiteY2388" fmla="*/ 1019725 h 3403632"/>
              <a:gd name="connsiteX2389" fmla="*/ 2553750 w 3905665"/>
              <a:gd name="connsiteY2389" fmla="*/ 1018246 h 3403632"/>
              <a:gd name="connsiteX2390" fmla="*/ 2556217 w 3905665"/>
              <a:gd name="connsiteY2390" fmla="*/ 1020962 h 3403632"/>
              <a:gd name="connsiteX2391" fmla="*/ 2553750 w 3905665"/>
              <a:gd name="connsiteY2391" fmla="*/ 1023429 h 3403632"/>
              <a:gd name="connsiteX2392" fmla="*/ 2551280 w 3905665"/>
              <a:gd name="connsiteY2392" fmla="*/ 1020962 h 3403632"/>
              <a:gd name="connsiteX2393" fmla="*/ 2553750 w 3905665"/>
              <a:gd name="connsiteY2393" fmla="*/ 1018246 h 3403632"/>
              <a:gd name="connsiteX2394" fmla="*/ 2801818 w 3905665"/>
              <a:gd name="connsiteY2394" fmla="*/ 1018004 h 3403632"/>
              <a:gd name="connsiteX2395" fmla="*/ 2813420 w 3905665"/>
              <a:gd name="connsiteY2395" fmla="*/ 1029360 h 3403632"/>
              <a:gd name="connsiteX2396" fmla="*/ 2801818 w 3905665"/>
              <a:gd name="connsiteY2396" fmla="*/ 1040713 h 3403632"/>
              <a:gd name="connsiteX2397" fmla="*/ 2790465 w 3905665"/>
              <a:gd name="connsiteY2397" fmla="*/ 1029360 h 3403632"/>
              <a:gd name="connsiteX2398" fmla="*/ 2801818 w 3905665"/>
              <a:gd name="connsiteY2398" fmla="*/ 1018004 h 3403632"/>
              <a:gd name="connsiteX2399" fmla="*/ 3046432 w 3905665"/>
              <a:gd name="connsiteY2399" fmla="*/ 1017269 h 3403632"/>
              <a:gd name="connsiteX2400" fmla="*/ 3064945 w 3905665"/>
              <a:gd name="connsiteY2400" fmla="*/ 1035781 h 3403632"/>
              <a:gd name="connsiteX2401" fmla="*/ 3046432 w 3905665"/>
              <a:gd name="connsiteY2401" fmla="*/ 1054295 h 3403632"/>
              <a:gd name="connsiteX2402" fmla="*/ 3028167 w 3905665"/>
              <a:gd name="connsiteY2402" fmla="*/ 1035781 h 3403632"/>
              <a:gd name="connsiteX2403" fmla="*/ 3046432 w 3905665"/>
              <a:gd name="connsiteY2403" fmla="*/ 1017269 h 3403632"/>
              <a:gd name="connsiteX2404" fmla="*/ 1117677 w 3905665"/>
              <a:gd name="connsiteY2404" fmla="*/ 1008601 h 3403632"/>
              <a:gd name="connsiteX2405" fmla="*/ 1121381 w 3905665"/>
              <a:gd name="connsiteY2405" fmla="*/ 1012305 h 3403632"/>
              <a:gd name="connsiteX2406" fmla="*/ 1117677 w 3905665"/>
              <a:gd name="connsiteY2406" fmla="*/ 1016008 h 3403632"/>
              <a:gd name="connsiteX2407" fmla="*/ 1113974 w 3905665"/>
              <a:gd name="connsiteY2407" fmla="*/ 1012305 h 3403632"/>
              <a:gd name="connsiteX2408" fmla="*/ 1117677 w 3905665"/>
              <a:gd name="connsiteY2408" fmla="*/ 1008601 h 3403632"/>
              <a:gd name="connsiteX2409" fmla="*/ 920704 w 3905665"/>
              <a:gd name="connsiteY2409" fmla="*/ 1006874 h 3403632"/>
              <a:gd name="connsiteX2410" fmla="*/ 932305 w 3905665"/>
              <a:gd name="connsiteY2410" fmla="*/ 1018476 h 3403632"/>
              <a:gd name="connsiteX2411" fmla="*/ 920704 w 3905665"/>
              <a:gd name="connsiteY2411" fmla="*/ 1030078 h 3403632"/>
              <a:gd name="connsiteX2412" fmla="*/ 909102 w 3905665"/>
              <a:gd name="connsiteY2412" fmla="*/ 1018476 h 3403632"/>
              <a:gd name="connsiteX2413" fmla="*/ 920704 w 3905665"/>
              <a:gd name="connsiteY2413" fmla="*/ 1006874 h 3403632"/>
              <a:gd name="connsiteX2414" fmla="*/ 1595061 w 3905665"/>
              <a:gd name="connsiteY2414" fmla="*/ 1005397 h 3403632"/>
              <a:gd name="connsiteX2415" fmla="*/ 1610610 w 3905665"/>
              <a:gd name="connsiteY2415" fmla="*/ 1020949 h 3403632"/>
              <a:gd name="connsiteX2416" fmla="*/ 1595061 w 3905665"/>
              <a:gd name="connsiteY2416" fmla="*/ 1036498 h 3403632"/>
              <a:gd name="connsiteX2417" fmla="*/ 1579510 w 3905665"/>
              <a:gd name="connsiteY2417" fmla="*/ 1020949 h 3403632"/>
              <a:gd name="connsiteX2418" fmla="*/ 1595061 w 3905665"/>
              <a:gd name="connsiteY2418" fmla="*/ 1005397 h 3403632"/>
              <a:gd name="connsiteX2419" fmla="*/ 2032931 w 3905665"/>
              <a:gd name="connsiteY2419" fmla="*/ 1003922 h 3403632"/>
              <a:gd name="connsiteX2420" fmla="*/ 2039350 w 3905665"/>
              <a:gd name="connsiteY2420" fmla="*/ 1010339 h 3403632"/>
              <a:gd name="connsiteX2421" fmla="*/ 2032931 w 3905665"/>
              <a:gd name="connsiteY2421" fmla="*/ 1016758 h 3403632"/>
              <a:gd name="connsiteX2422" fmla="*/ 2026514 w 3905665"/>
              <a:gd name="connsiteY2422" fmla="*/ 1010339 h 3403632"/>
              <a:gd name="connsiteX2423" fmla="*/ 2032931 w 3905665"/>
              <a:gd name="connsiteY2423" fmla="*/ 1003922 h 3403632"/>
              <a:gd name="connsiteX2424" fmla="*/ 3536149 w 3905665"/>
              <a:gd name="connsiteY2424" fmla="*/ 997532 h 3403632"/>
              <a:gd name="connsiteX2425" fmla="*/ 3565277 w 3905665"/>
              <a:gd name="connsiteY2425" fmla="*/ 1026659 h 3403632"/>
              <a:gd name="connsiteX2426" fmla="*/ 3536149 w 3905665"/>
              <a:gd name="connsiteY2426" fmla="*/ 1055783 h 3403632"/>
              <a:gd name="connsiteX2427" fmla="*/ 3507024 w 3905665"/>
              <a:gd name="connsiteY2427" fmla="*/ 1026659 h 3403632"/>
              <a:gd name="connsiteX2428" fmla="*/ 3536149 w 3905665"/>
              <a:gd name="connsiteY2428" fmla="*/ 997532 h 3403632"/>
              <a:gd name="connsiteX2429" fmla="*/ 716816 w 3905665"/>
              <a:gd name="connsiteY2429" fmla="*/ 994779 h 3403632"/>
              <a:gd name="connsiteX2430" fmla="*/ 734834 w 3905665"/>
              <a:gd name="connsiteY2430" fmla="*/ 1012798 h 3403632"/>
              <a:gd name="connsiteX2431" fmla="*/ 716816 w 3905665"/>
              <a:gd name="connsiteY2431" fmla="*/ 1030816 h 3403632"/>
              <a:gd name="connsiteX2432" fmla="*/ 698798 w 3905665"/>
              <a:gd name="connsiteY2432" fmla="*/ 1012798 h 3403632"/>
              <a:gd name="connsiteX2433" fmla="*/ 716816 w 3905665"/>
              <a:gd name="connsiteY2433" fmla="*/ 994779 h 3403632"/>
              <a:gd name="connsiteX2434" fmla="*/ 3297216 w 3905665"/>
              <a:gd name="connsiteY2434" fmla="*/ 994565 h 3403632"/>
              <a:gd name="connsiteX2435" fmla="*/ 3325357 w 3905665"/>
              <a:gd name="connsiteY2435" fmla="*/ 1022704 h 3403632"/>
              <a:gd name="connsiteX2436" fmla="*/ 3297216 w 3905665"/>
              <a:gd name="connsiteY2436" fmla="*/ 1050842 h 3403632"/>
              <a:gd name="connsiteX2437" fmla="*/ 3269078 w 3905665"/>
              <a:gd name="connsiteY2437" fmla="*/ 1022704 h 3403632"/>
              <a:gd name="connsiteX2438" fmla="*/ 3297216 w 3905665"/>
              <a:gd name="connsiteY2438" fmla="*/ 994565 h 3403632"/>
              <a:gd name="connsiteX2439" fmla="*/ 503551 w 3905665"/>
              <a:gd name="connsiteY2439" fmla="*/ 986138 h 3403632"/>
              <a:gd name="connsiteX2440" fmla="*/ 510462 w 3905665"/>
              <a:gd name="connsiteY2440" fmla="*/ 993049 h 3403632"/>
              <a:gd name="connsiteX2441" fmla="*/ 503551 w 3905665"/>
              <a:gd name="connsiteY2441" fmla="*/ 999961 h 3403632"/>
              <a:gd name="connsiteX2442" fmla="*/ 496639 w 3905665"/>
              <a:gd name="connsiteY2442" fmla="*/ 993049 h 3403632"/>
              <a:gd name="connsiteX2443" fmla="*/ 503551 w 3905665"/>
              <a:gd name="connsiteY2443" fmla="*/ 986138 h 3403632"/>
              <a:gd name="connsiteX2444" fmla="*/ 54804 w 3905665"/>
              <a:gd name="connsiteY2444" fmla="*/ 984162 h 3403632"/>
              <a:gd name="connsiteX2445" fmla="*/ 73317 w 3905665"/>
              <a:gd name="connsiteY2445" fmla="*/ 1002675 h 3403632"/>
              <a:gd name="connsiteX2446" fmla="*/ 54804 w 3905665"/>
              <a:gd name="connsiteY2446" fmla="*/ 1021188 h 3403632"/>
              <a:gd name="connsiteX2447" fmla="*/ 36291 w 3905665"/>
              <a:gd name="connsiteY2447" fmla="*/ 1002675 h 3403632"/>
              <a:gd name="connsiteX2448" fmla="*/ 54804 w 3905665"/>
              <a:gd name="connsiteY2448" fmla="*/ 984162 h 3403632"/>
              <a:gd name="connsiteX2449" fmla="*/ 1316380 w 3905665"/>
              <a:gd name="connsiteY2449" fmla="*/ 979477 h 3403632"/>
              <a:gd name="connsiteX2450" fmla="*/ 1325266 w 3905665"/>
              <a:gd name="connsiteY2450" fmla="*/ 988364 h 3403632"/>
              <a:gd name="connsiteX2451" fmla="*/ 1316380 w 3905665"/>
              <a:gd name="connsiteY2451" fmla="*/ 997250 h 3403632"/>
              <a:gd name="connsiteX2452" fmla="*/ 1307494 w 3905665"/>
              <a:gd name="connsiteY2452" fmla="*/ 988364 h 3403632"/>
              <a:gd name="connsiteX2453" fmla="*/ 1316380 w 3905665"/>
              <a:gd name="connsiteY2453" fmla="*/ 979477 h 3403632"/>
              <a:gd name="connsiteX2454" fmla="*/ 1769573 w 3905665"/>
              <a:gd name="connsiteY2454" fmla="*/ 978741 h 3403632"/>
              <a:gd name="connsiteX2455" fmla="*/ 1781178 w 3905665"/>
              <a:gd name="connsiteY2455" fmla="*/ 990344 h 3403632"/>
              <a:gd name="connsiteX2456" fmla="*/ 1769573 w 3905665"/>
              <a:gd name="connsiteY2456" fmla="*/ 1001945 h 3403632"/>
              <a:gd name="connsiteX2457" fmla="*/ 1757974 w 3905665"/>
              <a:gd name="connsiteY2457" fmla="*/ 990344 h 3403632"/>
              <a:gd name="connsiteX2458" fmla="*/ 1769573 w 3905665"/>
              <a:gd name="connsiteY2458" fmla="*/ 978741 h 3403632"/>
              <a:gd name="connsiteX2459" fmla="*/ 2707529 w 3905665"/>
              <a:gd name="connsiteY2459" fmla="*/ 967894 h 3403632"/>
              <a:gd name="connsiteX2460" fmla="*/ 2715428 w 3905665"/>
              <a:gd name="connsiteY2460" fmla="*/ 975792 h 3403632"/>
              <a:gd name="connsiteX2461" fmla="*/ 2707529 w 3905665"/>
              <a:gd name="connsiteY2461" fmla="*/ 983692 h 3403632"/>
              <a:gd name="connsiteX2462" fmla="*/ 2699630 w 3905665"/>
              <a:gd name="connsiteY2462" fmla="*/ 975792 h 3403632"/>
              <a:gd name="connsiteX2463" fmla="*/ 2707529 w 3905665"/>
              <a:gd name="connsiteY2463" fmla="*/ 967894 h 3403632"/>
              <a:gd name="connsiteX2464" fmla="*/ 2459458 w 3905665"/>
              <a:gd name="connsiteY2464" fmla="*/ 966409 h 3403632"/>
              <a:gd name="connsiteX2465" fmla="*/ 2459704 w 3905665"/>
              <a:gd name="connsiteY2465" fmla="*/ 966409 h 3403632"/>
              <a:gd name="connsiteX2466" fmla="*/ 2459458 w 3905665"/>
              <a:gd name="connsiteY2466" fmla="*/ 966655 h 3403632"/>
              <a:gd name="connsiteX2467" fmla="*/ 1498548 w 3905665"/>
              <a:gd name="connsiteY2467" fmla="*/ 963927 h 3403632"/>
              <a:gd name="connsiteX2468" fmla="*/ 1499040 w 3905665"/>
              <a:gd name="connsiteY2468" fmla="*/ 964422 h 3403632"/>
              <a:gd name="connsiteX2469" fmla="*/ 1498548 w 3905665"/>
              <a:gd name="connsiteY2469" fmla="*/ 964915 h 3403632"/>
              <a:gd name="connsiteX2470" fmla="*/ 1498053 w 3905665"/>
              <a:gd name="connsiteY2470" fmla="*/ 964422 h 3403632"/>
              <a:gd name="connsiteX2471" fmla="*/ 1498548 w 3905665"/>
              <a:gd name="connsiteY2471" fmla="*/ 963927 h 3403632"/>
              <a:gd name="connsiteX2472" fmla="*/ 2952140 w 3905665"/>
              <a:gd name="connsiteY2472" fmla="*/ 962961 h 3403632"/>
              <a:gd name="connsiteX2473" fmla="*/ 2971148 w 3905665"/>
              <a:gd name="connsiteY2473" fmla="*/ 981967 h 3403632"/>
              <a:gd name="connsiteX2474" fmla="*/ 2952140 w 3905665"/>
              <a:gd name="connsiteY2474" fmla="*/ 1000973 h 3403632"/>
              <a:gd name="connsiteX2475" fmla="*/ 2933134 w 3905665"/>
              <a:gd name="connsiteY2475" fmla="*/ 981967 h 3403632"/>
              <a:gd name="connsiteX2476" fmla="*/ 2952140 w 3905665"/>
              <a:gd name="connsiteY2476" fmla="*/ 962961 h 3403632"/>
              <a:gd name="connsiteX2477" fmla="*/ 169335 w 3905665"/>
              <a:gd name="connsiteY2477" fmla="*/ 961700 h 3403632"/>
              <a:gd name="connsiteX2478" fmla="*/ 190316 w 3905665"/>
              <a:gd name="connsiteY2478" fmla="*/ 982680 h 3403632"/>
              <a:gd name="connsiteX2479" fmla="*/ 169335 w 3905665"/>
              <a:gd name="connsiteY2479" fmla="*/ 1003414 h 3403632"/>
              <a:gd name="connsiteX2480" fmla="*/ 148355 w 3905665"/>
              <a:gd name="connsiteY2480" fmla="*/ 982680 h 3403632"/>
              <a:gd name="connsiteX2481" fmla="*/ 169335 w 3905665"/>
              <a:gd name="connsiteY2481" fmla="*/ 961700 h 3403632"/>
              <a:gd name="connsiteX2482" fmla="*/ 2196336 w 3905665"/>
              <a:gd name="connsiteY2482" fmla="*/ 961469 h 3403632"/>
              <a:gd name="connsiteX2483" fmla="*/ 2205717 w 3905665"/>
              <a:gd name="connsiteY2483" fmla="*/ 970848 h 3403632"/>
              <a:gd name="connsiteX2484" fmla="*/ 2196336 w 3905665"/>
              <a:gd name="connsiteY2484" fmla="*/ 980229 h 3403632"/>
              <a:gd name="connsiteX2485" fmla="*/ 2186957 w 3905665"/>
              <a:gd name="connsiteY2485" fmla="*/ 970848 h 3403632"/>
              <a:gd name="connsiteX2486" fmla="*/ 2196336 w 3905665"/>
              <a:gd name="connsiteY2486" fmla="*/ 961469 h 3403632"/>
              <a:gd name="connsiteX2487" fmla="*/ 3194037 w 3905665"/>
              <a:gd name="connsiteY2487" fmla="*/ 960747 h 3403632"/>
              <a:gd name="connsiteX2488" fmla="*/ 3219954 w 3905665"/>
              <a:gd name="connsiteY2488" fmla="*/ 986664 h 3403632"/>
              <a:gd name="connsiteX2489" fmla="*/ 3194037 w 3905665"/>
              <a:gd name="connsiteY2489" fmla="*/ 1012828 h 3403632"/>
              <a:gd name="connsiteX2490" fmla="*/ 3168120 w 3905665"/>
              <a:gd name="connsiteY2490" fmla="*/ 986664 h 3403632"/>
              <a:gd name="connsiteX2491" fmla="*/ 3194037 w 3905665"/>
              <a:gd name="connsiteY2491" fmla="*/ 960747 h 3403632"/>
              <a:gd name="connsiteX2492" fmla="*/ 1937665 w 3905665"/>
              <a:gd name="connsiteY2492" fmla="*/ 948630 h 3403632"/>
              <a:gd name="connsiteX2493" fmla="*/ 1945070 w 3905665"/>
              <a:gd name="connsiteY2493" fmla="*/ 956036 h 3403632"/>
              <a:gd name="connsiteX2494" fmla="*/ 1937665 w 3905665"/>
              <a:gd name="connsiteY2494" fmla="*/ 963439 h 3403632"/>
              <a:gd name="connsiteX2495" fmla="*/ 1930263 w 3905665"/>
              <a:gd name="connsiteY2495" fmla="*/ 956036 h 3403632"/>
              <a:gd name="connsiteX2496" fmla="*/ 1937665 w 3905665"/>
              <a:gd name="connsiteY2496" fmla="*/ 948630 h 3403632"/>
              <a:gd name="connsiteX2497" fmla="*/ 3441615 w 3905665"/>
              <a:gd name="connsiteY2497" fmla="*/ 941005 h 3403632"/>
              <a:gd name="connsiteX2498" fmla="*/ 3472715 w 3905665"/>
              <a:gd name="connsiteY2498" fmla="*/ 972105 h 3403632"/>
              <a:gd name="connsiteX2499" fmla="*/ 3441615 w 3905665"/>
              <a:gd name="connsiteY2499" fmla="*/ 1003207 h 3403632"/>
              <a:gd name="connsiteX2500" fmla="*/ 3410513 w 3905665"/>
              <a:gd name="connsiteY2500" fmla="*/ 972105 h 3403632"/>
              <a:gd name="connsiteX2501" fmla="*/ 3441615 w 3905665"/>
              <a:gd name="connsiteY2501" fmla="*/ 941005 h 3403632"/>
              <a:gd name="connsiteX2502" fmla="*/ 817527 w 3905665"/>
              <a:gd name="connsiteY2502" fmla="*/ 934797 h 3403632"/>
              <a:gd name="connsiteX2503" fmla="*/ 838261 w 3905665"/>
              <a:gd name="connsiteY2503" fmla="*/ 955532 h 3403632"/>
              <a:gd name="connsiteX2504" fmla="*/ 817527 w 3905665"/>
              <a:gd name="connsiteY2504" fmla="*/ 976266 h 3403632"/>
              <a:gd name="connsiteX2505" fmla="*/ 796792 w 3905665"/>
              <a:gd name="connsiteY2505" fmla="*/ 955532 h 3403632"/>
              <a:gd name="connsiteX2506" fmla="*/ 817527 w 3905665"/>
              <a:gd name="connsiteY2506" fmla="*/ 934797 h 3403632"/>
              <a:gd name="connsiteX2507" fmla="*/ 1016229 w 3905665"/>
              <a:gd name="connsiteY2507" fmla="*/ 933811 h 3403632"/>
              <a:gd name="connsiteX2508" fmla="*/ 1035235 w 3905665"/>
              <a:gd name="connsiteY2508" fmla="*/ 952817 h 3403632"/>
              <a:gd name="connsiteX2509" fmla="*/ 1016229 w 3905665"/>
              <a:gd name="connsiteY2509" fmla="*/ 971825 h 3403632"/>
              <a:gd name="connsiteX2510" fmla="*/ 997224 w 3905665"/>
              <a:gd name="connsiteY2510" fmla="*/ 952817 h 3403632"/>
              <a:gd name="connsiteX2511" fmla="*/ 1016229 w 3905665"/>
              <a:gd name="connsiteY2511" fmla="*/ 933811 h 3403632"/>
              <a:gd name="connsiteX2512" fmla="*/ 609689 w 3905665"/>
              <a:gd name="connsiteY2512" fmla="*/ 933809 h 3403632"/>
              <a:gd name="connsiteX2513" fmla="*/ 621537 w 3905665"/>
              <a:gd name="connsiteY2513" fmla="*/ 945411 h 3403632"/>
              <a:gd name="connsiteX2514" fmla="*/ 609689 w 3905665"/>
              <a:gd name="connsiteY2514" fmla="*/ 957258 h 3403632"/>
              <a:gd name="connsiteX2515" fmla="*/ 598087 w 3905665"/>
              <a:gd name="connsiteY2515" fmla="*/ 945411 h 3403632"/>
              <a:gd name="connsiteX2516" fmla="*/ 609689 w 3905665"/>
              <a:gd name="connsiteY2516" fmla="*/ 933809 h 3403632"/>
              <a:gd name="connsiteX2517" fmla="*/ 1207525 w 3905665"/>
              <a:gd name="connsiteY2517" fmla="*/ 932825 h 3403632"/>
              <a:gd name="connsiteX2518" fmla="*/ 1213941 w 3905665"/>
              <a:gd name="connsiteY2518" fmla="*/ 939241 h 3403632"/>
              <a:gd name="connsiteX2519" fmla="*/ 1207525 w 3905665"/>
              <a:gd name="connsiteY2519" fmla="*/ 945660 h 3403632"/>
              <a:gd name="connsiteX2520" fmla="*/ 1201106 w 3905665"/>
              <a:gd name="connsiteY2520" fmla="*/ 939241 h 3403632"/>
              <a:gd name="connsiteX2521" fmla="*/ 1207525 w 3905665"/>
              <a:gd name="connsiteY2521" fmla="*/ 932825 h 3403632"/>
              <a:gd name="connsiteX2522" fmla="*/ 282384 w 3905665"/>
              <a:gd name="connsiteY2522" fmla="*/ 930351 h 3403632"/>
              <a:gd name="connsiteX2523" fmla="*/ 306576 w 3905665"/>
              <a:gd name="connsiteY2523" fmla="*/ 954542 h 3403632"/>
              <a:gd name="connsiteX2524" fmla="*/ 282384 w 3905665"/>
              <a:gd name="connsiteY2524" fmla="*/ 978731 h 3403632"/>
              <a:gd name="connsiteX2525" fmla="*/ 258196 w 3905665"/>
              <a:gd name="connsiteY2525" fmla="*/ 954542 h 3403632"/>
              <a:gd name="connsiteX2526" fmla="*/ 282384 w 3905665"/>
              <a:gd name="connsiteY2526" fmla="*/ 930351 h 3403632"/>
              <a:gd name="connsiteX2527" fmla="*/ 2355051 w 3905665"/>
              <a:gd name="connsiteY2527" fmla="*/ 919756 h 3403632"/>
              <a:gd name="connsiteX2528" fmla="*/ 2363937 w 3905665"/>
              <a:gd name="connsiteY2528" fmla="*/ 928642 h 3403632"/>
              <a:gd name="connsiteX2529" fmla="*/ 2355051 w 3905665"/>
              <a:gd name="connsiteY2529" fmla="*/ 937530 h 3403632"/>
              <a:gd name="connsiteX2530" fmla="*/ 2346165 w 3905665"/>
              <a:gd name="connsiteY2530" fmla="*/ 928642 h 3403632"/>
              <a:gd name="connsiteX2531" fmla="*/ 2355051 w 3905665"/>
              <a:gd name="connsiteY2531" fmla="*/ 919756 h 3403632"/>
              <a:gd name="connsiteX2532" fmla="*/ 1673803 w 3905665"/>
              <a:gd name="connsiteY2532" fmla="*/ 918757 h 3403632"/>
              <a:gd name="connsiteX2533" fmla="*/ 1690092 w 3905665"/>
              <a:gd name="connsiteY2533" fmla="*/ 935049 h 3403632"/>
              <a:gd name="connsiteX2534" fmla="*/ 1673803 w 3905665"/>
              <a:gd name="connsiteY2534" fmla="*/ 951340 h 3403632"/>
              <a:gd name="connsiteX2535" fmla="*/ 1657510 w 3905665"/>
              <a:gd name="connsiteY2535" fmla="*/ 935049 h 3403632"/>
              <a:gd name="connsiteX2536" fmla="*/ 1673803 w 3905665"/>
              <a:gd name="connsiteY2536" fmla="*/ 918757 h 3403632"/>
              <a:gd name="connsiteX2537" fmla="*/ 2613731 w 3905665"/>
              <a:gd name="connsiteY2537" fmla="*/ 915069 h 3403632"/>
              <a:gd name="connsiteX2538" fmla="*/ 2619655 w 3905665"/>
              <a:gd name="connsiteY2538" fmla="*/ 920994 h 3403632"/>
              <a:gd name="connsiteX2539" fmla="*/ 2613731 w 3905665"/>
              <a:gd name="connsiteY2539" fmla="*/ 926918 h 3403632"/>
              <a:gd name="connsiteX2540" fmla="*/ 2607807 w 3905665"/>
              <a:gd name="connsiteY2540" fmla="*/ 920994 h 3403632"/>
              <a:gd name="connsiteX2541" fmla="*/ 2613731 w 3905665"/>
              <a:gd name="connsiteY2541" fmla="*/ 915069 h 3403632"/>
              <a:gd name="connsiteX2542" fmla="*/ 3099748 w 3905665"/>
              <a:gd name="connsiteY2542" fmla="*/ 913102 h 3403632"/>
              <a:gd name="connsiteX2543" fmla="*/ 3119495 w 3905665"/>
              <a:gd name="connsiteY2543" fmla="*/ 932851 h 3403632"/>
              <a:gd name="connsiteX2544" fmla="*/ 3099748 w 3905665"/>
              <a:gd name="connsiteY2544" fmla="*/ 952599 h 3403632"/>
              <a:gd name="connsiteX2545" fmla="*/ 3080001 w 3905665"/>
              <a:gd name="connsiteY2545" fmla="*/ 932851 h 3403632"/>
              <a:gd name="connsiteX2546" fmla="*/ 3099748 w 3905665"/>
              <a:gd name="connsiteY2546" fmla="*/ 913102 h 3403632"/>
              <a:gd name="connsiteX2547" fmla="*/ 2858096 w 3905665"/>
              <a:gd name="connsiteY2547" fmla="*/ 910382 h 3403632"/>
              <a:gd name="connsiteX2548" fmla="*/ 2875376 w 3905665"/>
              <a:gd name="connsiteY2548" fmla="*/ 927660 h 3403632"/>
              <a:gd name="connsiteX2549" fmla="*/ 2858096 w 3905665"/>
              <a:gd name="connsiteY2549" fmla="*/ 944940 h 3403632"/>
              <a:gd name="connsiteX2550" fmla="*/ 2840819 w 3905665"/>
              <a:gd name="connsiteY2550" fmla="*/ 927660 h 3403632"/>
              <a:gd name="connsiteX2551" fmla="*/ 2858096 w 3905665"/>
              <a:gd name="connsiteY2551" fmla="*/ 910382 h 3403632"/>
              <a:gd name="connsiteX2552" fmla="*/ 2101551 w 3905665"/>
              <a:gd name="connsiteY2552" fmla="*/ 907164 h 3403632"/>
              <a:gd name="connsiteX2553" fmla="*/ 2111425 w 3905665"/>
              <a:gd name="connsiteY2553" fmla="*/ 916790 h 3403632"/>
              <a:gd name="connsiteX2554" fmla="*/ 2101551 w 3905665"/>
              <a:gd name="connsiteY2554" fmla="*/ 926664 h 3403632"/>
              <a:gd name="connsiteX2555" fmla="*/ 2091678 w 3905665"/>
              <a:gd name="connsiteY2555" fmla="*/ 916790 h 3403632"/>
              <a:gd name="connsiteX2556" fmla="*/ 2101551 w 3905665"/>
              <a:gd name="connsiteY2556" fmla="*/ 907164 h 3403632"/>
              <a:gd name="connsiteX2557" fmla="*/ 1401289 w 3905665"/>
              <a:gd name="connsiteY2557" fmla="*/ 898270 h 3403632"/>
              <a:gd name="connsiteX2558" fmla="*/ 1411411 w 3905665"/>
              <a:gd name="connsiteY2558" fmla="*/ 908389 h 3403632"/>
              <a:gd name="connsiteX2559" fmla="*/ 1401289 w 3905665"/>
              <a:gd name="connsiteY2559" fmla="*/ 918511 h 3403632"/>
              <a:gd name="connsiteX2560" fmla="*/ 1391170 w 3905665"/>
              <a:gd name="connsiteY2560" fmla="*/ 908389 h 3403632"/>
              <a:gd name="connsiteX2561" fmla="*/ 1401289 w 3905665"/>
              <a:gd name="connsiteY2561" fmla="*/ 898270 h 3403632"/>
              <a:gd name="connsiteX2562" fmla="*/ 393460 w 3905665"/>
              <a:gd name="connsiteY2562" fmla="*/ 891353 h 3403632"/>
              <a:gd name="connsiteX2563" fmla="*/ 421352 w 3905665"/>
              <a:gd name="connsiteY2563" fmla="*/ 919244 h 3403632"/>
              <a:gd name="connsiteX2564" fmla="*/ 393460 w 3905665"/>
              <a:gd name="connsiteY2564" fmla="*/ 947138 h 3403632"/>
              <a:gd name="connsiteX2565" fmla="*/ 365569 w 3905665"/>
              <a:gd name="connsiteY2565" fmla="*/ 919244 h 3403632"/>
              <a:gd name="connsiteX2566" fmla="*/ 393460 w 3905665"/>
              <a:gd name="connsiteY2566" fmla="*/ 891353 h 3403632"/>
              <a:gd name="connsiteX2567" fmla="*/ 54064 w 3905665"/>
              <a:gd name="connsiteY2567" fmla="*/ 887402 h 3403632"/>
              <a:gd name="connsiteX2568" fmla="*/ 59493 w 3905665"/>
              <a:gd name="connsiteY2568" fmla="*/ 893080 h 3403632"/>
              <a:gd name="connsiteX2569" fmla="*/ 54064 w 3905665"/>
              <a:gd name="connsiteY2569" fmla="*/ 898509 h 3403632"/>
              <a:gd name="connsiteX2570" fmla="*/ 48633 w 3905665"/>
              <a:gd name="connsiteY2570" fmla="*/ 893080 h 3403632"/>
              <a:gd name="connsiteX2571" fmla="*/ 54064 w 3905665"/>
              <a:gd name="connsiteY2571" fmla="*/ 887402 h 3403632"/>
              <a:gd name="connsiteX2572" fmla="*/ 3347324 w 3905665"/>
              <a:gd name="connsiteY2572" fmla="*/ 885957 h 3403632"/>
              <a:gd name="connsiteX2573" fmla="*/ 3378673 w 3905665"/>
              <a:gd name="connsiteY2573" fmla="*/ 917551 h 3403632"/>
              <a:gd name="connsiteX2574" fmla="*/ 3347324 w 3905665"/>
              <a:gd name="connsiteY2574" fmla="*/ 949147 h 3403632"/>
              <a:gd name="connsiteX2575" fmla="*/ 3315729 w 3905665"/>
              <a:gd name="connsiteY2575" fmla="*/ 917551 h 3403632"/>
              <a:gd name="connsiteX2576" fmla="*/ 3347324 w 3905665"/>
              <a:gd name="connsiteY2576" fmla="*/ 885957 h 3403632"/>
              <a:gd name="connsiteX2577" fmla="*/ 1843380 w 3905665"/>
              <a:gd name="connsiteY2577" fmla="*/ 885685 h 3403632"/>
              <a:gd name="connsiteX2578" fmla="*/ 1857941 w 3905665"/>
              <a:gd name="connsiteY2578" fmla="*/ 900249 h 3403632"/>
              <a:gd name="connsiteX2579" fmla="*/ 1843380 w 3905665"/>
              <a:gd name="connsiteY2579" fmla="*/ 914811 h 3403632"/>
              <a:gd name="connsiteX2580" fmla="*/ 1828815 w 3905665"/>
              <a:gd name="connsiteY2580" fmla="*/ 900249 h 3403632"/>
              <a:gd name="connsiteX2581" fmla="*/ 1843380 w 3905665"/>
              <a:gd name="connsiteY2581" fmla="*/ 885685 h 3403632"/>
              <a:gd name="connsiteX2582" fmla="*/ 3583544 w 3905665"/>
              <a:gd name="connsiteY2582" fmla="*/ 883987 h 3403632"/>
              <a:gd name="connsiteX2583" fmla="*/ 3619583 w 3905665"/>
              <a:gd name="connsiteY2583" fmla="*/ 920022 h 3403632"/>
              <a:gd name="connsiteX2584" fmla="*/ 3583544 w 3905665"/>
              <a:gd name="connsiteY2584" fmla="*/ 956063 h 3403632"/>
              <a:gd name="connsiteX2585" fmla="*/ 3547507 w 3905665"/>
              <a:gd name="connsiteY2585" fmla="*/ 920022 h 3403632"/>
              <a:gd name="connsiteX2586" fmla="*/ 3583544 w 3905665"/>
              <a:gd name="connsiteY2586" fmla="*/ 883987 h 3403632"/>
              <a:gd name="connsiteX2587" fmla="*/ 1578029 w 3905665"/>
              <a:gd name="connsiteY2587" fmla="*/ 879265 h 3403632"/>
              <a:gd name="connsiteX2588" fmla="*/ 1578275 w 3905665"/>
              <a:gd name="connsiteY2588" fmla="*/ 879265 h 3403632"/>
              <a:gd name="connsiteX2589" fmla="*/ 1578523 w 3905665"/>
              <a:gd name="connsiteY2589" fmla="*/ 879265 h 3403632"/>
              <a:gd name="connsiteX2590" fmla="*/ 1578275 w 3905665"/>
              <a:gd name="connsiteY2590" fmla="*/ 879511 h 3403632"/>
              <a:gd name="connsiteX2591" fmla="*/ 712373 w 3905665"/>
              <a:gd name="connsiteY2591" fmla="*/ 874815 h 3403632"/>
              <a:gd name="connsiteX2592" fmla="*/ 728912 w 3905665"/>
              <a:gd name="connsiteY2592" fmla="*/ 891354 h 3403632"/>
              <a:gd name="connsiteX2593" fmla="*/ 712373 w 3905665"/>
              <a:gd name="connsiteY2593" fmla="*/ 907890 h 3403632"/>
              <a:gd name="connsiteX2594" fmla="*/ 695834 w 3905665"/>
              <a:gd name="connsiteY2594" fmla="*/ 891354 h 3403632"/>
              <a:gd name="connsiteX2595" fmla="*/ 712373 w 3905665"/>
              <a:gd name="connsiteY2595" fmla="*/ 874815 h 3403632"/>
              <a:gd name="connsiteX2596" fmla="*/ 168842 w 3905665"/>
              <a:gd name="connsiteY2596" fmla="*/ 871110 h 3403632"/>
              <a:gd name="connsiteX2597" fmla="*/ 169335 w 3905665"/>
              <a:gd name="connsiteY2597" fmla="*/ 871605 h 3403632"/>
              <a:gd name="connsiteX2598" fmla="*/ 168842 w 3905665"/>
              <a:gd name="connsiteY2598" fmla="*/ 872098 h 3403632"/>
              <a:gd name="connsiteX2599" fmla="*/ 168347 w 3905665"/>
              <a:gd name="connsiteY2599" fmla="*/ 871605 h 3403632"/>
              <a:gd name="connsiteX2600" fmla="*/ 168842 w 3905665"/>
              <a:gd name="connsiteY2600" fmla="*/ 871110 h 3403632"/>
              <a:gd name="connsiteX2601" fmla="*/ 914779 w 3905665"/>
              <a:gd name="connsiteY2601" fmla="*/ 868151 h 3403632"/>
              <a:gd name="connsiteX2602" fmla="*/ 938475 w 3905665"/>
              <a:gd name="connsiteY2602" fmla="*/ 891848 h 3403632"/>
              <a:gd name="connsiteX2603" fmla="*/ 914779 w 3905665"/>
              <a:gd name="connsiteY2603" fmla="*/ 915543 h 3403632"/>
              <a:gd name="connsiteX2604" fmla="*/ 891083 w 3905665"/>
              <a:gd name="connsiteY2604" fmla="*/ 891848 h 3403632"/>
              <a:gd name="connsiteX2605" fmla="*/ 914779 w 3905665"/>
              <a:gd name="connsiteY2605" fmla="*/ 868151 h 3403632"/>
              <a:gd name="connsiteX2606" fmla="*/ 2519686 w 3905665"/>
              <a:gd name="connsiteY2606" fmla="*/ 865206 h 3403632"/>
              <a:gd name="connsiteX2607" fmla="*/ 2521168 w 3905665"/>
              <a:gd name="connsiteY2607" fmla="*/ 866686 h 3403632"/>
              <a:gd name="connsiteX2608" fmla="*/ 2519686 w 3905665"/>
              <a:gd name="connsiteY2608" fmla="*/ 868167 h 3403632"/>
              <a:gd name="connsiteX2609" fmla="*/ 2518206 w 3905665"/>
              <a:gd name="connsiteY2609" fmla="*/ 866686 h 3403632"/>
              <a:gd name="connsiteX2610" fmla="*/ 2519686 w 3905665"/>
              <a:gd name="connsiteY2610" fmla="*/ 865206 h 3403632"/>
              <a:gd name="connsiteX2611" fmla="*/ 2763807 w 3905665"/>
              <a:gd name="connsiteY2611" fmla="*/ 861262 h 3403632"/>
              <a:gd name="connsiteX2612" fmla="*/ 2776642 w 3905665"/>
              <a:gd name="connsiteY2612" fmla="*/ 874096 h 3403632"/>
              <a:gd name="connsiteX2613" fmla="*/ 2763807 w 3905665"/>
              <a:gd name="connsiteY2613" fmla="*/ 886932 h 3403632"/>
              <a:gd name="connsiteX2614" fmla="*/ 2750725 w 3905665"/>
              <a:gd name="connsiteY2614" fmla="*/ 874096 h 3403632"/>
              <a:gd name="connsiteX2615" fmla="*/ 2763807 w 3905665"/>
              <a:gd name="connsiteY2615" fmla="*/ 861262 h 3403632"/>
              <a:gd name="connsiteX2616" fmla="*/ 2261008 w 3905665"/>
              <a:gd name="connsiteY2616" fmla="*/ 860020 h 3403632"/>
              <a:gd name="connsiteX2617" fmla="*/ 2275323 w 3905665"/>
              <a:gd name="connsiteY2617" fmla="*/ 874337 h 3403632"/>
              <a:gd name="connsiteX2618" fmla="*/ 2261008 w 3905665"/>
              <a:gd name="connsiteY2618" fmla="*/ 888652 h 3403632"/>
              <a:gd name="connsiteX2619" fmla="*/ 2246690 w 3905665"/>
              <a:gd name="connsiteY2619" fmla="*/ 874337 h 3403632"/>
              <a:gd name="connsiteX2620" fmla="*/ 2261008 w 3905665"/>
              <a:gd name="connsiteY2620" fmla="*/ 860020 h 3403632"/>
              <a:gd name="connsiteX2621" fmla="*/ 1107800 w 3905665"/>
              <a:gd name="connsiteY2621" fmla="*/ 855563 h 3403632"/>
              <a:gd name="connsiteX2622" fmla="*/ 1133720 w 3905665"/>
              <a:gd name="connsiteY2622" fmla="*/ 881480 h 3403632"/>
              <a:gd name="connsiteX2623" fmla="*/ 1107800 w 3905665"/>
              <a:gd name="connsiteY2623" fmla="*/ 907400 h 3403632"/>
              <a:gd name="connsiteX2624" fmla="*/ 1081883 w 3905665"/>
              <a:gd name="connsiteY2624" fmla="*/ 881480 h 3403632"/>
              <a:gd name="connsiteX2625" fmla="*/ 1107800 w 3905665"/>
              <a:gd name="connsiteY2625" fmla="*/ 855563 h 3403632"/>
              <a:gd name="connsiteX2626" fmla="*/ 3005456 w 3905665"/>
              <a:gd name="connsiteY2626" fmla="*/ 854605 h 3403632"/>
              <a:gd name="connsiteX2627" fmla="*/ 3029401 w 3905665"/>
              <a:gd name="connsiteY2627" fmla="*/ 878546 h 3403632"/>
              <a:gd name="connsiteX2628" fmla="*/ 3005456 w 3905665"/>
              <a:gd name="connsiteY2628" fmla="*/ 902493 h 3403632"/>
              <a:gd name="connsiteX2629" fmla="*/ 2981513 w 3905665"/>
              <a:gd name="connsiteY2629" fmla="*/ 878546 h 3403632"/>
              <a:gd name="connsiteX2630" fmla="*/ 3005456 w 3905665"/>
              <a:gd name="connsiteY2630" fmla="*/ 854605 h 3403632"/>
              <a:gd name="connsiteX2631" fmla="*/ 2007014 w 3905665"/>
              <a:gd name="connsiteY2631" fmla="*/ 852858 h 3403632"/>
              <a:gd name="connsiteX2632" fmla="*/ 2016887 w 3905665"/>
              <a:gd name="connsiteY2632" fmla="*/ 862732 h 3403632"/>
              <a:gd name="connsiteX2633" fmla="*/ 2007014 w 3905665"/>
              <a:gd name="connsiteY2633" fmla="*/ 872605 h 3403632"/>
              <a:gd name="connsiteX2634" fmla="*/ 1997140 w 3905665"/>
              <a:gd name="connsiteY2634" fmla="*/ 862732 h 3403632"/>
              <a:gd name="connsiteX2635" fmla="*/ 2007014 w 3905665"/>
              <a:gd name="connsiteY2635" fmla="*/ 852858 h 3403632"/>
              <a:gd name="connsiteX2636" fmla="*/ 1293424 w 3905665"/>
              <a:gd name="connsiteY2636" fmla="*/ 852604 h 3403632"/>
              <a:gd name="connsiteX2637" fmla="*/ 1302803 w 3905665"/>
              <a:gd name="connsiteY2637" fmla="*/ 861986 h 3403632"/>
              <a:gd name="connsiteX2638" fmla="*/ 1293424 w 3905665"/>
              <a:gd name="connsiteY2638" fmla="*/ 871364 h 3403632"/>
              <a:gd name="connsiteX2639" fmla="*/ 1284043 w 3905665"/>
              <a:gd name="connsiteY2639" fmla="*/ 861986 h 3403632"/>
              <a:gd name="connsiteX2640" fmla="*/ 1293424 w 3905665"/>
              <a:gd name="connsiteY2640" fmla="*/ 852604 h 3403632"/>
              <a:gd name="connsiteX2641" fmla="*/ 3244148 w 3905665"/>
              <a:gd name="connsiteY2641" fmla="*/ 849917 h 3403632"/>
              <a:gd name="connsiteX2642" fmla="*/ 3276481 w 3905665"/>
              <a:gd name="connsiteY2642" fmla="*/ 882253 h 3403632"/>
              <a:gd name="connsiteX2643" fmla="*/ 3244148 w 3905665"/>
              <a:gd name="connsiteY2643" fmla="*/ 914583 h 3403632"/>
              <a:gd name="connsiteX2644" fmla="*/ 3211812 w 3905665"/>
              <a:gd name="connsiteY2644" fmla="*/ 882253 h 3403632"/>
              <a:gd name="connsiteX2645" fmla="*/ 3244148 w 3905665"/>
              <a:gd name="connsiteY2645" fmla="*/ 849917 h 3403632"/>
              <a:gd name="connsiteX2646" fmla="*/ 501572 w 3905665"/>
              <a:gd name="connsiteY2646" fmla="*/ 843960 h 3403632"/>
              <a:gd name="connsiteX2647" fmla="*/ 533413 w 3905665"/>
              <a:gd name="connsiteY2647" fmla="*/ 875801 h 3403632"/>
              <a:gd name="connsiteX2648" fmla="*/ 501572 w 3905665"/>
              <a:gd name="connsiteY2648" fmla="*/ 907645 h 3403632"/>
              <a:gd name="connsiteX2649" fmla="*/ 469731 w 3905665"/>
              <a:gd name="connsiteY2649" fmla="*/ 875801 h 3403632"/>
              <a:gd name="connsiteX2650" fmla="*/ 501572 w 3905665"/>
              <a:gd name="connsiteY2650" fmla="*/ 843960 h 3403632"/>
              <a:gd name="connsiteX2651" fmla="*/ 281642 w 3905665"/>
              <a:gd name="connsiteY2651" fmla="*/ 839515 h 3403632"/>
              <a:gd name="connsiteX2652" fmla="*/ 284111 w 3905665"/>
              <a:gd name="connsiteY2652" fmla="*/ 841736 h 3403632"/>
              <a:gd name="connsiteX2653" fmla="*/ 281642 w 3905665"/>
              <a:gd name="connsiteY2653" fmla="*/ 844206 h 3403632"/>
              <a:gd name="connsiteX2654" fmla="*/ 279175 w 3905665"/>
              <a:gd name="connsiteY2654" fmla="*/ 841736 h 3403632"/>
              <a:gd name="connsiteX2655" fmla="*/ 281642 w 3905665"/>
              <a:gd name="connsiteY2655" fmla="*/ 839515 h 3403632"/>
              <a:gd name="connsiteX2656" fmla="*/ 1748346 w 3905665"/>
              <a:gd name="connsiteY2656" fmla="*/ 828910 h 3403632"/>
              <a:gd name="connsiteX2657" fmla="*/ 1765376 w 3905665"/>
              <a:gd name="connsiteY2657" fmla="*/ 845695 h 3403632"/>
              <a:gd name="connsiteX2658" fmla="*/ 1748346 w 3905665"/>
              <a:gd name="connsiteY2658" fmla="*/ 862726 h 3403632"/>
              <a:gd name="connsiteX2659" fmla="*/ 1731560 w 3905665"/>
              <a:gd name="connsiteY2659" fmla="*/ 845695 h 3403632"/>
              <a:gd name="connsiteX2660" fmla="*/ 1748346 w 3905665"/>
              <a:gd name="connsiteY2660" fmla="*/ 828910 h 3403632"/>
              <a:gd name="connsiteX2661" fmla="*/ 3488759 w 3905665"/>
              <a:gd name="connsiteY2661" fmla="*/ 827955 h 3403632"/>
              <a:gd name="connsiteX2662" fmla="*/ 3526524 w 3905665"/>
              <a:gd name="connsiteY2662" fmla="*/ 865720 h 3403632"/>
              <a:gd name="connsiteX2663" fmla="*/ 3488759 w 3905665"/>
              <a:gd name="connsiteY2663" fmla="*/ 903488 h 3403632"/>
              <a:gd name="connsiteX2664" fmla="*/ 3450994 w 3905665"/>
              <a:gd name="connsiteY2664" fmla="*/ 865720 h 3403632"/>
              <a:gd name="connsiteX2665" fmla="*/ 3488759 w 3905665"/>
              <a:gd name="connsiteY2665" fmla="*/ 827955 h 3403632"/>
              <a:gd name="connsiteX2666" fmla="*/ 2415772 w 3905665"/>
              <a:gd name="connsiteY2666" fmla="*/ 816087 h 3403632"/>
              <a:gd name="connsiteX2667" fmla="*/ 2429349 w 3905665"/>
              <a:gd name="connsiteY2667" fmla="*/ 829663 h 3403632"/>
              <a:gd name="connsiteX2668" fmla="*/ 2415772 w 3905665"/>
              <a:gd name="connsiteY2668" fmla="*/ 843238 h 3403632"/>
              <a:gd name="connsiteX2669" fmla="*/ 2402195 w 3905665"/>
              <a:gd name="connsiteY2669" fmla="*/ 829663 h 3403632"/>
              <a:gd name="connsiteX2670" fmla="*/ 2415772 w 3905665"/>
              <a:gd name="connsiteY2670" fmla="*/ 816087 h 3403632"/>
              <a:gd name="connsiteX2671" fmla="*/ 1482008 w 3905665"/>
              <a:gd name="connsiteY2671" fmla="*/ 812618 h 3403632"/>
              <a:gd name="connsiteX2672" fmla="*/ 1493361 w 3905665"/>
              <a:gd name="connsiteY2672" fmla="*/ 824220 h 3403632"/>
              <a:gd name="connsiteX2673" fmla="*/ 1482008 w 3905665"/>
              <a:gd name="connsiteY2673" fmla="*/ 835573 h 3403632"/>
              <a:gd name="connsiteX2674" fmla="*/ 1470652 w 3905665"/>
              <a:gd name="connsiteY2674" fmla="*/ 824220 h 3403632"/>
              <a:gd name="connsiteX2675" fmla="*/ 1482008 w 3905665"/>
              <a:gd name="connsiteY2675" fmla="*/ 812618 h 3403632"/>
              <a:gd name="connsiteX2676" fmla="*/ 811602 w 3905665"/>
              <a:gd name="connsiteY2676" fmla="*/ 809156 h 3403632"/>
              <a:gd name="connsiteX2677" fmla="*/ 833074 w 3905665"/>
              <a:gd name="connsiteY2677" fmla="*/ 830632 h 3403632"/>
              <a:gd name="connsiteX2678" fmla="*/ 811602 w 3905665"/>
              <a:gd name="connsiteY2678" fmla="*/ 852107 h 3403632"/>
              <a:gd name="connsiteX2679" fmla="*/ 790126 w 3905665"/>
              <a:gd name="connsiteY2679" fmla="*/ 830632 h 3403632"/>
              <a:gd name="connsiteX2680" fmla="*/ 811602 w 3905665"/>
              <a:gd name="connsiteY2680" fmla="*/ 809156 h 3403632"/>
              <a:gd name="connsiteX2681" fmla="*/ 2166470 w 3905665"/>
              <a:gd name="connsiteY2681" fmla="*/ 806949 h 3403632"/>
              <a:gd name="connsiteX2682" fmla="*/ 2180044 w 3905665"/>
              <a:gd name="connsiteY2682" fmla="*/ 820524 h 3403632"/>
              <a:gd name="connsiteX2683" fmla="*/ 2166470 w 3905665"/>
              <a:gd name="connsiteY2683" fmla="*/ 834102 h 3403632"/>
              <a:gd name="connsiteX2684" fmla="*/ 2152893 w 3905665"/>
              <a:gd name="connsiteY2684" fmla="*/ 820524 h 3403632"/>
              <a:gd name="connsiteX2685" fmla="*/ 2166470 w 3905665"/>
              <a:gd name="connsiteY2685" fmla="*/ 806949 h 3403632"/>
              <a:gd name="connsiteX2686" fmla="*/ 2670007 w 3905665"/>
              <a:gd name="connsiteY2686" fmla="*/ 804737 h 3403632"/>
              <a:gd name="connsiteX2687" fmla="*/ 2684325 w 3905665"/>
              <a:gd name="connsiteY2687" fmla="*/ 819052 h 3403632"/>
              <a:gd name="connsiteX2688" fmla="*/ 2670007 w 3905665"/>
              <a:gd name="connsiteY2688" fmla="*/ 833368 h 3403632"/>
              <a:gd name="connsiteX2689" fmla="*/ 2655692 w 3905665"/>
              <a:gd name="connsiteY2689" fmla="*/ 819052 h 3403632"/>
              <a:gd name="connsiteX2690" fmla="*/ 2670007 w 3905665"/>
              <a:gd name="connsiteY2690" fmla="*/ 804737 h 3403632"/>
              <a:gd name="connsiteX2691" fmla="*/ 3149610 w 3905665"/>
              <a:gd name="connsiteY2691" fmla="*/ 801293 h 3403632"/>
              <a:gd name="connsiteX2692" fmla="*/ 3176268 w 3905665"/>
              <a:gd name="connsiteY2692" fmla="*/ 827947 h 3403632"/>
              <a:gd name="connsiteX2693" fmla="*/ 3149610 w 3905665"/>
              <a:gd name="connsiteY2693" fmla="*/ 854360 h 3403632"/>
              <a:gd name="connsiteX2694" fmla="*/ 3123198 w 3905665"/>
              <a:gd name="connsiteY2694" fmla="*/ 827947 h 3403632"/>
              <a:gd name="connsiteX2695" fmla="*/ 3149610 w 3905665"/>
              <a:gd name="connsiteY2695" fmla="*/ 801293 h 3403632"/>
              <a:gd name="connsiteX2696" fmla="*/ 2911166 w 3905665"/>
              <a:gd name="connsiteY2696" fmla="*/ 798325 h 3403632"/>
              <a:gd name="connsiteX2697" fmla="*/ 2937083 w 3905665"/>
              <a:gd name="connsiteY2697" fmla="*/ 824240 h 3403632"/>
              <a:gd name="connsiteX2698" fmla="*/ 2911166 w 3905665"/>
              <a:gd name="connsiteY2698" fmla="*/ 849911 h 3403632"/>
              <a:gd name="connsiteX2699" fmla="*/ 2885495 w 3905665"/>
              <a:gd name="connsiteY2699" fmla="*/ 824240 h 3403632"/>
              <a:gd name="connsiteX2700" fmla="*/ 2911166 w 3905665"/>
              <a:gd name="connsiteY2700" fmla="*/ 798325 h 3403632"/>
              <a:gd name="connsiteX2701" fmla="*/ 1008081 w 3905665"/>
              <a:gd name="connsiteY2701" fmla="*/ 795584 h 3403632"/>
              <a:gd name="connsiteX2702" fmla="*/ 1034988 w 3905665"/>
              <a:gd name="connsiteY2702" fmla="*/ 822488 h 3403632"/>
              <a:gd name="connsiteX2703" fmla="*/ 1008081 w 3905665"/>
              <a:gd name="connsiteY2703" fmla="*/ 849392 h 3403632"/>
              <a:gd name="connsiteX2704" fmla="*/ 981177 w 3905665"/>
              <a:gd name="connsiteY2704" fmla="*/ 822488 h 3403632"/>
              <a:gd name="connsiteX2705" fmla="*/ 1008081 w 3905665"/>
              <a:gd name="connsiteY2705" fmla="*/ 795584 h 3403632"/>
              <a:gd name="connsiteX2706" fmla="*/ 391980 w 3905665"/>
              <a:gd name="connsiteY2706" fmla="*/ 794097 h 3403632"/>
              <a:gd name="connsiteX2707" fmla="*/ 401605 w 3905665"/>
              <a:gd name="connsiteY2707" fmla="*/ 803725 h 3403632"/>
              <a:gd name="connsiteX2708" fmla="*/ 391980 w 3905665"/>
              <a:gd name="connsiteY2708" fmla="*/ 813349 h 3403632"/>
              <a:gd name="connsiteX2709" fmla="*/ 382353 w 3905665"/>
              <a:gd name="connsiteY2709" fmla="*/ 803725 h 3403632"/>
              <a:gd name="connsiteX2710" fmla="*/ 391980 w 3905665"/>
              <a:gd name="connsiteY2710" fmla="*/ 794097 h 3403632"/>
              <a:gd name="connsiteX2711" fmla="*/ 1653562 w 3905665"/>
              <a:gd name="connsiteY2711" fmla="*/ 789910 h 3403632"/>
              <a:gd name="connsiteX2712" fmla="*/ 1654054 w 3905665"/>
              <a:gd name="connsiteY2712" fmla="*/ 790405 h 3403632"/>
              <a:gd name="connsiteX2713" fmla="*/ 1653562 w 3905665"/>
              <a:gd name="connsiteY2713" fmla="*/ 790897 h 3403632"/>
              <a:gd name="connsiteX2714" fmla="*/ 1653067 w 3905665"/>
              <a:gd name="connsiteY2714" fmla="*/ 790405 h 3403632"/>
              <a:gd name="connsiteX2715" fmla="*/ 1653562 w 3905665"/>
              <a:gd name="connsiteY2715" fmla="*/ 789910 h 3403632"/>
              <a:gd name="connsiteX2716" fmla="*/ 606480 w 3905665"/>
              <a:gd name="connsiteY2716" fmla="*/ 789903 h 3403632"/>
              <a:gd name="connsiteX2717" fmla="*/ 642024 w 3905665"/>
              <a:gd name="connsiteY2717" fmla="*/ 825447 h 3403632"/>
              <a:gd name="connsiteX2718" fmla="*/ 606480 w 3905665"/>
              <a:gd name="connsiteY2718" fmla="*/ 860991 h 3403632"/>
              <a:gd name="connsiteX2719" fmla="*/ 570936 w 3905665"/>
              <a:gd name="connsiteY2719" fmla="*/ 825447 h 3403632"/>
              <a:gd name="connsiteX2720" fmla="*/ 606480 w 3905665"/>
              <a:gd name="connsiteY2720" fmla="*/ 789903 h 3403632"/>
              <a:gd name="connsiteX2721" fmla="*/ 1913233 w 3905665"/>
              <a:gd name="connsiteY2721" fmla="*/ 789667 h 3403632"/>
              <a:gd name="connsiteX2722" fmla="*/ 1931001 w 3905665"/>
              <a:gd name="connsiteY2722" fmla="*/ 807440 h 3403632"/>
              <a:gd name="connsiteX2723" fmla="*/ 1913233 w 3905665"/>
              <a:gd name="connsiteY2723" fmla="*/ 825212 h 3403632"/>
              <a:gd name="connsiteX2724" fmla="*/ 1895460 w 3905665"/>
              <a:gd name="connsiteY2724" fmla="*/ 807440 h 3403632"/>
              <a:gd name="connsiteX2725" fmla="*/ 1913233 w 3905665"/>
              <a:gd name="connsiteY2725" fmla="*/ 789667 h 3403632"/>
              <a:gd name="connsiteX2726" fmla="*/ 1195181 w 3905665"/>
              <a:gd name="connsiteY2726" fmla="*/ 773861 h 3403632"/>
              <a:gd name="connsiteX2727" fmla="*/ 1226528 w 3905665"/>
              <a:gd name="connsiteY2727" fmla="*/ 805212 h 3403632"/>
              <a:gd name="connsiteX2728" fmla="*/ 1195181 w 3905665"/>
              <a:gd name="connsiteY2728" fmla="*/ 836558 h 3403632"/>
              <a:gd name="connsiteX2729" fmla="*/ 1163832 w 3905665"/>
              <a:gd name="connsiteY2729" fmla="*/ 805212 h 3403632"/>
              <a:gd name="connsiteX2730" fmla="*/ 1195181 w 3905665"/>
              <a:gd name="connsiteY2730" fmla="*/ 773861 h 3403632"/>
              <a:gd name="connsiteX2731" fmla="*/ 3394221 w 3905665"/>
              <a:gd name="connsiteY2731" fmla="*/ 772902 h 3403632"/>
              <a:gd name="connsiteX2732" fmla="*/ 3431989 w 3905665"/>
              <a:gd name="connsiteY2732" fmla="*/ 810921 h 3403632"/>
              <a:gd name="connsiteX2733" fmla="*/ 3394221 w 3905665"/>
              <a:gd name="connsiteY2733" fmla="*/ 848687 h 3403632"/>
              <a:gd name="connsiteX2734" fmla="*/ 3356210 w 3905665"/>
              <a:gd name="connsiteY2734" fmla="*/ 810921 h 3403632"/>
              <a:gd name="connsiteX2735" fmla="*/ 3394221 w 3905665"/>
              <a:gd name="connsiteY2735" fmla="*/ 772902 h 3403632"/>
              <a:gd name="connsiteX2736" fmla="*/ 3627725 w 3905665"/>
              <a:gd name="connsiteY2736" fmla="*/ 769944 h 3403632"/>
              <a:gd name="connsiteX2737" fmla="*/ 3670427 w 3905665"/>
              <a:gd name="connsiteY2737" fmla="*/ 812654 h 3403632"/>
              <a:gd name="connsiteX2738" fmla="*/ 3627725 w 3905665"/>
              <a:gd name="connsiteY2738" fmla="*/ 855358 h 3403632"/>
              <a:gd name="connsiteX2739" fmla="*/ 3585023 w 3905665"/>
              <a:gd name="connsiteY2739" fmla="*/ 812654 h 3403632"/>
              <a:gd name="connsiteX2740" fmla="*/ 3627725 w 3905665"/>
              <a:gd name="connsiteY2740" fmla="*/ 769944 h 3403632"/>
              <a:gd name="connsiteX2741" fmla="*/ 1375128 w 3905665"/>
              <a:gd name="connsiteY2741" fmla="*/ 766951 h 3403632"/>
              <a:gd name="connsiteX2742" fmla="*/ 1387715 w 3905665"/>
              <a:gd name="connsiteY2742" fmla="*/ 779541 h 3403632"/>
              <a:gd name="connsiteX2743" fmla="*/ 1375128 w 3905665"/>
              <a:gd name="connsiteY2743" fmla="*/ 792131 h 3403632"/>
              <a:gd name="connsiteX2744" fmla="*/ 1362539 w 3905665"/>
              <a:gd name="connsiteY2744" fmla="*/ 779541 h 3403632"/>
              <a:gd name="connsiteX2745" fmla="*/ 1375128 w 3905665"/>
              <a:gd name="connsiteY2745" fmla="*/ 766951 h 3403632"/>
              <a:gd name="connsiteX2746" fmla="*/ 2576212 w 3905665"/>
              <a:gd name="connsiteY2746" fmla="*/ 758816 h 3403632"/>
              <a:gd name="connsiteX2747" fmla="*/ 2582136 w 3905665"/>
              <a:gd name="connsiteY2747" fmla="*/ 764739 h 3403632"/>
              <a:gd name="connsiteX2748" fmla="*/ 2576212 w 3905665"/>
              <a:gd name="connsiteY2748" fmla="*/ 770663 h 3403632"/>
              <a:gd name="connsiteX2749" fmla="*/ 2570288 w 3905665"/>
              <a:gd name="connsiteY2749" fmla="*/ 764739 h 3403632"/>
              <a:gd name="connsiteX2750" fmla="*/ 2576212 w 3905665"/>
              <a:gd name="connsiteY2750" fmla="*/ 758816 h 3403632"/>
              <a:gd name="connsiteX2751" fmla="*/ 2321728 w 3905665"/>
              <a:gd name="connsiteY2751" fmla="*/ 756347 h 3403632"/>
              <a:gd name="connsiteX2752" fmla="*/ 2340983 w 3905665"/>
              <a:gd name="connsiteY2752" fmla="*/ 775600 h 3403632"/>
              <a:gd name="connsiteX2753" fmla="*/ 2321728 w 3905665"/>
              <a:gd name="connsiteY2753" fmla="*/ 794855 h 3403632"/>
              <a:gd name="connsiteX2754" fmla="*/ 2302476 w 3905665"/>
              <a:gd name="connsiteY2754" fmla="*/ 775600 h 3403632"/>
              <a:gd name="connsiteX2755" fmla="*/ 2321728 w 3905665"/>
              <a:gd name="connsiteY2755" fmla="*/ 756347 h 3403632"/>
              <a:gd name="connsiteX2756" fmla="*/ 54307 w 3905665"/>
              <a:gd name="connsiteY2756" fmla="*/ 753369 h 3403632"/>
              <a:gd name="connsiteX2757" fmla="*/ 83927 w 3905665"/>
              <a:gd name="connsiteY2757" fmla="*/ 782989 h 3403632"/>
              <a:gd name="connsiteX2758" fmla="*/ 54307 w 3905665"/>
              <a:gd name="connsiteY2758" fmla="*/ 812609 h 3403632"/>
              <a:gd name="connsiteX2759" fmla="*/ 24687 w 3905665"/>
              <a:gd name="connsiteY2759" fmla="*/ 782989 h 3403632"/>
              <a:gd name="connsiteX2760" fmla="*/ 54307 w 3905665"/>
              <a:gd name="connsiteY2760" fmla="*/ 753369 h 3403632"/>
              <a:gd name="connsiteX2761" fmla="*/ 2072178 w 3905665"/>
              <a:gd name="connsiteY2761" fmla="*/ 752640 h 3403632"/>
              <a:gd name="connsiteX2762" fmla="*/ 2086001 w 3905665"/>
              <a:gd name="connsiteY2762" fmla="*/ 766461 h 3403632"/>
              <a:gd name="connsiteX2763" fmla="*/ 2072178 w 3905665"/>
              <a:gd name="connsiteY2763" fmla="*/ 780286 h 3403632"/>
              <a:gd name="connsiteX2764" fmla="*/ 2058355 w 3905665"/>
              <a:gd name="connsiteY2764" fmla="*/ 766461 h 3403632"/>
              <a:gd name="connsiteX2765" fmla="*/ 2072178 w 3905665"/>
              <a:gd name="connsiteY2765" fmla="*/ 752640 h 3403632"/>
              <a:gd name="connsiteX2766" fmla="*/ 2816628 w 3905665"/>
              <a:gd name="connsiteY2766" fmla="*/ 750431 h 3403632"/>
              <a:gd name="connsiteX2767" fmla="*/ 2836621 w 3905665"/>
              <a:gd name="connsiteY2767" fmla="*/ 770420 h 3403632"/>
              <a:gd name="connsiteX2768" fmla="*/ 2816628 w 3905665"/>
              <a:gd name="connsiteY2768" fmla="*/ 790419 h 3403632"/>
              <a:gd name="connsiteX2769" fmla="*/ 2796635 w 3905665"/>
              <a:gd name="connsiteY2769" fmla="*/ 770420 h 3403632"/>
              <a:gd name="connsiteX2770" fmla="*/ 2816628 w 3905665"/>
              <a:gd name="connsiteY2770" fmla="*/ 750431 h 3403632"/>
              <a:gd name="connsiteX2771" fmla="*/ 3055072 w 3905665"/>
              <a:gd name="connsiteY2771" fmla="*/ 743771 h 3403632"/>
              <a:gd name="connsiteX2772" fmla="*/ 3084938 w 3905665"/>
              <a:gd name="connsiteY2772" fmla="*/ 773634 h 3403632"/>
              <a:gd name="connsiteX2773" fmla="*/ 3055072 w 3905665"/>
              <a:gd name="connsiteY2773" fmla="*/ 803509 h 3403632"/>
              <a:gd name="connsiteX2774" fmla="*/ 3025205 w 3905665"/>
              <a:gd name="connsiteY2774" fmla="*/ 773634 h 3403632"/>
              <a:gd name="connsiteX2775" fmla="*/ 3055072 w 3905665"/>
              <a:gd name="connsiteY2775" fmla="*/ 743771 h 3403632"/>
              <a:gd name="connsiteX2776" fmla="*/ 906632 w 3905665"/>
              <a:gd name="connsiteY2776" fmla="*/ 737329 h 3403632"/>
              <a:gd name="connsiteX2777" fmla="*/ 933041 w 3905665"/>
              <a:gd name="connsiteY2777" fmla="*/ 763740 h 3403632"/>
              <a:gd name="connsiteX2778" fmla="*/ 906632 w 3905665"/>
              <a:gd name="connsiteY2778" fmla="*/ 790150 h 3403632"/>
              <a:gd name="connsiteX2779" fmla="*/ 880220 w 3905665"/>
              <a:gd name="connsiteY2779" fmla="*/ 763740 h 3403632"/>
              <a:gd name="connsiteX2780" fmla="*/ 906632 w 3905665"/>
              <a:gd name="connsiteY2780" fmla="*/ 737329 h 3403632"/>
              <a:gd name="connsiteX2781" fmla="*/ 3291046 w 3905665"/>
              <a:gd name="connsiteY2781" fmla="*/ 736618 h 3403632"/>
              <a:gd name="connsiteX2782" fmla="*/ 3330539 w 3905665"/>
              <a:gd name="connsiteY2782" fmla="*/ 776109 h 3403632"/>
              <a:gd name="connsiteX2783" fmla="*/ 3291046 w 3905665"/>
              <a:gd name="connsiteY2783" fmla="*/ 815609 h 3403632"/>
              <a:gd name="connsiteX2784" fmla="*/ 3251552 w 3905665"/>
              <a:gd name="connsiteY2784" fmla="*/ 776109 h 3403632"/>
              <a:gd name="connsiteX2785" fmla="*/ 3291046 w 3905665"/>
              <a:gd name="connsiteY2785" fmla="*/ 736618 h 3403632"/>
              <a:gd name="connsiteX2786" fmla="*/ 1818695 w 3905665"/>
              <a:gd name="connsiteY2786" fmla="*/ 735607 h 3403632"/>
              <a:gd name="connsiteX2787" fmla="*/ 1836215 w 3905665"/>
              <a:gd name="connsiteY2787" fmla="*/ 753132 h 3403632"/>
              <a:gd name="connsiteX2788" fmla="*/ 1818695 w 3905665"/>
              <a:gd name="connsiteY2788" fmla="*/ 770655 h 3403632"/>
              <a:gd name="connsiteX2789" fmla="*/ 1801168 w 3905665"/>
              <a:gd name="connsiteY2789" fmla="*/ 753132 h 3403632"/>
              <a:gd name="connsiteX2790" fmla="*/ 1818695 w 3905665"/>
              <a:gd name="connsiteY2790" fmla="*/ 735607 h 3403632"/>
              <a:gd name="connsiteX2791" fmla="*/ 499105 w 3905665"/>
              <a:gd name="connsiteY2791" fmla="*/ 734857 h 3403632"/>
              <a:gd name="connsiteX2792" fmla="*/ 522062 w 3905665"/>
              <a:gd name="connsiteY2792" fmla="*/ 757812 h 3403632"/>
              <a:gd name="connsiteX2793" fmla="*/ 499105 w 3905665"/>
              <a:gd name="connsiteY2793" fmla="*/ 780769 h 3403632"/>
              <a:gd name="connsiteX2794" fmla="*/ 476150 w 3905665"/>
              <a:gd name="connsiteY2794" fmla="*/ 757812 h 3403632"/>
              <a:gd name="connsiteX2795" fmla="*/ 499105 w 3905665"/>
              <a:gd name="connsiteY2795" fmla="*/ 734857 h 3403632"/>
              <a:gd name="connsiteX2796" fmla="*/ 707681 w 3905665"/>
              <a:gd name="connsiteY2796" fmla="*/ 728688 h 3403632"/>
              <a:gd name="connsiteX2797" fmla="*/ 746928 w 3905665"/>
              <a:gd name="connsiteY2797" fmla="*/ 767935 h 3403632"/>
              <a:gd name="connsiteX2798" fmla="*/ 707681 w 3905665"/>
              <a:gd name="connsiteY2798" fmla="*/ 807183 h 3403632"/>
              <a:gd name="connsiteX2799" fmla="*/ 668433 w 3905665"/>
              <a:gd name="connsiteY2799" fmla="*/ 767935 h 3403632"/>
              <a:gd name="connsiteX2800" fmla="*/ 707681 w 3905665"/>
              <a:gd name="connsiteY2800" fmla="*/ 728688 h 3403632"/>
              <a:gd name="connsiteX2801" fmla="*/ 168839 w 3905665"/>
              <a:gd name="connsiteY2801" fmla="*/ 724244 h 3403632"/>
              <a:gd name="connsiteX2802" fmla="*/ 204632 w 3905665"/>
              <a:gd name="connsiteY2802" fmla="*/ 760034 h 3403632"/>
              <a:gd name="connsiteX2803" fmla="*/ 168839 w 3905665"/>
              <a:gd name="connsiteY2803" fmla="*/ 796074 h 3403632"/>
              <a:gd name="connsiteX2804" fmla="*/ 133048 w 3905665"/>
              <a:gd name="connsiteY2804" fmla="*/ 760034 h 3403632"/>
              <a:gd name="connsiteX2805" fmla="*/ 168839 w 3905665"/>
              <a:gd name="connsiteY2805" fmla="*/ 724244 h 3403632"/>
              <a:gd name="connsiteX2806" fmla="*/ 1558281 w 3905665"/>
              <a:gd name="connsiteY2806" fmla="*/ 723016 h 3403632"/>
              <a:gd name="connsiteX2807" fmla="*/ 1571116 w 3905665"/>
              <a:gd name="connsiteY2807" fmla="*/ 735851 h 3403632"/>
              <a:gd name="connsiteX2808" fmla="*/ 1558281 w 3905665"/>
              <a:gd name="connsiteY2808" fmla="*/ 748686 h 3403632"/>
              <a:gd name="connsiteX2809" fmla="*/ 1545445 w 3905665"/>
              <a:gd name="connsiteY2809" fmla="*/ 735851 h 3403632"/>
              <a:gd name="connsiteX2810" fmla="*/ 1558281 w 3905665"/>
              <a:gd name="connsiteY2810" fmla="*/ 723016 h 3403632"/>
              <a:gd name="connsiteX2811" fmla="*/ 1096942 w 3905665"/>
              <a:gd name="connsiteY2811" fmla="*/ 717829 h 3403632"/>
              <a:gd name="connsiteX2812" fmla="*/ 1127054 w 3905665"/>
              <a:gd name="connsiteY2812" fmla="*/ 747944 h 3403632"/>
              <a:gd name="connsiteX2813" fmla="*/ 1096942 w 3905665"/>
              <a:gd name="connsiteY2813" fmla="*/ 778056 h 3403632"/>
              <a:gd name="connsiteX2814" fmla="*/ 1066827 w 3905665"/>
              <a:gd name="connsiteY2814" fmla="*/ 747944 h 3403632"/>
              <a:gd name="connsiteX2815" fmla="*/ 1096942 w 3905665"/>
              <a:gd name="connsiteY2815" fmla="*/ 717829 h 3403632"/>
              <a:gd name="connsiteX2816" fmla="*/ 3532695 w 3905665"/>
              <a:gd name="connsiteY2816" fmla="*/ 713177 h 3403632"/>
              <a:gd name="connsiteX2817" fmla="*/ 3577371 w 3905665"/>
              <a:gd name="connsiteY2817" fmla="*/ 757847 h 3403632"/>
              <a:gd name="connsiteX2818" fmla="*/ 3532695 w 3905665"/>
              <a:gd name="connsiteY2818" fmla="*/ 802536 h 3403632"/>
              <a:gd name="connsiteX2819" fmla="*/ 3488018 w 3905665"/>
              <a:gd name="connsiteY2819" fmla="*/ 757847 h 3403632"/>
              <a:gd name="connsiteX2820" fmla="*/ 3532695 w 3905665"/>
              <a:gd name="connsiteY2820" fmla="*/ 713177 h 3403632"/>
              <a:gd name="connsiteX2821" fmla="*/ 2472295 w 3905665"/>
              <a:gd name="connsiteY2821" fmla="*/ 710193 h 3403632"/>
              <a:gd name="connsiteX2822" fmla="*/ 2490809 w 3905665"/>
              <a:gd name="connsiteY2822" fmla="*/ 728706 h 3403632"/>
              <a:gd name="connsiteX2823" fmla="*/ 2472295 w 3905665"/>
              <a:gd name="connsiteY2823" fmla="*/ 747218 h 3403632"/>
              <a:gd name="connsiteX2824" fmla="*/ 2453782 w 3905665"/>
              <a:gd name="connsiteY2824" fmla="*/ 728706 h 3403632"/>
              <a:gd name="connsiteX2825" fmla="*/ 2472295 w 3905665"/>
              <a:gd name="connsiteY2825" fmla="*/ 710193 h 3403632"/>
              <a:gd name="connsiteX2826" fmla="*/ 2227436 w 3905665"/>
              <a:gd name="connsiteY2826" fmla="*/ 704759 h 3403632"/>
              <a:gd name="connsiteX2827" fmla="*/ 2244470 w 3905665"/>
              <a:gd name="connsiteY2827" fmla="*/ 721791 h 3403632"/>
              <a:gd name="connsiteX2828" fmla="*/ 2227436 w 3905665"/>
              <a:gd name="connsiteY2828" fmla="*/ 738823 h 3403632"/>
              <a:gd name="connsiteX2829" fmla="*/ 2210405 w 3905665"/>
              <a:gd name="connsiteY2829" fmla="*/ 721791 h 3403632"/>
              <a:gd name="connsiteX2830" fmla="*/ 2227436 w 3905665"/>
              <a:gd name="connsiteY2830" fmla="*/ 704759 h 3403632"/>
              <a:gd name="connsiteX2831" fmla="*/ 1724647 w 3905665"/>
              <a:gd name="connsiteY2831" fmla="*/ 695620 h 3403632"/>
              <a:gd name="connsiteX2832" fmla="*/ 1726868 w 3905665"/>
              <a:gd name="connsiteY2832" fmla="*/ 697841 h 3403632"/>
              <a:gd name="connsiteX2833" fmla="*/ 1724647 w 3905665"/>
              <a:gd name="connsiteY2833" fmla="*/ 700062 h 3403632"/>
              <a:gd name="connsiteX2834" fmla="*/ 1722427 w 3905665"/>
              <a:gd name="connsiteY2834" fmla="*/ 697841 h 3403632"/>
              <a:gd name="connsiteX2835" fmla="*/ 1724647 w 3905665"/>
              <a:gd name="connsiteY2835" fmla="*/ 695620 h 3403632"/>
              <a:gd name="connsiteX2836" fmla="*/ 2722830 w 3905665"/>
              <a:gd name="connsiteY2836" fmla="*/ 690697 h 3403632"/>
              <a:gd name="connsiteX2837" fmla="*/ 2747268 w 3905665"/>
              <a:gd name="connsiteY2837" fmla="*/ 715135 h 3403632"/>
              <a:gd name="connsiteX2838" fmla="*/ 2722830 w 3905665"/>
              <a:gd name="connsiteY2838" fmla="*/ 739568 h 3403632"/>
              <a:gd name="connsiteX2839" fmla="*/ 2698393 w 3905665"/>
              <a:gd name="connsiteY2839" fmla="*/ 715135 h 3403632"/>
              <a:gd name="connsiteX2840" fmla="*/ 2722830 w 3905665"/>
              <a:gd name="connsiteY2840" fmla="*/ 690697 h 3403632"/>
              <a:gd name="connsiteX2841" fmla="*/ 1978629 w 3905665"/>
              <a:gd name="connsiteY2841" fmla="*/ 689697 h 3403632"/>
              <a:gd name="connsiteX2842" fmla="*/ 2000597 w 3905665"/>
              <a:gd name="connsiteY2842" fmla="*/ 711419 h 3403632"/>
              <a:gd name="connsiteX2843" fmla="*/ 1978629 w 3905665"/>
              <a:gd name="connsiteY2843" fmla="*/ 733140 h 3403632"/>
              <a:gd name="connsiteX2844" fmla="*/ 1956918 w 3905665"/>
              <a:gd name="connsiteY2844" fmla="*/ 711419 h 3403632"/>
              <a:gd name="connsiteX2845" fmla="*/ 1978629 w 3905665"/>
              <a:gd name="connsiteY2845" fmla="*/ 689697 h 3403632"/>
              <a:gd name="connsiteX2846" fmla="*/ 1278118 w 3905665"/>
              <a:gd name="connsiteY2846" fmla="*/ 687469 h 3403632"/>
              <a:gd name="connsiteX2847" fmla="*/ 1314895 w 3905665"/>
              <a:gd name="connsiteY2847" fmla="*/ 724247 h 3403632"/>
              <a:gd name="connsiteX2848" fmla="*/ 1278118 w 3905665"/>
              <a:gd name="connsiteY2848" fmla="*/ 761023 h 3403632"/>
              <a:gd name="connsiteX2849" fmla="*/ 1241340 w 3905665"/>
              <a:gd name="connsiteY2849" fmla="*/ 724247 h 3403632"/>
              <a:gd name="connsiteX2850" fmla="*/ 1278118 w 3905665"/>
              <a:gd name="connsiteY2850" fmla="*/ 687469 h 3403632"/>
              <a:gd name="connsiteX2851" fmla="*/ 281149 w 3905665"/>
              <a:gd name="connsiteY2851" fmla="*/ 686971 h 3403632"/>
              <a:gd name="connsiteX2852" fmla="*/ 322371 w 3905665"/>
              <a:gd name="connsiteY2852" fmla="*/ 728193 h 3403632"/>
              <a:gd name="connsiteX2853" fmla="*/ 281149 w 3905665"/>
              <a:gd name="connsiteY2853" fmla="*/ 769414 h 3403632"/>
              <a:gd name="connsiteX2854" fmla="*/ 239927 w 3905665"/>
              <a:gd name="connsiteY2854" fmla="*/ 728193 h 3403632"/>
              <a:gd name="connsiteX2855" fmla="*/ 281149 w 3905665"/>
              <a:gd name="connsiteY2855" fmla="*/ 686971 h 3403632"/>
              <a:gd name="connsiteX2856" fmla="*/ 3196012 w 3905665"/>
              <a:gd name="connsiteY2856" fmla="*/ 684780 h 3403632"/>
              <a:gd name="connsiteX2857" fmla="*/ 3232792 w 3905665"/>
              <a:gd name="connsiteY2857" fmla="*/ 721559 h 3403632"/>
              <a:gd name="connsiteX2858" fmla="*/ 3196012 w 3905665"/>
              <a:gd name="connsiteY2858" fmla="*/ 758331 h 3403632"/>
              <a:gd name="connsiteX2859" fmla="*/ 3159234 w 3905665"/>
              <a:gd name="connsiteY2859" fmla="*/ 721559 h 3403632"/>
              <a:gd name="connsiteX2860" fmla="*/ 3196012 w 3905665"/>
              <a:gd name="connsiteY2860" fmla="*/ 684780 h 3403632"/>
              <a:gd name="connsiteX2861" fmla="*/ 2960533 w 3905665"/>
              <a:gd name="connsiteY2861" fmla="*/ 683791 h 3403632"/>
              <a:gd name="connsiteX2862" fmla="*/ 2995831 w 3905665"/>
              <a:gd name="connsiteY2862" fmla="*/ 719090 h 3403632"/>
              <a:gd name="connsiteX2863" fmla="*/ 2960533 w 3905665"/>
              <a:gd name="connsiteY2863" fmla="*/ 754381 h 3403632"/>
              <a:gd name="connsiteX2864" fmla="*/ 2925235 w 3905665"/>
              <a:gd name="connsiteY2864" fmla="*/ 719090 h 3403632"/>
              <a:gd name="connsiteX2865" fmla="*/ 2960533 w 3905665"/>
              <a:gd name="connsiteY2865" fmla="*/ 683791 h 3403632"/>
              <a:gd name="connsiteX2866" fmla="*/ 1452386 w 3905665"/>
              <a:gd name="connsiteY2866" fmla="*/ 677845 h 3403632"/>
              <a:gd name="connsiteX2867" fmla="*/ 1467935 w 3905665"/>
              <a:gd name="connsiteY2867" fmla="*/ 693396 h 3403632"/>
              <a:gd name="connsiteX2868" fmla="*/ 1452386 w 3905665"/>
              <a:gd name="connsiteY2868" fmla="*/ 708945 h 3403632"/>
              <a:gd name="connsiteX2869" fmla="*/ 1436835 w 3905665"/>
              <a:gd name="connsiteY2869" fmla="*/ 693396 h 3403632"/>
              <a:gd name="connsiteX2870" fmla="*/ 1452386 w 3905665"/>
              <a:gd name="connsiteY2870" fmla="*/ 677845 h 3403632"/>
              <a:gd name="connsiteX2871" fmla="*/ 602530 w 3905665"/>
              <a:gd name="connsiteY2871" fmla="*/ 670188 h 3403632"/>
              <a:gd name="connsiteX2872" fmla="*/ 636348 w 3905665"/>
              <a:gd name="connsiteY2872" fmla="*/ 704004 h 3403632"/>
              <a:gd name="connsiteX2873" fmla="*/ 602530 w 3905665"/>
              <a:gd name="connsiteY2873" fmla="*/ 737819 h 3403632"/>
              <a:gd name="connsiteX2874" fmla="*/ 568715 w 3905665"/>
              <a:gd name="connsiteY2874" fmla="*/ 704004 h 3403632"/>
              <a:gd name="connsiteX2875" fmla="*/ 602530 w 3905665"/>
              <a:gd name="connsiteY2875" fmla="*/ 670188 h 3403632"/>
              <a:gd name="connsiteX2876" fmla="*/ 804686 w 3905665"/>
              <a:gd name="connsiteY2876" fmla="*/ 661056 h 3403632"/>
              <a:gd name="connsiteX2877" fmla="*/ 847387 w 3905665"/>
              <a:gd name="connsiteY2877" fmla="*/ 703757 h 3403632"/>
              <a:gd name="connsiteX2878" fmla="*/ 804686 w 3905665"/>
              <a:gd name="connsiteY2878" fmla="*/ 746459 h 3403632"/>
              <a:gd name="connsiteX2879" fmla="*/ 761985 w 3905665"/>
              <a:gd name="connsiteY2879" fmla="*/ 703757 h 3403632"/>
              <a:gd name="connsiteX2880" fmla="*/ 804686 w 3905665"/>
              <a:gd name="connsiteY2880" fmla="*/ 661056 h 3403632"/>
              <a:gd name="connsiteX2881" fmla="*/ 3437664 w 3905665"/>
              <a:gd name="connsiteY2881" fmla="*/ 658126 h 3403632"/>
              <a:gd name="connsiteX2882" fmla="*/ 3482340 w 3905665"/>
              <a:gd name="connsiteY2882" fmla="*/ 702803 h 3403632"/>
              <a:gd name="connsiteX2883" fmla="*/ 3437664 w 3905665"/>
              <a:gd name="connsiteY2883" fmla="*/ 747479 h 3403632"/>
              <a:gd name="connsiteX2884" fmla="*/ 3392987 w 3905665"/>
              <a:gd name="connsiteY2884" fmla="*/ 702803 h 3403632"/>
              <a:gd name="connsiteX2885" fmla="*/ 3437664 w 3905665"/>
              <a:gd name="connsiteY2885" fmla="*/ 658126 h 3403632"/>
              <a:gd name="connsiteX2886" fmla="*/ 997219 w 3905665"/>
              <a:gd name="connsiteY2886" fmla="*/ 658093 h 3403632"/>
              <a:gd name="connsiteX2887" fmla="*/ 1030050 w 3905665"/>
              <a:gd name="connsiteY2887" fmla="*/ 690921 h 3403632"/>
              <a:gd name="connsiteX2888" fmla="*/ 997219 w 3905665"/>
              <a:gd name="connsiteY2888" fmla="*/ 723753 h 3403632"/>
              <a:gd name="connsiteX2889" fmla="*/ 964391 w 3905665"/>
              <a:gd name="connsiteY2889" fmla="*/ 690921 h 3403632"/>
              <a:gd name="connsiteX2890" fmla="*/ 997219 w 3905665"/>
              <a:gd name="connsiteY2890" fmla="*/ 658093 h 3403632"/>
              <a:gd name="connsiteX2891" fmla="*/ 3668947 w 3905665"/>
              <a:gd name="connsiteY2891" fmla="*/ 655170 h 3403632"/>
              <a:gd name="connsiteX2892" fmla="*/ 3717576 w 3905665"/>
              <a:gd name="connsiteY2892" fmla="*/ 703797 h 3403632"/>
              <a:gd name="connsiteX2893" fmla="*/ 3668947 w 3905665"/>
              <a:gd name="connsiteY2893" fmla="*/ 752423 h 3403632"/>
              <a:gd name="connsiteX2894" fmla="*/ 3620321 w 3905665"/>
              <a:gd name="connsiteY2894" fmla="*/ 703797 h 3403632"/>
              <a:gd name="connsiteX2895" fmla="*/ 3668947 w 3905665"/>
              <a:gd name="connsiteY2895" fmla="*/ 655170 h 3403632"/>
              <a:gd name="connsiteX2896" fmla="*/ 2378255 w 3905665"/>
              <a:gd name="connsiteY2896" fmla="*/ 650211 h 3403632"/>
              <a:gd name="connsiteX2897" fmla="*/ 2402444 w 3905665"/>
              <a:gd name="connsiteY2897" fmla="*/ 674399 h 3403632"/>
              <a:gd name="connsiteX2898" fmla="*/ 2378255 w 3905665"/>
              <a:gd name="connsiteY2898" fmla="*/ 698590 h 3403632"/>
              <a:gd name="connsiteX2899" fmla="*/ 2354064 w 3905665"/>
              <a:gd name="connsiteY2899" fmla="*/ 674399 h 3403632"/>
              <a:gd name="connsiteX2900" fmla="*/ 2378255 w 3905665"/>
              <a:gd name="connsiteY2900" fmla="*/ 650211 h 3403632"/>
              <a:gd name="connsiteX2901" fmla="*/ 2133392 w 3905665"/>
              <a:gd name="connsiteY2901" fmla="*/ 649712 h 3403632"/>
              <a:gd name="connsiteX2902" fmla="*/ 2151164 w 3905665"/>
              <a:gd name="connsiteY2902" fmla="*/ 667484 h 3403632"/>
              <a:gd name="connsiteX2903" fmla="*/ 2133392 w 3905665"/>
              <a:gd name="connsiteY2903" fmla="*/ 685256 h 3403632"/>
              <a:gd name="connsiteX2904" fmla="*/ 2115620 w 3905665"/>
              <a:gd name="connsiteY2904" fmla="*/ 667484 h 3403632"/>
              <a:gd name="connsiteX2905" fmla="*/ 2133392 w 3905665"/>
              <a:gd name="connsiteY2905" fmla="*/ 649712 h 3403632"/>
              <a:gd name="connsiteX2906" fmla="*/ 2628541 w 3905665"/>
              <a:gd name="connsiteY2906" fmla="*/ 643796 h 3403632"/>
              <a:gd name="connsiteX2907" fmla="*/ 2645326 w 3905665"/>
              <a:gd name="connsiteY2907" fmla="*/ 660580 h 3403632"/>
              <a:gd name="connsiteX2908" fmla="*/ 2628541 w 3905665"/>
              <a:gd name="connsiteY2908" fmla="*/ 677366 h 3403632"/>
              <a:gd name="connsiteX2909" fmla="*/ 2611756 w 3905665"/>
              <a:gd name="connsiteY2909" fmla="*/ 660580 h 3403632"/>
              <a:gd name="connsiteX2910" fmla="*/ 2628541 w 3905665"/>
              <a:gd name="connsiteY2910" fmla="*/ 643796 h 3403632"/>
              <a:gd name="connsiteX2911" fmla="*/ 390743 w 3905665"/>
              <a:gd name="connsiteY2911" fmla="*/ 641554 h 3403632"/>
              <a:gd name="connsiteX2912" fmla="*/ 436406 w 3905665"/>
              <a:gd name="connsiteY2912" fmla="*/ 687218 h 3403632"/>
              <a:gd name="connsiteX2913" fmla="*/ 390743 w 3905665"/>
              <a:gd name="connsiteY2913" fmla="*/ 732882 h 3403632"/>
              <a:gd name="connsiteX2914" fmla="*/ 345079 w 3905665"/>
              <a:gd name="connsiteY2914" fmla="*/ 687218 h 3403632"/>
              <a:gd name="connsiteX2915" fmla="*/ 390743 w 3905665"/>
              <a:gd name="connsiteY2915" fmla="*/ 641554 h 3403632"/>
              <a:gd name="connsiteX2916" fmla="*/ 1884598 w 3905665"/>
              <a:gd name="connsiteY2916" fmla="*/ 638357 h 3403632"/>
              <a:gd name="connsiteX2917" fmla="*/ 1903110 w 3905665"/>
              <a:gd name="connsiteY2917" fmla="*/ 656869 h 3403632"/>
              <a:gd name="connsiteX2918" fmla="*/ 1884598 w 3905665"/>
              <a:gd name="connsiteY2918" fmla="*/ 675380 h 3403632"/>
              <a:gd name="connsiteX2919" fmla="*/ 1866084 w 3905665"/>
              <a:gd name="connsiteY2919" fmla="*/ 656869 h 3403632"/>
              <a:gd name="connsiteX2920" fmla="*/ 1884598 w 3905665"/>
              <a:gd name="connsiteY2920" fmla="*/ 638357 h 3403632"/>
              <a:gd name="connsiteX2921" fmla="*/ 2865995 w 3905665"/>
              <a:gd name="connsiteY2921" fmla="*/ 636147 h 3403632"/>
              <a:gd name="connsiteX2922" fmla="*/ 2894628 w 3905665"/>
              <a:gd name="connsiteY2922" fmla="*/ 664779 h 3403632"/>
              <a:gd name="connsiteX2923" fmla="*/ 2865995 w 3905665"/>
              <a:gd name="connsiteY2923" fmla="*/ 693412 h 3403632"/>
              <a:gd name="connsiteX2924" fmla="*/ 2837362 w 3905665"/>
              <a:gd name="connsiteY2924" fmla="*/ 664779 h 3403632"/>
              <a:gd name="connsiteX2925" fmla="*/ 2865995 w 3905665"/>
              <a:gd name="connsiteY2925" fmla="*/ 636147 h 3403632"/>
              <a:gd name="connsiteX2926" fmla="*/ 1181112 w 3905665"/>
              <a:gd name="connsiteY2926" fmla="*/ 634893 h 3403632"/>
              <a:gd name="connsiteX2927" fmla="*/ 1214436 w 3905665"/>
              <a:gd name="connsiteY2927" fmla="*/ 668216 h 3403632"/>
              <a:gd name="connsiteX2928" fmla="*/ 1181112 w 3905665"/>
              <a:gd name="connsiteY2928" fmla="*/ 701540 h 3403632"/>
              <a:gd name="connsiteX2929" fmla="*/ 1147789 w 3905665"/>
              <a:gd name="connsiteY2929" fmla="*/ 668216 h 3403632"/>
              <a:gd name="connsiteX2930" fmla="*/ 1181112 w 3905665"/>
              <a:gd name="connsiteY2930" fmla="*/ 634893 h 3403632"/>
              <a:gd name="connsiteX2931" fmla="*/ 3101230 w 3905665"/>
              <a:gd name="connsiteY2931" fmla="*/ 629983 h 3403632"/>
              <a:gd name="connsiteX2932" fmla="*/ 3138254 w 3905665"/>
              <a:gd name="connsiteY2932" fmla="*/ 667007 h 3403632"/>
              <a:gd name="connsiteX2933" fmla="*/ 3101230 w 3905665"/>
              <a:gd name="connsiteY2933" fmla="*/ 704031 h 3403632"/>
              <a:gd name="connsiteX2934" fmla="*/ 3064204 w 3905665"/>
              <a:gd name="connsiteY2934" fmla="*/ 667007 h 3403632"/>
              <a:gd name="connsiteX2935" fmla="*/ 3101230 w 3905665"/>
              <a:gd name="connsiteY2935" fmla="*/ 629983 h 3403632"/>
              <a:gd name="connsiteX2936" fmla="*/ 1629864 w 3905665"/>
              <a:gd name="connsiteY2936" fmla="*/ 628727 h 3403632"/>
              <a:gd name="connsiteX2937" fmla="*/ 1644920 w 3905665"/>
              <a:gd name="connsiteY2937" fmla="*/ 643783 h 3403632"/>
              <a:gd name="connsiteX2938" fmla="*/ 1629864 w 3905665"/>
              <a:gd name="connsiteY2938" fmla="*/ 658842 h 3403632"/>
              <a:gd name="connsiteX2939" fmla="*/ 1614558 w 3905665"/>
              <a:gd name="connsiteY2939" fmla="*/ 643783 h 3403632"/>
              <a:gd name="connsiteX2940" fmla="*/ 1629864 w 3905665"/>
              <a:gd name="connsiteY2940" fmla="*/ 628727 h 3403632"/>
              <a:gd name="connsiteX2941" fmla="*/ 51098 w 3905665"/>
              <a:gd name="connsiteY2941" fmla="*/ 625261 h 3403632"/>
              <a:gd name="connsiteX2942" fmla="*/ 99477 w 3905665"/>
              <a:gd name="connsiteY2942" fmla="*/ 673641 h 3403632"/>
              <a:gd name="connsiteX2943" fmla="*/ 51098 w 3905665"/>
              <a:gd name="connsiteY2943" fmla="*/ 722021 h 3403632"/>
              <a:gd name="connsiteX2944" fmla="*/ 2718 w 3905665"/>
              <a:gd name="connsiteY2944" fmla="*/ 673641 h 3403632"/>
              <a:gd name="connsiteX2945" fmla="*/ 51098 w 3905665"/>
              <a:gd name="connsiteY2945" fmla="*/ 625261 h 3403632"/>
              <a:gd name="connsiteX2946" fmla="*/ 3334488 w 3905665"/>
              <a:gd name="connsiteY2946" fmla="*/ 622089 h 3403632"/>
              <a:gd name="connsiteX2947" fmla="*/ 3380893 w 3905665"/>
              <a:gd name="connsiteY2947" fmla="*/ 668492 h 3403632"/>
              <a:gd name="connsiteX2948" fmla="*/ 3334488 w 3905665"/>
              <a:gd name="connsiteY2948" fmla="*/ 714898 h 3403632"/>
              <a:gd name="connsiteX2949" fmla="*/ 3288083 w 3905665"/>
              <a:gd name="connsiteY2949" fmla="*/ 668492 h 3403632"/>
              <a:gd name="connsiteX2950" fmla="*/ 3334488 w 3905665"/>
              <a:gd name="connsiteY2950" fmla="*/ 622089 h 3403632"/>
              <a:gd name="connsiteX2951" fmla="*/ 163903 w 3905665"/>
              <a:gd name="connsiteY2951" fmla="*/ 605269 h 3403632"/>
              <a:gd name="connsiteX2952" fmla="*/ 208087 w 3905665"/>
              <a:gd name="connsiteY2952" fmla="*/ 649452 h 3403632"/>
              <a:gd name="connsiteX2953" fmla="*/ 163903 w 3905665"/>
              <a:gd name="connsiteY2953" fmla="*/ 693636 h 3403632"/>
              <a:gd name="connsiteX2954" fmla="*/ 119719 w 3905665"/>
              <a:gd name="connsiteY2954" fmla="*/ 649452 h 3403632"/>
              <a:gd name="connsiteX2955" fmla="*/ 163903 w 3905665"/>
              <a:gd name="connsiteY2955" fmla="*/ 605269 h 3403632"/>
              <a:gd name="connsiteX2956" fmla="*/ 702003 w 3905665"/>
              <a:gd name="connsiteY2956" fmla="*/ 602061 h 3403632"/>
              <a:gd name="connsiteX2957" fmla="*/ 742978 w 3905665"/>
              <a:gd name="connsiteY2957" fmla="*/ 643037 h 3403632"/>
              <a:gd name="connsiteX2958" fmla="*/ 702003 w 3905665"/>
              <a:gd name="connsiteY2958" fmla="*/ 684010 h 3403632"/>
              <a:gd name="connsiteX2959" fmla="*/ 661029 w 3905665"/>
              <a:gd name="connsiteY2959" fmla="*/ 643037 h 3403632"/>
              <a:gd name="connsiteX2960" fmla="*/ 702003 w 3905665"/>
              <a:gd name="connsiteY2960" fmla="*/ 602061 h 3403632"/>
              <a:gd name="connsiteX2961" fmla="*/ 2284209 w 3905665"/>
              <a:gd name="connsiteY2961" fmla="*/ 600103 h 3403632"/>
              <a:gd name="connsiteX2962" fmla="*/ 2304451 w 3905665"/>
              <a:gd name="connsiteY2962" fmla="*/ 620341 h 3403632"/>
              <a:gd name="connsiteX2963" fmla="*/ 2284209 w 3905665"/>
              <a:gd name="connsiteY2963" fmla="*/ 640582 h 3403632"/>
              <a:gd name="connsiteX2964" fmla="*/ 2263970 w 3905665"/>
              <a:gd name="connsiteY2964" fmla="*/ 620341 h 3403632"/>
              <a:gd name="connsiteX2965" fmla="*/ 2284209 w 3905665"/>
              <a:gd name="connsiteY2965" fmla="*/ 600103 h 3403632"/>
              <a:gd name="connsiteX2966" fmla="*/ 2525117 w 3905665"/>
              <a:gd name="connsiteY2966" fmla="*/ 599858 h 3403632"/>
              <a:gd name="connsiteX2967" fmla="*/ 2550539 w 3905665"/>
              <a:gd name="connsiteY2967" fmla="*/ 625282 h 3403632"/>
              <a:gd name="connsiteX2968" fmla="*/ 2525117 w 3905665"/>
              <a:gd name="connsiteY2968" fmla="*/ 650703 h 3403632"/>
              <a:gd name="connsiteX2969" fmla="*/ 2499692 w 3905665"/>
              <a:gd name="connsiteY2969" fmla="*/ 625282 h 3403632"/>
              <a:gd name="connsiteX2970" fmla="*/ 2525117 w 3905665"/>
              <a:gd name="connsiteY2970" fmla="*/ 599858 h 3403632"/>
              <a:gd name="connsiteX2971" fmla="*/ 3573421 w 3905665"/>
              <a:gd name="connsiteY2971" fmla="*/ 599141 h 3403632"/>
              <a:gd name="connsiteX2972" fmla="*/ 3623037 w 3905665"/>
              <a:gd name="connsiteY2972" fmla="*/ 648750 h 3403632"/>
              <a:gd name="connsiteX2973" fmla="*/ 3573421 w 3905665"/>
              <a:gd name="connsiteY2973" fmla="*/ 698366 h 3403632"/>
              <a:gd name="connsiteX2974" fmla="*/ 3523808 w 3905665"/>
              <a:gd name="connsiteY2974" fmla="*/ 648750 h 3403632"/>
              <a:gd name="connsiteX2975" fmla="*/ 3573421 w 3905665"/>
              <a:gd name="connsiteY2975" fmla="*/ 599141 h 3403632"/>
              <a:gd name="connsiteX2976" fmla="*/ 1356365 w 3905665"/>
              <a:gd name="connsiteY2976" fmla="*/ 598117 h 3403632"/>
              <a:gd name="connsiteX2977" fmla="*/ 1397095 w 3905665"/>
              <a:gd name="connsiteY2977" fmla="*/ 638843 h 3403632"/>
              <a:gd name="connsiteX2978" fmla="*/ 1356365 w 3905665"/>
              <a:gd name="connsiteY2978" fmla="*/ 679571 h 3403632"/>
              <a:gd name="connsiteX2979" fmla="*/ 1315637 w 3905665"/>
              <a:gd name="connsiteY2979" fmla="*/ 638843 h 3403632"/>
              <a:gd name="connsiteX2980" fmla="*/ 1356365 w 3905665"/>
              <a:gd name="connsiteY2980" fmla="*/ 598117 h 3403632"/>
              <a:gd name="connsiteX2981" fmla="*/ 1790802 w 3905665"/>
              <a:gd name="connsiteY2981" fmla="*/ 593431 h 3403632"/>
              <a:gd name="connsiteX2982" fmla="*/ 1799439 w 3905665"/>
              <a:gd name="connsiteY2982" fmla="*/ 602071 h 3403632"/>
              <a:gd name="connsiteX2983" fmla="*/ 1790802 w 3905665"/>
              <a:gd name="connsiteY2983" fmla="*/ 610708 h 3403632"/>
              <a:gd name="connsiteX2984" fmla="*/ 1782162 w 3905665"/>
              <a:gd name="connsiteY2984" fmla="*/ 602071 h 3403632"/>
              <a:gd name="connsiteX2985" fmla="*/ 1790802 w 3905665"/>
              <a:gd name="connsiteY2985" fmla="*/ 593431 h 3403632"/>
              <a:gd name="connsiteX2986" fmla="*/ 496634 w 3905665"/>
              <a:gd name="connsiteY2986" fmla="*/ 589718 h 3403632"/>
              <a:gd name="connsiteX2987" fmla="*/ 545260 w 3905665"/>
              <a:gd name="connsiteY2987" fmla="*/ 638097 h 3403632"/>
              <a:gd name="connsiteX2988" fmla="*/ 496634 w 3905665"/>
              <a:gd name="connsiteY2988" fmla="*/ 686476 h 3403632"/>
              <a:gd name="connsiteX2989" fmla="*/ 448255 w 3905665"/>
              <a:gd name="connsiteY2989" fmla="*/ 638097 h 3403632"/>
              <a:gd name="connsiteX2990" fmla="*/ 496634 w 3905665"/>
              <a:gd name="connsiteY2990" fmla="*/ 589718 h 3403632"/>
              <a:gd name="connsiteX2991" fmla="*/ 897250 w 3905665"/>
              <a:gd name="connsiteY2991" fmla="*/ 588733 h 3403632"/>
              <a:gd name="connsiteX2992" fmla="*/ 941926 w 3905665"/>
              <a:gd name="connsiteY2992" fmla="*/ 633409 h 3403632"/>
              <a:gd name="connsiteX2993" fmla="*/ 897250 w 3905665"/>
              <a:gd name="connsiteY2993" fmla="*/ 678085 h 3403632"/>
              <a:gd name="connsiteX2994" fmla="*/ 852573 w 3905665"/>
              <a:gd name="connsiteY2994" fmla="*/ 633409 h 3403632"/>
              <a:gd name="connsiteX2995" fmla="*/ 897250 w 3905665"/>
              <a:gd name="connsiteY2995" fmla="*/ 588733 h 3403632"/>
              <a:gd name="connsiteX2996" fmla="*/ 2039844 w 3905665"/>
              <a:gd name="connsiteY2996" fmla="*/ 586769 h 3403632"/>
              <a:gd name="connsiteX2997" fmla="*/ 2065514 w 3905665"/>
              <a:gd name="connsiteY2997" fmla="*/ 612439 h 3403632"/>
              <a:gd name="connsiteX2998" fmla="*/ 2039844 w 3905665"/>
              <a:gd name="connsiteY2998" fmla="*/ 638109 h 3403632"/>
              <a:gd name="connsiteX2999" fmla="*/ 2014173 w 3905665"/>
              <a:gd name="connsiteY2999" fmla="*/ 612439 h 3403632"/>
              <a:gd name="connsiteX3000" fmla="*/ 2039844 w 3905665"/>
              <a:gd name="connsiteY3000" fmla="*/ 586769 h 3403632"/>
              <a:gd name="connsiteX3001" fmla="*/ 1524709 w 3905665"/>
              <a:gd name="connsiteY3001" fmla="*/ 584046 h 3403632"/>
              <a:gd name="connsiteX3002" fmla="*/ 1543468 w 3905665"/>
              <a:gd name="connsiteY3002" fmla="*/ 602805 h 3403632"/>
              <a:gd name="connsiteX3003" fmla="*/ 1524709 w 3905665"/>
              <a:gd name="connsiteY3003" fmla="*/ 621565 h 3403632"/>
              <a:gd name="connsiteX3004" fmla="*/ 1505949 w 3905665"/>
              <a:gd name="connsiteY3004" fmla="*/ 602805 h 3403632"/>
              <a:gd name="connsiteX3005" fmla="*/ 1524709 w 3905665"/>
              <a:gd name="connsiteY3005" fmla="*/ 584046 h 3403632"/>
              <a:gd name="connsiteX3006" fmla="*/ 274486 w 3905665"/>
              <a:gd name="connsiteY3006" fmla="*/ 576882 h 3403632"/>
              <a:gd name="connsiteX3007" fmla="*/ 313730 w 3905665"/>
              <a:gd name="connsiteY3007" fmla="*/ 615883 h 3403632"/>
              <a:gd name="connsiteX3008" fmla="*/ 274486 w 3905665"/>
              <a:gd name="connsiteY3008" fmla="*/ 654881 h 3403632"/>
              <a:gd name="connsiteX3009" fmla="*/ 235484 w 3905665"/>
              <a:gd name="connsiteY3009" fmla="*/ 615883 h 3403632"/>
              <a:gd name="connsiteX3010" fmla="*/ 274486 w 3905665"/>
              <a:gd name="connsiteY3010" fmla="*/ 576882 h 3403632"/>
              <a:gd name="connsiteX3011" fmla="*/ 2771705 w 3905665"/>
              <a:gd name="connsiteY3011" fmla="*/ 574934 h 3403632"/>
              <a:gd name="connsiteX3012" fmla="*/ 2806262 w 3905665"/>
              <a:gd name="connsiteY3012" fmla="*/ 609489 h 3403632"/>
              <a:gd name="connsiteX3013" fmla="*/ 2771705 w 3905665"/>
              <a:gd name="connsiteY3013" fmla="*/ 644044 h 3403632"/>
              <a:gd name="connsiteX3014" fmla="*/ 2737148 w 3905665"/>
              <a:gd name="connsiteY3014" fmla="*/ 609489 h 3403632"/>
              <a:gd name="connsiteX3015" fmla="*/ 2771705 w 3905665"/>
              <a:gd name="connsiteY3015" fmla="*/ 574934 h 3403632"/>
              <a:gd name="connsiteX3016" fmla="*/ 1083115 w 3905665"/>
              <a:gd name="connsiteY3016" fmla="*/ 572198 h 3403632"/>
              <a:gd name="connsiteX3017" fmla="*/ 1123596 w 3905665"/>
              <a:gd name="connsiteY3017" fmla="*/ 612678 h 3403632"/>
              <a:gd name="connsiteX3018" fmla="*/ 1083115 w 3905665"/>
              <a:gd name="connsiteY3018" fmla="*/ 653159 h 3403632"/>
              <a:gd name="connsiteX3019" fmla="*/ 1042637 w 3905665"/>
              <a:gd name="connsiteY3019" fmla="*/ 612678 h 3403632"/>
              <a:gd name="connsiteX3020" fmla="*/ 1083115 w 3905665"/>
              <a:gd name="connsiteY3020" fmla="*/ 572198 h 3403632"/>
              <a:gd name="connsiteX3021" fmla="*/ 3239209 w 3905665"/>
              <a:gd name="connsiteY3021" fmla="*/ 568773 h 3403632"/>
              <a:gd name="connsiteX3022" fmla="*/ 3284134 w 3905665"/>
              <a:gd name="connsiteY3022" fmla="*/ 613694 h 3403632"/>
              <a:gd name="connsiteX3023" fmla="*/ 3239209 w 3905665"/>
              <a:gd name="connsiteY3023" fmla="*/ 658616 h 3403632"/>
              <a:gd name="connsiteX3024" fmla="*/ 3194286 w 3905665"/>
              <a:gd name="connsiteY3024" fmla="*/ 613694 h 3403632"/>
              <a:gd name="connsiteX3025" fmla="*/ 3239209 w 3905665"/>
              <a:gd name="connsiteY3025" fmla="*/ 568773 h 3403632"/>
              <a:gd name="connsiteX3026" fmla="*/ 3006444 w 3905665"/>
              <a:gd name="connsiteY3026" fmla="*/ 568027 h 3403632"/>
              <a:gd name="connsiteX3027" fmla="*/ 3050382 w 3905665"/>
              <a:gd name="connsiteY3027" fmla="*/ 611961 h 3403632"/>
              <a:gd name="connsiteX3028" fmla="*/ 3006444 w 3905665"/>
              <a:gd name="connsiteY3028" fmla="*/ 655896 h 3403632"/>
              <a:gd name="connsiteX3029" fmla="*/ 2962508 w 3905665"/>
              <a:gd name="connsiteY3029" fmla="*/ 611961 h 3403632"/>
              <a:gd name="connsiteX3030" fmla="*/ 3006444 w 3905665"/>
              <a:gd name="connsiteY3030" fmla="*/ 568027 h 3403632"/>
              <a:gd name="connsiteX3031" fmla="*/ 1260594 w 3905665"/>
              <a:gd name="connsiteY3031" fmla="*/ 546033 h 3403632"/>
              <a:gd name="connsiteX3032" fmla="*/ 1297864 w 3905665"/>
              <a:gd name="connsiteY3032" fmla="*/ 583306 h 3403632"/>
              <a:gd name="connsiteX3033" fmla="*/ 1260594 w 3905665"/>
              <a:gd name="connsiteY3033" fmla="*/ 620575 h 3403632"/>
              <a:gd name="connsiteX3034" fmla="*/ 1223321 w 3905665"/>
              <a:gd name="connsiteY3034" fmla="*/ 583306 h 3403632"/>
              <a:gd name="connsiteX3035" fmla="*/ 1260594 w 3905665"/>
              <a:gd name="connsiteY3035" fmla="*/ 546033 h 3403632"/>
              <a:gd name="connsiteX3036" fmla="*/ 2189919 w 3905665"/>
              <a:gd name="connsiteY3036" fmla="*/ 544810 h 3403632"/>
              <a:gd name="connsiteX3037" fmla="*/ 2211392 w 3905665"/>
              <a:gd name="connsiteY3037" fmla="*/ 566286 h 3403632"/>
              <a:gd name="connsiteX3038" fmla="*/ 2189919 w 3905665"/>
              <a:gd name="connsiteY3038" fmla="*/ 587761 h 3403632"/>
              <a:gd name="connsiteX3039" fmla="*/ 2168444 w 3905665"/>
              <a:gd name="connsiteY3039" fmla="*/ 566286 h 3403632"/>
              <a:gd name="connsiteX3040" fmla="*/ 2189919 w 3905665"/>
              <a:gd name="connsiteY3040" fmla="*/ 544810 h 3403632"/>
              <a:gd name="connsiteX3041" fmla="*/ 3477898 w 3905665"/>
              <a:gd name="connsiteY3041" fmla="*/ 543352 h 3403632"/>
              <a:gd name="connsiteX3042" fmla="*/ 3528004 w 3905665"/>
              <a:gd name="connsiteY3042" fmla="*/ 593461 h 3403632"/>
              <a:gd name="connsiteX3043" fmla="*/ 3477898 w 3905665"/>
              <a:gd name="connsiteY3043" fmla="*/ 643563 h 3403632"/>
              <a:gd name="connsiteX3044" fmla="*/ 3427790 w 3905665"/>
              <a:gd name="connsiteY3044" fmla="*/ 593461 h 3403632"/>
              <a:gd name="connsiteX3045" fmla="*/ 3477898 w 3905665"/>
              <a:gd name="connsiteY3045" fmla="*/ 543352 h 3403632"/>
              <a:gd name="connsiteX3046" fmla="*/ 3707207 w 3905665"/>
              <a:gd name="connsiteY3046" fmla="*/ 542124 h 3403632"/>
              <a:gd name="connsiteX3047" fmla="*/ 3758795 w 3905665"/>
              <a:gd name="connsiteY3047" fmla="*/ 593713 h 3403632"/>
              <a:gd name="connsiteX3048" fmla="*/ 3707207 w 3905665"/>
              <a:gd name="connsiteY3048" fmla="*/ 645545 h 3403632"/>
              <a:gd name="connsiteX3049" fmla="*/ 3655619 w 3905665"/>
              <a:gd name="connsiteY3049" fmla="*/ 593713 h 3403632"/>
              <a:gd name="connsiteX3050" fmla="*/ 3707207 w 3905665"/>
              <a:gd name="connsiteY3050" fmla="*/ 542124 h 3403632"/>
              <a:gd name="connsiteX3051" fmla="*/ 2431076 w 3905665"/>
              <a:gd name="connsiteY3051" fmla="*/ 541357 h 3403632"/>
              <a:gd name="connsiteX3052" fmla="*/ 2460696 w 3905665"/>
              <a:gd name="connsiteY3052" fmla="*/ 570732 h 3403632"/>
              <a:gd name="connsiteX3053" fmla="*/ 2431076 w 3905665"/>
              <a:gd name="connsiteY3053" fmla="*/ 600352 h 3403632"/>
              <a:gd name="connsiteX3054" fmla="*/ 2401456 w 3905665"/>
              <a:gd name="connsiteY3054" fmla="*/ 570732 h 3403632"/>
              <a:gd name="connsiteX3055" fmla="*/ 2431076 w 3905665"/>
              <a:gd name="connsiteY3055" fmla="*/ 541357 h 3403632"/>
              <a:gd name="connsiteX3056" fmla="*/ 50360 w 3905665"/>
              <a:gd name="connsiteY3056" fmla="*/ 540598 h 3403632"/>
              <a:gd name="connsiteX3057" fmla="*/ 73068 w 3905665"/>
              <a:gd name="connsiteY3057" fmla="*/ 563307 h 3403632"/>
              <a:gd name="connsiteX3058" fmla="*/ 50360 w 3905665"/>
              <a:gd name="connsiteY3058" fmla="*/ 586016 h 3403632"/>
              <a:gd name="connsiteX3059" fmla="*/ 27651 w 3905665"/>
              <a:gd name="connsiteY3059" fmla="*/ 563307 h 3403632"/>
              <a:gd name="connsiteX3060" fmla="*/ 50360 w 3905665"/>
              <a:gd name="connsiteY3060" fmla="*/ 540598 h 3403632"/>
              <a:gd name="connsiteX3061" fmla="*/ 1946056 w 3905665"/>
              <a:gd name="connsiteY3061" fmla="*/ 538387 h 3403632"/>
              <a:gd name="connsiteX3062" fmla="*/ 1965551 w 3905665"/>
              <a:gd name="connsiteY3062" fmla="*/ 557889 h 3403632"/>
              <a:gd name="connsiteX3063" fmla="*/ 1946056 w 3905665"/>
              <a:gd name="connsiteY3063" fmla="*/ 577387 h 3403632"/>
              <a:gd name="connsiteX3064" fmla="*/ 1926558 w 3905665"/>
              <a:gd name="connsiteY3064" fmla="*/ 557889 h 3403632"/>
              <a:gd name="connsiteX3065" fmla="*/ 1946056 w 3905665"/>
              <a:gd name="connsiteY3065" fmla="*/ 538387 h 3403632"/>
              <a:gd name="connsiteX3066" fmla="*/ 381856 w 3905665"/>
              <a:gd name="connsiteY3066" fmla="*/ 538130 h 3403632"/>
              <a:gd name="connsiteX3067" fmla="*/ 416413 w 3905665"/>
              <a:gd name="connsiteY3067" fmla="*/ 572933 h 3403632"/>
              <a:gd name="connsiteX3068" fmla="*/ 381856 w 3905665"/>
              <a:gd name="connsiteY3068" fmla="*/ 607490 h 3403632"/>
              <a:gd name="connsiteX3069" fmla="*/ 347053 w 3905665"/>
              <a:gd name="connsiteY3069" fmla="*/ 572933 h 3403632"/>
              <a:gd name="connsiteX3070" fmla="*/ 381856 w 3905665"/>
              <a:gd name="connsiteY3070" fmla="*/ 538130 h 3403632"/>
              <a:gd name="connsiteX3071" fmla="*/ 598331 w 3905665"/>
              <a:gd name="connsiteY3071" fmla="*/ 531218 h 3403632"/>
              <a:gd name="connsiteX3072" fmla="*/ 647698 w 3905665"/>
              <a:gd name="connsiteY3072" fmla="*/ 580586 h 3403632"/>
              <a:gd name="connsiteX3073" fmla="*/ 598331 w 3905665"/>
              <a:gd name="connsiteY3073" fmla="*/ 629952 h 3403632"/>
              <a:gd name="connsiteX3074" fmla="*/ 548965 w 3905665"/>
              <a:gd name="connsiteY3074" fmla="*/ 580586 h 3403632"/>
              <a:gd name="connsiteX3075" fmla="*/ 598331 w 3905665"/>
              <a:gd name="connsiteY3075" fmla="*/ 531218 h 3403632"/>
              <a:gd name="connsiteX3076" fmla="*/ 1696508 w 3905665"/>
              <a:gd name="connsiteY3076" fmla="*/ 528510 h 3403632"/>
              <a:gd name="connsiteX3077" fmla="*/ 1716010 w 3905665"/>
              <a:gd name="connsiteY3077" fmla="*/ 548011 h 3403632"/>
              <a:gd name="connsiteX3078" fmla="*/ 1696508 w 3905665"/>
              <a:gd name="connsiteY3078" fmla="*/ 567512 h 3403632"/>
              <a:gd name="connsiteX3079" fmla="*/ 1677008 w 3905665"/>
              <a:gd name="connsiteY3079" fmla="*/ 548011 h 3403632"/>
              <a:gd name="connsiteX3080" fmla="*/ 1696508 w 3905665"/>
              <a:gd name="connsiteY3080" fmla="*/ 528510 h 3403632"/>
              <a:gd name="connsiteX3081" fmla="*/ 796541 w 3905665"/>
              <a:gd name="connsiteY3081" fmla="*/ 527762 h 3403632"/>
              <a:gd name="connsiteX3082" fmla="*/ 843687 w 3905665"/>
              <a:gd name="connsiteY3082" fmla="*/ 574909 h 3403632"/>
              <a:gd name="connsiteX3083" fmla="*/ 796541 w 3905665"/>
              <a:gd name="connsiteY3083" fmla="*/ 622055 h 3403632"/>
              <a:gd name="connsiteX3084" fmla="*/ 749394 w 3905665"/>
              <a:gd name="connsiteY3084" fmla="*/ 574909 h 3403632"/>
              <a:gd name="connsiteX3085" fmla="*/ 796541 w 3905665"/>
              <a:gd name="connsiteY3085" fmla="*/ 527762 h 3403632"/>
              <a:gd name="connsiteX3086" fmla="*/ 2677167 w 3905665"/>
              <a:gd name="connsiteY3086" fmla="*/ 524575 h 3403632"/>
              <a:gd name="connsiteX3087" fmla="*/ 2707280 w 3905665"/>
              <a:gd name="connsiteY3087" fmla="*/ 554692 h 3403632"/>
              <a:gd name="connsiteX3088" fmla="*/ 2677167 w 3905665"/>
              <a:gd name="connsiteY3088" fmla="*/ 584805 h 3403632"/>
              <a:gd name="connsiteX3089" fmla="*/ 2647052 w 3905665"/>
              <a:gd name="connsiteY3089" fmla="*/ 554692 h 3403632"/>
              <a:gd name="connsiteX3090" fmla="*/ 2677167 w 3905665"/>
              <a:gd name="connsiteY3090" fmla="*/ 524575 h 3403632"/>
              <a:gd name="connsiteX3091" fmla="*/ 163160 w 3905665"/>
              <a:gd name="connsiteY3091" fmla="*/ 523810 h 3403632"/>
              <a:gd name="connsiteX3092" fmla="*/ 176490 w 3905665"/>
              <a:gd name="connsiteY3092" fmla="*/ 537141 h 3403632"/>
              <a:gd name="connsiteX3093" fmla="*/ 163160 w 3905665"/>
              <a:gd name="connsiteY3093" fmla="*/ 550469 h 3403632"/>
              <a:gd name="connsiteX3094" fmla="*/ 149832 w 3905665"/>
              <a:gd name="connsiteY3094" fmla="*/ 537141 h 3403632"/>
              <a:gd name="connsiteX3095" fmla="*/ 163160 w 3905665"/>
              <a:gd name="connsiteY3095" fmla="*/ 523810 h 3403632"/>
              <a:gd name="connsiteX3096" fmla="*/ 2911415 w 3905665"/>
              <a:gd name="connsiteY3096" fmla="*/ 520624 h 3403632"/>
              <a:gd name="connsiteX3097" fmla="*/ 2948685 w 3905665"/>
              <a:gd name="connsiteY3097" fmla="*/ 557905 h 3403632"/>
              <a:gd name="connsiteX3098" fmla="*/ 2911415 w 3905665"/>
              <a:gd name="connsiteY3098" fmla="*/ 595175 h 3403632"/>
              <a:gd name="connsiteX3099" fmla="*/ 2874142 w 3905665"/>
              <a:gd name="connsiteY3099" fmla="*/ 557905 h 3403632"/>
              <a:gd name="connsiteX3100" fmla="*/ 2911415 w 3905665"/>
              <a:gd name="connsiteY3100" fmla="*/ 520624 h 3403632"/>
              <a:gd name="connsiteX3101" fmla="*/ 3143932 w 3905665"/>
              <a:gd name="connsiteY3101" fmla="*/ 515199 h 3403632"/>
              <a:gd name="connsiteX3102" fmla="*/ 3187621 w 3905665"/>
              <a:gd name="connsiteY3102" fmla="*/ 558897 h 3403632"/>
              <a:gd name="connsiteX3103" fmla="*/ 3143932 w 3905665"/>
              <a:gd name="connsiteY3103" fmla="*/ 602585 h 3403632"/>
              <a:gd name="connsiteX3104" fmla="*/ 3100243 w 3905665"/>
              <a:gd name="connsiteY3104" fmla="*/ 558897 h 3403632"/>
              <a:gd name="connsiteX3105" fmla="*/ 3143932 w 3905665"/>
              <a:gd name="connsiteY3105" fmla="*/ 515199 h 3403632"/>
              <a:gd name="connsiteX3106" fmla="*/ 984880 w 3905665"/>
              <a:gd name="connsiteY3106" fmla="*/ 510485 h 3403632"/>
              <a:gd name="connsiteX3107" fmla="*/ 1031037 w 3905665"/>
              <a:gd name="connsiteY3107" fmla="*/ 556399 h 3403632"/>
              <a:gd name="connsiteX3108" fmla="*/ 984880 w 3905665"/>
              <a:gd name="connsiteY3108" fmla="*/ 602556 h 3403632"/>
              <a:gd name="connsiteX3109" fmla="*/ 938968 w 3905665"/>
              <a:gd name="connsiteY3109" fmla="*/ 556399 h 3403632"/>
              <a:gd name="connsiteX3110" fmla="*/ 984880 w 3905665"/>
              <a:gd name="connsiteY3110" fmla="*/ 510485 h 3403632"/>
              <a:gd name="connsiteX3111" fmla="*/ 1429675 w 3905665"/>
              <a:gd name="connsiteY3111" fmla="*/ 509008 h 3403632"/>
              <a:gd name="connsiteX3112" fmla="*/ 1469417 w 3905665"/>
              <a:gd name="connsiteY3112" fmla="*/ 548750 h 3403632"/>
              <a:gd name="connsiteX3113" fmla="*/ 1429675 w 3905665"/>
              <a:gd name="connsiteY3113" fmla="*/ 588492 h 3403632"/>
              <a:gd name="connsiteX3114" fmla="*/ 1389935 w 3905665"/>
              <a:gd name="connsiteY3114" fmla="*/ 548750 h 3403632"/>
              <a:gd name="connsiteX3115" fmla="*/ 1429675 w 3905665"/>
              <a:gd name="connsiteY3115" fmla="*/ 509008 h 3403632"/>
              <a:gd name="connsiteX3116" fmla="*/ 3374722 w 3905665"/>
              <a:gd name="connsiteY3116" fmla="*/ 508537 h 3403632"/>
              <a:gd name="connsiteX3117" fmla="*/ 3425815 w 3905665"/>
              <a:gd name="connsiteY3117" fmla="*/ 559643 h 3403632"/>
              <a:gd name="connsiteX3118" fmla="*/ 3374722 w 3905665"/>
              <a:gd name="connsiteY3118" fmla="*/ 610734 h 3403632"/>
              <a:gd name="connsiteX3119" fmla="*/ 3323627 w 3905665"/>
              <a:gd name="connsiteY3119" fmla="*/ 559643 h 3403632"/>
              <a:gd name="connsiteX3120" fmla="*/ 3374722 w 3905665"/>
              <a:gd name="connsiteY3120" fmla="*/ 508537 h 3403632"/>
              <a:gd name="connsiteX3121" fmla="*/ 2336538 w 3905665"/>
              <a:gd name="connsiteY3121" fmla="*/ 493219 h 3403632"/>
              <a:gd name="connsiteX3122" fmla="*/ 2359985 w 3905665"/>
              <a:gd name="connsiteY3122" fmla="*/ 516669 h 3403632"/>
              <a:gd name="connsiteX3123" fmla="*/ 2336538 w 3905665"/>
              <a:gd name="connsiteY3123" fmla="*/ 540121 h 3403632"/>
              <a:gd name="connsiteX3124" fmla="*/ 2313088 w 3905665"/>
              <a:gd name="connsiteY3124" fmla="*/ 516669 h 3403632"/>
              <a:gd name="connsiteX3125" fmla="*/ 2336538 w 3905665"/>
              <a:gd name="connsiteY3125" fmla="*/ 493219 h 3403632"/>
              <a:gd name="connsiteX3126" fmla="*/ 273003 w 3905665"/>
              <a:gd name="connsiteY3126" fmla="*/ 490736 h 3403632"/>
              <a:gd name="connsiteX3127" fmla="*/ 282627 w 3905665"/>
              <a:gd name="connsiteY3127" fmla="*/ 500363 h 3403632"/>
              <a:gd name="connsiteX3128" fmla="*/ 273003 w 3905665"/>
              <a:gd name="connsiteY3128" fmla="*/ 510236 h 3403632"/>
              <a:gd name="connsiteX3129" fmla="*/ 263376 w 3905665"/>
              <a:gd name="connsiteY3129" fmla="*/ 500363 h 3403632"/>
              <a:gd name="connsiteX3130" fmla="*/ 273003 w 3905665"/>
              <a:gd name="connsiteY3130" fmla="*/ 490736 h 3403632"/>
              <a:gd name="connsiteX3131" fmla="*/ 485281 w 3905665"/>
              <a:gd name="connsiteY3131" fmla="*/ 489008 h 3403632"/>
              <a:gd name="connsiteX3132" fmla="*/ 517368 w 3905665"/>
              <a:gd name="connsiteY3132" fmla="*/ 521095 h 3403632"/>
              <a:gd name="connsiteX3133" fmla="*/ 485281 w 3905665"/>
              <a:gd name="connsiteY3133" fmla="*/ 553185 h 3403632"/>
              <a:gd name="connsiteX3134" fmla="*/ 453191 w 3905665"/>
              <a:gd name="connsiteY3134" fmla="*/ 521095 h 3403632"/>
              <a:gd name="connsiteX3135" fmla="*/ 485281 w 3905665"/>
              <a:gd name="connsiteY3135" fmla="*/ 489008 h 3403632"/>
              <a:gd name="connsiteX3136" fmla="*/ 1592341 w 3905665"/>
              <a:gd name="connsiteY3136" fmla="*/ 487039 h 3403632"/>
              <a:gd name="connsiteX3137" fmla="*/ 1614063 w 3905665"/>
              <a:gd name="connsiteY3137" fmla="*/ 508760 h 3403632"/>
              <a:gd name="connsiteX3138" fmla="*/ 1592341 w 3905665"/>
              <a:gd name="connsiteY3138" fmla="*/ 530483 h 3403632"/>
              <a:gd name="connsiteX3139" fmla="*/ 1570620 w 3905665"/>
              <a:gd name="connsiteY3139" fmla="*/ 508760 h 3403632"/>
              <a:gd name="connsiteX3140" fmla="*/ 1592341 w 3905665"/>
              <a:gd name="connsiteY3140" fmla="*/ 487039 h 3403632"/>
              <a:gd name="connsiteX3141" fmla="*/ 3610943 w 3905665"/>
              <a:gd name="connsiteY3141" fmla="*/ 486575 h 3403632"/>
              <a:gd name="connsiteX3142" fmla="*/ 3663026 w 3905665"/>
              <a:gd name="connsiteY3142" fmla="*/ 538667 h 3403632"/>
              <a:gd name="connsiteX3143" fmla="*/ 3610943 w 3905665"/>
              <a:gd name="connsiteY3143" fmla="*/ 590752 h 3403632"/>
              <a:gd name="connsiteX3144" fmla="*/ 3558860 w 3905665"/>
              <a:gd name="connsiteY3144" fmla="*/ 538667 h 3403632"/>
              <a:gd name="connsiteX3145" fmla="*/ 3610943 w 3905665"/>
              <a:gd name="connsiteY3145" fmla="*/ 486575 h 3403632"/>
              <a:gd name="connsiteX3146" fmla="*/ 1852511 w 3905665"/>
              <a:gd name="connsiteY3146" fmla="*/ 485313 h 3403632"/>
              <a:gd name="connsiteX3147" fmla="*/ 1870280 w 3905665"/>
              <a:gd name="connsiteY3147" fmla="*/ 503085 h 3403632"/>
              <a:gd name="connsiteX3148" fmla="*/ 1852511 w 3905665"/>
              <a:gd name="connsiteY3148" fmla="*/ 520857 h 3403632"/>
              <a:gd name="connsiteX3149" fmla="*/ 1834734 w 3905665"/>
              <a:gd name="connsiteY3149" fmla="*/ 503085 h 3403632"/>
              <a:gd name="connsiteX3150" fmla="*/ 1852511 w 3905665"/>
              <a:gd name="connsiteY3150" fmla="*/ 485313 h 3403632"/>
              <a:gd name="connsiteX3151" fmla="*/ 2573992 w 3905665"/>
              <a:gd name="connsiteY3151" fmla="*/ 485074 h 3403632"/>
              <a:gd name="connsiteX3152" fmla="*/ 2608795 w 3905665"/>
              <a:gd name="connsiteY3152" fmla="*/ 519877 h 3403632"/>
              <a:gd name="connsiteX3153" fmla="*/ 2573992 w 3905665"/>
              <a:gd name="connsiteY3153" fmla="*/ 554935 h 3403632"/>
              <a:gd name="connsiteX3154" fmla="*/ 2538940 w 3905665"/>
              <a:gd name="connsiteY3154" fmla="*/ 519877 h 3403632"/>
              <a:gd name="connsiteX3155" fmla="*/ 2573992 w 3905665"/>
              <a:gd name="connsiteY3155" fmla="*/ 485074 h 3403632"/>
              <a:gd name="connsiteX3156" fmla="*/ 1163834 w 3905665"/>
              <a:gd name="connsiteY3156" fmla="*/ 482841 h 3403632"/>
              <a:gd name="connsiteX3157" fmla="*/ 1209990 w 3905665"/>
              <a:gd name="connsiteY3157" fmla="*/ 529001 h 3403632"/>
              <a:gd name="connsiteX3158" fmla="*/ 1163834 w 3905665"/>
              <a:gd name="connsiteY3158" fmla="*/ 575158 h 3403632"/>
              <a:gd name="connsiteX3159" fmla="*/ 1117675 w 3905665"/>
              <a:gd name="connsiteY3159" fmla="*/ 529001 h 3403632"/>
              <a:gd name="connsiteX3160" fmla="*/ 1163834 w 3905665"/>
              <a:gd name="connsiteY3160" fmla="*/ 482841 h 3403632"/>
              <a:gd name="connsiteX3161" fmla="*/ 2096615 w 3905665"/>
              <a:gd name="connsiteY3161" fmla="*/ 480874 h 3403632"/>
              <a:gd name="connsiteX3162" fmla="*/ 2126236 w 3905665"/>
              <a:gd name="connsiteY3162" fmla="*/ 510493 h 3403632"/>
              <a:gd name="connsiteX3163" fmla="*/ 2096615 w 3905665"/>
              <a:gd name="connsiteY3163" fmla="*/ 540363 h 3403632"/>
              <a:gd name="connsiteX3164" fmla="*/ 2066995 w 3905665"/>
              <a:gd name="connsiteY3164" fmla="*/ 510493 h 3403632"/>
              <a:gd name="connsiteX3165" fmla="*/ 2096615 w 3905665"/>
              <a:gd name="connsiteY3165" fmla="*/ 480874 h 3403632"/>
              <a:gd name="connsiteX3166" fmla="*/ 695337 w 3905665"/>
              <a:gd name="connsiteY3166" fmla="*/ 465559 h 3403632"/>
              <a:gd name="connsiteX3167" fmla="*/ 744952 w 3905665"/>
              <a:gd name="connsiteY3167" fmla="*/ 515172 h 3403632"/>
              <a:gd name="connsiteX3168" fmla="*/ 695337 w 3905665"/>
              <a:gd name="connsiteY3168" fmla="*/ 564788 h 3403632"/>
              <a:gd name="connsiteX3169" fmla="*/ 645723 w 3905665"/>
              <a:gd name="connsiteY3169" fmla="*/ 515172 h 3403632"/>
              <a:gd name="connsiteX3170" fmla="*/ 695337 w 3905665"/>
              <a:gd name="connsiteY3170" fmla="*/ 465559 h 3403632"/>
              <a:gd name="connsiteX3171" fmla="*/ 2816628 w 3905665"/>
              <a:gd name="connsiteY3171" fmla="*/ 458915 h 3403632"/>
              <a:gd name="connsiteX3172" fmla="*/ 2860317 w 3905665"/>
              <a:gd name="connsiteY3172" fmla="*/ 502358 h 3403632"/>
              <a:gd name="connsiteX3173" fmla="*/ 2816628 w 3905665"/>
              <a:gd name="connsiteY3173" fmla="*/ 545807 h 3403632"/>
              <a:gd name="connsiteX3174" fmla="*/ 2773185 w 3905665"/>
              <a:gd name="connsiteY3174" fmla="*/ 502358 h 3403632"/>
              <a:gd name="connsiteX3175" fmla="*/ 2816628 w 3905665"/>
              <a:gd name="connsiteY3175" fmla="*/ 458915 h 3403632"/>
              <a:gd name="connsiteX3176" fmla="*/ 3048652 w 3905665"/>
              <a:gd name="connsiteY3176" fmla="*/ 453983 h 3403632"/>
              <a:gd name="connsiteX3177" fmla="*/ 3098265 w 3905665"/>
              <a:gd name="connsiteY3177" fmla="*/ 503595 h 3403632"/>
              <a:gd name="connsiteX3178" fmla="*/ 3048652 w 3905665"/>
              <a:gd name="connsiteY3178" fmla="*/ 553219 h 3403632"/>
              <a:gd name="connsiteX3179" fmla="*/ 2999039 w 3905665"/>
              <a:gd name="connsiteY3179" fmla="*/ 503595 h 3403632"/>
              <a:gd name="connsiteX3180" fmla="*/ 3048652 w 3905665"/>
              <a:gd name="connsiteY3180" fmla="*/ 453983 h 3403632"/>
              <a:gd name="connsiteX3181" fmla="*/ 3278949 w 3905665"/>
              <a:gd name="connsiteY3181" fmla="*/ 452999 h 3403632"/>
              <a:gd name="connsiteX3182" fmla="*/ 3330537 w 3905665"/>
              <a:gd name="connsiteY3182" fmla="*/ 504586 h 3403632"/>
              <a:gd name="connsiteX3183" fmla="*/ 3278949 w 3905665"/>
              <a:gd name="connsiteY3183" fmla="*/ 556184 h 3403632"/>
              <a:gd name="connsiteX3184" fmla="*/ 3227361 w 3905665"/>
              <a:gd name="connsiteY3184" fmla="*/ 504586 h 3403632"/>
              <a:gd name="connsiteX3185" fmla="*/ 3278949 w 3905665"/>
              <a:gd name="connsiteY3185" fmla="*/ 452999 h 3403632"/>
              <a:gd name="connsiteX3186" fmla="*/ 1334642 w 3905665"/>
              <a:gd name="connsiteY3186" fmla="*/ 451493 h 3403632"/>
              <a:gd name="connsiteX3187" fmla="*/ 1377098 w 3905665"/>
              <a:gd name="connsiteY3187" fmla="*/ 493948 h 3403632"/>
              <a:gd name="connsiteX3188" fmla="*/ 1334642 w 3905665"/>
              <a:gd name="connsiteY3188" fmla="*/ 536406 h 3403632"/>
              <a:gd name="connsiteX3189" fmla="*/ 1292186 w 3905665"/>
              <a:gd name="connsiteY3189" fmla="*/ 493948 h 3403632"/>
              <a:gd name="connsiteX3190" fmla="*/ 1334642 w 3905665"/>
              <a:gd name="connsiteY3190" fmla="*/ 451493 h 3403632"/>
              <a:gd name="connsiteX3191" fmla="*/ 885897 w 3905665"/>
              <a:gd name="connsiteY3191" fmla="*/ 450504 h 3403632"/>
              <a:gd name="connsiteX3192" fmla="*/ 935264 w 3905665"/>
              <a:gd name="connsiteY3192" fmla="*/ 499871 h 3403632"/>
              <a:gd name="connsiteX3193" fmla="*/ 885897 w 3905665"/>
              <a:gd name="connsiteY3193" fmla="*/ 549239 h 3403632"/>
              <a:gd name="connsiteX3194" fmla="*/ 836530 w 3905665"/>
              <a:gd name="connsiteY3194" fmla="*/ 499871 h 3403632"/>
              <a:gd name="connsiteX3195" fmla="*/ 885897 w 3905665"/>
              <a:gd name="connsiteY3195" fmla="*/ 450504 h 3403632"/>
              <a:gd name="connsiteX3196" fmla="*/ 49864 w 3905665"/>
              <a:gd name="connsiteY3196" fmla="*/ 439394 h 3403632"/>
              <a:gd name="connsiteX3197" fmla="*/ 63441 w 3905665"/>
              <a:gd name="connsiteY3197" fmla="*/ 452971 h 3403632"/>
              <a:gd name="connsiteX3198" fmla="*/ 49864 w 3905665"/>
              <a:gd name="connsiteY3198" fmla="*/ 466548 h 3403632"/>
              <a:gd name="connsiteX3199" fmla="*/ 36287 w 3905665"/>
              <a:gd name="connsiteY3199" fmla="*/ 452971 h 3403632"/>
              <a:gd name="connsiteX3200" fmla="*/ 49864 w 3905665"/>
              <a:gd name="connsiteY3200" fmla="*/ 439394 h 3403632"/>
              <a:gd name="connsiteX3201" fmla="*/ 378894 w 3905665"/>
              <a:gd name="connsiteY3201" fmla="*/ 438654 h 3403632"/>
              <a:gd name="connsiteX3202" fmla="*/ 394445 w 3905665"/>
              <a:gd name="connsiteY3202" fmla="*/ 454205 h 3403632"/>
              <a:gd name="connsiteX3203" fmla="*/ 378894 w 3905665"/>
              <a:gd name="connsiteY3203" fmla="*/ 469754 h 3403632"/>
              <a:gd name="connsiteX3204" fmla="*/ 363343 w 3905665"/>
              <a:gd name="connsiteY3204" fmla="*/ 454205 h 3403632"/>
              <a:gd name="connsiteX3205" fmla="*/ 378894 w 3905665"/>
              <a:gd name="connsiteY3205" fmla="*/ 438654 h 3403632"/>
              <a:gd name="connsiteX3206" fmla="*/ 2242249 w 3905665"/>
              <a:gd name="connsiteY3206" fmla="*/ 436940 h 3403632"/>
              <a:gd name="connsiteX3207" fmla="*/ 2267671 w 3905665"/>
              <a:gd name="connsiteY3207" fmla="*/ 462365 h 3403632"/>
              <a:gd name="connsiteX3208" fmla="*/ 2242249 w 3905665"/>
              <a:gd name="connsiteY3208" fmla="*/ 487787 h 3403632"/>
              <a:gd name="connsiteX3209" fmla="*/ 2216824 w 3905665"/>
              <a:gd name="connsiteY3209" fmla="*/ 462365 h 3403632"/>
              <a:gd name="connsiteX3210" fmla="*/ 2242249 w 3905665"/>
              <a:gd name="connsiteY3210" fmla="*/ 436940 h 3403632"/>
              <a:gd name="connsiteX3211" fmla="*/ 2002571 w 3905665"/>
              <a:gd name="connsiteY3211" fmla="*/ 434713 h 3403632"/>
              <a:gd name="connsiteX3212" fmla="*/ 2024047 w 3905665"/>
              <a:gd name="connsiteY3212" fmla="*/ 456189 h 3403632"/>
              <a:gd name="connsiteX3213" fmla="*/ 2002571 w 3905665"/>
              <a:gd name="connsiteY3213" fmla="*/ 477664 h 3403632"/>
              <a:gd name="connsiteX3214" fmla="*/ 1981096 w 3905665"/>
              <a:gd name="connsiteY3214" fmla="*/ 456189 h 3403632"/>
              <a:gd name="connsiteX3215" fmla="*/ 2002571 w 3905665"/>
              <a:gd name="connsiteY3215" fmla="*/ 434713 h 3403632"/>
              <a:gd name="connsiteX3216" fmla="*/ 3514925 w 3905665"/>
              <a:gd name="connsiteY3216" fmla="*/ 430541 h 3403632"/>
              <a:gd name="connsiteX3217" fmla="*/ 3567254 w 3905665"/>
              <a:gd name="connsiteY3217" fmla="*/ 482870 h 3403632"/>
              <a:gd name="connsiteX3218" fmla="*/ 3514925 w 3905665"/>
              <a:gd name="connsiteY3218" fmla="*/ 535207 h 3403632"/>
              <a:gd name="connsiteX3219" fmla="*/ 3462596 w 3905665"/>
              <a:gd name="connsiteY3219" fmla="*/ 482870 h 3403632"/>
              <a:gd name="connsiteX3220" fmla="*/ 3514925 w 3905665"/>
              <a:gd name="connsiteY3220" fmla="*/ 430541 h 3403632"/>
              <a:gd name="connsiteX3221" fmla="*/ 3742013 w 3905665"/>
              <a:gd name="connsiteY3221" fmla="*/ 430052 h 3403632"/>
              <a:gd name="connsiteX3222" fmla="*/ 3794835 w 3905665"/>
              <a:gd name="connsiteY3222" fmla="*/ 482873 h 3403632"/>
              <a:gd name="connsiteX3223" fmla="*/ 3742013 w 3905665"/>
              <a:gd name="connsiteY3223" fmla="*/ 535707 h 3403632"/>
              <a:gd name="connsiteX3224" fmla="*/ 3689189 w 3905665"/>
              <a:gd name="connsiteY3224" fmla="*/ 482873 h 3403632"/>
              <a:gd name="connsiteX3225" fmla="*/ 3742013 w 3905665"/>
              <a:gd name="connsiteY3225" fmla="*/ 430052 h 3403632"/>
              <a:gd name="connsiteX3226" fmla="*/ 583769 w 3905665"/>
              <a:gd name="connsiteY3226" fmla="*/ 430016 h 3403632"/>
              <a:gd name="connsiteX3227" fmla="*/ 614626 w 3905665"/>
              <a:gd name="connsiteY3227" fmla="*/ 460870 h 3403632"/>
              <a:gd name="connsiteX3228" fmla="*/ 583769 w 3905665"/>
              <a:gd name="connsiteY3228" fmla="*/ 491726 h 3403632"/>
              <a:gd name="connsiteX3229" fmla="*/ 552916 w 3905665"/>
              <a:gd name="connsiteY3229" fmla="*/ 460870 h 3403632"/>
              <a:gd name="connsiteX3230" fmla="*/ 583769 w 3905665"/>
              <a:gd name="connsiteY3230" fmla="*/ 430016 h 3403632"/>
              <a:gd name="connsiteX3231" fmla="*/ 2479454 w 3905665"/>
              <a:gd name="connsiteY3231" fmla="*/ 428303 h 3403632"/>
              <a:gd name="connsiteX3232" fmla="*/ 2516232 w 3905665"/>
              <a:gd name="connsiteY3232" fmla="*/ 465329 h 3403632"/>
              <a:gd name="connsiteX3233" fmla="*/ 2479454 w 3905665"/>
              <a:gd name="connsiteY3233" fmla="*/ 502353 h 3403632"/>
              <a:gd name="connsiteX3234" fmla="*/ 2442427 w 3905665"/>
              <a:gd name="connsiteY3234" fmla="*/ 465329 h 3403632"/>
              <a:gd name="connsiteX3235" fmla="*/ 2479454 w 3905665"/>
              <a:gd name="connsiteY3235" fmla="*/ 428303 h 3403632"/>
              <a:gd name="connsiteX3236" fmla="*/ 1066825 w 3905665"/>
              <a:gd name="connsiteY3236" fmla="*/ 427795 h 3403632"/>
              <a:gd name="connsiteX3237" fmla="*/ 1113230 w 3905665"/>
              <a:gd name="connsiteY3237" fmla="*/ 473954 h 3403632"/>
              <a:gd name="connsiteX3238" fmla="*/ 1066825 w 3905665"/>
              <a:gd name="connsiteY3238" fmla="*/ 520113 h 3403632"/>
              <a:gd name="connsiteX3239" fmla="*/ 1020668 w 3905665"/>
              <a:gd name="connsiteY3239" fmla="*/ 473954 h 3403632"/>
              <a:gd name="connsiteX3240" fmla="*/ 1066825 w 3905665"/>
              <a:gd name="connsiteY3240" fmla="*/ 427795 h 3403632"/>
              <a:gd name="connsiteX3241" fmla="*/ 1758216 w 3905665"/>
              <a:gd name="connsiteY3241" fmla="*/ 423358 h 3403632"/>
              <a:gd name="connsiteX3242" fmla="*/ 1783887 w 3905665"/>
              <a:gd name="connsiteY3242" fmla="*/ 449029 h 3403632"/>
              <a:gd name="connsiteX3243" fmla="*/ 1758216 w 3905665"/>
              <a:gd name="connsiteY3243" fmla="*/ 474700 h 3403632"/>
              <a:gd name="connsiteX3244" fmla="*/ 1732545 w 3905665"/>
              <a:gd name="connsiteY3244" fmla="*/ 449029 h 3403632"/>
              <a:gd name="connsiteX3245" fmla="*/ 1758216 w 3905665"/>
              <a:gd name="connsiteY3245" fmla="*/ 423358 h 3403632"/>
              <a:gd name="connsiteX3246" fmla="*/ 1497554 w 3905665"/>
              <a:gd name="connsiteY3246" fmla="*/ 419653 h 3403632"/>
              <a:gd name="connsiteX3247" fmla="*/ 1532853 w 3905665"/>
              <a:gd name="connsiteY3247" fmla="*/ 454951 h 3403632"/>
              <a:gd name="connsiteX3248" fmla="*/ 1497554 w 3905665"/>
              <a:gd name="connsiteY3248" fmla="*/ 490249 h 3403632"/>
              <a:gd name="connsiteX3249" fmla="*/ 1462256 w 3905665"/>
              <a:gd name="connsiteY3249" fmla="*/ 454951 h 3403632"/>
              <a:gd name="connsiteX3250" fmla="*/ 1497554 w 3905665"/>
              <a:gd name="connsiteY3250" fmla="*/ 419653 h 3403632"/>
              <a:gd name="connsiteX3251" fmla="*/ 162175 w 3905665"/>
              <a:gd name="connsiteY3251" fmla="*/ 406070 h 3403632"/>
              <a:gd name="connsiteX3252" fmla="*/ 180439 w 3905665"/>
              <a:gd name="connsiteY3252" fmla="*/ 424335 h 3403632"/>
              <a:gd name="connsiteX3253" fmla="*/ 162175 w 3905665"/>
              <a:gd name="connsiteY3253" fmla="*/ 442602 h 3403632"/>
              <a:gd name="connsiteX3254" fmla="*/ 143907 w 3905665"/>
              <a:gd name="connsiteY3254" fmla="*/ 424335 h 3403632"/>
              <a:gd name="connsiteX3255" fmla="*/ 162175 w 3905665"/>
              <a:gd name="connsiteY3255" fmla="*/ 406070 h 3403632"/>
              <a:gd name="connsiteX3256" fmla="*/ 2721846 w 3905665"/>
              <a:gd name="connsiteY3256" fmla="*/ 404611 h 3403632"/>
              <a:gd name="connsiteX3257" fmla="*/ 2764302 w 3905665"/>
              <a:gd name="connsiteY3257" fmla="*/ 447066 h 3403632"/>
              <a:gd name="connsiteX3258" fmla="*/ 2721846 w 3905665"/>
              <a:gd name="connsiteY3258" fmla="*/ 489521 h 3403632"/>
              <a:gd name="connsiteX3259" fmla="*/ 2679637 w 3905665"/>
              <a:gd name="connsiteY3259" fmla="*/ 447066 h 3403632"/>
              <a:gd name="connsiteX3260" fmla="*/ 2721846 w 3905665"/>
              <a:gd name="connsiteY3260" fmla="*/ 404611 h 3403632"/>
              <a:gd name="connsiteX3261" fmla="*/ 2953127 w 3905665"/>
              <a:gd name="connsiteY3261" fmla="*/ 403380 h 3403632"/>
              <a:gd name="connsiteX3262" fmla="*/ 2998545 w 3905665"/>
              <a:gd name="connsiteY3262" fmla="*/ 448798 h 3403632"/>
              <a:gd name="connsiteX3263" fmla="*/ 2953127 w 3905665"/>
              <a:gd name="connsiteY3263" fmla="*/ 494215 h 3403632"/>
              <a:gd name="connsiteX3264" fmla="*/ 2907709 w 3905665"/>
              <a:gd name="connsiteY3264" fmla="*/ 448798 h 3403632"/>
              <a:gd name="connsiteX3265" fmla="*/ 2953127 w 3905665"/>
              <a:gd name="connsiteY3265" fmla="*/ 403380 h 3403632"/>
              <a:gd name="connsiteX3266" fmla="*/ 3182930 w 3905665"/>
              <a:gd name="connsiteY3266" fmla="*/ 399681 h 3403632"/>
              <a:gd name="connsiteX3267" fmla="*/ 3232792 w 3905665"/>
              <a:gd name="connsiteY3267" fmla="*/ 449294 h 3403632"/>
              <a:gd name="connsiteX3268" fmla="*/ 3182930 w 3905665"/>
              <a:gd name="connsiteY3268" fmla="*/ 499155 h 3403632"/>
              <a:gd name="connsiteX3269" fmla="*/ 3133317 w 3905665"/>
              <a:gd name="connsiteY3269" fmla="*/ 449294 h 3403632"/>
              <a:gd name="connsiteX3270" fmla="*/ 3182930 w 3905665"/>
              <a:gd name="connsiteY3270" fmla="*/ 399681 h 3403632"/>
              <a:gd name="connsiteX3271" fmla="*/ 3411501 w 3905665"/>
              <a:gd name="connsiteY3271" fmla="*/ 397464 h 3403632"/>
              <a:gd name="connsiteX3272" fmla="*/ 3463581 w 3905665"/>
              <a:gd name="connsiteY3272" fmla="*/ 449547 h 3403632"/>
              <a:gd name="connsiteX3273" fmla="*/ 3411501 w 3905665"/>
              <a:gd name="connsiteY3273" fmla="*/ 501629 h 3403632"/>
              <a:gd name="connsiteX3274" fmla="*/ 3359418 w 3905665"/>
              <a:gd name="connsiteY3274" fmla="*/ 449547 h 3403632"/>
              <a:gd name="connsiteX3275" fmla="*/ 3411501 w 3905665"/>
              <a:gd name="connsiteY3275" fmla="*/ 397464 h 3403632"/>
              <a:gd name="connsiteX3276" fmla="*/ 786915 w 3905665"/>
              <a:gd name="connsiteY3276" fmla="*/ 394473 h 3403632"/>
              <a:gd name="connsiteX3277" fmla="*/ 835046 w 3905665"/>
              <a:gd name="connsiteY3277" fmla="*/ 442606 h 3403632"/>
              <a:gd name="connsiteX3278" fmla="*/ 786915 w 3905665"/>
              <a:gd name="connsiteY3278" fmla="*/ 490737 h 3403632"/>
              <a:gd name="connsiteX3279" fmla="*/ 738782 w 3905665"/>
              <a:gd name="connsiteY3279" fmla="*/ 442606 h 3403632"/>
              <a:gd name="connsiteX3280" fmla="*/ 786915 w 3905665"/>
              <a:gd name="connsiteY3280" fmla="*/ 394473 h 3403632"/>
              <a:gd name="connsiteX3281" fmla="*/ 1239118 w 3905665"/>
              <a:gd name="connsiteY3281" fmla="*/ 393239 h 3403632"/>
              <a:gd name="connsiteX3282" fmla="*/ 1286261 w 3905665"/>
              <a:gd name="connsiteY3282" fmla="*/ 440136 h 3403632"/>
              <a:gd name="connsiteX3283" fmla="*/ 1239118 w 3905665"/>
              <a:gd name="connsiteY3283" fmla="*/ 487282 h 3403632"/>
              <a:gd name="connsiteX3284" fmla="*/ 1192218 w 3905665"/>
              <a:gd name="connsiteY3284" fmla="*/ 440136 h 3403632"/>
              <a:gd name="connsiteX3285" fmla="*/ 1239118 w 3905665"/>
              <a:gd name="connsiteY3285" fmla="*/ 393239 h 3403632"/>
              <a:gd name="connsiteX3286" fmla="*/ 1654546 w 3905665"/>
              <a:gd name="connsiteY3286" fmla="*/ 384851 h 3403632"/>
              <a:gd name="connsiteX3287" fmla="*/ 1680709 w 3905665"/>
              <a:gd name="connsiteY3287" fmla="*/ 411014 h 3403632"/>
              <a:gd name="connsiteX3288" fmla="*/ 1654546 w 3905665"/>
              <a:gd name="connsiteY3288" fmla="*/ 437180 h 3403632"/>
              <a:gd name="connsiteX3289" fmla="*/ 1628380 w 3905665"/>
              <a:gd name="connsiteY3289" fmla="*/ 411014 h 3403632"/>
              <a:gd name="connsiteX3290" fmla="*/ 1654546 w 3905665"/>
              <a:gd name="connsiteY3290" fmla="*/ 384851 h 3403632"/>
              <a:gd name="connsiteX3291" fmla="*/ 2384669 w 3905665"/>
              <a:gd name="connsiteY3291" fmla="*/ 382635 h 3403632"/>
              <a:gd name="connsiteX3292" fmla="*/ 2412810 w 3905665"/>
              <a:gd name="connsiteY3292" fmla="*/ 410773 h 3403632"/>
              <a:gd name="connsiteX3293" fmla="*/ 2384669 w 3905665"/>
              <a:gd name="connsiteY3293" fmla="*/ 438913 h 3403632"/>
              <a:gd name="connsiteX3294" fmla="*/ 2356531 w 3905665"/>
              <a:gd name="connsiteY3294" fmla="*/ 410773 h 3403632"/>
              <a:gd name="connsiteX3295" fmla="*/ 2384669 w 3905665"/>
              <a:gd name="connsiteY3295" fmla="*/ 382635 h 3403632"/>
              <a:gd name="connsiteX3296" fmla="*/ 3645253 w 3905665"/>
              <a:gd name="connsiteY3296" fmla="*/ 374265 h 3403632"/>
              <a:gd name="connsiteX3297" fmla="*/ 3698321 w 3905665"/>
              <a:gd name="connsiteY3297" fmla="*/ 427335 h 3403632"/>
              <a:gd name="connsiteX3298" fmla="*/ 3645253 w 3905665"/>
              <a:gd name="connsiteY3298" fmla="*/ 480404 h 3403632"/>
              <a:gd name="connsiteX3299" fmla="*/ 3592183 w 3905665"/>
              <a:gd name="connsiteY3299" fmla="*/ 427335 h 3403632"/>
              <a:gd name="connsiteX3300" fmla="*/ 3645253 w 3905665"/>
              <a:gd name="connsiteY3300" fmla="*/ 374265 h 3403632"/>
              <a:gd name="connsiteX3301" fmla="*/ 1909035 w 3905665"/>
              <a:gd name="connsiteY3301" fmla="*/ 373251 h 3403632"/>
              <a:gd name="connsiteX3302" fmla="*/ 1936921 w 3905665"/>
              <a:gd name="connsiteY3302" fmla="*/ 400897 h 3403632"/>
              <a:gd name="connsiteX3303" fmla="*/ 1909035 w 3905665"/>
              <a:gd name="connsiteY3303" fmla="*/ 428788 h 3403632"/>
              <a:gd name="connsiteX3304" fmla="*/ 1881389 w 3905665"/>
              <a:gd name="connsiteY3304" fmla="*/ 400897 h 3403632"/>
              <a:gd name="connsiteX3305" fmla="*/ 1909035 w 3905665"/>
              <a:gd name="connsiteY3305" fmla="*/ 373251 h 3403632"/>
              <a:gd name="connsiteX3306" fmla="*/ 2148449 w 3905665"/>
              <a:gd name="connsiteY3306" fmla="*/ 372513 h 3403632"/>
              <a:gd name="connsiteX3307" fmla="*/ 2182514 w 3905665"/>
              <a:gd name="connsiteY3307" fmla="*/ 406575 h 3403632"/>
              <a:gd name="connsiteX3308" fmla="*/ 2148449 w 3905665"/>
              <a:gd name="connsiteY3308" fmla="*/ 440639 h 3403632"/>
              <a:gd name="connsiteX3309" fmla="*/ 2114387 w 3905665"/>
              <a:gd name="connsiteY3309" fmla="*/ 406575 h 3403632"/>
              <a:gd name="connsiteX3310" fmla="*/ 2148449 w 3905665"/>
              <a:gd name="connsiteY3310" fmla="*/ 372513 h 3403632"/>
              <a:gd name="connsiteX3311" fmla="*/ 969820 w 3905665"/>
              <a:gd name="connsiteY3311" fmla="*/ 370775 h 3403632"/>
              <a:gd name="connsiteX3312" fmla="*/ 1017951 w 3905665"/>
              <a:gd name="connsiteY3312" fmla="*/ 418908 h 3403632"/>
              <a:gd name="connsiteX3313" fmla="*/ 969820 w 3905665"/>
              <a:gd name="connsiteY3313" fmla="*/ 467041 h 3403632"/>
              <a:gd name="connsiteX3314" fmla="*/ 921687 w 3905665"/>
              <a:gd name="connsiteY3314" fmla="*/ 418908 h 3403632"/>
              <a:gd name="connsiteX3315" fmla="*/ 969820 w 3905665"/>
              <a:gd name="connsiteY3315" fmla="*/ 370775 h 3403632"/>
              <a:gd name="connsiteX3316" fmla="*/ 480344 w 3905665"/>
              <a:gd name="connsiteY3316" fmla="*/ 368799 h 3403632"/>
              <a:gd name="connsiteX3317" fmla="*/ 509717 w 3905665"/>
              <a:gd name="connsiteY3317" fmla="*/ 398173 h 3403632"/>
              <a:gd name="connsiteX3318" fmla="*/ 480344 w 3905665"/>
              <a:gd name="connsiteY3318" fmla="*/ 427793 h 3403632"/>
              <a:gd name="connsiteX3319" fmla="*/ 450970 w 3905665"/>
              <a:gd name="connsiteY3319" fmla="*/ 398173 h 3403632"/>
              <a:gd name="connsiteX3320" fmla="*/ 480344 w 3905665"/>
              <a:gd name="connsiteY3320" fmla="*/ 368799 h 3403632"/>
              <a:gd name="connsiteX3321" fmla="*/ 2618420 w 3905665"/>
              <a:gd name="connsiteY3321" fmla="*/ 368570 h 3403632"/>
              <a:gd name="connsiteX3322" fmla="*/ 2663096 w 3905665"/>
              <a:gd name="connsiteY3322" fmla="*/ 413247 h 3403632"/>
              <a:gd name="connsiteX3323" fmla="*/ 2618420 w 3905665"/>
              <a:gd name="connsiteY3323" fmla="*/ 457677 h 3403632"/>
              <a:gd name="connsiteX3324" fmla="*/ 2573743 w 3905665"/>
              <a:gd name="connsiteY3324" fmla="*/ 413247 h 3403632"/>
              <a:gd name="connsiteX3325" fmla="*/ 2618420 w 3905665"/>
              <a:gd name="connsiteY3325" fmla="*/ 368570 h 3403632"/>
              <a:gd name="connsiteX3326" fmla="*/ 677071 w 3905665"/>
              <a:gd name="connsiteY3326" fmla="*/ 362877 h 3403632"/>
              <a:gd name="connsiteX3327" fmla="*/ 706938 w 3905665"/>
              <a:gd name="connsiteY3327" fmla="*/ 392744 h 3403632"/>
              <a:gd name="connsiteX3328" fmla="*/ 677071 w 3905665"/>
              <a:gd name="connsiteY3328" fmla="*/ 422610 h 3403632"/>
              <a:gd name="connsiteX3329" fmla="*/ 647205 w 3905665"/>
              <a:gd name="connsiteY3329" fmla="*/ 392744 h 3403632"/>
              <a:gd name="connsiteX3330" fmla="*/ 677071 w 3905665"/>
              <a:gd name="connsiteY3330" fmla="*/ 362877 h 3403632"/>
              <a:gd name="connsiteX3331" fmla="*/ 271274 w 3905665"/>
              <a:gd name="connsiteY3331" fmla="*/ 360160 h 3403632"/>
              <a:gd name="connsiteX3332" fmla="*/ 295465 w 3905665"/>
              <a:gd name="connsiteY3332" fmla="*/ 384349 h 3403632"/>
              <a:gd name="connsiteX3333" fmla="*/ 271274 w 3905665"/>
              <a:gd name="connsiteY3333" fmla="*/ 408540 h 3403632"/>
              <a:gd name="connsiteX3334" fmla="*/ 247085 w 3905665"/>
              <a:gd name="connsiteY3334" fmla="*/ 384349 h 3403632"/>
              <a:gd name="connsiteX3335" fmla="*/ 271274 w 3905665"/>
              <a:gd name="connsiteY3335" fmla="*/ 360160 h 3403632"/>
              <a:gd name="connsiteX3336" fmla="*/ 1403507 w 3905665"/>
              <a:gd name="connsiteY3336" fmla="*/ 353500 h 3403632"/>
              <a:gd name="connsiteX3337" fmla="*/ 1450407 w 3905665"/>
              <a:gd name="connsiteY3337" fmla="*/ 400397 h 3403632"/>
              <a:gd name="connsiteX3338" fmla="*/ 1403507 w 3905665"/>
              <a:gd name="connsiteY3338" fmla="*/ 447297 h 3403632"/>
              <a:gd name="connsiteX3339" fmla="*/ 1356610 w 3905665"/>
              <a:gd name="connsiteY3339" fmla="*/ 400397 h 3403632"/>
              <a:gd name="connsiteX3340" fmla="*/ 1403507 w 3905665"/>
              <a:gd name="connsiteY3340" fmla="*/ 353500 h 3403632"/>
              <a:gd name="connsiteX3341" fmla="*/ 3314988 w 3905665"/>
              <a:gd name="connsiteY3341" fmla="*/ 343160 h 3403632"/>
              <a:gd name="connsiteX3342" fmla="*/ 3366083 w 3905665"/>
              <a:gd name="connsiteY3342" fmla="*/ 394255 h 3403632"/>
              <a:gd name="connsiteX3343" fmla="*/ 3314988 w 3905665"/>
              <a:gd name="connsiteY3343" fmla="*/ 445347 h 3403632"/>
              <a:gd name="connsiteX3344" fmla="*/ 3263892 w 3905665"/>
              <a:gd name="connsiteY3344" fmla="*/ 394255 h 3403632"/>
              <a:gd name="connsiteX3345" fmla="*/ 3314988 w 3905665"/>
              <a:gd name="connsiteY3345" fmla="*/ 343160 h 3403632"/>
              <a:gd name="connsiteX3346" fmla="*/ 2857850 w 3905665"/>
              <a:gd name="connsiteY3346" fmla="*/ 342657 h 3403632"/>
              <a:gd name="connsiteX3347" fmla="*/ 2908699 w 3905665"/>
              <a:gd name="connsiteY3347" fmla="*/ 393257 h 3403632"/>
              <a:gd name="connsiteX3348" fmla="*/ 2857850 w 3905665"/>
              <a:gd name="connsiteY3348" fmla="*/ 443860 h 3403632"/>
              <a:gd name="connsiteX3349" fmla="*/ 2807003 w 3905665"/>
              <a:gd name="connsiteY3349" fmla="*/ 393257 h 3403632"/>
              <a:gd name="connsiteX3350" fmla="*/ 2857850 w 3905665"/>
              <a:gd name="connsiteY3350" fmla="*/ 342657 h 3403632"/>
              <a:gd name="connsiteX3351" fmla="*/ 3087159 w 3905665"/>
              <a:gd name="connsiteY3351" fmla="*/ 342166 h 3403632"/>
              <a:gd name="connsiteX3352" fmla="*/ 3138996 w 3905665"/>
              <a:gd name="connsiteY3352" fmla="*/ 394002 h 3403632"/>
              <a:gd name="connsiteX3353" fmla="*/ 3087159 w 3905665"/>
              <a:gd name="connsiteY3353" fmla="*/ 445836 h 3403632"/>
              <a:gd name="connsiteX3354" fmla="*/ 3035325 w 3905665"/>
              <a:gd name="connsiteY3354" fmla="*/ 394002 h 3403632"/>
              <a:gd name="connsiteX3355" fmla="*/ 3087159 w 3905665"/>
              <a:gd name="connsiteY3355" fmla="*/ 342166 h 3403632"/>
              <a:gd name="connsiteX3356" fmla="*/ 1143345 w 3905665"/>
              <a:gd name="connsiteY3356" fmla="*/ 340664 h 3403632"/>
              <a:gd name="connsiteX3357" fmla="*/ 1188763 w 3905665"/>
              <a:gd name="connsiteY3357" fmla="*/ 386081 h 3403632"/>
              <a:gd name="connsiteX3358" fmla="*/ 1143345 w 3905665"/>
              <a:gd name="connsiteY3358" fmla="*/ 431498 h 3403632"/>
              <a:gd name="connsiteX3359" fmla="*/ 1097927 w 3905665"/>
              <a:gd name="connsiteY3359" fmla="*/ 386081 h 3403632"/>
              <a:gd name="connsiteX3360" fmla="*/ 1143345 w 3905665"/>
              <a:gd name="connsiteY3360" fmla="*/ 340664 h 3403632"/>
              <a:gd name="connsiteX3361" fmla="*/ 1560249 w 3905665"/>
              <a:gd name="connsiteY3361" fmla="*/ 334988 h 3403632"/>
              <a:gd name="connsiteX3362" fmla="*/ 1582712 w 3905665"/>
              <a:gd name="connsiteY3362" fmla="*/ 357451 h 3403632"/>
              <a:gd name="connsiteX3363" fmla="*/ 1560249 w 3905665"/>
              <a:gd name="connsiteY3363" fmla="*/ 379664 h 3403632"/>
              <a:gd name="connsiteX3364" fmla="*/ 1538036 w 3905665"/>
              <a:gd name="connsiteY3364" fmla="*/ 357451 h 3403632"/>
              <a:gd name="connsiteX3365" fmla="*/ 1560249 w 3905665"/>
              <a:gd name="connsiteY3365" fmla="*/ 334988 h 3403632"/>
              <a:gd name="connsiteX3366" fmla="*/ 2054408 w 3905665"/>
              <a:gd name="connsiteY3366" fmla="*/ 328328 h 3403632"/>
              <a:gd name="connsiteX3367" fmla="*/ 2077855 w 3905665"/>
              <a:gd name="connsiteY3367" fmla="*/ 351778 h 3403632"/>
              <a:gd name="connsiteX3368" fmla="*/ 2054408 w 3905665"/>
              <a:gd name="connsiteY3368" fmla="*/ 375227 h 3403632"/>
              <a:gd name="connsiteX3369" fmla="*/ 2030958 w 3905665"/>
              <a:gd name="connsiteY3369" fmla="*/ 351778 h 3403632"/>
              <a:gd name="connsiteX3370" fmla="*/ 2054408 w 3905665"/>
              <a:gd name="connsiteY3370" fmla="*/ 328328 h 3403632"/>
              <a:gd name="connsiteX3371" fmla="*/ 2289887 w 3905665"/>
              <a:gd name="connsiteY3371" fmla="*/ 326851 h 3403632"/>
              <a:gd name="connsiteX3372" fmla="*/ 2319261 w 3905665"/>
              <a:gd name="connsiteY3372" fmla="*/ 356224 h 3403632"/>
              <a:gd name="connsiteX3373" fmla="*/ 2289887 w 3905665"/>
              <a:gd name="connsiteY3373" fmla="*/ 385598 h 3403632"/>
              <a:gd name="connsiteX3374" fmla="*/ 2260513 w 3905665"/>
              <a:gd name="connsiteY3374" fmla="*/ 356224 h 3403632"/>
              <a:gd name="connsiteX3375" fmla="*/ 2289887 w 3905665"/>
              <a:gd name="connsiteY3375" fmla="*/ 326851 h 3403632"/>
              <a:gd name="connsiteX3376" fmla="*/ 3548248 w 3905665"/>
              <a:gd name="connsiteY3376" fmla="*/ 318232 h 3403632"/>
              <a:gd name="connsiteX3377" fmla="*/ 3601316 w 3905665"/>
              <a:gd name="connsiteY3377" fmla="*/ 371301 h 3403632"/>
              <a:gd name="connsiteX3378" fmla="*/ 3548248 w 3905665"/>
              <a:gd name="connsiteY3378" fmla="*/ 424371 h 3403632"/>
              <a:gd name="connsiteX3379" fmla="*/ 3495178 w 3905665"/>
              <a:gd name="connsiteY3379" fmla="*/ 371301 h 3403632"/>
              <a:gd name="connsiteX3380" fmla="*/ 3548248 w 3905665"/>
              <a:gd name="connsiteY3380" fmla="*/ 318232 h 3403632"/>
              <a:gd name="connsiteX3381" fmla="*/ 3773605 w 3905665"/>
              <a:gd name="connsiteY3381" fmla="*/ 317495 h 3403632"/>
              <a:gd name="connsiteX3382" fmla="*/ 3827168 w 3905665"/>
              <a:gd name="connsiteY3382" fmla="*/ 371057 h 3403632"/>
              <a:gd name="connsiteX3383" fmla="*/ 3773605 w 3905665"/>
              <a:gd name="connsiteY3383" fmla="*/ 424621 h 3403632"/>
              <a:gd name="connsiteX3384" fmla="*/ 3720042 w 3905665"/>
              <a:gd name="connsiteY3384" fmla="*/ 371057 h 3403632"/>
              <a:gd name="connsiteX3385" fmla="*/ 3773605 w 3905665"/>
              <a:gd name="connsiteY3385" fmla="*/ 317495 h 3403632"/>
              <a:gd name="connsiteX3386" fmla="*/ 872565 w 3905665"/>
              <a:gd name="connsiteY3386" fmla="*/ 316225 h 3403632"/>
              <a:gd name="connsiteX3387" fmla="*/ 919464 w 3905665"/>
              <a:gd name="connsiteY3387" fmla="*/ 362876 h 3403632"/>
              <a:gd name="connsiteX3388" fmla="*/ 872565 w 3905665"/>
              <a:gd name="connsiteY3388" fmla="*/ 409776 h 3403632"/>
              <a:gd name="connsiteX3389" fmla="*/ 825914 w 3905665"/>
              <a:gd name="connsiteY3389" fmla="*/ 362876 h 3403632"/>
              <a:gd name="connsiteX3390" fmla="*/ 872565 w 3905665"/>
              <a:gd name="connsiteY3390" fmla="*/ 316225 h 3403632"/>
              <a:gd name="connsiteX3391" fmla="*/ 1814739 w 3905665"/>
              <a:gd name="connsiteY3391" fmla="*/ 314997 h 3403632"/>
              <a:gd name="connsiteX3392" fmla="*/ 1846584 w 3905665"/>
              <a:gd name="connsiteY3392" fmla="*/ 346838 h 3403632"/>
              <a:gd name="connsiteX3393" fmla="*/ 1814739 w 3905665"/>
              <a:gd name="connsiteY3393" fmla="*/ 378682 h 3403632"/>
              <a:gd name="connsiteX3394" fmla="*/ 1782899 w 3905665"/>
              <a:gd name="connsiteY3394" fmla="*/ 346838 h 3403632"/>
              <a:gd name="connsiteX3395" fmla="*/ 1814739 w 3905665"/>
              <a:gd name="connsiteY3395" fmla="*/ 314997 h 3403632"/>
              <a:gd name="connsiteX3396" fmla="*/ 2523388 w 3905665"/>
              <a:gd name="connsiteY3396" fmla="*/ 312290 h 3403632"/>
              <a:gd name="connsiteX3397" fmla="*/ 2569547 w 3905665"/>
              <a:gd name="connsiteY3397" fmla="*/ 358202 h 3403632"/>
              <a:gd name="connsiteX3398" fmla="*/ 2523388 w 3905665"/>
              <a:gd name="connsiteY3398" fmla="*/ 404111 h 3403632"/>
              <a:gd name="connsiteX3399" fmla="*/ 2477478 w 3905665"/>
              <a:gd name="connsiteY3399" fmla="*/ 358202 h 3403632"/>
              <a:gd name="connsiteX3400" fmla="*/ 2523388 w 3905665"/>
              <a:gd name="connsiteY3400" fmla="*/ 312290 h 3403632"/>
              <a:gd name="connsiteX3401" fmla="*/ 375440 w 3905665"/>
              <a:gd name="connsiteY3401" fmla="*/ 303387 h 3403632"/>
              <a:gd name="connsiteX3402" fmla="*/ 405552 w 3905665"/>
              <a:gd name="connsiteY3402" fmla="*/ 333503 h 3403632"/>
              <a:gd name="connsiteX3403" fmla="*/ 375440 w 3905665"/>
              <a:gd name="connsiteY3403" fmla="*/ 363615 h 3403632"/>
              <a:gd name="connsiteX3404" fmla="*/ 345324 w 3905665"/>
              <a:gd name="connsiteY3404" fmla="*/ 333503 h 3403632"/>
              <a:gd name="connsiteX3405" fmla="*/ 375440 w 3905665"/>
              <a:gd name="connsiteY3405" fmla="*/ 303387 h 3403632"/>
              <a:gd name="connsiteX3406" fmla="*/ 1308475 w 3905665"/>
              <a:gd name="connsiteY3406" fmla="*/ 301171 h 3403632"/>
              <a:gd name="connsiteX3407" fmla="*/ 1354139 w 3905665"/>
              <a:gd name="connsiteY3407" fmla="*/ 346834 h 3403632"/>
              <a:gd name="connsiteX3408" fmla="*/ 1308475 w 3905665"/>
              <a:gd name="connsiteY3408" fmla="*/ 392498 h 3403632"/>
              <a:gd name="connsiteX3409" fmla="*/ 1262811 w 3905665"/>
              <a:gd name="connsiteY3409" fmla="*/ 346834 h 3403632"/>
              <a:gd name="connsiteX3410" fmla="*/ 1308475 w 3905665"/>
              <a:gd name="connsiteY3410" fmla="*/ 301171 h 3403632"/>
              <a:gd name="connsiteX3411" fmla="*/ 49368 w 3905665"/>
              <a:gd name="connsiteY3411" fmla="*/ 297463 h 3403632"/>
              <a:gd name="connsiteX3412" fmla="*/ 94047 w 3905665"/>
              <a:gd name="connsiteY3412" fmla="*/ 342139 h 3403632"/>
              <a:gd name="connsiteX3413" fmla="*/ 49368 w 3905665"/>
              <a:gd name="connsiteY3413" fmla="*/ 386818 h 3403632"/>
              <a:gd name="connsiteX3414" fmla="*/ 4692 w 3905665"/>
              <a:gd name="connsiteY3414" fmla="*/ 342139 h 3403632"/>
              <a:gd name="connsiteX3415" fmla="*/ 49368 w 3905665"/>
              <a:gd name="connsiteY3415" fmla="*/ 297463 h 3403632"/>
              <a:gd name="connsiteX3416" fmla="*/ 576115 w 3905665"/>
              <a:gd name="connsiteY3416" fmla="*/ 294997 h 3403632"/>
              <a:gd name="connsiteX3417" fmla="*/ 614621 w 3905665"/>
              <a:gd name="connsiteY3417" fmla="*/ 333503 h 3403632"/>
              <a:gd name="connsiteX3418" fmla="*/ 576115 w 3905665"/>
              <a:gd name="connsiteY3418" fmla="*/ 372009 h 3403632"/>
              <a:gd name="connsiteX3419" fmla="*/ 537609 w 3905665"/>
              <a:gd name="connsiteY3419" fmla="*/ 333503 h 3403632"/>
              <a:gd name="connsiteX3420" fmla="*/ 576115 w 3905665"/>
              <a:gd name="connsiteY3420" fmla="*/ 294997 h 3403632"/>
              <a:gd name="connsiteX3421" fmla="*/ 764450 w 3905665"/>
              <a:gd name="connsiteY3421" fmla="*/ 288086 h 3403632"/>
              <a:gd name="connsiteX3422" fmla="*/ 793329 w 3905665"/>
              <a:gd name="connsiteY3422" fmla="*/ 316965 h 3403632"/>
              <a:gd name="connsiteX3423" fmla="*/ 764450 w 3905665"/>
              <a:gd name="connsiteY3423" fmla="*/ 345844 h 3403632"/>
              <a:gd name="connsiteX3424" fmla="*/ 735571 w 3905665"/>
              <a:gd name="connsiteY3424" fmla="*/ 316965 h 3403632"/>
              <a:gd name="connsiteX3425" fmla="*/ 764450 w 3905665"/>
              <a:gd name="connsiteY3425" fmla="*/ 288086 h 3403632"/>
              <a:gd name="connsiteX3426" fmla="*/ 3218474 w 3905665"/>
              <a:gd name="connsiteY3426" fmla="*/ 287618 h 3403632"/>
              <a:gd name="connsiteX3427" fmla="*/ 3269570 w 3905665"/>
              <a:gd name="connsiteY3427" fmla="*/ 338713 h 3403632"/>
              <a:gd name="connsiteX3428" fmla="*/ 3218474 w 3905665"/>
              <a:gd name="connsiteY3428" fmla="*/ 389805 h 3403632"/>
              <a:gd name="connsiteX3429" fmla="*/ 3167379 w 3905665"/>
              <a:gd name="connsiteY3429" fmla="*/ 338713 h 3403632"/>
              <a:gd name="connsiteX3430" fmla="*/ 3218474 w 3905665"/>
              <a:gd name="connsiteY3430" fmla="*/ 287618 h 3403632"/>
              <a:gd name="connsiteX3431" fmla="*/ 3444821 w 3905665"/>
              <a:gd name="connsiteY3431" fmla="*/ 286884 h 3403632"/>
              <a:gd name="connsiteX3432" fmla="*/ 3496409 w 3905665"/>
              <a:gd name="connsiteY3432" fmla="*/ 338471 h 3403632"/>
              <a:gd name="connsiteX3433" fmla="*/ 3444821 w 3905665"/>
              <a:gd name="connsiteY3433" fmla="*/ 390059 h 3403632"/>
              <a:gd name="connsiteX3434" fmla="*/ 3393233 w 3905665"/>
              <a:gd name="connsiteY3434" fmla="*/ 338471 h 3403632"/>
              <a:gd name="connsiteX3435" fmla="*/ 3444821 w 3905665"/>
              <a:gd name="connsiteY3435" fmla="*/ 286884 h 3403632"/>
              <a:gd name="connsiteX3436" fmla="*/ 2990895 w 3905665"/>
              <a:gd name="connsiteY3436" fmla="*/ 286875 h 3403632"/>
              <a:gd name="connsiteX3437" fmla="*/ 3042977 w 3905665"/>
              <a:gd name="connsiteY3437" fmla="*/ 338958 h 3403632"/>
              <a:gd name="connsiteX3438" fmla="*/ 2990895 w 3905665"/>
              <a:gd name="connsiteY3438" fmla="*/ 391040 h 3403632"/>
              <a:gd name="connsiteX3439" fmla="*/ 2938812 w 3905665"/>
              <a:gd name="connsiteY3439" fmla="*/ 338958 h 3403632"/>
              <a:gd name="connsiteX3440" fmla="*/ 2990895 w 3905665"/>
              <a:gd name="connsiteY3440" fmla="*/ 286875 h 3403632"/>
              <a:gd name="connsiteX3441" fmla="*/ 1047571 w 3905665"/>
              <a:gd name="connsiteY3441" fmla="*/ 286605 h 3403632"/>
              <a:gd name="connsiteX3442" fmla="*/ 1092987 w 3905665"/>
              <a:gd name="connsiteY3442" fmla="*/ 332022 h 3403632"/>
              <a:gd name="connsiteX3443" fmla="*/ 1047571 w 3905665"/>
              <a:gd name="connsiteY3443" fmla="*/ 377440 h 3403632"/>
              <a:gd name="connsiteX3444" fmla="*/ 1002154 w 3905665"/>
              <a:gd name="connsiteY3444" fmla="*/ 332022 h 3403632"/>
              <a:gd name="connsiteX3445" fmla="*/ 1047571 w 3905665"/>
              <a:gd name="connsiteY3445" fmla="*/ 286605 h 3403632"/>
              <a:gd name="connsiteX3446" fmla="*/ 2762325 w 3905665"/>
              <a:gd name="connsiteY3446" fmla="*/ 286377 h 3403632"/>
              <a:gd name="connsiteX3447" fmla="*/ 2813666 w 3905665"/>
              <a:gd name="connsiteY3447" fmla="*/ 337718 h 3403632"/>
              <a:gd name="connsiteX3448" fmla="*/ 2762325 w 3905665"/>
              <a:gd name="connsiteY3448" fmla="*/ 389059 h 3403632"/>
              <a:gd name="connsiteX3449" fmla="*/ 2710983 w 3905665"/>
              <a:gd name="connsiteY3449" fmla="*/ 337718 h 3403632"/>
              <a:gd name="connsiteX3450" fmla="*/ 2762325 w 3905665"/>
              <a:gd name="connsiteY3450" fmla="*/ 286377 h 3403632"/>
              <a:gd name="connsiteX3451" fmla="*/ 1711564 w 3905665"/>
              <a:gd name="connsiteY3451" fmla="*/ 275256 h 3403632"/>
              <a:gd name="connsiteX3452" fmla="*/ 1746367 w 3905665"/>
              <a:gd name="connsiteY3452" fmla="*/ 310059 h 3403632"/>
              <a:gd name="connsiteX3453" fmla="*/ 1711564 w 3905665"/>
              <a:gd name="connsiteY3453" fmla="*/ 344862 h 3403632"/>
              <a:gd name="connsiteX3454" fmla="*/ 1676760 w 3905665"/>
              <a:gd name="connsiteY3454" fmla="*/ 310059 h 3403632"/>
              <a:gd name="connsiteX3455" fmla="*/ 1711564 w 3905665"/>
              <a:gd name="connsiteY3455" fmla="*/ 275256 h 3403632"/>
              <a:gd name="connsiteX3456" fmla="*/ 161186 w 3905665"/>
              <a:gd name="connsiteY3456" fmla="*/ 266115 h 3403632"/>
              <a:gd name="connsiteX3457" fmla="*/ 205369 w 3905665"/>
              <a:gd name="connsiteY3457" fmla="*/ 310299 h 3403632"/>
              <a:gd name="connsiteX3458" fmla="*/ 161186 w 3905665"/>
              <a:gd name="connsiteY3458" fmla="*/ 354482 h 3403632"/>
              <a:gd name="connsiteX3459" fmla="*/ 117002 w 3905665"/>
              <a:gd name="connsiteY3459" fmla="*/ 310299 h 3403632"/>
              <a:gd name="connsiteX3460" fmla="*/ 161186 w 3905665"/>
              <a:gd name="connsiteY3460" fmla="*/ 266115 h 3403632"/>
              <a:gd name="connsiteX3461" fmla="*/ 2428115 w 3905665"/>
              <a:gd name="connsiteY3461" fmla="*/ 263663 h 3403632"/>
              <a:gd name="connsiteX3462" fmla="*/ 2467608 w 3905665"/>
              <a:gd name="connsiteY3462" fmla="*/ 303156 h 3403632"/>
              <a:gd name="connsiteX3463" fmla="*/ 2428115 w 3905665"/>
              <a:gd name="connsiteY3463" fmla="*/ 342649 h 3403632"/>
              <a:gd name="connsiteX3464" fmla="*/ 2388621 w 3905665"/>
              <a:gd name="connsiteY3464" fmla="*/ 303156 h 3403632"/>
              <a:gd name="connsiteX3465" fmla="*/ 2428115 w 3905665"/>
              <a:gd name="connsiteY3465" fmla="*/ 263663 h 3403632"/>
              <a:gd name="connsiteX3466" fmla="*/ 3676108 w 3905665"/>
              <a:gd name="connsiteY3466" fmla="*/ 260970 h 3403632"/>
              <a:gd name="connsiteX3467" fmla="*/ 3730165 w 3905665"/>
              <a:gd name="connsiteY3467" fmla="*/ 315026 h 3403632"/>
              <a:gd name="connsiteX3468" fmla="*/ 3676108 w 3905665"/>
              <a:gd name="connsiteY3468" fmla="*/ 369083 h 3403632"/>
              <a:gd name="connsiteX3469" fmla="*/ 3622050 w 3905665"/>
              <a:gd name="connsiteY3469" fmla="*/ 315026 h 3403632"/>
              <a:gd name="connsiteX3470" fmla="*/ 3676108 w 3905665"/>
              <a:gd name="connsiteY3470" fmla="*/ 260970 h 3403632"/>
              <a:gd name="connsiteX3471" fmla="*/ 1960369 w 3905665"/>
              <a:gd name="connsiteY3471" fmla="*/ 258721 h 3403632"/>
              <a:gd name="connsiteX3472" fmla="*/ 1998130 w 3905665"/>
              <a:gd name="connsiteY3472" fmla="*/ 296486 h 3403632"/>
              <a:gd name="connsiteX3473" fmla="*/ 1960369 w 3905665"/>
              <a:gd name="connsiteY3473" fmla="*/ 334251 h 3403632"/>
              <a:gd name="connsiteX3474" fmla="*/ 1922608 w 3905665"/>
              <a:gd name="connsiteY3474" fmla="*/ 296486 h 3403632"/>
              <a:gd name="connsiteX3475" fmla="*/ 1960369 w 3905665"/>
              <a:gd name="connsiteY3475" fmla="*/ 258721 h 3403632"/>
              <a:gd name="connsiteX3476" fmla="*/ 2195843 w 3905665"/>
              <a:gd name="connsiteY3476" fmla="*/ 258231 h 3403632"/>
              <a:gd name="connsiteX3477" fmla="*/ 2238050 w 3905665"/>
              <a:gd name="connsiteY3477" fmla="*/ 300440 h 3403632"/>
              <a:gd name="connsiteX3478" fmla="*/ 2195843 w 3905665"/>
              <a:gd name="connsiteY3478" fmla="*/ 342646 h 3403632"/>
              <a:gd name="connsiteX3479" fmla="*/ 2153634 w 3905665"/>
              <a:gd name="connsiteY3479" fmla="*/ 300440 h 3403632"/>
              <a:gd name="connsiteX3480" fmla="*/ 2195843 w 3905665"/>
              <a:gd name="connsiteY3480" fmla="*/ 258231 h 3403632"/>
              <a:gd name="connsiteX3481" fmla="*/ 1466454 w 3905665"/>
              <a:gd name="connsiteY3481" fmla="*/ 256496 h 3403632"/>
              <a:gd name="connsiteX3482" fmla="*/ 1512859 w 3905665"/>
              <a:gd name="connsiteY3482" fmla="*/ 302900 h 3403632"/>
              <a:gd name="connsiteX3483" fmla="*/ 1466454 w 3905665"/>
              <a:gd name="connsiteY3483" fmla="*/ 349551 h 3403632"/>
              <a:gd name="connsiteX3484" fmla="*/ 1420049 w 3905665"/>
              <a:gd name="connsiteY3484" fmla="*/ 302900 h 3403632"/>
              <a:gd name="connsiteX3485" fmla="*/ 1466454 w 3905665"/>
              <a:gd name="connsiteY3485" fmla="*/ 256496 h 3403632"/>
              <a:gd name="connsiteX3486" fmla="*/ 2658900 w 3905665"/>
              <a:gd name="connsiteY3486" fmla="*/ 251818 h 3403632"/>
              <a:gd name="connsiteX3487" fmla="*/ 2711478 w 3905665"/>
              <a:gd name="connsiteY3487" fmla="*/ 304393 h 3403632"/>
              <a:gd name="connsiteX3488" fmla="*/ 2658900 w 3905665"/>
              <a:gd name="connsiteY3488" fmla="*/ 356967 h 3403632"/>
              <a:gd name="connsiteX3489" fmla="*/ 2606325 w 3905665"/>
              <a:gd name="connsiteY3489" fmla="*/ 304393 h 3403632"/>
              <a:gd name="connsiteX3490" fmla="*/ 2658900 w 3905665"/>
              <a:gd name="connsiteY3490" fmla="*/ 251818 h 3403632"/>
              <a:gd name="connsiteX3491" fmla="*/ 1213692 w 3905665"/>
              <a:gd name="connsiteY3491" fmla="*/ 249829 h 3403632"/>
              <a:gd name="connsiteX3492" fmla="*/ 1257136 w 3905665"/>
              <a:gd name="connsiteY3492" fmla="*/ 293271 h 3403632"/>
              <a:gd name="connsiteX3493" fmla="*/ 1213692 w 3905665"/>
              <a:gd name="connsiteY3493" fmla="*/ 336714 h 3403632"/>
              <a:gd name="connsiteX3494" fmla="*/ 1170249 w 3905665"/>
              <a:gd name="connsiteY3494" fmla="*/ 293271 h 3403632"/>
              <a:gd name="connsiteX3495" fmla="*/ 1213692 w 3905665"/>
              <a:gd name="connsiteY3495" fmla="*/ 249829 h 3403632"/>
              <a:gd name="connsiteX3496" fmla="*/ 3347570 w 3905665"/>
              <a:gd name="connsiteY3496" fmla="*/ 234058 h 3403632"/>
              <a:gd name="connsiteX3497" fmla="*/ 3396199 w 3905665"/>
              <a:gd name="connsiteY3497" fmla="*/ 282684 h 3403632"/>
              <a:gd name="connsiteX3498" fmla="*/ 3347570 w 3905665"/>
              <a:gd name="connsiteY3498" fmla="*/ 331312 h 3403632"/>
              <a:gd name="connsiteX3499" fmla="*/ 3298944 w 3905665"/>
              <a:gd name="connsiteY3499" fmla="*/ 282684 h 3403632"/>
              <a:gd name="connsiteX3500" fmla="*/ 3347570 w 3905665"/>
              <a:gd name="connsiteY3500" fmla="*/ 234058 h 3403632"/>
              <a:gd name="connsiteX3501" fmla="*/ 474173 w 3905665"/>
              <a:gd name="connsiteY3501" fmla="*/ 232299 h 3403632"/>
              <a:gd name="connsiteX3502" fmla="*/ 514654 w 3905665"/>
              <a:gd name="connsiteY3502" fmla="*/ 272780 h 3403632"/>
              <a:gd name="connsiteX3503" fmla="*/ 474173 w 3905665"/>
              <a:gd name="connsiteY3503" fmla="*/ 313261 h 3403632"/>
              <a:gd name="connsiteX3504" fmla="*/ 433692 w 3905665"/>
              <a:gd name="connsiteY3504" fmla="*/ 272780 h 3403632"/>
              <a:gd name="connsiteX3505" fmla="*/ 474173 w 3905665"/>
              <a:gd name="connsiteY3505" fmla="*/ 232299 h 3403632"/>
              <a:gd name="connsiteX3506" fmla="*/ 2894874 w 3905665"/>
              <a:gd name="connsiteY3506" fmla="*/ 231581 h 3403632"/>
              <a:gd name="connsiteX3507" fmla="*/ 2946215 w 3905665"/>
              <a:gd name="connsiteY3507" fmla="*/ 282922 h 3403632"/>
              <a:gd name="connsiteX3508" fmla="*/ 2894874 w 3905665"/>
              <a:gd name="connsiteY3508" fmla="*/ 334263 h 3403632"/>
              <a:gd name="connsiteX3509" fmla="*/ 2843532 w 3905665"/>
              <a:gd name="connsiteY3509" fmla="*/ 282922 h 3403632"/>
              <a:gd name="connsiteX3510" fmla="*/ 2894874 w 3905665"/>
              <a:gd name="connsiteY3510" fmla="*/ 231581 h 3403632"/>
              <a:gd name="connsiteX3511" fmla="*/ 951801 w 3905665"/>
              <a:gd name="connsiteY3511" fmla="*/ 231560 h 3403632"/>
              <a:gd name="connsiteX3512" fmla="*/ 997218 w 3905665"/>
              <a:gd name="connsiteY3512" fmla="*/ 276978 h 3403632"/>
              <a:gd name="connsiteX3513" fmla="*/ 951801 w 3905665"/>
              <a:gd name="connsiteY3513" fmla="*/ 322395 h 3403632"/>
              <a:gd name="connsiteX3514" fmla="*/ 906630 w 3905665"/>
              <a:gd name="connsiteY3514" fmla="*/ 276978 h 3403632"/>
              <a:gd name="connsiteX3515" fmla="*/ 951801 w 3905665"/>
              <a:gd name="connsiteY3515" fmla="*/ 231560 h 3403632"/>
              <a:gd name="connsiteX3516" fmla="*/ 3121962 w 3905665"/>
              <a:gd name="connsiteY3516" fmla="*/ 231338 h 3403632"/>
              <a:gd name="connsiteX3517" fmla="*/ 3173550 w 3905665"/>
              <a:gd name="connsiteY3517" fmla="*/ 282925 h 3403632"/>
              <a:gd name="connsiteX3518" fmla="*/ 3121962 w 3905665"/>
              <a:gd name="connsiteY3518" fmla="*/ 334513 h 3403632"/>
              <a:gd name="connsiteX3519" fmla="*/ 3070374 w 3905665"/>
              <a:gd name="connsiteY3519" fmla="*/ 282925 h 3403632"/>
              <a:gd name="connsiteX3520" fmla="*/ 3121962 w 3905665"/>
              <a:gd name="connsiteY3520" fmla="*/ 231338 h 3403632"/>
              <a:gd name="connsiteX3521" fmla="*/ 1617270 w 3905665"/>
              <a:gd name="connsiteY3521" fmla="*/ 227615 h 3403632"/>
              <a:gd name="connsiteX3522" fmla="*/ 1645904 w 3905665"/>
              <a:gd name="connsiteY3522" fmla="*/ 256248 h 3403632"/>
              <a:gd name="connsiteX3523" fmla="*/ 1617270 w 3905665"/>
              <a:gd name="connsiteY3523" fmla="*/ 284881 h 3403632"/>
              <a:gd name="connsiteX3524" fmla="*/ 1588637 w 3905665"/>
              <a:gd name="connsiteY3524" fmla="*/ 256248 h 3403632"/>
              <a:gd name="connsiteX3525" fmla="*/ 1617270 w 3905665"/>
              <a:gd name="connsiteY3525" fmla="*/ 227615 h 3403632"/>
              <a:gd name="connsiteX3526" fmla="*/ 665715 w 3905665"/>
              <a:gd name="connsiteY3526" fmla="*/ 226130 h 3403632"/>
              <a:gd name="connsiteX3527" fmla="*/ 699780 w 3905665"/>
              <a:gd name="connsiteY3527" fmla="*/ 260194 h 3403632"/>
              <a:gd name="connsiteX3528" fmla="*/ 665715 w 3905665"/>
              <a:gd name="connsiteY3528" fmla="*/ 294256 h 3403632"/>
              <a:gd name="connsiteX3529" fmla="*/ 631653 w 3905665"/>
              <a:gd name="connsiteY3529" fmla="*/ 260194 h 3403632"/>
              <a:gd name="connsiteX3530" fmla="*/ 665715 w 3905665"/>
              <a:gd name="connsiteY3530" fmla="*/ 226130 h 3403632"/>
              <a:gd name="connsiteX3531" fmla="*/ 268806 w 3905665"/>
              <a:gd name="connsiteY3531" fmla="*/ 222672 h 3403632"/>
              <a:gd name="connsiteX3532" fmla="*/ 312495 w 3905665"/>
              <a:gd name="connsiteY3532" fmla="*/ 266361 h 3403632"/>
              <a:gd name="connsiteX3533" fmla="*/ 268806 w 3905665"/>
              <a:gd name="connsiteY3533" fmla="*/ 310052 h 3403632"/>
              <a:gd name="connsiteX3534" fmla="*/ 225117 w 3905665"/>
              <a:gd name="connsiteY3534" fmla="*/ 266361 h 3403632"/>
              <a:gd name="connsiteX3535" fmla="*/ 268806 w 3905665"/>
              <a:gd name="connsiteY3535" fmla="*/ 222672 h 3403632"/>
              <a:gd name="connsiteX3536" fmla="*/ 2101059 w 3905665"/>
              <a:gd name="connsiteY3536" fmla="*/ 210837 h 3403632"/>
              <a:gd name="connsiteX3537" fmla="*/ 2135367 w 3905665"/>
              <a:gd name="connsiteY3537" fmla="*/ 245148 h 3403632"/>
              <a:gd name="connsiteX3538" fmla="*/ 2101059 w 3905665"/>
              <a:gd name="connsiteY3538" fmla="*/ 279456 h 3403632"/>
              <a:gd name="connsiteX3539" fmla="*/ 2066748 w 3905665"/>
              <a:gd name="connsiteY3539" fmla="*/ 245148 h 3403632"/>
              <a:gd name="connsiteX3540" fmla="*/ 2101059 w 3905665"/>
              <a:gd name="connsiteY3540" fmla="*/ 210837 h 3403632"/>
              <a:gd name="connsiteX3541" fmla="*/ 1371914 w 3905665"/>
              <a:gd name="connsiteY3541" fmla="*/ 207620 h 3403632"/>
              <a:gd name="connsiteX3542" fmla="*/ 1413632 w 3905665"/>
              <a:gd name="connsiteY3542" fmla="*/ 249334 h 3403632"/>
              <a:gd name="connsiteX3543" fmla="*/ 1371914 w 3905665"/>
              <a:gd name="connsiteY3543" fmla="*/ 291051 h 3403632"/>
              <a:gd name="connsiteX3544" fmla="*/ 1330200 w 3905665"/>
              <a:gd name="connsiteY3544" fmla="*/ 249334 h 3403632"/>
              <a:gd name="connsiteX3545" fmla="*/ 1371914 w 3905665"/>
              <a:gd name="connsiteY3545" fmla="*/ 207620 h 3403632"/>
              <a:gd name="connsiteX3546" fmla="*/ 845167 w 3905665"/>
              <a:gd name="connsiteY3546" fmla="*/ 206630 h 3403632"/>
              <a:gd name="connsiteX3547" fmla="*/ 872813 w 3905665"/>
              <a:gd name="connsiteY3547" fmla="*/ 234275 h 3403632"/>
              <a:gd name="connsiteX3548" fmla="*/ 845167 w 3905665"/>
              <a:gd name="connsiteY3548" fmla="*/ 261920 h 3403632"/>
              <a:gd name="connsiteX3549" fmla="*/ 817522 w 3905665"/>
              <a:gd name="connsiteY3549" fmla="*/ 234275 h 3403632"/>
              <a:gd name="connsiteX3550" fmla="*/ 845167 w 3905665"/>
              <a:gd name="connsiteY3550" fmla="*/ 206630 h 3403632"/>
              <a:gd name="connsiteX3551" fmla="*/ 2332835 w 3905665"/>
              <a:gd name="connsiteY3551" fmla="*/ 206396 h 3403632"/>
              <a:gd name="connsiteX3552" fmla="*/ 2375044 w 3905665"/>
              <a:gd name="connsiteY3552" fmla="*/ 248359 h 3403632"/>
              <a:gd name="connsiteX3553" fmla="*/ 2332835 w 3905665"/>
              <a:gd name="connsiteY3553" fmla="*/ 290320 h 3403632"/>
              <a:gd name="connsiteX3554" fmla="*/ 2290874 w 3905665"/>
              <a:gd name="connsiteY3554" fmla="*/ 248359 h 3403632"/>
              <a:gd name="connsiteX3555" fmla="*/ 2332835 w 3905665"/>
              <a:gd name="connsiteY3555" fmla="*/ 206396 h 3403632"/>
              <a:gd name="connsiteX3556" fmla="*/ 3578605 w 3905665"/>
              <a:gd name="connsiteY3556" fmla="*/ 204689 h 3403632"/>
              <a:gd name="connsiteX3557" fmla="*/ 3632416 w 3905665"/>
              <a:gd name="connsiteY3557" fmla="*/ 258497 h 3403632"/>
              <a:gd name="connsiteX3558" fmla="*/ 3578605 w 3905665"/>
              <a:gd name="connsiteY3558" fmla="*/ 312308 h 3403632"/>
              <a:gd name="connsiteX3559" fmla="*/ 3524796 w 3905665"/>
              <a:gd name="connsiteY3559" fmla="*/ 258497 h 3403632"/>
              <a:gd name="connsiteX3560" fmla="*/ 3578605 w 3905665"/>
              <a:gd name="connsiteY3560" fmla="*/ 204689 h 3403632"/>
              <a:gd name="connsiteX3561" fmla="*/ 1866081 w 3905665"/>
              <a:gd name="connsiteY3561" fmla="*/ 204170 h 3403632"/>
              <a:gd name="connsiteX3562" fmla="*/ 1903848 w 3905665"/>
              <a:gd name="connsiteY3562" fmla="*/ 241935 h 3403632"/>
              <a:gd name="connsiteX3563" fmla="*/ 1866081 w 3905665"/>
              <a:gd name="connsiteY3563" fmla="*/ 279700 h 3403632"/>
              <a:gd name="connsiteX3564" fmla="*/ 1828316 w 3905665"/>
              <a:gd name="connsiteY3564" fmla="*/ 241935 h 3403632"/>
              <a:gd name="connsiteX3565" fmla="*/ 1866081 w 3905665"/>
              <a:gd name="connsiteY3565" fmla="*/ 204170 h 3403632"/>
              <a:gd name="connsiteX3566" fmla="*/ 3802238 w 3905665"/>
              <a:gd name="connsiteY3566" fmla="*/ 203460 h 3403632"/>
              <a:gd name="connsiteX3567" fmla="*/ 3856791 w 3905665"/>
              <a:gd name="connsiteY3567" fmla="*/ 258009 h 3403632"/>
              <a:gd name="connsiteX3568" fmla="*/ 3802238 w 3905665"/>
              <a:gd name="connsiteY3568" fmla="*/ 312559 h 3403632"/>
              <a:gd name="connsiteX3569" fmla="*/ 3747688 w 3905665"/>
              <a:gd name="connsiteY3569" fmla="*/ 258009 h 3403632"/>
              <a:gd name="connsiteX3570" fmla="*/ 3802238 w 3905665"/>
              <a:gd name="connsiteY3570" fmla="*/ 203460 h 3403632"/>
              <a:gd name="connsiteX3571" fmla="*/ 2563131 w 3905665"/>
              <a:gd name="connsiteY3571" fmla="*/ 196773 h 3403632"/>
              <a:gd name="connsiteX3572" fmla="*/ 2615214 w 3905665"/>
              <a:gd name="connsiteY3572" fmla="*/ 248855 h 3403632"/>
              <a:gd name="connsiteX3573" fmla="*/ 2563131 w 3905665"/>
              <a:gd name="connsiteY3573" fmla="*/ 300938 h 3403632"/>
              <a:gd name="connsiteX3574" fmla="*/ 2511048 w 3905665"/>
              <a:gd name="connsiteY3574" fmla="*/ 248855 h 3403632"/>
              <a:gd name="connsiteX3575" fmla="*/ 2563131 w 3905665"/>
              <a:gd name="connsiteY3575" fmla="*/ 196773 h 3403632"/>
              <a:gd name="connsiteX3576" fmla="*/ 1118661 w 3905665"/>
              <a:gd name="connsiteY3576" fmla="*/ 196511 h 3403632"/>
              <a:gd name="connsiteX3577" fmla="*/ 1161609 w 3905665"/>
              <a:gd name="connsiteY3577" fmla="*/ 239462 h 3403632"/>
              <a:gd name="connsiteX3578" fmla="*/ 1118661 w 3905665"/>
              <a:gd name="connsiteY3578" fmla="*/ 282410 h 3403632"/>
              <a:gd name="connsiteX3579" fmla="*/ 1075711 w 3905665"/>
              <a:gd name="connsiteY3579" fmla="*/ 239462 h 3403632"/>
              <a:gd name="connsiteX3580" fmla="*/ 1118661 w 3905665"/>
              <a:gd name="connsiteY3580" fmla="*/ 196511 h 3403632"/>
              <a:gd name="connsiteX3581" fmla="*/ 48878 w 3905665"/>
              <a:gd name="connsiteY3581" fmla="*/ 191571 h 3403632"/>
              <a:gd name="connsiteX3582" fmla="*/ 87876 w 3905665"/>
              <a:gd name="connsiteY3582" fmla="*/ 230573 h 3403632"/>
              <a:gd name="connsiteX3583" fmla="*/ 48878 w 3905665"/>
              <a:gd name="connsiteY3583" fmla="*/ 269571 h 3403632"/>
              <a:gd name="connsiteX3584" fmla="*/ 9876 w 3905665"/>
              <a:gd name="connsiteY3584" fmla="*/ 230573 h 3403632"/>
              <a:gd name="connsiteX3585" fmla="*/ 48878 w 3905665"/>
              <a:gd name="connsiteY3585" fmla="*/ 191571 h 3403632"/>
              <a:gd name="connsiteX3586" fmla="*/ 3250316 w 3905665"/>
              <a:gd name="connsiteY3586" fmla="*/ 180494 h 3403632"/>
              <a:gd name="connsiteX3587" fmla="*/ 3296721 w 3905665"/>
              <a:gd name="connsiteY3587" fmla="*/ 226899 h 3403632"/>
              <a:gd name="connsiteX3588" fmla="*/ 3250316 w 3905665"/>
              <a:gd name="connsiteY3588" fmla="*/ 273303 h 3403632"/>
              <a:gd name="connsiteX3589" fmla="*/ 3203911 w 3905665"/>
              <a:gd name="connsiteY3589" fmla="*/ 226899 h 3403632"/>
              <a:gd name="connsiteX3590" fmla="*/ 3250316 w 3905665"/>
              <a:gd name="connsiteY3590" fmla="*/ 180494 h 3403632"/>
              <a:gd name="connsiteX3591" fmla="*/ 3024958 w 3905665"/>
              <a:gd name="connsiteY3591" fmla="*/ 178515 h 3403632"/>
              <a:gd name="connsiteX3592" fmla="*/ 3073830 w 3905665"/>
              <a:gd name="connsiteY3592" fmla="*/ 227636 h 3403632"/>
              <a:gd name="connsiteX3593" fmla="*/ 3024958 w 3905665"/>
              <a:gd name="connsiteY3593" fmla="*/ 276507 h 3403632"/>
              <a:gd name="connsiteX3594" fmla="*/ 2976084 w 3905665"/>
              <a:gd name="connsiteY3594" fmla="*/ 227636 h 3403632"/>
              <a:gd name="connsiteX3595" fmla="*/ 3024958 w 3905665"/>
              <a:gd name="connsiteY3595" fmla="*/ 178515 h 3403632"/>
              <a:gd name="connsiteX3596" fmla="*/ 2798609 w 3905665"/>
              <a:gd name="connsiteY3596" fmla="*/ 176537 h 3403632"/>
              <a:gd name="connsiteX3597" fmla="*/ 2848964 w 3905665"/>
              <a:gd name="connsiteY3597" fmla="*/ 226892 h 3403632"/>
              <a:gd name="connsiteX3598" fmla="*/ 2798609 w 3905665"/>
              <a:gd name="connsiteY3598" fmla="*/ 277246 h 3403632"/>
              <a:gd name="connsiteX3599" fmla="*/ 2748255 w 3905665"/>
              <a:gd name="connsiteY3599" fmla="*/ 226892 h 3403632"/>
              <a:gd name="connsiteX3600" fmla="*/ 2798609 w 3905665"/>
              <a:gd name="connsiteY3600" fmla="*/ 176537 h 3403632"/>
              <a:gd name="connsiteX3601" fmla="*/ 3474690 w 3905665"/>
              <a:gd name="connsiteY3601" fmla="*/ 175067 h 3403632"/>
              <a:gd name="connsiteX3602" fmla="*/ 3525786 w 3905665"/>
              <a:gd name="connsiteY3602" fmla="*/ 226162 h 3403632"/>
              <a:gd name="connsiteX3603" fmla="*/ 3474690 w 3905665"/>
              <a:gd name="connsiteY3603" fmla="*/ 277254 h 3403632"/>
              <a:gd name="connsiteX3604" fmla="*/ 3423595 w 3905665"/>
              <a:gd name="connsiteY3604" fmla="*/ 226162 h 3403632"/>
              <a:gd name="connsiteX3605" fmla="*/ 3474690 w 3905665"/>
              <a:gd name="connsiteY3605" fmla="*/ 175067 h 3403632"/>
              <a:gd name="connsiteX3606" fmla="*/ 370749 w 3905665"/>
              <a:gd name="connsiteY3606" fmla="*/ 167629 h 3403632"/>
              <a:gd name="connsiteX3607" fmla="*/ 413945 w 3905665"/>
              <a:gd name="connsiteY3607" fmla="*/ 210826 h 3403632"/>
              <a:gd name="connsiteX3608" fmla="*/ 370749 w 3905665"/>
              <a:gd name="connsiteY3608" fmla="*/ 254022 h 3403632"/>
              <a:gd name="connsiteX3609" fmla="*/ 327552 w 3905665"/>
              <a:gd name="connsiteY3609" fmla="*/ 210826 h 3403632"/>
              <a:gd name="connsiteX3610" fmla="*/ 370749 w 3905665"/>
              <a:gd name="connsiteY3610" fmla="*/ 167629 h 3403632"/>
              <a:gd name="connsiteX3611" fmla="*/ 1523228 w 3905665"/>
              <a:gd name="connsiteY3611" fmla="*/ 162450 h 3403632"/>
              <a:gd name="connsiteX3612" fmla="*/ 1562473 w 3905665"/>
              <a:gd name="connsiteY3612" fmla="*/ 201697 h 3403632"/>
              <a:gd name="connsiteX3613" fmla="*/ 1523228 w 3905665"/>
              <a:gd name="connsiteY3613" fmla="*/ 240944 h 3403632"/>
              <a:gd name="connsiteX3614" fmla="*/ 1483980 w 3905665"/>
              <a:gd name="connsiteY3614" fmla="*/ 201697 h 3403632"/>
              <a:gd name="connsiteX3615" fmla="*/ 1523228 w 3905665"/>
              <a:gd name="connsiteY3615" fmla="*/ 162450 h 3403632"/>
              <a:gd name="connsiteX3616" fmla="*/ 1762904 w 3905665"/>
              <a:gd name="connsiteY3616" fmla="*/ 161960 h 3403632"/>
              <a:gd name="connsiteX3617" fmla="*/ 1807087 w 3905665"/>
              <a:gd name="connsiteY3617" fmla="*/ 206143 h 3403632"/>
              <a:gd name="connsiteX3618" fmla="*/ 1762904 w 3905665"/>
              <a:gd name="connsiteY3618" fmla="*/ 250325 h 3403632"/>
              <a:gd name="connsiteX3619" fmla="*/ 1718720 w 3905665"/>
              <a:gd name="connsiteY3619" fmla="*/ 206143 h 3403632"/>
              <a:gd name="connsiteX3620" fmla="*/ 1762904 w 3905665"/>
              <a:gd name="connsiteY3620" fmla="*/ 161960 h 3403632"/>
              <a:gd name="connsiteX3621" fmla="*/ 748405 w 3905665"/>
              <a:gd name="connsiteY3621" fmla="*/ 157262 h 3403632"/>
              <a:gd name="connsiteX3622" fmla="*/ 770372 w 3905665"/>
              <a:gd name="connsiteY3622" fmla="*/ 179229 h 3403632"/>
              <a:gd name="connsiteX3623" fmla="*/ 748405 w 3905665"/>
              <a:gd name="connsiteY3623" fmla="*/ 201197 h 3403632"/>
              <a:gd name="connsiteX3624" fmla="*/ 726437 w 3905665"/>
              <a:gd name="connsiteY3624" fmla="*/ 179229 h 3403632"/>
              <a:gd name="connsiteX3625" fmla="*/ 748405 w 3905665"/>
              <a:gd name="connsiteY3625" fmla="*/ 157262 h 3403632"/>
              <a:gd name="connsiteX3626" fmla="*/ 1277374 w 3905665"/>
              <a:gd name="connsiteY3626" fmla="*/ 155785 h 3403632"/>
              <a:gd name="connsiteX3627" fmla="*/ 1317363 w 3905665"/>
              <a:gd name="connsiteY3627" fmla="*/ 195771 h 3403632"/>
              <a:gd name="connsiteX3628" fmla="*/ 1277374 w 3905665"/>
              <a:gd name="connsiteY3628" fmla="*/ 235759 h 3403632"/>
              <a:gd name="connsiteX3629" fmla="*/ 1237389 w 3905665"/>
              <a:gd name="connsiteY3629" fmla="*/ 195771 h 3403632"/>
              <a:gd name="connsiteX3630" fmla="*/ 1277374 w 3905665"/>
              <a:gd name="connsiteY3630" fmla="*/ 155785 h 3403632"/>
              <a:gd name="connsiteX3631" fmla="*/ 159950 w 3905665"/>
              <a:gd name="connsiteY3631" fmla="*/ 155285 h 3403632"/>
              <a:gd name="connsiteX3632" fmla="*/ 199692 w 3905665"/>
              <a:gd name="connsiteY3632" fmla="*/ 195025 h 3403632"/>
              <a:gd name="connsiteX3633" fmla="*/ 159950 w 3905665"/>
              <a:gd name="connsiteY3633" fmla="*/ 234767 h 3403632"/>
              <a:gd name="connsiteX3634" fmla="*/ 120210 w 3905665"/>
              <a:gd name="connsiteY3634" fmla="*/ 195025 h 3403632"/>
              <a:gd name="connsiteX3635" fmla="*/ 159950 w 3905665"/>
              <a:gd name="connsiteY3635" fmla="*/ 155285 h 3403632"/>
              <a:gd name="connsiteX3636" fmla="*/ 566487 w 3905665"/>
              <a:gd name="connsiteY3636" fmla="*/ 153066 h 3403632"/>
              <a:gd name="connsiteX3637" fmla="*/ 616349 w 3905665"/>
              <a:gd name="connsiteY3637" fmla="*/ 202679 h 3403632"/>
              <a:gd name="connsiteX3638" fmla="*/ 566487 w 3905665"/>
              <a:gd name="connsiteY3638" fmla="*/ 252541 h 3403632"/>
              <a:gd name="connsiteX3639" fmla="*/ 516874 w 3905665"/>
              <a:gd name="connsiteY3639" fmla="*/ 202679 h 3403632"/>
              <a:gd name="connsiteX3640" fmla="*/ 566487 w 3905665"/>
              <a:gd name="connsiteY3640" fmla="*/ 153066 h 3403632"/>
              <a:gd name="connsiteX3641" fmla="*/ 3703753 w 3905665"/>
              <a:gd name="connsiteY3641" fmla="*/ 146686 h 3403632"/>
              <a:gd name="connsiteX3642" fmla="*/ 3758798 w 3905665"/>
              <a:gd name="connsiteY3642" fmla="*/ 201730 h 3403632"/>
              <a:gd name="connsiteX3643" fmla="*/ 3703753 w 3905665"/>
              <a:gd name="connsiteY3643" fmla="*/ 256774 h 3403632"/>
              <a:gd name="connsiteX3644" fmla="*/ 3648708 w 3905665"/>
              <a:gd name="connsiteY3644" fmla="*/ 201730 h 3403632"/>
              <a:gd name="connsiteX3645" fmla="*/ 3703753 w 3905665"/>
              <a:gd name="connsiteY3645" fmla="*/ 146686 h 3403632"/>
              <a:gd name="connsiteX3646" fmla="*/ 2695185 w 3905665"/>
              <a:gd name="connsiteY3646" fmla="*/ 144941 h 3403632"/>
              <a:gd name="connsiteX3647" fmla="*/ 2744552 w 3905665"/>
              <a:gd name="connsiteY3647" fmla="*/ 194307 h 3403632"/>
              <a:gd name="connsiteX3648" fmla="*/ 2695185 w 3905665"/>
              <a:gd name="connsiteY3648" fmla="*/ 243674 h 3403632"/>
              <a:gd name="connsiteX3649" fmla="*/ 2645818 w 3905665"/>
              <a:gd name="connsiteY3649" fmla="*/ 194307 h 3403632"/>
              <a:gd name="connsiteX3650" fmla="*/ 2695185 w 3905665"/>
              <a:gd name="connsiteY3650" fmla="*/ 144941 h 3403632"/>
              <a:gd name="connsiteX3651" fmla="*/ 2467359 w 3905665"/>
              <a:gd name="connsiteY3651" fmla="*/ 143703 h 3403632"/>
              <a:gd name="connsiteX3652" fmla="*/ 2517465 w 3905665"/>
              <a:gd name="connsiteY3652" fmla="*/ 193811 h 3403632"/>
              <a:gd name="connsiteX3653" fmla="*/ 2467359 w 3905665"/>
              <a:gd name="connsiteY3653" fmla="*/ 243917 h 3403632"/>
              <a:gd name="connsiteX3654" fmla="*/ 2417251 w 3905665"/>
              <a:gd name="connsiteY3654" fmla="*/ 193811 h 3403632"/>
              <a:gd name="connsiteX3655" fmla="*/ 2467359 w 3905665"/>
              <a:gd name="connsiteY3655" fmla="*/ 143703 h 3403632"/>
              <a:gd name="connsiteX3656" fmla="*/ 2006521 w 3905665"/>
              <a:gd name="connsiteY3656" fmla="*/ 143697 h 3403632"/>
              <a:gd name="connsiteX3657" fmla="*/ 2051938 w 3905665"/>
              <a:gd name="connsiteY3657" fmla="*/ 189361 h 3403632"/>
              <a:gd name="connsiteX3658" fmla="*/ 2006521 w 3905665"/>
              <a:gd name="connsiteY3658" fmla="*/ 234778 h 3403632"/>
              <a:gd name="connsiteX3659" fmla="*/ 1961110 w 3905665"/>
              <a:gd name="connsiteY3659" fmla="*/ 189361 h 3403632"/>
              <a:gd name="connsiteX3660" fmla="*/ 2006521 w 3905665"/>
              <a:gd name="connsiteY3660" fmla="*/ 143697 h 3403632"/>
              <a:gd name="connsiteX3661" fmla="*/ 1023874 w 3905665"/>
              <a:gd name="connsiteY3661" fmla="*/ 141220 h 3403632"/>
              <a:gd name="connsiteX3662" fmla="*/ 1067812 w 3905665"/>
              <a:gd name="connsiteY3662" fmla="*/ 185156 h 3403632"/>
              <a:gd name="connsiteX3663" fmla="*/ 1023874 w 3905665"/>
              <a:gd name="connsiteY3663" fmla="*/ 229094 h 3403632"/>
              <a:gd name="connsiteX3664" fmla="*/ 979939 w 3905665"/>
              <a:gd name="connsiteY3664" fmla="*/ 185156 h 3403632"/>
              <a:gd name="connsiteX3665" fmla="*/ 1023874 w 3905665"/>
              <a:gd name="connsiteY3665" fmla="*/ 141220 h 3403632"/>
              <a:gd name="connsiteX3666" fmla="*/ 2238051 w 3905665"/>
              <a:gd name="connsiteY3666" fmla="*/ 140984 h 3403632"/>
              <a:gd name="connsiteX3667" fmla="*/ 2288900 w 3905665"/>
              <a:gd name="connsiteY3667" fmla="*/ 191830 h 3403632"/>
              <a:gd name="connsiteX3668" fmla="*/ 2238051 w 3905665"/>
              <a:gd name="connsiteY3668" fmla="*/ 242679 h 3403632"/>
              <a:gd name="connsiteX3669" fmla="*/ 2187204 w 3905665"/>
              <a:gd name="connsiteY3669" fmla="*/ 191830 h 3403632"/>
              <a:gd name="connsiteX3670" fmla="*/ 2238051 w 3905665"/>
              <a:gd name="connsiteY3670" fmla="*/ 140984 h 3403632"/>
              <a:gd name="connsiteX3671" fmla="*/ 3376698 w 3905665"/>
              <a:gd name="connsiteY3671" fmla="*/ 124219 h 3403632"/>
              <a:gd name="connsiteX3672" fmla="*/ 3422854 w 3905665"/>
              <a:gd name="connsiteY3672" fmla="*/ 170378 h 3403632"/>
              <a:gd name="connsiteX3673" fmla="*/ 3376698 w 3905665"/>
              <a:gd name="connsiteY3673" fmla="*/ 216536 h 3403632"/>
              <a:gd name="connsiteX3674" fmla="*/ 3330539 w 3905665"/>
              <a:gd name="connsiteY3674" fmla="*/ 170378 h 3403632"/>
              <a:gd name="connsiteX3675" fmla="*/ 3376698 w 3905665"/>
              <a:gd name="connsiteY3675" fmla="*/ 124219 h 3403632"/>
              <a:gd name="connsiteX3676" fmla="*/ 2927951 w 3905665"/>
              <a:gd name="connsiteY3676" fmla="*/ 123962 h 3403632"/>
              <a:gd name="connsiteX3677" fmla="*/ 2975098 w 3905665"/>
              <a:gd name="connsiteY3677" fmla="*/ 171108 h 3403632"/>
              <a:gd name="connsiteX3678" fmla="*/ 2927951 w 3905665"/>
              <a:gd name="connsiteY3678" fmla="*/ 218254 h 3403632"/>
              <a:gd name="connsiteX3679" fmla="*/ 2880805 w 3905665"/>
              <a:gd name="connsiteY3679" fmla="*/ 171108 h 3403632"/>
              <a:gd name="connsiteX3680" fmla="*/ 2927951 w 3905665"/>
              <a:gd name="connsiteY3680" fmla="*/ 123962 h 3403632"/>
              <a:gd name="connsiteX3681" fmla="*/ 3152817 w 3905665"/>
              <a:gd name="connsiteY3681" fmla="*/ 119770 h 3403632"/>
              <a:gd name="connsiteX3682" fmla="*/ 3203910 w 3905665"/>
              <a:gd name="connsiteY3682" fmla="*/ 170865 h 3403632"/>
              <a:gd name="connsiteX3683" fmla="*/ 3152817 w 3905665"/>
              <a:gd name="connsiteY3683" fmla="*/ 221960 h 3403632"/>
              <a:gd name="connsiteX3684" fmla="*/ 3101722 w 3905665"/>
              <a:gd name="connsiteY3684" fmla="*/ 170865 h 3403632"/>
              <a:gd name="connsiteX3685" fmla="*/ 3152817 w 3905665"/>
              <a:gd name="connsiteY3685" fmla="*/ 119770 h 3403632"/>
              <a:gd name="connsiteX3686" fmla="*/ 918723 w 3905665"/>
              <a:gd name="connsiteY3686" fmla="*/ 118511 h 3403632"/>
              <a:gd name="connsiteX3687" fmla="*/ 945381 w 3905665"/>
              <a:gd name="connsiteY3687" fmla="*/ 145169 h 3403632"/>
              <a:gd name="connsiteX3688" fmla="*/ 918723 w 3905665"/>
              <a:gd name="connsiteY3688" fmla="*/ 171827 h 3403632"/>
              <a:gd name="connsiteX3689" fmla="*/ 892065 w 3905665"/>
              <a:gd name="connsiteY3689" fmla="*/ 145169 h 3403632"/>
              <a:gd name="connsiteX3690" fmla="*/ 918723 w 3905665"/>
              <a:gd name="connsiteY3690" fmla="*/ 118511 h 3403632"/>
              <a:gd name="connsiteX3691" fmla="*/ 1668365 w 3905665"/>
              <a:gd name="connsiteY3691" fmla="*/ 112346 h 3403632"/>
              <a:gd name="connsiteX3692" fmla="*/ 1707859 w 3905665"/>
              <a:gd name="connsiteY3692" fmla="*/ 152085 h 3403632"/>
              <a:gd name="connsiteX3693" fmla="*/ 1668365 w 3905665"/>
              <a:gd name="connsiteY3693" fmla="*/ 191579 h 3403632"/>
              <a:gd name="connsiteX3694" fmla="*/ 1628625 w 3905665"/>
              <a:gd name="connsiteY3694" fmla="*/ 152085 h 3403632"/>
              <a:gd name="connsiteX3695" fmla="*/ 1668365 w 3905665"/>
              <a:gd name="connsiteY3695" fmla="*/ 112346 h 3403632"/>
              <a:gd name="connsiteX3696" fmla="*/ 1428688 w 3905665"/>
              <a:gd name="connsiteY3696" fmla="*/ 111602 h 3403632"/>
              <a:gd name="connsiteX3697" fmla="*/ 1465219 w 3905665"/>
              <a:gd name="connsiteY3697" fmla="*/ 148133 h 3403632"/>
              <a:gd name="connsiteX3698" fmla="*/ 1428688 w 3905665"/>
              <a:gd name="connsiteY3698" fmla="*/ 184665 h 3403632"/>
              <a:gd name="connsiteX3699" fmla="*/ 1392156 w 3905665"/>
              <a:gd name="connsiteY3699" fmla="*/ 148133 h 3403632"/>
              <a:gd name="connsiteX3700" fmla="*/ 1428688 w 3905665"/>
              <a:gd name="connsiteY3700" fmla="*/ 111602 h 3403632"/>
              <a:gd name="connsiteX3701" fmla="*/ 265595 w 3905665"/>
              <a:gd name="connsiteY3701" fmla="*/ 106907 h 3403632"/>
              <a:gd name="connsiteX3702" fmla="*/ 305088 w 3905665"/>
              <a:gd name="connsiteY3702" fmla="*/ 146400 h 3403632"/>
              <a:gd name="connsiteX3703" fmla="*/ 265595 w 3905665"/>
              <a:gd name="connsiteY3703" fmla="*/ 185893 h 3403632"/>
              <a:gd name="connsiteX3704" fmla="*/ 226102 w 3905665"/>
              <a:gd name="connsiteY3704" fmla="*/ 146400 h 3403632"/>
              <a:gd name="connsiteX3705" fmla="*/ 265595 w 3905665"/>
              <a:gd name="connsiteY3705" fmla="*/ 106907 h 3403632"/>
              <a:gd name="connsiteX3706" fmla="*/ 1183084 w 3905665"/>
              <a:gd name="connsiteY3706" fmla="*/ 103209 h 3403632"/>
              <a:gd name="connsiteX3707" fmla="*/ 1222083 w 3905665"/>
              <a:gd name="connsiteY3707" fmla="*/ 142210 h 3403632"/>
              <a:gd name="connsiteX3708" fmla="*/ 1183084 w 3905665"/>
              <a:gd name="connsiteY3708" fmla="*/ 181209 h 3403632"/>
              <a:gd name="connsiteX3709" fmla="*/ 1144083 w 3905665"/>
              <a:gd name="connsiteY3709" fmla="*/ 142210 h 3403632"/>
              <a:gd name="connsiteX3710" fmla="*/ 1183084 w 3905665"/>
              <a:gd name="connsiteY3710" fmla="*/ 103209 h 3403632"/>
              <a:gd name="connsiteX3711" fmla="*/ 466272 w 3905665"/>
              <a:gd name="connsiteY3711" fmla="*/ 102711 h 3403632"/>
              <a:gd name="connsiteX3712" fmla="*/ 507989 w 3905665"/>
              <a:gd name="connsiteY3712" fmla="*/ 144425 h 3403632"/>
              <a:gd name="connsiteX3713" fmla="*/ 466272 w 3905665"/>
              <a:gd name="connsiteY3713" fmla="*/ 186389 h 3403632"/>
              <a:gd name="connsiteX3714" fmla="*/ 424311 w 3905665"/>
              <a:gd name="connsiteY3714" fmla="*/ 144425 h 3403632"/>
              <a:gd name="connsiteX3715" fmla="*/ 466272 w 3905665"/>
              <a:gd name="connsiteY3715" fmla="*/ 102711 h 3403632"/>
              <a:gd name="connsiteX3716" fmla="*/ 1911499 w 3905665"/>
              <a:gd name="connsiteY3716" fmla="*/ 92352 h 3403632"/>
              <a:gd name="connsiteX3717" fmla="*/ 1953460 w 3905665"/>
              <a:gd name="connsiteY3717" fmla="*/ 134313 h 3403632"/>
              <a:gd name="connsiteX3718" fmla="*/ 1911499 w 3905665"/>
              <a:gd name="connsiteY3718" fmla="*/ 176276 h 3403632"/>
              <a:gd name="connsiteX3719" fmla="*/ 1869785 w 3905665"/>
              <a:gd name="connsiteY3719" fmla="*/ 134313 h 3403632"/>
              <a:gd name="connsiteX3720" fmla="*/ 1911499 w 3905665"/>
              <a:gd name="connsiteY3720" fmla="*/ 92352 h 3403632"/>
              <a:gd name="connsiteX3721" fmla="*/ 3605265 w 3905665"/>
              <a:gd name="connsiteY3721" fmla="*/ 90654 h 3403632"/>
              <a:gd name="connsiteX3722" fmla="*/ 3659815 w 3905665"/>
              <a:gd name="connsiteY3722" fmla="*/ 145204 h 3403632"/>
              <a:gd name="connsiteX3723" fmla="*/ 3605265 w 3905665"/>
              <a:gd name="connsiteY3723" fmla="*/ 199753 h 3403632"/>
              <a:gd name="connsiteX3724" fmla="*/ 3550715 w 3905665"/>
              <a:gd name="connsiteY3724" fmla="*/ 145204 h 3403632"/>
              <a:gd name="connsiteX3725" fmla="*/ 3605265 w 3905665"/>
              <a:gd name="connsiteY3725" fmla="*/ 90654 h 3403632"/>
              <a:gd name="connsiteX3726" fmla="*/ 3827416 w 3905665"/>
              <a:gd name="connsiteY3726" fmla="*/ 89177 h 3403632"/>
              <a:gd name="connsiteX3727" fmla="*/ 3882707 w 3905665"/>
              <a:gd name="connsiteY3727" fmla="*/ 144467 h 3403632"/>
              <a:gd name="connsiteX3728" fmla="*/ 3827416 w 3905665"/>
              <a:gd name="connsiteY3728" fmla="*/ 199757 h 3403632"/>
              <a:gd name="connsiteX3729" fmla="*/ 3772125 w 3905665"/>
              <a:gd name="connsiteY3729" fmla="*/ 144467 h 3403632"/>
              <a:gd name="connsiteX3730" fmla="*/ 3827416 w 3905665"/>
              <a:gd name="connsiteY3730" fmla="*/ 89177 h 3403632"/>
              <a:gd name="connsiteX3731" fmla="*/ 2598672 w 3905665"/>
              <a:gd name="connsiteY3731" fmla="*/ 88907 h 3403632"/>
              <a:gd name="connsiteX3732" fmla="*/ 2648285 w 3905665"/>
              <a:gd name="connsiteY3732" fmla="*/ 138520 h 3403632"/>
              <a:gd name="connsiteX3733" fmla="*/ 2598672 w 3905665"/>
              <a:gd name="connsiteY3733" fmla="*/ 188135 h 3403632"/>
              <a:gd name="connsiteX3734" fmla="*/ 2549059 w 3905665"/>
              <a:gd name="connsiteY3734" fmla="*/ 138520 h 3403632"/>
              <a:gd name="connsiteX3735" fmla="*/ 2598672 w 3905665"/>
              <a:gd name="connsiteY3735" fmla="*/ 88907 h 3403632"/>
              <a:gd name="connsiteX3736" fmla="*/ 2142773 w 3905665"/>
              <a:gd name="connsiteY3736" fmla="*/ 86926 h 3403632"/>
              <a:gd name="connsiteX3737" fmla="*/ 2192140 w 3905665"/>
              <a:gd name="connsiteY3737" fmla="*/ 136293 h 3403632"/>
              <a:gd name="connsiteX3738" fmla="*/ 2142773 w 3905665"/>
              <a:gd name="connsiteY3738" fmla="*/ 185660 h 3403632"/>
              <a:gd name="connsiteX3739" fmla="*/ 2093406 w 3905665"/>
              <a:gd name="connsiteY3739" fmla="*/ 136293 h 3403632"/>
              <a:gd name="connsiteX3740" fmla="*/ 2142773 w 3905665"/>
              <a:gd name="connsiteY3740" fmla="*/ 86926 h 3403632"/>
              <a:gd name="connsiteX3741" fmla="*/ 2371341 w 3905665"/>
              <a:gd name="connsiteY3741" fmla="*/ 86434 h 3403632"/>
              <a:gd name="connsiteX3742" fmla="*/ 2423424 w 3905665"/>
              <a:gd name="connsiteY3742" fmla="*/ 138517 h 3403632"/>
              <a:gd name="connsiteX3743" fmla="*/ 2371341 w 3905665"/>
              <a:gd name="connsiteY3743" fmla="*/ 190599 h 3403632"/>
              <a:gd name="connsiteX3744" fmla="*/ 2319258 w 3905665"/>
              <a:gd name="connsiteY3744" fmla="*/ 138517 h 3403632"/>
              <a:gd name="connsiteX3745" fmla="*/ 2371341 w 3905665"/>
              <a:gd name="connsiteY3745" fmla="*/ 86434 h 3403632"/>
              <a:gd name="connsiteX3746" fmla="*/ 651399 w 3905665"/>
              <a:gd name="connsiteY3746" fmla="*/ 79261 h 3403632"/>
              <a:gd name="connsiteX3747" fmla="*/ 696078 w 3905665"/>
              <a:gd name="connsiteY3747" fmla="*/ 123938 h 3403632"/>
              <a:gd name="connsiteX3748" fmla="*/ 651399 w 3905665"/>
              <a:gd name="connsiteY3748" fmla="*/ 168614 h 3403632"/>
              <a:gd name="connsiteX3749" fmla="*/ 606723 w 3905665"/>
              <a:gd name="connsiteY3749" fmla="*/ 123938 h 3403632"/>
              <a:gd name="connsiteX3750" fmla="*/ 651399 w 3905665"/>
              <a:gd name="connsiteY3750" fmla="*/ 79261 h 3403632"/>
              <a:gd name="connsiteX3751" fmla="*/ 1574074 w 3905665"/>
              <a:gd name="connsiteY3751" fmla="*/ 75072 h 3403632"/>
              <a:gd name="connsiteX3752" fmla="*/ 1596042 w 3905665"/>
              <a:gd name="connsiteY3752" fmla="*/ 97040 h 3403632"/>
              <a:gd name="connsiteX3753" fmla="*/ 1574074 w 3905665"/>
              <a:gd name="connsiteY3753" fmla="*/ 119007 h 3403632"/>
              <a:gd name="connsiteX3754" fmla="*/ 1552353 w 3905665"/>
              <a:gd name="connsiteY3754" fmla="*/ 97040 h 3403632"/>
              <a:gd name="connsiteX3755" fmla="*/ 1574074 w 3905665"/>
              <a:gd name="connsiteY3755" fmla="*/ 75072 h 3403632"/>
              <a:gd name="connsiteX3756" fmla="*/ 3278456 w 3905665"/>
              <a:gd name="connsiteY3756" fmla="*/ 72875 h 3403632"/>
              <a:gd name="connsiteX3757" fmla="*/ 3319924 w 3905665"/>
              <a:gd name="connsiteY3757" fmla="*/ 114343 h 3403632"/>
              <a:gd name="connsiteX3758" fmla="*/ 3278456 w 3905665"/>
              <a:gd name="connsiteY3758" fmla="*/ 155811 h 3403632"/>
              <a:gd name="connsiteX3759" fmla="*/ 3236988 w 3905665"/>
              <a:gd name="connsiteY3759" fmla="*/ 114343 h 3403632"/>
              <a:gd name="connsiteX3760" fmla="*/ 3278456 w 3905665"/>
              <a:gd name="connsiteY3760" fmla="*/ 72875 h 3403632"/>
              <a:gd name="connsiteX3761" fmla="*/ 3054823 w 3905665"/>
              <a:gd name="connsiteY3761" fmla="*/ 71142 h 3403632"/>
              <a:gd name="connsiteX3762" fmla="*/ 3098761 w 3905665"/>
              <a:gd name="connsiteY3762" fmla="*/ 115077 h 3403632"/>
              <a:gd name="connsiteX3763" fmla="*/ 3054823 w 3905665"/>
              <a:gd name="connsiteY3763" fmla="*/ 159015 h 3403632"/>
              <a:gd name="connsiteX3764" fmla="*/ 3010887 w 3905665"/>
              <a:gd name="connsiteY3764" fmla="*/ 115077 h 3403632"/>
              <a:gd name="connsiteX3765" fmla="*/ 3054823 w 3905665"/>
              <a:gd name="connsiteY3765" fmla="*/ 71142 h 3403632"/>
              <a:gd name="connsiteX3766" fmla="*/ 823444 w 3905665"/>
              <a:gd name="connsiteY3766" fmla="*/ 70130 h 3403632"/>
              <a:gd name="connsiteX3767" fmla="*/ 843932 w 3905665"/>
              <a:gd name="connsiteY3767" fmla="*/ 90864 h 3403632"/>
              <a:gd name="connsiteX3768" fmla="*/ 823444 w 3905665"/>
              <a:gd name="connsiteY3768" fmla="*/ 111599 h 3403632"/>
              <a:gd name="connsiteX3769" fmla="*/ 802709 w 3905665"/>
              <a:gd name="connsiteY3769" fmla="*/ 90864 h 3403632"/>
              <a:gd name="connsiteX3770" fmla="*/ 823444 w 3905665"/>
              <a:gd name="connsiteY3770" fmla="*/ 70130 h 3403632"/>
              <a:gd name="connsiteX3771" fmla="*/ 48874 w 3905665"/>
              <a:gd name="connsiteY3771" fmla="*/ 69387 h 3403632"/>
              <a:gd name="connsiteX3772" fmla="*/ 97746 w 3905665"/>
              <a:gd name="connsiteY3772" fmla="*/ 118259 h 3403632"/>
              <a:gd name="connsiteX3773" fmla="*/ 48874 w 3905665"/>
              <a:gd name="connsiteY3773" fmla="*/ 167134 h 3403632"/>
              <a:gd name="connsiteX3774" fmla="*/ 0 w 3905665"/>
              <a:gd name="connsiteY3774" fmla="*/ 118259 h 3403632"/>
              <a:gd name="connsiteX3775" fmla="*/ 48874 w 3905665"/>
              <a:gd name="connsiteY3775" fmla="*/ 69387 h 3403632"/>
              <a:gd name="connsiteX3776" fmla="*/ 2830700 w 3905665"/>
              <a:gd name="connsiteY3776" fmla="*/ 69164 h 3403632"/>
              <a:gd name="connsiteX3777" fmla="*/ 2876363 w 3905665"/>
              <a:gd name="connsiteY3777" fmla="*/ 114828 h 3403632"/>
              <a:gd name="connsiteX3778" fmla="*/ 2830700 w 3905665"/>
              <a:gd name="connsiteY3778" fmla="*/ 160491 h 3403632"/>
              <a:gd name="connsiteX3779" fmla="*/ 2785282 w 3905665"/>
              <a:gd name="connsiteY3779" fmla="*/ 114828 h 3403632"/>
              <a:gd name="connsiteX3780" fmla="*/ 2830700 w 3905665"/>
              <a:gd name="connsiteY3780" fmla="*/ 69164 h 3403632"/>
              <a:gd name="connsiteX3781" fmla="*/ 3501099 w 3905665"/>
              <a:gd name="connsiteY3781" fmla="*/ 63745 h 3403632"/>
              <a:gd name="connsiteX3782" fmla="*/ 3550715 w 3905665"/>
              <a:gd name="connsiteY3782" fmla="*/ 113358 h 3403632"/>
              <a:gd name="connsiteX3783" fmla="*/ 3501099 w 3905665"/>
              <a:gd name="connsiteY3783" fmla="*/ 162973 h 3403632"/>
              <a:gd name="connsiteX3784" fmla="*/ 3451486 w 3905665"/>
              <a:gd name="connsiteY3784" fmla="*/ 113358 h 3403632"/>
              <a:gd name="connsiteX3785" fmla="*/ 3501099 w 3905665"/>
              <a:gd name="connsiteY3785" fmla="*/ 63745 h 3403632"/>
              <a:gd name="connsiteX3786" fmla="*/ 1334394 w 3905665"/>
              <a:gd name="connsiteY3786" fmla="*/ 59519 h 3403632"/>
              <a:gd name="connsiteX3787" fmla="*/ 1369197 w 3905665"/>
              <a:gd name="connsiteY3787" fmla="*/ 94322 h 3403632"/>
              <a:gd name="connsiteX3788" fmla="*/ 1334394 w 3905665"/>
              <a:gd name="connsiteY3788" fmla="*/ 129128 h 3403632"/>
              <a:gd name="connsiteX3789" fmla="*/ 1299591 w 3905665"/>
              <a:gd name="connsiteY3789" fmla="*/ 94322 h 3403632"/>
              <a:gd name="connsiteX3790" fmla="*/ 1334394 w 3905665"/>
              <a:gd name="connsiteY3790" fmla="*/ 59519 h 3403632"/>
              <a:gd name="connsiteX3791" fmla="*/ 1808568 w 3905665"/>
              <a:gd name="connsiteY3791" fmla="*/ 48416 h 3403632"/>
              <a:gd name="connsiteX3792" fmla="*/ 1859909 w 3905665"/>
              <a:gd name="connsiteY3792" fmla="*/ 99757 h 3403632"/>
              <a:gd name="connsiteX3793" fmla="*/ 1808568 w 3905665"/>
              <a:gd name="connsiteY3793" fmla="*/ 151099 h 3403632"/>
              <a:gd name="connsiteX3794" fmla="*/ 1757227 w 3905665"/>
              <a:gd name="connsiteY3794" fmla="*/ 99757 h 3403632"/>
              <a:gd name="connsiteX3795" fmla="*/ 1808568 w 3905665"/>
              <a:gd name="connsiteY3795" fmla="*/ 48416 h 3403632"/>
              <a:gd name="connsiteX3796" fmla="*/ 1088791 w 3905665"/>
              <a:gd name="connsiteY3796" fmla="*/ 46681 h 3403632"/>
              <a:gd name="connsiteX3797" fmla="*/ 1130506 w 3905665"/>
              <a:gd name="connsiteY3797" fmla="*/ 88149 h 3403632"/>
              <a:gd name="connsiteX3798" fmla="*/ 1088791 w 3905665"/>
              <a:gd name="connsiteY3798" fmla="*/ 129617 h 3403632"/>
              <a:gd name="connsiteX3799" fmla="*/ 1047078 w 3905665"/>
              <a:gd name="connsiteY3799" fmla="*/ 88149 h 3403632"/>
              <a:gd name="connsiteX3800" fmla="*/ 1088791 w 3905665"/>
              <a:gd name="connsiteY3800" fmla="*/ 46681 h 3403632"/>
              <a:gd name="connsiteX3801" fmla="*/ 364578 w 3905665"/>
              <a:gd name="connsiteY3801" fmla="*/ 45692 h 3403632"/>
              <a:gd name="connsiteX3802" fmla="*/ 403823 w 3905665"/>
              <a:gd name="connsiteY3802" fmla="*/ 84939 h 3403632"/>
              <a:gd name="connsiteX3803" fmla="*/ 364578 w 3905665"/>
              <a:gd name="connsiteY3803" fmla="*/ 124184 h 3403632"/>
              <a:gd name="connsiteX3804" fmla="*/ 325331 w 3905665"/>
              <a:gd name="connsiteY3804" fmla="*/ 84939 h 3403632"/>
              <a:gd name="connsiteX3805" fmla="*/ 364578 w 3905665"/>
              <a:gd name="connsiteY3805" fmla="*/ 45692 h 3403632"/>
              <a:gd name="connsiteX3806" fmla="*/ 2727029 w 3905665"/>
              <a:gd name="connsiteY3806" fmla="*/ 40529 h 3403632"/>
              <a:gd name="connsiteX3807" fmla="*/ 2769239 w 3905665"/>
              <a:gd name="connsiteY3807" fmla="*/ 82739 h 3403632"/>
              <a:gd name="connsiteX3808" fmla="*/ 2727029 w 3905665"/>
              <a:gd name="connsiteY3808" fmla="*/ 124948 h 3403632"/>
              <a:gd name="connsiteX3809" fmla="*/ 2684820 w 3905665"/>
              <a:gd name="connsiteY3809" fmla="*/ 82739 h 3403632"/>
              <a:gd name="connsiteX3810" fmla="*/ 2727029 w 3905665"/>
              <a:gd name="connsiteY3810" fmla="*/ 40529 h 3403632"/>
              <a:gd name="connsiteX3811" fmla="*/ 2501667 w 3905665"/>
              <a:gd name="connsiteY3811" fmla="*/ 35589 h 3403632"/>
              <a:gd name="connsiteX3812" fmla="*/ 2549060 w 3905665"/>
              <a:gd name="connsiteY3812" fmla="*/ 82981 h 3403632"/>
              <a:gd name="connsiteX3813" fmla="*/ 2501667 w 3905665"/>
              <a:gd name="connsiteY3813" fmla="*/ 130373 h 3403632"/>
              <a:gd name="connsiteX3814" fmla="*/ 2454275 w 3905665"/>
              <a:gd name="connsiteY3814" fmla="*/ 82981 h 3403632"/>
              <a:gd name="connsiteX3815" fmla="*/ 2501667 w 3905665"/>
              <a:gd name="connsiteY3815" fmla="*/ 35589 h 3403632"/>
              <a:gd name="connsiteX3816" fmla="*/ 3728190 w 3905665"/>
              <a:gd name="connsiteY3816" fmla="*/ 31909 h 3403632"/>
              <a:gd name="connsiteX3817" fmla="*/ 3784223 w 3905665"/>
              <a:gd name="connsiteY3817" fmla="*/ 87941 h 3403632"/>
              <a:gd name="connsiteX3818" fmla="*/ 3728190 w 3905665"/>
              <a:gd name="connsiteY3818" fmla="*/ 143970 h 3403632"/>
              <a:gd name="connsiteX3819" fmla="*/ 3672158 w 3905665"/>
              <a:gd name="connsiteY3819" fmla="*/ 87941 h 3403632"/>
              <a:gd name="connsiteX3820" fmla="*/ 3728190 w 3905665"/>
              <a:gd name="connsiteY3820" fmla="*/ 31909 h 3403632"/>
              <a:gd name="connsiteX3821" fmla="*/ 2275323 w 3905665"/>
              <a:gd name="connsiteY3821" fmla="*/ 30155 h 3403632"/>
              <a:gd name="connsiteX3822" fmla="*/ 2326911 w 3905665"/>
              <a:gd name="connsiteY3822" fmla="*/ 81743 h 3403632"/>
              <a:gd name="connsiteX3823" fmla="*/ 2275323 w 3905665"/>
              <a:gd name="connsiteY3823" fmla="*/ 133333 h 3403632"/>
              <a:gd name="connsiteX3824" fmla="*/ 2223735 w 3905665"/>
              <a:gd name="connsiteY3824" fmla="*/ 81743 h 3403632"/>
              <a:gd name="connsiteX3825" fmla="*/ 2275323 w 3905665"/>
              <a:gd name="connsiteY3825" fmla="*/ 30155 h 3403632"/>
              <a:gd name="connsiteX3826" fmla="*/ 2047248 w 3905665"/>
              <a:gd name="connsiteY3826" fmla="*/ 29413 h 3403632"/>
              <a:gd name="connsiteX3827" fmla="*/ 2097602 w 3905665"/>
              <a:gd name="connsiteY3827" fmla="*/ 80013 h 3403632"/>
              <a:gd name="connsiteX3828" fmla="*/ 2047248 w 3905665"/>
              <a:gd name="connsiteY3828" fmla="*/ 130616 h 3403632"/>
              <a:gd name="connsiteX3829" fmla="*/ 1996893 w 3905665"/>
              <a:gd name="connsiteY3829" fmla="*/ 80013 h 3403632"/>
              <a:gd name="connsiteX3830" fmla="*/ 2047248 w 3905665"/>
              <a:gd name="connsiteY3830" fmla="*/ 29413 h 3403632"/>
              <a:gd name="connsiteX3831" fmla="*/ 553652 w 3905665"/>
              <a:gd name="connsiteY3831" fmla="*/ 27427 h 3403632"/>
              <a:gd name="connsiteX3832" fmla="*/ 594133 w 3905665"/>
              <a:gd name="connsiteY3832" fmla="*/ 67908 h 3403632"/>
              <a:gd name="connsiteX3833" fmla="*/ 553652 w 3905665"/>
              <a:gd name="connsiteY3833" fmla="*/ 108389 h 3403632"/>
              <a:gd name="connsiteX3834" fmla="*/ 513171 w 3905665"/>
              <a:gd name="connsiteY3834" fmla="*/ 67908 h 3403632"/>
              <a:gd name="connsiteX3835" fmla="*/ 553652 w 3905665"/>
              <a:gd name="connsiteY3835" fmla="*/ 27427 h 3403632"/>
              <a:gd name="connsiteX3836" fmla="*/ 158716 w 3905665"/>
              <a:gd name="connsiteY3836" fmla="*/ 26439 h 3403632"/>
              <a:gd name="connsiteX3837" fmla="*/ 210304 w 3905665"/>
              <a:gd name="connsiteY3837" fmla="*/ 78027 h 3403632"/>
              <a:gd name="connsiteX3838" fmla="*/ 158716 w 3905665"/>
              <a:gd name="connsiteY3838" fmla="*/ 129615 h 3403632"/>
              <a:gd name="connsiteX3839" fmla="*/ 107128 w 3905665"/>
              <a:gd name="connsiteY3839" fmla="*/ 78027 h 3403632"/>
              <a:gd name="connsiteX3840" fmla="*/ 158716 w 3905665"/>
              <a:gd name="connsiteY3840" fmla="*/ 26439 h 3403632"/>
              <a:gd name="connsiteX3841" fmla="*/ 984629 w 3905665"/>
              <a:gd name="connsiteY3841" fmla="*/ 24467 h 3403632"/>
              <a:gd name="connsiteX3842" fmla="*/ 1010300 w 3905665"/>
              <a:gd name="connsiteY3842" fmla="*/ 50138 h 3403632"/>
              <a:gd name="connsiteX3843" fmla="*/ 984629 w 3905665"/>
              <a:gd name="connsiteY3843" fmla="*/ 75809 h 3403632"/>
              <a:gd name="connsiteX3844" fmla="*/ 958958 w 3905665"/>
              <a:gd name="connsiteY3844" fmla="*/ 50138 h 3403632"/>
              <a:gd name="connsiteX3845" fmla="*/ 984629 w 3905665"/>
              <a:gd name="connsiteY3845" fmla="*/ 24467 h 3403632"/>
              <a:gd name="connsiteX3846" fmla="*/ 2957076 w 3905665"/>
              <a:gd name="connsiteY3846" fmla="*/ 15358 h 3403632"/>
              <a:gd name="connsiteX3847" fmla="*/ 3000027 w 3905665"/>
              <a:gd name="connsiteY3847" fmla="*/ 58305 h 3403632"/>
              <a:gd name="connsiteX3848" fmla="*/ 2957076 w 3905665"/>
              <a:gd name="connsiteY3848" fmla="*/ 101255 h 3403632"/>
              <a:gd name="connsiteX3849" fmla="*/ 2914128 w 3905665"/>
              <a:gd name="connsiteY3849" fmla="*/ 58305 h 3403632"/>
              <a:gd name="connsiteX3850" fmla="*/ 2957076 w 3905665"/>
              <a:gd name="connsiteY3850" fmla="*/ 15358 h 3403632"/>
              <a:gd name="connsiteX3851" fmla="*/ 3402119 w 3905665"/>
              <a:gd name="connsiteY3851" fmla="*/ 13143 h 3403632"/>
              <a:gd name="connsiteX3852" fmla="*/ 3445811 w 3905665"/>
              <a:gd name="connsiteY3852" fmla="*/ 56832 h 3403632"/>
              <a:gd name="connsiteX3853" fmla="*/ 3402119 w 3905665"/>
              <a:gd name="connsiteY3853" fmla="*/ 100523 h 3403632"/>
              <a:gd name="connsiteX3854" fmla="*/ 3358430 w 3905665"/>
              <a:gd name="connsiteY3854" fmla="*/ 56832 h 3403632"/>
              <a:gd name="connsiteX3855" fmla="*/ 3402119 w 3905665"/>
              <a:gd name="connsiteY3855" fmla="*/ 13143 h 3403632"/>
              <a:gd name="connsiteX3856" fmla="*/ 1479288 w 3905665"/>
              <a:gd name="connsiteY3856" fmla="*/ 11881 h 3403632"/>
              <a:gd name="connsiteX3857" fmla="*/ 1510637 w 3905665"/>
              <a:gd name="connsiteY3857" fmla="*/ 43230 h 3403632"/>
              <a:gd name="connsiteX3858" fmla="*/ 1479288 w 3905665"/>
              <a:gd name="connsiteY3858" fmla="*/ 74825 h 3403632"/>
              <a:gd name="connsiteX3859" fmla="*/ 1447693 w 3905665"/>
              <a:gd name="connsiteY3859" fmla="*/ 43230 h 3403632"/>
              <a:gd name="connsiteX3860" fmla="*/ 1479288 w 3905665"/>
              <a:gd name="connsiteY3860" fmla="*/ 11881 h 3403632"/>
              <a:gd name="connsiteX3861" fmla="*/ 3179968 w 3905665"/>
              <a:gd name="connsiteY3861" fmla="*/ 7710 h 3403632"/>
              <a:gd name="connsiteX3862" fmla="*/ 3230074 w 3905665"/>
              <a:gd name="connsiteY3862" fmla="*/ 57818 h 3403632"/>
              <a:gd name="connsiteX3863" fmla="*/ 3179968 w 3905665"/>
              <a:gd name="connsiteY3863" fmla="*/ 107923 h 3403632"/>
              <a:gd name="connsiteX3864" fmla="*/ 3129860 w 3905665"/>
              <a:gd name="connsiteY3864" fmla="*/ 57818 h 3403632"/>
              <a:gd name="connsiteX3865" fmla="*/ 3179968 w 3905665"/>
              <a:gd name="connsiteY3865" fmla="*/ 7710 h 3403632"/>
              <a:gd name="connsiteX3866" fmla="*/ 728165 w 3905665"/>
              <a:gd name="connsiteY3866" fmla="*/ 6199 h 3403632"/>
              <a:gd name="connsiteX3867" fmla="*/ 758772 w 3905665"/>
              <a:gd name="connsiteY3867" fmla="*/ 36806 h 3403632"/>
              <a:gd name="connsiteX3868" fmla="*/ 728165 w 3905665"/>
              <a:gd name="connsiteY3868" fmla="*/ 67414 h 3403632"/>
              <a:gd name="connsiteX3869" fmla="*/ 697558 w 3905665"/>
              <a:gd name="connsiteY3869" fmla="*/ 36806 h 3403632"/>
              <a:gd name="connsiteX3870" fmla="*/ 728165 w 3905665"/>
              <a:gd name="connsiteY3870" fmla="*/ 6199 h 3403632"/>
              <a:gd name="connsiteX3871" fmla="*/ 1240101 w 3905665"/>
              <a:gd name="connsiteY3871" fmla="*/ 5214 h 3403632"/>
              <a:gd name="connsiteX3872" fmla="*/ 1275153 w 3905665"/>
              <a:gd name="connsiteY3872" fmla="*/ 40263 h 3403632"/>
              <a:gd name="connsiteX3873" fmla="*/ 1240101 w 3905665"/>
              <a:gd name="connsiteY3873" fmla="*/ 75315 h 3403632"/>
              <a:gd name="connsiteX3874" fmla="*/ 1205052 w 3905665"/>
              <a:gd name="connsiteY3874" fmla="*/ 40263 h 3403632"/>
              <a:gd name="connsiteX3875" fmla="*/ 1240101 w 3905665"/>
              <a:gd name="connsiteY3875" fmla="*/ 5214 h 3403632"/>
              <a:gd name="connsiteX3876" fmla="*/ 3803451 w 3905665"/>
              <a:gd name="connsiteY3876" fmla="*/ 0 h 3403632"/>
              <a:gd name="connsiteX3877" fmla="*/ 3895489 w 3905665"/>
              <a:gd name="connsiteY3877" fmla="*/ 0 h 3403632"/>
              <a:gd name="connsiteX3878" fmla="*/ 3901210 w 3905665"/>
              <a:gd name="connsiteY3878" fmla="*/ 8414 h 3403632"/>
              <a:gd name="connsiteX3879" fmla="*/ 3905665 w 3905665"/>
              <a:gd name="connsiteY3879" fmla="*/ 30186 h 3403632"/>
              <a:gd name="connsiteX3880" fmla="*/ 3849386 w 3905665"/>
              <a:gd name="connsiteY3880" fmla="*/ 86215 h 3403632"/>
              <a:gd name="connsiteX3881" fmla="*/ 3793354 w 3905665"/>
              <a:gd name="connsiteY3881" fmla="*/ 30186 h 3403632"/>
              <a:gd name="connsiteX3882" fmla="*/ 3797770 w 3905665"/>
              <a:gd name="connsiteY3882" fmla="*/ 8414 h 3403632"/>
              <a:gd name="connsiteX3883" fmla="*/ 3699416 w 3905665"/>
              <a:gd name="connsiteY3883" fmla="*/ 0 h 3403632"/>
              <a:gd name="connsiteX3884" fmla="*/ 3798482 w 3905665"/>
              <a:gd name="connsiteY3884" fmla="*/ 0 h 3403632"/>
              <a:gd name="connsiteX3885" fmla="*/ 3789282 w 3905665"/>
              <a:gd name="connsiteY3885" fmla="*/ 13677 h 3403632"/>
              <a:gd name="connsiteX3886" fmla="*/ 3748924 w 3905665"/>
              <a:gd name="connsiteY3886" fmla="*/ 30430 h 3403632"/>
              <a:gd name="connsiteX3887" fmla="*/ 3708659 w 3905665"/>
              <a:gd name="connsiteY3887" fmla="*/ 13677 h 3403632"/>
              <a:gd name="connsiteX3888" fmla="*/ 3583942 w 3905665"/>
              <a:gd name="connsiteY3888" fmla="*/ 0 h 3403632"/>
              <a:gd name="connsiteX3889" fmla="*/ 3672925 w 3905665"/>
              <a:gd name="connsiteY3889" fmla="*/ 0 h 3403632"/>
              <a:gd name="connsiteX3890" fmla="*/ 3679387 w 3905665"/>
              <a:gd name="connsiteY3890" fmla="*/ 9511 h 3403632"/>
              <a:gd name="connsiteX3891" fmla="*/ 3683757 w 3905665"/>
              <a:gd name="connsiteY3891" fmla="*/ 30920 h 3403632"/>
              <a:gd name="connsiteX3892" fmla="*/ 3628466 w 3905665"/>
              <a:gd name="connsiteY3892" fmla="*/ 86210 h 3403632"/>
              <a:gd name="connsiteX3893" fmla="*/ 3573175 w 3905665"/>
              <a:gd name="connsiteY3893" fmla="*/ 30920 h 3403632"/>
              <a:gd name="connsiteX3894" fmla="*/ 3577510 w 3905665"/>
              <a:gd name="connsiteY3894" fmla="*/ 9511 h 3403632"/>
              <a:gd name="connsiteX3895" fmla="*/ 3475766 w 3905665"/>
              <a:gd name="connsiteY3895" fmla="*/ 0 h 3403632"/>
              <a:gd name="connsiteX3896" fmla="*/ 3572104 w 3905665"/>
              <a:gd name="connsiteY3896" fmla="*/ 0 h 3403632"/>
              <a:gd name="connsiteX3897" fmla="*/ 3568384 w 3905665"/>
              <a:gd name="connsiteY3897" fmla="*/ 18234 h 3403632"/>
              <a:gd name="connsiteX3898" fmla="*/ 3524058 w 3905665"/>
              <a:gd name="connsiteY3898" fmla="*/ 47704 h 3403632"/>
              <a:gd name="connsiteX3899" fmla="*/ 3479489 w 3905665"/>
              <a:gd name="connsiteY3899" fmla="*/ 18234 h 3403632"/>
              <a:gd name="connsiteX3900" fmla="*/ 3266343 w 3905665"/>
              <a:gd name="connsiteY3900" fmla="*/ 0 h 3403632"/>
              <a:gd name="connsiteX3901" fmla="*/ 3339442 w 3905665"/>
              <a:gd name="connsiteY3901" fmla="*/ 0 h 3403632"/>
              <a:gd name="connsiteX3902" fmla="*/ 3339671 w 3905665"/>
              <a:gd name="connsiteY3902" fmla="*/ 552 h 3403632"/>
              <a:gd name="connsiteX3903" fmla="*/ 3302891 w 3905665"/>
              <a:gd name="connsiteY3903" fmla="*/ 37331 h 3403632"/>
              <a:gd name="connsiteX3904" fmla="*/ 3266113 w 3905665"/>
              <a:gd name="connsiteY3904" fmla="*/ 552 h 3403632"/>
              <a:gd name="connsiteX3905" fmla="*/ 3042626 w 3905665"/>
              <a:gd name="connsiteY3905" fmla="*/ 0 h 3403632"/>
              <a:gd name="connsiteX3906" fmla="*/ 3119349 w 3905665"/>
              <a:gd name="connsiteY3906" fmla="*/ 0 h 3403632"/>
              <a:gd name="connsiteX3907" fmla="*/ 3119987 w 3905665"/>
              <a:gd name="connsiteY3907" fmla="*/ 1537 h 3403632"/>
              <a:gd name="connsiteX3908" fmla="*/ 3080986 w 3905665"/>
              <a:gd name="connsiteY3908" fmla="*/ 40535 h 3403632"/>
              <a:gd name="connsiteX3909" fmla="*/ 3041987 w 3905665"/>
              <a:gd name="connsiteY3909" fmla="*/ 1537 h 3403632"/>
              <a:gd name="connsiteX3910" fmla="*/ 2818599 w 3905665"/>
              <a:gd name="connsiteY3910" fmla="*/ 0 h 3403632"/>
              <a:gd name="connsiteX3911" fmla="*/ 2898827 w 3905665"/>
              <a:gd name="connsiteY3911" fmla="*/ 0 h 3403632"/>
              <a:gd name="connsiteX3912" fmla="*/ 2899567 w 3905665"/>
              <a:gd name="connsiteY3912" fmla="*/ 1779 h 3403632"/>
              <a:gd name="connsiteX3913" fmla="*/ 2858591 w 3905665"/>
              <a:gd name="connsiteY3913" fmla="*/ 42506 h 3403632"/>
              <a:gd name="connsiteX3914" fmla="*/ 2817864 w 3905665"/>
              <a:gd name="connsiteY3914" fmla="*/ 1779 h 3403632"/>
              <a:gd name="connsiteX3915" fmla="*/ 2745381 w 3905665"/>
              <a:gd name="connsiteY3915" fmla="*/ 0 h 3403632"/>
              <a:gd name="connsiteX3916" fmla="*/ 2763471 w 3905665"/>
              <a:gd name="connsiteY3916" fmla="*/ 0 h 3403632"/>
              <a:gd name="connsiteX3917" fmla="*/ 2754426 w 3905665"/>
              <a:gd name="connsiteY3917" fmla="*/ 3752 h 3403632"/>
              <a:gd name="connsiteX3918" fmla="*/ 2593499 w 3905665"/>
              <a:gd name="connsiteY3918" fmla="*/ 0 h 3403632"/>
              <a:gd name="connsiteX3919" fmla="*/ 2665561 w 3905665"/>
              <a:gd name="connsiteY3919" fmla="*/ 0 h 3403632"/>
              <a:gd name="connsiteX3920" fmla="*/ 2671601 w 3905665"/>
              <a:gd name="connsiteY3920" fmla="*/ 8950 h 3403632"/>
              <a:gd name="connsiteX3921" fmla="*/ 2675195 w 3905665"/>
              <a:gd name="connsiteY3921" fmla="*/ 26706 h 3403632"/>
              <a:gd name="connsiteX3922" fmla="*/ 2629529 w 3905665"/>
              <a:gd name="connsiteY3922" fmla="*/ 72370 h 3403632"/>
              <a:gd name="connsiteX3923" fmla="*/ 2583865 w 3905665"/>
              <a:gd name="connsiteY3923" fmla="*/ 26706 h 3403632"/>
              <a:gd name="connsiteX3924" fmla="*/ 2587460 w 3905665"/>
              <a:gd name="connsiteY3924" fmla="*/ 8950 h 3403632"/>
              <a:gd name="connsiteX3925" fmla="*/ 2506848 w 3905665"/>
              <a:gd name="connsiteY3925" fmla="*/ 0 h 3403632"/>
              <a:gd name="connsiteX3926" fmla="*/ 2555808 w 3905665"/>
              <a:gd name="connsiteY3926" fmla="*/ 0 h 3403632"/>
              <a:gd name="connsiteX3927" fmla="*/ 2531288 w 3905665"/>
              <a:gd name="connsiteY3927" fmla="*/ 10165 h 3403632"/>
              <a:gd name="connsiteX3928" fmla="*/ 2365758 w 3905665"/>
              <a:gd name="connsiteY3928" fmla="*/ 0 h 3403632"/>
              <a:gd name="connsiteX3929" fmla="*/ 2443571 w 3905665"/>
              <a:gd name="connsiteY3929" fmla="*/ 0 h 3403632"/>
              <a:gd name="connsiteX3930" fmla="*/ 2449234 w 3905665"/>
              <a:gd name="connsiteY3930" fmla="*/ 8388 h 3403632"/>
              <a:gd name="connsiteX3931" fmla="*/ 2453044 w 3905665"/>
              <a:gd name="connsiteY3931" fmla="*/ 27194 h 3403632"/>
              <a:gd name="connsiteX3932" fmla="*/ 2404665 w 3905665"/>
              <a:gd name="connsiteY3932" fmla="*/ 75573 h 3403632"/>
              <a:gd name="connsiteX3933" fmla="*/ 2356285 w 3905665"/>
              <a:gd name="connsiteY3933" fmla="*/ 27194 h 3403632"/>
              <a:gd name="connsiteX3934" fmla="*/ 2360096 w 3905665"/>
              <a:gd name="connsiteY3934" fmla="*/ 8388 h 3403632"/>
              <a:gd name="connsiteX3935" fmla="*/ 2270415 w 3905665"/>
              <a:gd name="connsiteY3935" fmla="*/ 0 h 3403632"/>
              <a:gd name="connsiteX3936" fmla="*/ 2344913 w 3905665"/>
              <a:gd name="connsiteY3936" fmla="*/ 0 h 3403632"/>
              <a:gd name="connsiteX3937" fmla="*/ 2342061 w 3905665"/>
              <a:gd name="connsiteY3937" fmla="*/ 4237 h 3403632"/>
              <a:gd name="connsiteX3938" fmla="*/ 2307657 w 3905665"/>
              <a:gd name="connsiteY3938" fmla="*/ 18553 h 3403632"/>
              <a:gd name="connsiteX3939" fmla="*/ 2273348 w 3905665"/>
              <a:gd name="connsiteY3939" fmla="*/ 4329 h 3403632"/>
              <a:gd name="connsiteX3940" fmla="*/ 2136168 w 3905665"/>
              <a:gd name="connsiteY3940" fmla="*/ 0 h 3403632"/>
              <a:gd name="connsiteX3941" fmla="*/ 2221947 w 3905665"/>
              <a:gd name="connsiteY3941" fmla="*/ 0 h 3403632"/>
              <a:gd name="connsiteX3942" fmla="*/ 2225917 w 3905665"/>
              <a:gd name="connsiteY3942" fmla="*/ 5895 h 3403632"/>
              <a:gd name="connsiteX3943" fmla="*/ 2229905 w 3905665"/>
              <a:gd name="connsiteY3943" fmla="*/ 25711 h 3403632"/>
              <a:gd name="connsiteX3944" fmla="*/ 2179056 w 3905665"/>
              <a:gd name="connsiteY3944" fmla="*/ 76560 h 3403632"/>
              <a:gd name="connsiteX3945" fmla="*/ 2128209 w 3905665"/>
              <a:gd name="connsiteY3945" fmla="*/ 25711 h 3403632"/>
              <a:gd name="connsiteX3946" fmla="*/ 2132197 w 3905665"/>
              <a:gd name="connsiteY3946" fmla="*/ 5895 h 3403632"/>
              <a:gd name="connsiteX3947" fmla="*/ 2041801 w 3905665"/>
              <a:gd name="connsiteY3947" fmla="*/ 0 h 3403632"/>
              <a:gd name="connsiteX3948" fmla="*/ 2123168 w 3905665"/>
              <a:gd name="connsiteY3948" fmla="*/ 0 h 3403632"/>
              <a:gd name="connsiteX3949" fmla="*/ 2119293 w 3905665"/>
              <a:gd name="connsiteY3949" fmla="*/ 5746 h 3403632"/>
              <a:gd name="connsiteX3950" fmla="*/ 2082546 w 3905665"/>
              <a:gd name="connsiteY3950" fmla="*/ 21019 h 3403632"/>
              <a:gd name="connsiteX3951" fmla="*/ 2045767 w 3905665"/>
              <a:gd name="connsiteY3951" fmla="*/ 5838 h 3403632"/>
              <a:gd name="connsiteX3952" fmla="*/ 1918044 w 3905665"/>
              <a:gd name="connsiteY3952" fmla="*/ 0 h 3403632"/>
              <a:gd name="connsiteX3953" fmla="*/ 1984879 w 3905665"/>
              <a:gd name="connsiteY3953" fmla="*/ 0 h 3403632"/>
              <a:gd name="connsiteX3954" fmla="*/ 1995165 w 3905665"/>
              <a:gd name="connsiteY3954" fmla="*/ 24722 h 3403632"/>
              <a:gd name="connsiteX3955" fmla="*/ 1951486 w 3905665"/>
              <a:gd name="connsiteY3955" fmla="*/ 68410 h 3403632"/>
              <a:gd name="connsiteX3956" fmla="*/ 1907799 w 3905665"/>
              <a:gd name="connsiteY3956" fmla="*/ 24722 h 3403632"/>
              <a:gd name="connsiteX3957" fmla="*/ 1798310 w 3905665"/>
              <a:gd name="connsiteY3957" fmla="*/ 0 h 3403632"/>
              <a:gd name="connsiteX3958" fmla="*/ 1898309 w 3905665"/>
              <a:gd name="connsiteY3958" fmla="*/ 0 h 3403632"/>
              <a:gd name="connsiteX3959" fmla="*/ 1896072 w 3905665"/>
              <a:gd name="connsiteY3959" fmla="*/ 11083 h 3403632"/>
              <a:gd name="connsiteX3960" fmla="*/ 1848309 w 3905665"/>
              <a:gd name="connsiteY3960" fmla="*/ 42738 h 3403632"/>
              <a:gd name="connsiteX3961" fmla="*/ 1800547 w 3905665"/>
              <a:gd name="connsiteY3961" fmla="*/ 11083 h 3403632"/>
              <a:gd name="connsiteX3962" fmla="*/ 1705012 w 3905665"/>
              <a:gd name="connsiteY3962" fmla="*/ 0 h 3403632"/>
              <a:gd name="connsiteX3963" fmla="*/ 1721543 w 3905665"/>
              <a:gd name="connsiteY3963" fmla="*/ 0 h 3403632"/>
              <a:gd name="connsiteX3964" fmla="*/ 1747600 w 3905665"/>
              <a:gd name="connsiteY3964" fmla="*/ 10802 h 3403632"/>
              <a:gd name="connsiteX3965" fmla="*/ 1761917 w 3905665"/>
              <a:gd name="connsiteY3965" fmla="*/ 45204 h 3403632"/>
              <a:gd name="connsiteX3966" fmla="*/ 1713288 w 3905665"/>
              <a:gd name="connsiteY3966" fmla="*/ 93833 h 3403632"/>
              <a:gd name="connsiteX3967" fmla="*/ 1664662 w 3905665"/>
              <a:gd name="connsiteY3967" fmla="*/ 45204 h 3403632"/>
              <a:gd name="connsiteX3968" fmla="*/ 1678886 w 3905665"/>
              <a:gd name="connsiteY3968" fmla="*/ 10802 h 3403632"/>
              <a:gd name="connsiteX3969" fmla="*/ 1359697 w 3905665"/>
              <a:gd name="connsiteY3969" fmla="*/ 0 h 3403632"/>
              <a:gd name="connsiteX3970" fmla="*/ 1409259 w 3905665"/>
              <a:gd name="connsiteY3970" fmla="*/ 0 h 3403632"/>
              <a:gd name="connsiteX3971" fmla="*/ 1405206 w 3905665"/>
              <a:gd name="connsiteY3971" fmla="*/ 9721 h 3403632"/>
              <a:gd name="connsiteX3972" fmla="*/ 1384503 w 3905665"/>
              <a:gd name="connsiteY3972" fmla="*/ 18299 h 3403632"/>
              <a:gd name="connsiteX3973" fmla="*/ 1363706 w 3905665"/>
              <a:gd name="connsiteY3973" fmla="*/ 9721 h 3403632"/>
              <a:gd name="connsiteX3974" fmla="*/ 1113019 w 3905665"/>
              <a:gd name="connsiteY3974" fmla="*/ 0 h 3403632"/>
              <a:gd name="connsiteX3975" fmla="*/ 1179210 w 3905665"/>
              <a:gd name="connsiteY3975" fmla="*/ 0 h 3403632"/>
              <a:gd name="connsiteX3976" fmla="*/ 1173426 w 3905665"/>
              <a:gd name="connsiteY3976" fmla="*/ 13636 h 3403632"/>
              <a:gd name="connsiteX3977" fmla="*/ 1146057 w 3905665"/>
              <a:gd name="connsiteY3977" fmla="*/ 24960 h 3403632"/>
              <a:gd name="connsiteX3978" fmla="*/ 1118629 w 3905665"/>
              <a:gd name="connsiteY3978" fmla="*/ 13544 h 3403632"/>
              <a:gd name="connsiteX3979" fmla="*/ 871753 w 3905665"/>
              <a:gd name="connsiteY3979" fmla="*/ 0 h 3403632"/>
              <a:gd name="connsiteX3980" fmla="*/ 908886 w 3905665"/>
              <a:gd name="connsiteY3980" fmla="*/ 0 h 3403632"/>
              <a:gd name="connsiteX3981" fmla="*/ 904405 w 3905665"/>
              <a:gd name="connsiteY3981" fmla="*/ 10643 h 3403632"/>
              <a:gd name="connsiteX3982" fmla="*/ 890335 w 3905665"/>
              <a:gd name="connsiteY3982" fmla="*/ 16568 h 3403632"/>
              <a:gd name="connsiteX3983" fmla="*/ 876174 w 3905665"/>
              <a:gd name="connsiteY3983" fmla="*/ 10736 h 3403632"/>
              <a:gd name="connsiteX3984" fmla="*/ 600663 w 3905665"/>
              <a:gd name="connsiteY3984" fmla="*/ 0 h 3403632"/>
              <a:gd name="connsiteX3985" fmla="*/ 664150 w 3905665"/>
              <a:gd name="connsiteY3985" fmla="*/ 0 h 3403632"/>
              <a:gd name="connsiteX3986" fmla="*/ 659947 w 3905665"/>
              <a:gd name="connsiteY3986" fmla="*/ 10150 h 3403632"/>
              <a:gd name="connsiteX3987" fmla="*/ 632396 w 3905665"/>
              <a:gd name="connsiteY3987" fmla="*/ 21504 h 3403632"/>
              <a:gd name="connsiteX3988" fmla="*/ 604842 w 3905665"/>
              <a:gd name="connsiteY3988" fmla="*/ 10057 h 3403632"/>
              <a:gd name="connsiteX3989" fmla="*/ 421101 w 3905665"/>
              <a:gd name="connsiteY3989" fmla="*/ 0 h 3403632"/>
              <a:gd name="connsiteX3990" fmla="*/ 489230 w 3905665"/>
              <a:gd name="connsiteY3990" fmla="*/ 0 h 3403632"/>
              <a:gd name="connsiteX3991" fmla="*/ 494165 w 3905665"/>
              <a:gd name="connsiteY3991" fmla="*/ 11879 h 3403632"/>
              <a:gd name="connsiteX3992" fmla="*/ 455167 w 3905665"/>
              <a:gd name="connsiteY3992" fmla="*/ 50878 h 3403632"/>
              <a:gd name="connsiteX3993" fmla="*/ 416166 w 3905665"/>
              <a:gd name="connsiteY3993" fmla="*/ 11879 h 3403632"/>
              <a:gd name="connsiteX3994" fmla="*/ 352549 w 3905665"/>
              <a:gd name="connsiteY3994" fmla="*/ 0 h 3403632"/>
              <a:gd name="connsiteX3995" fmla="*/ 359819 w 3905665"/>
              <a:gd name="connsiteY3995" fmla="*/ 0 h 3403632"/>
              <a:gd name="connsiteX3996" fmla="*/ 356184 w 3905665"/>
              <a:gd name="connsiteY3996" fmla="*/ 1506 h 3403632"/>
              <a:gd name="connsiteX3997" fmla="*/ 217955 w 3905665"/>
              <a:gd name="connsiteY3997" fmla="*/ 0 h 3403632"/>
              <a:gd name="connsiteX3998" fmla="*/ 305814 w 3905665"/>
              <a:gd name="connsiteY3998" fmla="*/ 0 h 3403632"/>
              <a:gd name="connsiteX3999" fmla="*/ 308304 w 3905665"/>
              <a:gd name="connsiteY3999" fmla="*/ 3701 h 3403632"/>
              <a:gd name="connsiteX4000" fmla="*/ 312249 w 3905665"/>
              <a:gd name="connsiteY4000" fmla="*/ 23232 h 3403632"/>
              <a:gd name="connsiteX4001" fmla="*/ 261895 w 3905665"/>
              <a:gd name="connsiteY4001" fmla="*/ 73586 h 3403632"/>
              <a:gd name="connsiteX4002" fmla="*/ 211540 w 3905665"/>
              <a:gd name="connsiteY4002" fmla="*/ 23232 h 3403632"/>
              <a:gd name="connsiteX4003" fmla="*/ 215520 w 3905665"/>
              <a:gd name="connsiteY4003" fmla="*/ 3597 h 3403632"/>
              <a:gd name="connsiteX4004" fmla="*/ 32665 w 3905665"/>
              <a:gd name="connsiteY4004" fmla="*/ 0 h 3403632"/>
              <a:gd name="connsiteX4005" fmla="*/ 67129 w 3905665"/>
              <a:gd name="connsiteY4005" fmla="*/ 0 h 3403632"/>
              <a:gd name="connsiteX4006" fmla="*/ 68918 w 3905665"/>
              <a:gd name="connsiteY4006" fmla="*/ 4266 h 3403632"/>
              <a:gd name="connsiteX4007" fmla="*/ 49910 w 3905665"/>
              <a:gd name="connsiteY4007" fmla="*/ 23271 h 3403632"/>
              <a:gd name="connsiteX4008" fmla="*/ 30905 w 3905665"/>
              <a:gd name="connsiteY4008" fmla="*/ 4266 h 340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Lst>
            <a:rect l="l" t="t" r="r" b="b"/>
            <a:pathLst>
              <a:path w="3905665" h="3403632">
                <a:moveTo>
                  <a:pt x="59039" y="3396225"/>
                </a:moveTo>
                <a:cubicBezTo>
                  <a:pt x="61014" y="3396225"/>
                  <a:pt x="62742" y="3397954"/>
                  <a:pt x="62742" y="3399928"/>
                </a:cubicBezTo>
                <a:cubicBezTo>
                  <a:pt x="62742" y="3402149"/>
                  <a:pt x="61014" y="3403632"/>
                  <a:pt x="59039" y="3403632"/>
                </a:cubicBezTo>
                <a:cubicBezTo>
                  <a:pt x="56816" y="3403632"/>
                  <a:pt x="55336" y="3401903"/>
                  <a:pt x="55336" y="3399928"/>
                </a:cubicBezTo>
                <a:cubicBezTo>
                  <a:pt x="55336" y="3397954"/>
                  <a:pt x="57064" y="3396225"/>
                  <a:pt x="59039" y="3396225"/>
                </a:cubicBezTo>
                <a:close/>
                <a:moveTo>
                  <a:pt x="175052" y="3387585"/>
                </a:moveTo>
                <a:cubicBezTo>
                  <a:pt x="177273" y="3387585"/>
                  <a:pt x="179001" y="3389314"/>
                  <a:pt x="179001" y="3391534"/>
                </a:cubicBezTo>
                <a:cubicBezTo>
                  <a:pt x="179001" y="3393755"/>
                  <a:pt x="177273" y="3395484"/>
                  <a:pt x="175052" y="3395484"/>
                </a:cubicBezTo>
                <a:cubicBezTo>
                  <a:pt x="172831" y="3395484"/>
                  <a:pt x="171103" y="3393755"/>
                  <a:pt x="171103" y="3391534"/>
                </a:cubicBezTo>
                <a:cubicBezTo>
                  <a:pt x="171103" y="3389314"/>
                  <a:pt x="172831" y="3387585"/>
                  <a:pt x="175052" y="3387585"/>
                </a:cubicBezTo>
                <a:close/>
                <a:moveTo>
                  <a:pt x="290815" y="3375737"/>
                </a:moveTo>
                <a:cubicBezTo>
                  <a:pt x="293038" y="3375737"/>
                  <a:pt x="295013" y="3377712"/>
                  <a:pt x="295013" y="3379933"/>
                </a:cubicBezTo>
                <a:cubicBezTo>
                  <a:pt x="295013" y="3382156"/>
                  <a:pt x="293284" y="3384128"/>
                  <a:pt x="290815" y="3384128"/>
                </a:cubicBezTo>
                <a:cubicBezTo>
                  <a:pt x="288348" y="3384128"/>
                  <a:pt x="286620" y="3382156"/>
                  <a:pt x="286620" y="3379933"/>
                </a:cubicBezTo>
                <a:cubicBezTo>
                  <a:pt x="286620" y="3377466"/>
                  <a:pt x="288594" y="3375737"/>
                  <a:pt x="290815" y="3375737"/>
                </a:cubicBezTo>
                <a:close/>
                <a:moveTo>
                  <a:pt x="406333" y="3360435"/>
                </a:moveTo>
                <a:cubicBezTo>
                  <a:pt x="408802" y="3360435"/>
                  <a:pt x="410777" y="3362410"/>
                  <a:pt x="410777" y="3364877"/>
                </a:cubicBezTo>
                <a:cubicBezTo>
                  <a:pt x="410777" y="3367346"/>
                  <a:pt x="408802" y="3369321"/>
                  <a:pt x="406333" y="3369321"/>
                </a:cubicBezTo>
                <a:cubicBezTo>
                  <a:pt x="403866" y="3369321"/>
                  <a:pt x="401891" y="3367346"/>
                  <a:pt x="401891" y="3364877"/>
                </a:cubicBezTo>
                <a:cubicBezTo>
                  <a:pt x="401891" y="3362410"/>
                  <a:pt x="403866" y="3360435"/>
                  <a:pt x="406333" y="3360435"/>
                </a:cubicBezTo>
                <a:close/>
                <a:moveTo>
                  <a:pt x="521111" y="3341921"/>
                </a:moveTo>
                <a:cubicBezTo>
                  <a:pt x="523824" y="3341921"/>
                  <a:pt x="525799" y="3343896"/>
                  <a:pt x="525799" y="3346611"/>
                </a:cubicBezTo>
                <a:cubicBezTo>
                  <a:pt x="525799" y="3349078"/>
                  <a:pt x="523824" y="3351302"/>
                  <a:pt x="521111" y="3351302"/>
                </a:cubicBezTo>
                <a:cubicBezTo>
                  <a:pt x="518396" y="3351302"/>
                  <a:pt x="516421" y="3349325"/>
                  <a:pt x="516421" y="3346611"/>
                </a:cubicBezTo>
                <a:cubicBezTo>
                  <a:pt x="516421" y="3343896"/>
                  <a:pt x="518396" y="3341921"/>
                  <a:pt x="521111" y="3341921"/>
                </a:cubicBezTo>
                <a:close/>
                <a:moveTo>
                  <a:pt x="635402" y="3319951"/>
                </a:moveTo>
                <a:cubicBezTo>
                  <a:pt x="638116" y="3319951"/>
                  <a:pt x="640337" y="3322172"/>
                  <a:pt x="640337" y="3324888"/>
                </a:cubicBezTo>
                <a:cubicBezTo>
                  <a:pt x="640337" y="3327604"/>
                  <a:pt x="638116" y="3329825"/>
                  <a:pt x="635402" y="3329825"/>
                </a:cubicBezTo>
                <a:cubicBezTo>
                  <a:pt x="632686" y="3329825"/>
                  <a:pt x="630464" y="3327604"/>
                  <a:pt x="630464" y="3324888"/>
                </a:cubicBezTo>
                <a:cubicBezTo>
                  <a:pt x="630464" y="3322172"/>
                  <a:pt x="632686" y="3319951"/>
                  <a:pt x="635402" y="3319951"/>
                </a:cubicBezTo>
                <a:close/>
                <a:moveTo>
                  <a:pt x="749190" y="3295022"/>
                </a:moveTo>
                <a:cubicBezTo>
                  <a:pt x="752151" y="3295022"/>
                  <a:pt x="754377" y="3297243"/>
                  <a:pt x="754377" y="3300205"/>
                </a:cubicBezTo>
                <a:cubicBezTo>
                  <a:pt x="754377" y="3302921"/>
                  <a:pt x="751905" y="3305388"/>
                  <a:pt x="749190" y="3305388"/>
                </a:cubicBezTo>
                <a:cubicBezTo>
                  <a:pt x="746229" y="3305388"/>
                  <a:pt x="744008" y="3303167"/>
                  <a:pt x="744008" y="3300205"/>
                </a:cubicBezTo>
                <a:cubicBezTo>
                  <a:pt x="744008" y="3297243"/>
                  <a:pt x="746229" y="3295022"/>
                  <a:pt x="749190" y="3295022"/>
                </a:cubicBezTo>
                <a:close/>
                <a:moveTo>
                  <a:pt x="58542" y="3287864"/>
                </a:moveTo>
                <a:cubicBezTo>
                  <a:pt x="60519" y="3287864"/>
                  <a:pt x="61999" y="3289344"/>
                  <a:pt x="61999" y="3291319"/>
                </a:cubicBezTo>
                <a:cubicBezTo>
                  <a:pt x="62245" y="3293047"/>
                  <a:pt x="60519" y="3294776"/>
                  <a:pt x="58542" y="3294776"/>
                </a:cubicBezTo>
                <a:cubicBezTo>
                  <a:pt x="56567" y="3294776"/>
                  <a:pt x="55087" y="3293296"/>
                  <a:pt x="55087" y="3291319"/>
                </a:cubicBezTo>
                <a:cubicBezTo>
                  <a:pt x="55087" y="3289344"/>
                  <a:pt x="56567" y="3287864"/>
                  <a:pt x="58542" y="3287864"/>
                </a:cubicBezTo>
                <a:close/>
                <a:moveTo>
                  <a:pt x="174803" y="3278732"/>
                </a:moveTo>
                <a:cubicBezTo>
                  <a:pt x="176778" y="3278732"/>
                  <a:pt x="178507" y="3280461"/>
                  <a:pt x="178507" y="3282435"/>
                </a:cubicBezTo>
                <a:cubicBezTo>
                  <a:pt x="178507" y="3284410"/>
                  <a:pt x="176778" y="3286136"/>
                  <a:pt x="174803" y="3286136"/>
                </a:cubicBezTo>
                <a:cubicBezTo>
                  <a:pt x="172829" y="3286136"/>
                  <a:pt x="171100" y="3284410"/>
                  <a:pt x="171100" y="3282435"/>
                </a:cubicBezTo>
                <a:cubicBezTo>
                  <a:pt x="171100" y="3280461"/>
                  <a:pt x="172829" y="3278732"/>
                  <a:pt x="174803" y="3278732"/>
                </a:cubicBezTo>
                <a:close/>
                <a:moveTo>
                  <a:pt x="290567" y="3266884"/>
                </a:moveTo>
                <a:cubicBezTo>
                  <a:pt x="292542" y="3266884"/>
                  <a:pt x="294270" y="3268613"/>
                  <a:pt x="294270" y="3270587"/>
                </a:cubicBezTo>
                <a:cubicBezTo>
                  <a:pt x="294270" y="3272562"/>
                  <a:pt x="292788" y="3274288"/>
                  <a:pt x="290567" y="3274288"/>
                </a:cubicBezTo>
                <a:cubicBezTo>
                  <a:pt x="288592" y="3274288"/>
                  <a:pt x="286864" y="3272562"/>
                  <a:pt x="286864" y="3270587"/>
                </a:cubicBezTo>
                <a:cubicBezTo>
                  <a:pt x="286864" y="3268613"/>
                  <a:pt x="288592" y="3266884"/>
                  <a:pt x="290567" y="3266884"/>
                </a:cubicBezTo>
                <a:close/>
                <a:moveTo>
                  <a:pt x="861997" y="3266635"/>
                </a:moveTo>
                <a:cubicBezTo>
                  <a:pt x="864958" y="3266635"/>
                  <a:pt x="867426" y="3269105"/>
                  <a:pt x="867426" y="3272067"/>
                </a:cubicBezTo>
                <a:cubicBezTo>
                  <a:pt x="867426" y="3275026"/>
                  <a:pt x="864958" y="3277496"/>
                  <a:pt x="861997" y="3277496"/>
                </a:cubicBezTo>
                <a:cubicBezTo>
                  <a:pt x="859032" y="3277496"/>
                  <a:pt x="856564" y="3275026"/>
                  <a:pt x="856564" y="3272067"/>
                </a:cubicBezTo>
                <a:cubicBezTo>
                  <a:pt x="856564" y="3269105"/>
                  <a:pt x="859032" y="3266635"/>
                  <a:pt x="861997" y="3266635"/>
                </a:cubicBezTo>
                <a:close/>
                <a:moveTo>
                  <a:pt x="406084" y="3251333"/>
                </a:moveTo>
                <a:cubicBezTo>
                  <a:pt x="408129" y="3251333"/>
                  <a:pt x="409785" y="3252992"/>
                  <a:pt x="409785" y="3255036"/>
                </a:cubicBezTo>
                <a:cubicBezTo>
                  <a:pt x="409785" y="3257081"/>
                  <a:pt x="408129" y="3258737"/>
                  <a:pt x="406084" y="3258737"/>
                </a:cubicBezTo>
                <a:cubicBezTo>
                  <a:pt x="404039" y="3258737"/>
                  <a:pt x="402381" y="3257081"/>
                  <a:pt x="402381" y="3255036"/>
                </a:cubicBezTo>
                <a:cubicBezTo>
                  <a:pt x="402381" y="3252989"/>
                  <a:pt x="404039" y="3251333"/>
                  <a:pt x="406084" y="3251333"/>
                </a:cubicBezTo>
                <a:close/>
                <a:moveTo>
                  <a:pt x="974058" y="3235040"/>
                </a:moveTo>
                <a:cubicBezTo>
                  <a:pt x="977266" y="3235040"/>
                  <a:pt x="979734" y="3237510"/>
                  <a:pt x="979734" y="3240718"/>
                </a:cubicBezTo>
                <a:cubicBezTo>
                  <a:pt x="979734" y="3243926"/>
                  <a:pt x="977266" y="3246396"/>
                  <a:pt x="974058" y="3246396"/>
                </a:cubicBezTo>
                <a:cubicBezTo>
                  <a:pt x="970847" y="3246396"/>
                  <a:pt x="968380" y="3243926"/>
                  <a:pt x="968380" y="3240718"/>
                </a:cubicBezTo>
                <a:cubicBezTo>
                  <a:pt x="968380" y="3237510"/>
                  <a:pt x="970847" y="3235040"/>
                  <a:pt x="974058" y="3235040"/>
                </a:cubicBezTo>
                <a:close/>
                <a:moveTo>
                  <a:pt x="520860" y="3232327"/>
                </a:moveTo>
                <a:cubicBezTo>
                  <a:pt x="523081" y="3232327"/>
                  <a:pt x="524809" y="3234056"/>
                  <a:pt x="524809" y="3236277"/>
                </a:cubicBezTo>
                <a:cubicBezTo>
                  <a:pt x="524809" y="3238498"/>
                  <a:pt x="523081" y="3240226"/>
                  <a:pt x="520860" y="3240226"/>
                </a:cubicBezTo>
                <a:cubicBezTo>
                  <a:pt x="518639" y="3240226"/>
                  <a:pt x="516910" y="3238498"/>
                  <a:pt x="516910" y="3236277"/>
                </a:cubicBezTo>
                <a:cubicBezTo>
                  <a:pt x="516910" y="3234056"/>
                  <a:pt x="518639" y="3232327"/>
                  <a:pt x="520860" y="3232327"/>
                </a:cubicBezTo>
                <a:close/>
                <a:moveTo>
                  <a:pt x="635153" y="3210357"/>
                </a:moveTo>
                <a:cubicBezTo>
                  <a:pt x="637372" y="3210357"/>
                  <a:pt x="639099" y="3212086"/>
                  <a:pt x="639099" y="3214307"/>
                </a:cubicBezTo>
                <a:cubicBezTo>
                  <a:pt x="639345" y="3216528"/>
                  <a:pt x="637618" y="3218256"/>
                  <a:pt x="635153" y="3218256"/>
                </a:cubicBezTo>
                <a:cubicBezTo>
                  <a:pt x="632932" y="3218256"/>
                  <a:pt x="631202" y="3216528"/>
                  <a:pt x="631202" y="3214307"/>
                </a:cubicBezTo>
                <a:cubicBezTo>
                  <a:pt x="631202" y="3212086"/>
                  <a:pt x="632932" y="3210357"/>
                  <a:pt x="635153" y="3210357"/>
                </a:cubicBezTo>
                <a:close/>
                <a:moveTo>
                  <a:pt x="1085117" y="3200237"/>
                </a:moveTo>
                <a:cubicBezTo>
                  <a:pt x="1088390" y="3200237"/>
                  <a:pt x="1091041" y="3202891"/>
                  <a:pt x="1091041" y="3206161"/>
                </a:cubicBezTo>
                <a:cubicBezTo>
                  <a:pt x="1091041" y="3209434"/>
                  <a:pt x="1088390" y="3212085"/>
                  <a:pt x="1085117" y="3212085"/>
                </a:cubicBezTo>
                <a:cubicBezTo>
                  <a:pt x="1081844" y="3212085"/>
                  <a:pt x="1079193" y="3209434"/>
                  <a:pt x="1079193" y="3206161"/>
                </a:cubicBezTo>
                <a:cubicBezTo>
                  <a:pt x="1079193" y="3202891"/>
                  <a:pt x="1081844" y="3200237"/>
                  <a:pt x="1085117" y="3200237"/>
                </a:cubicBezTo>
                <a:close/>
                <a:moveTo>
                  <a:pt x="748941" y="3184440"/>
                </a:moveTo>
                <a:cubicBezTo>
                  <a:pt x="751161" y="3184440"/>
                  <a:pt x="752890" y="3186169"/>
                  <a:pt x="752890" y="3188636"/>
                </a:cubicBezTo>
                <a:cubicBezTo>
                  <a:pt x="752890" y="3191105"/>
                  <a:pt x="751161" y="3192831"/>
                  <a:pt x="748941" y="3192831"/>
                </a:cubicBezTo>
                <a:cubicBezTo>
                  <a:pt x="746721" y="3192831"/>
                  <a:pt x="744746" y="3191105"/>
                  <a:pt x="744746" y="3188636"/>
                </a:cubicBezTo>
                <a:cubicBezTo>
                  <a:pt x="744746" y="3186169"/>
                  <a:pt x="746721" y="3184440"/>
                  <a:pt x="748941" y="3184440"/>
                </a:cubicBezTo>
                <a:close/>
                <a:moveTo>
                  <a:pt x="58788" y="3178269"/>
                </a:moveTo>
                <a:cubicBezTo>
                  <a:pt x="61009" y="3178269"/>
                  <a:pt x="62984" y="3180244"/>
                  <a:pt x="62984" y="3182465"/>
                </a:cubicBezTo>
                <a:cubicBezTo>
                  <a:pt x="62737" y="3184688"/>
                  <a:pt x="61009" y="3186660"/>
                  <a:pt x="58788" y="3186660"/>
                </a:cubicBezTo>
                <a:cubicBezTo>
                  <a:pt x="56567" y="3186660"/>
                  <a:pt x="54593" y="3184934"/>
                  <a:pt x="54593" y="3182465"/>
                </a:cubicBezTo>
                <a:cubicBezTo>
                  <a:pt x="54593" y="3180244"/>
                  <a:pt x="56567" y="3178269"/>
                  <a:pt x="58788" y="3178269"/>
                </a:cubicBezTo>
                <a:close/>
                <a:moveTo>
                  <a:pt x="174798" y="3169137"/>
                </a:moveTo>
                <a:cubicBezTo>
                  <a:pt x="177268" y="3169137"/>
                  <a:pt x="179242" y="3171112"/>
                  <a:pt x="179242" y="3173579"/>
                </a:cubicBezTo>
                <a:cubicBezTo>
                  <a:pt x="179488" y="3176048"/>
                  <a:pt x="177268" y="3178023"/>
                  <a:pt x="174798" y="3178023"/>
                </a:cubicBezTo>
                <a:cubicBezTo>
                  <a:pt x="172331" y="3178023"/>
                  <a:pt x="170356" y="3176048"/>
                  <a:pt x="170356" y="3173579"/>
                </a:cubicBezTo>
                <a:cubicBezTo>
                  <a:pt x="170356" y="3171112"/>
                  <a:pt x="172331" y="3169137"/>
                  <a:pt x="174798" y="3169137"/>
                </a:cubicBezTo>
                <a:close/>
                <a:moveTo>
                  <a:pt x="1195210" y="3162472"/>
                </a:moveTo>
                <a:cubicBezTo>
                  <a:pt x="1198668" y="3162472"/>
                  <a:pt x="1201383" y="3165188"/>
                  <a:pt x="1201383" y="3168642"/>
                </a:cubicBezTo>
                <a:cubicBezTo>
                  <a:pt x="1201383" y="3172099"/>
                  <a:pt x="1198668" y="3174815"/>
                  <a:pt x="1195210" y="3174815"/>
                </a:cubicBezTo>
                <a:cubicBezTo>
                  <a:pt x="1191756" y="3174815"/>
                  <a:pt x="1189040" y="3172099"/>
                  <a:pt x="1189040" y="3168642"/>
                </a:cubicBezTo>
                <a:cubicBezTo>
                  <a:pt x="1189040" y="3165188"/>
                  <a:pt x="1191756" y="3162472"/>
                  <a:pt x="1195210" y="3162472"/>
                </a:cubicBezTo>
                <a:close/>
                <a:moveTo>
                  <a:pt x="290810" y="3156302"/>
                </a:moveTo>
                <a:cubicBezTo>
                  <a:pt x="293525" y="3156302"/>
                  <a:pt x="295746" y="3158523"/>
                  <a:pt x="295746" y="3161239"/>
                </a:cubicBezTo>
                <a:cubicBezTo>
                  <a:pt x="295746" y="3163954"/>
                  <a:pt x="293525" y="3166175"/>
                  <a:pt x="290810" y="3166175"/>
                </a:cubicBezTo>
                <a:cubicBezTo>
                  <a:pt x="288094" y="3166175"/>
                  <a:pt x="285873" y="3163954"/>
                  <a:pt x="285873" y="3161239"/>
                </a:cubicBezTo>
                <a:cubicBezTo>
                  <a:pt x="285873" y="3158523"/>
                  <a:pt x="288094" y="3156302"/>
                  <a:pt x="290810" y="3156302"/>
                </a:cubicBezTo>
                <a:close/>
                <a:moveTo>
                  <a:pt x="861745" y="3155561"/>
                </a:moveTo>
                <a:cubicBezTo>
                  <a:pt x="863968" y="3155561"/>
                  <a:pt x="865941" y="3157536"/>
                  <a:pt x="865941" y="3159757"/>
                </a:cubicBezTo>
                <a:cubicBezTo>
                  <a:pt x="865941" y="3161980"/>
                  <a:pt x="863968" y="3163952"/>
                  <a:pt x="861745" y="3163952"/>
                </a:cubicBezTo>
                <a:cubicBezTo>
                  <a:pt x="859277" y="3163952"/>
                  <a:pt x="857549" y="3161980"/>
                  <a:pt x="857549" y="3159757"/>
                </a:cubicBezTo>
                <a:cubicBezTo>
                  <a:pt x="857549" y="3157536"/>
                  <a:pt x="859523" y="3155561"/>
                  <a:pt x="861745" y="3155561"/>
                </a:cubicBezTo>
                <a:close/>
                <a:moveTo>
                  <a:pt x="406328" y="3140256"/>
                </a:moveTo>
                <a:cubicBezTo>
                  <a:pt x="409290" y="3140256"/>
                  <a:pt x="411514" y="3142477"/>
                  <a:pt x="411514" y="3145439"/>
                </a:cubicBezTo>
                <a:cubicBezTo>
                  <a:pt x="411514" y="3148155"/>
                  <a:pt x="409044" y="3150625"/>
                  <a:pt x="406328" y="3150625"/>
                </a:cubicBezTo>
                <a:cubicBezTo>
                  <a:pt x="403366" y="3150625"/>
                  <a:pt x="401145" y="3148155"/>
                  <a:pt x="401145" y="3145439"/>
                </a:cubicBezTo>
                <a:cubicBezTo>
                  <a:pt x="401145" y="3142477"/>
                  <a:pt x="403366" y="3140256"/>
                  <a:pt x="406328" y="3140256"/>
                </a:cubicBezTo>
                <a:close/>
                <a:moveTo>
                  <a:pt x="973560" y="3123473"/>
                </a:moveTo>
                <a:cubicBezTo>
                  <a:pt x="976030" y="3123473"/>
                  <a:pt x="977756" y="3125448"/>
                  <a:pt x="977756" y="3127669"/>
                </a:cubicBezTo>
                <a:cubicBezTo>
                  <a:pt x="977756" y="3130138"/>
                  <a:pt x="976030" y="3131864"/>
                  <a:pt x="973560" y="3131864"/>
                </a:cubicBezTo>
                <a:cubicBezTo>
                  <a:pt x="971093" y="3131864"/>
                  <a:pt x="969364" y="3129892"/>
                  <a:pt x="969364" y="3127669"/>
                </a:cubicBezTo>
                <a:cubicBezTo>
                  <a:pt x="969364" y="3125202"/>
                  <a:pt x="971339" y="3123473"/>
                  <a:pt x="973560" y="3123473"/>
                </a:cubicBezTo>
                <a:close/>
                <a:moveTo>
                  <a:pt x="1304315" y="3121496"/>
                </a:moveTo>
                <a:cubicBezTo>
                  <a:pt x="1307770" y="3121496"/>
                  <a:pt x="1310732" y="3124458"/>
                  <a:pt x="1310732" y="3127915"/>
                </a:cubicBezTo>
                <a:cubicBezTo>
                  <a:pt x="1310486" y="3131370"/>
                  <a:pt x="1307770" y="3134086"/>
                  <a:pt x="1304315" y="3134086"/>
                </a:cubicBezTo>
                <a:cubicBezTo>
                  <a:pt x="1300859" y="3134086"/>
                  <a:pt x="1297897" y="3131370"/>
                  <a:pt x="1297897" y="3127915"/>
                </a:cubicBezTo>
                <a:cubicBezTo>
                  <a:pt x="1297897" y="3124458"/>
                  <a:pt x="1300859" y="3121496"/>
                  <a:pt x="1304315" y="3121496"/>
                </a:cubicBezTo>
                <a:close/>
                <a:moveTo>
                  <a:pt x="521104" y="3120263"/>
                </a:moveTo>
                <a:cubicBezTo>
                  <a:pt x="524312" y="3120263"/>
                  <a:pt x="526782" y="3122733"/>
                  <a:pt x="526782" y="3125941"/>
                </a:cubicBezTo>
                <a:cubicBezTo>
                  <a:pt x="526782" y="3129149"/>
                  <a:pt x="524312" y="3131616"/>
                  <a:pt x="521104" y="3131616"/>
                </a:cubicBezTo>
                <a:cubicBezTo>
                  <a:pt x="517896" y="3131616"/>
                  <a:pt x="515426" y="3129149"/>
                  <a:pt x="515426" y="3125941"/>
                </a:cubicBezTo>
                <a:cubicBezTo>
                  <a:pt x="515426" y="3122733"/>
                  <a:pt x="517896" y="3120263"/>
                  <a:pt x="521104" y="3120263"/>
                </a:cubicBezTo>
                <a:close/>
                <a:moveTo>
                  <a:pt x="635396" y="3096813"/>
                </a:moveTo>
                <a:cubicBezTo>
                  <a:pt x="638606" y="3096813"/>
                  <a:pt x="641319" y="3099529"/>
                  <a:pt x="641319" y="3102983"/>
                </a:cubicBezTo>
                <a:cubicBezTo>
                  <a:pt x="641319" y="3106440"/>
                  <a:pt x="638606" y="3109156"/>
                  <a:pt x="635396" y="3109156"/>
                </a:cubicBezTo>
                <a:cubicBezTo>
                  <a:pt x="631941" y="3109156"/>
                  <a:pt x="629226" y="3106440"/>
                  <a:pt x="629226" y="3102983"/>
                </a:cubicBezTo>
                <a:cubicBezTo>
                  <a:pt x="629226" y="3099775"/>
                  <a:pt x="631941" y="3096813"/>
                  <a:pt x="635396" y="3096813"/>
                </a:cubicBezTo>
                <a:close/>
                <a:moveTo>
                  <a:pt x="1084377" y="3087681"/>
                </a:moveTo>
                <a:cubicBezTo>
                  <a:pt x="1086844" y="3087681"/>
                  <a:pt x="1088818" y="3089656"/>
                  <a:pt x="1088818" y="3092125"/>
                </a:cubicBezTo>
                <a:cubicBezTo>
                  <a:pt x="1088818" y="3094592"/>
                  <a:pt x="1086844" y="3096567"/>
                  <a:pt x="1084377" y="3096567"/>
                </a:cubicBezTo>
                <a:cubicBezTo>
                  <a:pt x="1081907" y="3096567"/>
                  <a:pt x="1079932" y="3094592"/>
                  <a:pt x="1079932" y="3092125"/>
                </a:cubicBezTo>
                <a:cubicBezTo>
                  <a:pt x="1079932" y="3089656"/>
                  <a:pt x="1081907" y="3087681"/>
                  <a:pt x="1084377" y="3087681"/>
                </a:cubicBezTo>
                <a:close/>
                <a:moveTo>
                  <a:pt x="1411939" y="3077066"/>
                </a:moveTo>
                <a:cubicBezTo>
                  <a:pt x="1415640" y="3077066"/>
                  <a:pt x="1418602" y="3080028"/>
                  <a:pt x="1418602" y="3083731"/>
                </a:cubicBezTo>
                <a:cubicBezTo>
                  <a:pt x="1418602" y="3087681"/>
                  <a:pt x="1415640" y="3090397"/>
                  <a:pt x="1411939" y="3090397"/>
                </a:cubicBezTo>
                <a:cubicBezTo>
                  <a:pt x="1408236" y="3090397"/>
                  <a:pt x="1405274" y="3087435"/>
                  <a:pt x="1405274" y="3083731"/>
                </a:cubicBezTo>
                <a:cubicBezTo>
                  <a:pt x="1405274" y="3080028"/>
                  <a:pt x="1408236" y="3077066"/>
                  <a:pt x="1411939" y="3077066"/>
                </a:cubicBezTo>
                <a:close/>
                <a:moveTo>
                  <a:pt x="748939" y="3070650"/>
                </a:moveTo>
                <a:cubicBezTo>
                  <a:pt x="752393" y="3070650"/>
                  <a:pt x="755356" y="3073612"/>
                  <a:pt x="755356" y="3077069"/>
                </a:cubicBezTo>
                <a:cubicBezTo>
                  <a:pt x="755356" y="3080523"/>
                  <a:pt x="752393" y="3083485"/>
                  <a:pt x="748939" y="3083485"/>
                </a:cubicBezTo>
                <a:cubicBezTo>
                  <a:pt x="745235" y="3083485"/>
                  <a:pt x="742520" y="3080523"/>
                  <a:pt x="742520" y="3077069"/>
                </a:cubicBezTo>
                <a:cubicBezTo>
                  <a:pt x="742520" y="3073612"/>
                  <a:pt x="745482" y="3070650"/>
                  <a:pt x="748939" y="3070650"/>
                </a:cubicBezTo>
                <a:close/>
                <a:moveTo>
                  <a:pt x="57552" y="3069662"/>
                </a:moveTo>
                <a:cubicBezTo>
                  <a:pt x="59773" y="3069662"/>
                  <a:pt x="61502" y="3071391"/>
                  <a:pt x="61502" y="3073611"/>
                </a:cubicBezTo>
                <a:cubicBezTo>
                  <a:pt x="61255" y="3075832"/>
                  <a:pt x="59527" y="3077561"/>
                  <a:pt x="57552" y="3077561"/>
                </a:cubicBezTo>
                <a:cubicBezTo>
                  <a:pt x="55332" y="3077561"/>
                  <a:pt x="53603" y="3075832"/>
                  <a:pt x="53603" y="3073611"/>
                </a:cubicBezTo>
                <a:cubicBezTo>
                  <a:pt x="53603" y="3071391"/>
                  <a:pt x="55332" y="3069662"/>
                  <a:pt x="57552" y="3069662"/>
                </a:cubicBezTo>
                <a:close/>
                <a:moveTo>
                  <a:pt x="173069" y="3060530"/>
                </a:moveTo>
                <a:cubicBezTo>
                  <a:pt x="175290" y="3060530"/>
                  <a:pt x="177265" y="3062505"/>
                  <a:pt x="177265" y="3064726"/>
                </a:cubicBezTo>
                <a:cubicBezTo>
                  <a:pt x="177265" y="3066946"/>
                  <a:pt x="175539" y="3068921"/>
                  <a:pt x="173069" y="3068921"/>
                </a:cubicBezTo>
                <a:cubicBezTo>
                  <a:pt x="170849" y="3068921"/>
                  <a:pt x="168874" y="3066946"/>
                  <a:pt x="168874" y="3064726"/>
                </a:cubicBezTo>
                <a:cubicBezTo>
                  <a:pt x="168874" y="3062505"/>
                  <a:pt x="170849" y="3060530"/>
                  <a:pt x="173069" y="3060530"/>
                </a:cubicBezTo>
                <a:close/>
                <a:moveTo>
                  <a:pt x="1194221" y="3049174"/>
                </a:moveTo>
                <a:cubicBezTo>
                  <a:pt x="1196691" y="3049174"/>
                  <a:pt x="1198665" y="3051149"/>
                  <a:pt x="1198665" y="3053616"/>
                </a:cubicBezTo>
                <a:cubicBezTo>
                  <a:pt x="1198665" y="3056085"/>
                  <a:pt x="1196691" y="3058060"/>
                  <a:pt x="1194221" y="3058060"/>
                </a:cubicBezTo>
                <a:cubicBezTo>
                  <a:pt x="1191754" y="3058060"/>
                  <a:pt x="1189779" y="3056085"/>
                  <a:pt x="1189779" y="3053616"/>
                </a:cubicBezTo>
                <a:cubicBezTo>
                  <a:pt x="1189779" y="3051149"/>
                  <a:pt x="1191754" y="3049174"/>
                  <a:pt x="1194221" y="3049174"/>
                </a:cubicBezTo>
                <a:close/>
                <a:moveTo>
                  <a:pt x="288585" y="3047695"/>
                </a:moveTo>
                <a:cubicBezTo>
                  <a:pt x="291054" y="3047695"/>
                  <a:pt x="293029" y="3049670"/>
                  <a:pt x="293029" y="3052137"/>
                </a:cubicBezTo>
                <a:cubicBezTo>
                  <a:pt x="293029" y="3054606"/>
                  <a:pt x="291054" y="3056581"/>
                  <a:pt x="288585" y="3056581"/>
                </a:cubicBezTo>
                <a:cubicBezTo>
                  <a:pt x="286118" y="3056581"/>
                  <a:pt x="284143" y="3054606"/>
                  <a:pt x="284143" y="3052137"/>
                </a:cubicBezTo>
                <a:cubicBezTo>
                  <a:pt x="284143" y="3049670"/>
                  <a:pt x="286118" y="3047695"/>
                  <a:pt x="288585" y="3047695"/>
                </a:cubicBezTo>
                <a:close/>
                <a:moveTo>
                  <a:pt x="861496" y="3040288"/>
                </a:moveTo>
                <a:cubicBezTo>
                  <a:pt x="865200" y="3040288"/>
                  <a:pt x="868407" y="3043250"/>
                  <a:pt x="868407" y="3047199"/>
                </a:cubicBezTo>
                <a:cubicBezTo>
                  <a:pt x="868407" y="3050903"/>
                  <a:pt x="865200" y="3054111"/>
                  <a:pt x="861496" y="3054111"/>
                </a:cubicBezTo>
                <a:cubicBezTo>
                  <a:pt x="857792" y="3054111"/>
                  <a:pt x="854584" y="3051149"/>
                  <a:pt x="854584" y="3047199"/>
                </a:cubicBezTo>
                <a:cubicBezTo>
                  <a:pt x="854584" y="3043496"/>
                  <a:pt x="857546" y="3040288"/>
                  <a:pt x="861496" y="3040288"/>
                </a:cubicBezTo>
                <a:close/>
                <a:moveTo>
                  <a:pt x="403364" y="3031402"/>
                </a:moveTo>
                <a:cubicBezTo>
                  <a:pt x="406080" y="3031402"/>
                  <a:pt x="408054" y="3033623"/>
                  <a:pt x="408054" y="3036092"/>
                </a:cubicBezTo>
                <a:cubicBezTo>
                  <a:pt x="408300" y="3038559"/>
                  <a:pt x="406080" y="3040783"/>
                  <a:pt x="403364" y="3040783"/>
                </a:cubicBezTo>
                <a:cubicBezTo>
                  <a:pt x="400648" y="3040783"/>
                  <a:pt x="398673" y="3038559"/>
                  <a:pt x="398673" y="3036092"/>
                </a:cubicBezTo>
                <a:cubicBezTo>
                  <a:pt x="398673" y="3033377"/>
                  <a:pt x="400894" y="3031402"/>
                  <a:pt x="403364" y="3031402"/>
                </a:cubicBezTo>
                <a:close/>
                <a:moveTo>
                  <a:pt x="1518326" y="3030169"/>
                </a:moveTo>
                <a:cubicBezTo>
                  <a:pt x="1522029" y="3030169"/>
                  <a:pt x="1524991" y="3033131"/>
                  <a:pt x="1524991" y="3036834"/>
                </a:cubicBezTo>
                <a:cubicBezTo>
                  <a:pt x="1525237" y="3040784"/>
                  <a:pt x="1522029" y="3043746"/>
                  <a:pt x="1518326" y="3043746"/>
                </a:cubicBezTo>
                <a:cubicBezTo>
                  <a:pt x="1514622" y="3043746"/>
                  <a:pt x="1511414" y="3040784"/>
                  <a:pt x="1511414" y="3036834"/>
                </a:cubicBezTo>
                <a:cubicBezTo>
                  <a:pt x="1511414" y="3033131"/>
                  <a:pt x="1514376" y="3030169"/>
                  <a:pt x="1518326" y="3030169"/>
                </a:cubicBezTo>
                <a:close/>
                <a:moveTo>
                  <a:pt x="517648" y="3011163"/>
                </a:moveTo>
                <a:cubicBezTo>
                  <a:pt x="520364" y="3011163"/>
                  <a:pt x="522831" y="3013384"/>
                  <a:pt x="522831" y="3016100"/>
                </a:cubicBezTo>
                <a:cubicBezTo>
                  <a:pt x="522831" y="3019062"/>
                  <a:pt x="520610" y="3021283"/>
                  <a:pt x="517648" y="3021283"/>
                </a:cubicBezTo>
                <a:cubicBezTo>
                  <a:pt x="514932" y="3021283"/>
                  <a:pt x="512465" y="3019062"/>
                  <a:pt x="512465" y="3016100"/>
                </a:cubicBezTo>
                <a:cubicBezTo>
                  <a:pt x="512465" y="3013384"/>
                  <a:pt x="514686" y="3011163"/>
                  <a:pt x="517648" y="3011163"/>
                </a:cubicBezTo>
                <a:close/>
                <a:moveTo>
                  <a:pt x="973311" y="3006968"/>
                </a:moveTo>
                <a:cubicBezTo>
                  <a:pt x="977261" y="3006968"/>
                  <a:pt x="980472" y="3010176"/>
                  <a:pt x="980472" y="3014126"/>
                </a:cubicBezTo>
                <a:cubicBezTo>
                  <a:pt x="980472" y="3018075"/>
                  <a:pt x="977261" y="3021283"/>
                  <a:pt x="973311" y="3021283"/>
                </a:cubicBezTo>
                <a:cubicBezTo>
                  <a:pt x="969362" y="3021283"/>
                  <a:pt x="966154" y="3018075"/>
                  <a:pt x="966154" y="3014126"/>
                </a:cubicBezTo>
                <a:cubicBezTo>
                  <a:pt x="966154" y="3010176"/>
                  <a:pt x="969362" y="3006968"/>
                  <a:pt x="973311" y="3006968"/>
                </a:cubicBezTo>
                <a:close/>
                <a:moveTo>
                  <a:pt x="1302830" y="3006719"/>
                </a:moveTo>
                <a:cubicBezTo>
                  <a:pt x="1305298" y="3006719"/>
                  <a:pt x="1307518" y="3008694"/>
                  <a:pt x="1307518" y="3011409"/>
                </a:cubicBezTo>
                <a:cubicBezTo>
                  <a:pt x="1307518" y="3014125"/>
                  <a:pt x="1305298" y="3016100"/>
                  <a:pt x="1302830" y="3016100"/>
                </a:cubicBezTo>
                <a:cubicBezTo>
                  <a:pt x="1300361" y="3016100"/>
                  <a:pt x="1298140" y="3014125"/>
                  <a:pt x="1298140" y="3011409"/>
                </a:cubicBezTo>
                <a:cubicBezTo>
                  <a:pt x="1298140" y="3008940"/>
                  <a:pt x="1300115" y="3006719"/>
                  <a:pt x="1302830" y="3006719"/>
                </a:cubicBezTo>
                <a:close/>
                <a:moveTo>
                  <a:pt x="631443" y="2987467"/>
                </a:moveTo>
                <a:cubicBezTo>
                  <a:pt x="634407" y="2987467"/>
                  <a:pt x="636873" y="2989937"/>
                  <a:pt x="636873" y="2992899"/>
                </a:cubicBezTo>
                <a:cubicBezTo>
                  <a:pt x="636873" y="2995858"/>
                  <a:pt x="634407" y="2998328"/>
                  <a:pt x="631443" y="2998328"/>
                </a:cubicBezTo>
                <a:cubicBezTo>
                  <a:pt x="628482" y="2998328"/>
                  <a:pt x="626012" y="2995858"/>
                  <a:pt x="626012" y="2992899"/>
                </a:cubicBezTo>
                <a:cubicBezTo>
                  <a:pt x="626012" y="2989937"/>
                  <a:pt x="628482" y="2987467"/>
                  <a:pt x="631443" y="2987467"/>
                </a:cubicBezTo>
                <a:close/>
                <a:moveTo>
                  <a:pt x="1623482" y="2980061"/>
                </a:moveTo>
                <a:cubicBezTo>
                  <a:pt x="1627431" y="2980061"/>
                  <a:pt x="1630639" y="2983269"/>
                  <a:pt x="1630639" y="2986973"/>
                </a:cubicBezTo>
                <a:cubicBezTo>
                  <a:pt x="1630393" y="2990922"/>
                  <a:pt x="1627185" y="2994130"/>
                  <a:pt x="1623482" y="2994130"/>
                </a:cubicBezTo>
                <a:cubicBezTo>
                  <a:pt x="1619532" y="2994130"/>
                  <a:pt x="1616570" y="2990922"/>
                  <a:pt x="1616570" y="2986973"/>
                </a:cubicBezTo>
                <a:cubicBezTo>
                  <a:pt x="1616570" y="2983023"/>
                  <a:pt x="1619778" y="2980061"/>
                  <a:pt x="1623482" y="2980061"/>
                </a:cubicBezTo>
                <a:close/>
                <a:moveTo>
                  <a:pt x="1083879" y="2969941"/>
                </a:moveTo>
                <a:cubicBezTo>
                  <a:pt x="1088075" y="2969941"/>
                  <a:pt x="1091530" y="2973395"/>
                  <a:pt x="1091530" y="2977593"/>
                </a:cubicBezTo>
                <a:cubicBezTo>
                  <a:pt x="1091530" y="2981789"/>
                  <a:pt x="1088075" y="2985243"/>
                  <a:pt x="1083879" y="2985243"/>
                </a:cubicBezTo>
                <a:cubicBezTo>
                  <a:pt x="1079682" y="2985243"/>
                  <a:pt x="1076228" y="2981789"/>
                  <a:pt x="1076228" y="2977593"/>
                </a:cubicBezTo>
                <a:cubicBezTo>
                  <a:pt x="1076228" y="2973395"/>
                  <a:pt x="1079682" y="2969941"/>
                  <a:pt x="1083879" y="2969941"/>
                </a:cubicBezTo>
                <a:close/>
                <a:moveTo>
                  <a:pt x="1410208" y="2961796"/>
                </a:moveTo>
                <a:cubicBezTo>
                  <a:pt x="1412675" y="2961796"/>
                  <a:pt x="1414898" y="2963771"/>
                  <a:pt x="1414898" y="2966484"/>
                </a:cubicBezTo>
                <a:cubicBezTo>
                  <a:pt x="1414898" y="2969200"/>
                  <a:pt x="1412675" y="2971174"/>
                  <a:pt x="1410208" y="2971174"/>
                </a:cubicBezTo>
                <a:cubicBezTo>
                  <a:pt x="1407492" y="2971174"/>
                  <a:pt x="1405517" y="2968953"/>
                  <a:pt x="1405517" y="2966484"/>
                </a:cubicBezTo>
                <a:cubicBezTo>
                  <a:pt x="1405517" y="2964017"/>
                  <a:pt x="1407738" y="2961796"/>
                  <a:pt x="1410208" y="2961796"/>
                </a:cubicBezTo>
                <a:close/>
                <a:moveTo>
                  <a:pt x="57055" y="2961550"/>
                </a:moveTo>
                <a:cubicBezTo>
                  <a:pt x="59030" y="2961550"/>
                  <a:pt x="60758" y="2963279"/>
                  <a:pt x="60758" y="2965005"/>
                </a:cubicBezTo>
                <a:cubicBezTo>
                  <a:pt x="60758" y="2966982"/>
                  <a:pt x="59030" y="2968708"/>
                  <a:pt x="57055" y="2968708"/>
                </a:cubicBezTo>
                <a:cubicBezTo>
                  <a:pt x="55080" y="2968708"/>
                  <a:pt x="53352" y="2967228"/>
                  <a:pt x="53352" y="2965005"/>
                </a:cubicBezTo>
                <a:cubicBezTo>
                  <a:pt x="53352" y="2963030"/>
                  <a:pt x="55080" y="2961550"/>
                  <a:pt x="57055" y="2961550"/>
                </a:cubicBezTo>
                <a:close/>
                <a:moveTo>
                  <a:pt x="744248" y="2960314"/>
                </a:moveTo>
                <a:cubicBezTo>
                  <a:pt x="747457" y="2960314"/>
                  <a:pt x="749923" y="2962784"/>
                  <a:pt x="749923" y="2965992"/>
                </a:cubicBezTo>
                <a:cubicBezTo>
                  <a:pt x="749923" y="2969200"/>
                  <a:pt x="747457" y="2971670"/>
                  <a:pt x="744248" y="2971670"/>
                </a:cubicBezTo>
                <a:cubicBezTo>
                  <a:pt x="741036" y="2971670"/>
                  <a:pt x="738570" y="2969200"/>
                  <a:pt x="738570" y="2965992"/>
                </a:cubicBezTo>
                <a:cubicBezTo>
                  <a:pt x="738570" y="2962784"/>
                  <a:pt x="741036" y="2960314"/>
                  <a:pt x="744248" y="2960314"/>
                </a:cubicBezTo>
                <a:close/>
                <a:moveTo>
                  <a:pt x="172821" y="2951923"/>
                </a:moveTo>
                <a:cubicBezTo>
                  <a:pt x="174796" y="2951923"/>
                  <a:pt x="176524" y="2953652"/>
                  <a:pt x="176524" y="2955626"/>
                </a:cubicBezTo>
                <a:cubicBezTo>
                  <a:pt x="176524" y="2957847"/>
                  <a:pt x="175042" y="2959330"/>
                  <a:pt x="172821" y="2959330"/>
                </a:cubicBezTo>
                <a:cubicBezTo>
                  <a:pt x="170846" y="2959330"/>
                  <a:pt x="169118" y="2957601"/>
                  <a:pt x="169118" y="2955626"/>
                </a:cubicBezTo>
                <a:cubicBezTo>
                  <a:pt x="169118" y="2953652"/>
                  <a:pt x="170846" y="2951923"/>
                  <a:pt x="172821" y="2951923"/>
                </a:cubicBezTo>
                <a:close/>
                <a:moveTo>
                  <a:pt x="288336" y="2938592"/>
                </a:moveTo>
                <a:cubicBezTo>
                  <a:pt x="290557" y="2938592"/>
                  <a:pt x="292286" y="2940321"/>
                  <a:pt x="292286" y="2942541"/>
                </a:cubicBezTo>
                <a:cubicBezTo>
                  <a:pt x="292039" y="2944762"/>
                  <a:pt x="290311" y="2946491"/>
                  <a:pt x="288336" y="2946491"/>
                </a:cubicBezTo>
                <a:cubicBezTo>
                  <a:pt x="286115" y="2946491"/>
                  <a:pt x="284387" y="2944762"/>
                  <a:pt x="284387" y="2942541"/>
                </a:cubicBezTo>
                <a:cubicBezTo>
                  <a:pt x="284387" y="2940321"/>
                  <a:pt x="286115" y="2938592"/>
                  <a:pt x="288336" y="2938592"/>
                </a:cubicBezTo>
                <a:close/>
                <a:moveTo>
                  <a:pt x="1193231" y="2929955"/>
                </a:moveTo>
                <a:cubicBezTo>
                  <a:pt x="1197675" y="2929955"/>
                  <a:pt x="1201376" y="2933658"/>
                  <a:pt x="1201376" y="2937854"/>
                </a:cubicBezTo>
                <a:cubicBezTo>
                  <a:pt x="1201376" y="2942298"/>
                  <a:pt x="1197675" y="2945999"/>
                  <a:pt x="1193231" y="2945999"/>
                </a:cubicBezTo>
                <a:cubicBezTo>
                  <a:pt x="1188787" y="2945999"/>
                  <a:pt x="1185332" y="2942298"/>
                  <a:pt x="1185332" y="2937854"/>
                </a:cubicBezTo>
                <a:cubicBezTo>
                  <a:pt x="1185332" y="2933410"/>
                  <a:pt x="1189035" y="2929955"/>
                  <a:pt x="1193231" y="2929955"/>
                </a:cubicBezTo>
                <a:close/>
                <a:moveTo>
                  <a:pt x="856310" y="2929955"/>
                </a:moveTo>
                <a:cubicBezTo>
                  <a:pt x="859518" y="2929955"/>
                  <a:pt x="862235" y="2932671"/>
                  <a:pt x="862235" y="2935879"/>
                </a:cubicBezTo>
                <a:cubicBezTo>
                  <a:pt x="862235" y="2939087"/>
                  <a:pt x="859518" y="2941803"/>
                  <a:pt x="856310" y="2941803"/>
                </a:cubicBezTo>
                <a:cubicBezTo>
                  <a:pt x="853102" y="2941803"/>
                  <a:pt x="850386" y="2939087"/>
                  <a:pt x="850386" y="2935879"/>
                </a:cubicBezTo>
                <a:cubicBezTo>
                  <a:pt x="850386" y="2932671"/>
                  <a:pt x="853102" y="2929955"/>
                  <a:pt x="856310" y="2929955"/>
                </a:cubicBezTo>
                <a:close/>
                <a:moveTo>
                  <a:pt x="1726904" y="2926993"/>
                </a:moveTo>
                <a:cubicBezTo>
                  <a:pt x="1730853" y="2926993"/>
                  <a:pt x="1734063" y="2930201"/>
                  <a:pt x="1734063" y="2934151"/>
                </a:cubicBezTo>
                <a:cubicBezTo>
                  <a:pt x="1734312" y="2938100"/>
                  <a:pt x="1730853" y="2941308"/>
                  <a:pt x="1726904" y="2941308"/>
                </a:cubicBezTo>
                <a:cubicBezTo>
                  <a:pt x="1722956" y="2941308"/>
                  <a:pt x="1719746" y="2938100"/>
                  <a:pt x="1719746" y="2934151"/>
                </a:cubicBezTo>
                <a:cubicBezTo>
                  <a:pt x="1719746" y="2930201"/>
                  <a:pt x="1722956" y="2926993"/>
                  <a:pt x="1726904" y="2926993"/>
                </a:cubicBezTo>
                <a:close/>
                <a:moveTo>
                  <a:pt x="403115" y="2922054"/>
                </a:moveTo>
                <a:cubicBezTo>
                  <a:pt x="405336" y="2922054"/>
                  <a:pt x="407064" y="2923783"/>
                  <a:pt x="407064" y="2926004"/>
                </a:cubicBezTo>
                <a:cubicBezTo>
                  <a:pt x="407064" y="2928225"/>
                  <a:pt x="405336" y="2929953"/>
                  <a:pt x="403115" y="2929953"/>
                </a:cubicBezTo>
                <a:cubicBezTo>
                  <a:pt x="400894" y="2929953"/>
                  <a:pt x="399166" y="2928225"/>
                  <a:pt x="399166" y="2926004"/>
                </a:cubicBezTo>
                <a:cubicBezTo>
                  <a:pt x="399166" y="2923783"/>
                  <a:pt x="400894" y="2922054"/>
                  <a:pt x="403115" y="2922054"/>
                </a:cubicBezTo>
                <a:close/>
                <a:moveTo>
                  <a:pt x="1516102" y="2913417"/>
                </a:moveTo>
                <a:cubicBezTo>
                  <a:pt x="1518818" y="2913417"/>
                  <a:pt x="1520793" y="2915638"/>
                  <a:pt x="1520793" y="2918108"/>
                </a:cubicBezTo>
                <a:cubicBezTo>
                  <a:pt x="1520793" y="2921070"/>
                  <a:pt x="1518818" y="2923045"/>
                  <a:pt x="1516102" y="2923045"/>
                </a:cubicBezTo>
                <a:cubicBezTo>
                  <a:pt x="1513386" y="2923045"/>
                  <a:pt x="1511165" y="2920824"/>
                  <a:pt x="1511165" y="2918108"/>
                </a:cubicBezTo>
                <a:cubicBezTo>
                  <a:pt x="1511165" y="2915392"/>
                  <a:pt x="1513386" y="2913417"/>
                  <a:pt x="1516102" y="2913417"/>
                </a:cubicBezTo>
                <a:close/>
                <a:moveTo>
                  <a:pt x="517396" y="2901569"/>
                </a:moveTo>
                <a:cubicBezTo>
                  <a:pt x="519617" y="2901569"/>
                  <a:pt x="521592" y="2903544"/>
                  <a:pt x="521592" y="2905765"/>
                </a:cubicBezTo>
                <a:cubicBezTo>
                  <a:pt x="521592" y="2907985"/>
                  <a:pt x="519617" y="2909960"/>
                  <a:pt x="517396" y="2909960"/>
                </a:cubicBezTo>
                <a:cubicBezTo>
                  <a:pt x="515175" y="2909960"/>
                  <a:pt x="513201" y="2907985"/>
                  <a:pt x="513201" y="2905765"/>
                </a:cubicBezTo>
                <a:cubicBezTo>
                  <a:pt x="513201" y="2903544"/>
                  <a:pt x="515175" y="2901569"/>
                  <a:pt x="517396" y="2901569"/>
                </a:cubicBezTo>
                <a:close/>
                <a:moveTo>
                  <a:pt x="967385" y="2896137"/>
                </a:moveTo>
                <a:cubicBezTo>
                  <a:pt x="970842" y="2896137"/>
                  <a:pt x="973557" y="2898853"/>
                  <a:pt x="973557" y="2902307"/>
                </a:cubicBezTo>
                <a:cubicBezTo>
                  <a:pt x="973557" y="2905515"/>
                  <a:pt x="970842" y="2908480"/>
                  <a:pt x="967385" y="2908480"/>
                </a:cubicBezTo>
                <a:cubicBezTo>
                  <a:pt x="963931" y="2908480"/>
                  <a:pt x="961215" y="2905764"/>
                  <a:pt x="961215" y="2902307"/>
                </a:cubicBezTo>
                <a:cubicBezTo>
                  <a:pt x="961215" y="2898853"/>
                  <a:pt x="963931" y="2896137"/>
                  <a:pt x="967385" y="2896137"/>
                </a:cubicBezTo>
                <a:close/>
                <a:moveTo>
                  <a:pt x="1301595" y="2886510"/>
                </a:moveTo>
                <a:cubicBezTo>
                  <a:pt x="1306283" y="2886510"/>
                  <a:pt x="1309986" y="2890213"/>
                  <a:pt x="1309986" y="2894901"/>
                </a:cubicBezTo>
                <a:cubicBezTo>
                  <a:pt x="1309986" y="2899345"/>
                  <a:pt x="1306283" y="2903295"/>
                  <a:pt x="1301595" y="2903295"/>
                </a:cubicBezTo>
                <a:cubicBezTo>
                  <a:pt x="1296904" y="2903295"/>
                  <a:pt x="1293201" y="2899592"/>
                  <a:pt x="1293201" y="2894901"/>
                </a:cubicBezTo>
                <a:cubicBezTo>
                  <a:pt x="1293201" y="2890213"/>
                  <a:pt x="1296904" y="2886510"/>
                  <a:pt x="1301595" y="2886510"/>
                </a:cubicBezTo>
                <a:close/>
                <a:moveTo>
                  <a:pt x="630946" y="2877626"/>
                </a:moveTo>
                <a:cubicBezTo>
                  <a:pt x="633416" y="2877626"/>
                  <a:pt x="635391" y="2879601"/>
                  <a:pt x="635391" y="2881822"/>
                </a:cubicBezTo>
                <a:cubicBezTo>
                  <a:pt x="635391" y="2884042"/>
                  <a:pt x="633416" y="2886017"/>
                  <a:pt x="630946" y="2886017"/>
                </a:cubicBezTo>
                <a:cubicBezTo>
                  <a:pt x="628479" y="2886017"/>
                  <a:pt x="626750" y="2884042"/>
                  <a:pt x="626750" y="2881822"/>
                </a:cubicBezTo>
                <a:cubicBezTo>
                  <a:pt x="626750" y="2879355"/>
                  <a:pt x="628725" y="2877626"/>
                  <a:pt x="630946" y="2877626"/>
                </a:cubicBezTo>
                <a:close/>
                <a:moveTo>
                  <a:pt x="1829091" y="2870961"/>
                </a:moveTo>
                <a:cubicBezTo>
                  <a:pt x="1833283" y="2870961"/>
                  <a:pt x="1836491" y="2874418"/>
                  <a:pt x="1836491" y="2878367"/>
                </a:cubicBezTo>
                <a:cubicBezTo>
                  <a:pt x="1836491" y="2882317"/>
                  <a:pt x="1833037" y="2885771"/>
                  <a:pt x="1829091" y="2885771"/>
                </a:cubicBezTo>
                <a:cubicBezTo>
                  <a:pt x="1824890" y="2885771"/>
                  <a:pt x="1821682" y="2882317"/>
                  <a:pt x="1821682" y="2878367"/>
                </a:cubicBezTo>
                <a:cubicBezTo>
                  <a:pt x="1821682" y="2874169"/>
                  <a:pt x="1825136" y="2870961"/>
                  <a:pt x="1829091" y="2870961"/>
                </a:cubicBezTo>
                <a:close/>
                <a:moveTo>
                  <a:pt x="1620517" y="2862075"/>
                </a:moveTo>
                <a:cubicBezTo>
                  <a:pt x="1623233" y="2862075"/>
                  <a:pt x="1625454" y="2864296"/>
                  <a:pt x="1625454" y="2867012"/>
                </a:cubicBezTo>
                <a:cubicBezTo>
                  <a:pt x="1625454" y="2869728"/>
                  <a:pt x="1623233" y="2871949"/>
                  <a:pt x="1620517" y="2871949"/>
                </a:cubicBezTo>
                <a:cubicBezTo>
                  <a:pt x="1617801" y="2871949"/>
                  <a:pt x="1615580" y="2869728"/>
                  <a:pt x="1615580" y="2867012"/>
                </a:cubicBezTo>
                <a:cubicBezTo>
                  <a:pt x="1615580" y="2864296"/>
                  <a:pt x="1617801" y="2862075"/>
                  <a:pt x="1620517" y="2862075"/>
                </a:cubicBezTo>
                <a:close/>
                <a:moveTo>
                  <a:pt x="1077215" y="2858372"/>
                </a:moveTo>
                <a:cubicBezTo>
                  <a:pt x="1080916" y="2858372"/>
                  <a:pt x="1083879" y="2861334"/>
                  <a:pt x="1083879" y="2865038"/>
                </a:cubicBezTo>
                <a:cubicBezTo>
                  <a:pt x="1083632" y="2868492"/>
                  <a:pt x="1080916" y="2871454"/>
                  <a:pt x="1077215" y="2871454"/>
                </a:cubicBezTo>
                <a:cubicBezTo>
                  <a:pt x="1073513" y="2871454"/>
                  <a:pt x="1070550" y="2868492"/>
                  <a:pt x="1070550" y="2865038"/>
                </a:cubicBezTo>
                <a:cubicBezTo>
                  <a:pt x="1070550" y="2861334"/>
                  <a:pt x="1073513" y="2858372"/>
                  <a:pt x="1077215" y="2858372"/>
                </a:cubicBezTo>
                <a:close/>
                <a:moveTo>
                  <a:pt x="56804" y="2852943"/>
                </a:moveTo>
                <a:cubicBezTo>
                  <a:pt x="58781" y="2852943"/>
                  <a:pt x="60014" y="2854423"/>
                  <a:pt x="60014" y="2856152"/>
                </a:cubicBezTo>
                <a:cubicBezTo>
                  <a:pt x="60261" y="2858126"/>
                  <a:pt x="58532" y="2859609"/>
                  <a:pt x="56804" y="2859609"/>
                </a:cubicBezTo>
                <a:cubicBezTo>
                  <a:pt x="54829" y="2859609"/>
                  <a:pt x="53349" y="2858126"/>
                  <a:pt x="53349" y="2856152"/>
                </a:cubicBezTo>
                <a:cubicBezTo>
                  <a:pt x="53349" y="2854423"/>
                  <a:pt x="54829" y="2852943"/>
                  <a:pt x="56804" y="2852943"/>
                </a:cubicBezTo>
                <a:close/>
                <a:moveTo>
                  <a:pt x="743749" y="2849732"/>
                </a:moveTo>
                <a:cubicBezTo>
                  <a:pt x="746218" y="2849732"/>
                  <a:pt x="748193" y="2851707"/>
                  <a:pt x="748193" y="2854174"/>
                </a:cubicBezTo>
                <a:cubicBezTo>
                  <a:pt x="748193" y="2856643"/>
                  <a:pt x="746218" y="2858618"/>
                  <a:pt x="743749" y="2858618"/>
                </a:cubicBezTo>
                <a:cubicBezTo>
                  <a:pt x="741279" y="2858618"/>
                  <a:pt x="739307" y="2856643"/>
                  <a:pt x="739307" y="2854174"/>
                </a:cubicBezTo>
                <a:cubicBezTo>
                  <a:pt x="739307" y="2851707"/>
                  <a:pt x="741279" y="2849732"/>
                  <a:pt x="743749" y="2849732"/>
                </a:cubicBezTo>
                <a:close/>
                <a:moveTo>
                  <a:pt x="172570" y="2843067"/>
                </a:moveTo>
                <a:cubicBezTo>
                  <a:pt x="174547" y="2843067"/>
                  <a:pt x="176027" y="2844549"/>
                  <a:pt x="176027" y="2846524"/>
                </a:cubicBezTo>
                <a:cubicBezTo>
                  <a:pt x="176027" y="2848499"/>
                  <a:pt x="174547" y="2849979"/>
                  <a:pt x="172570" y="2849979"/>
                </a:cubicBezTo>
                <a:cubicBezTo>
                  <a:pt x="170595" y="2849979"/>
                  <a:pt x="169115" y="2848499"/>
                  <a:pt x="169115" y="2846524"/>
                </a:cubicBezTo>
                <a:cubicBezTo>
                  <a:pt x="169115" y="2844796"/>
                  <a:pt x="170595" y="2843067"/>
                  <a:pt x="172570" y="2843067"/>
                </a:cubicBezTo>
                <a:close/>
                <a:moveTo>
                  <a:pt x="1408477" y="2839612"/>
                </a:moveTo>
                <a:cubicBezTo>
                  <a:pt x="1413414" y="2839612"/>
                  <a:pt x="1417363" y="2843561"/>
                  <a:pt x="1417363" y="2848498"/>
                </a:cubicBezTo>
                <a:cubicBezTo>
                  <a:pt x="1417363" y="2853435"/>
                  <a:pt x="1413414" y="2857384"/>
                  <a:pt x="1408477" y="2857384"/>
                </a:cubicBezTo>
                <a:cubicBezTo>
                  <a:pt x="1403540" y="2857384"/>
                  <a:pt x="1399591" y="2853435"/>
                  <a:pt x="1399591" y="2848498"/>
                </a:cubicBezTo>
                <a:cubicBezTo>
                  <a:pt x="1399591" y="2843561"/>
                  <a:pt x="1403540" y="2839612"/>
                  <a:pt x="1408477" y="2839612"/>
                </a:cubicBezTo>
                <a:close/>
                <a:moveTo>
                  <a:pt x="288088" y="2829739"/>
                </a:moveTo>
                <a:cubicBezTo>
                  <a:pt x="290063" y="2829739"/>
                  <a:pt x="291545" y="2831219"/>
                  <a:pt x="291545" y="2833194"/>
                </a:cubicBezTo>
                <a:cubicBezTo>
                  <a:pt x="291545" y="2835171"/>
                  <a:pt x="290063" y="2836651"/>
                  <a:pt x="288088" y="2836651"/>
                </a:cubicBezTo>
                <a:cubicBezTo>
                  <a:pt x="286113" y="2836651"/>
                  <a:pt x="284633" y="2835171"/>
                  <a:pt x="284633" y="2833194"/>
                </a:cubicBezTo>
                <a:cubicBezTo>
                  <a:pt x="284633" y="2831219"/>
                  <a:pt x="286113" y="2829739"/>
                  <a:pt x="288088" y="2829739"/>
                </a:cubicBezTo>
                <a:close/>
                <a:moveTo>
                  <a:pt x="855566" y="2818383"/>
                </a:moveTo>
                <a:cubicBezTo>
                  <a:pt x="858034" y="2818383"/>
                  <a:pt x="860008" y="2820358"/>
                  <a:pt x="860008" y="2822827"/>
                </a:cubicBezTo>
                <a:cubicBezTo>
                  <a:pt x="860257" y="2825540"/>
                  <a:pt x="858282" y="2827515"/>
                  <a:pt x="855566" y="2827515"/>
                </a:cubicBezTo>
                <a:cubicBezTo>
                  <a:pt x="853096" y="2827515"/>
                  <a:pt x="850876" y="2825540"/>
                  <a:pt x="850876" y="2822827"/>
                </a:cubicBezTo>
                <a:cubicBezTo>
                  <a:pt x="850876" y="2820358"/>
                  <a:pt x="852850" y="2818383"/>
                  <a:pt x="855566" y="2818383"/>
                </a:cubicBezTo>
                <a:close/>
                <a:moveTo>
                  <a:pt x="1185825" y="2817399"/>
                </a:moveTo>
                <a:cubicBezTo>
                  <a:pt x="1189528" y="2817399"/>
                  <a:pt x="1192737" y="2820361"/>
                  <a:pt x="1192737" y="2824310"/>
                </a:cubicBezTo>
                <a:cubicBezTo>
                  <a:pt x="1192737" y="2828260"/>
                  <a:pt x="1189528" y="2831222"/>
                  <a:pt x="1185825" y="2831222"/>
                </a:cubicBezTo>
                <a:cubicBezTo>
                  <a:pt x="1182122" y="2831222"/>
                  <a:pt x="1178914" y="2828260"/>
                  <a:pt x="1178914" y="2824310"/>
                </a:cubicBezTo>
                <a:cubicBezTo>
                  <a:pt x="1178914" y="2820607"/>
                  <a:pt x="1181876" y="2817399"/>
                  <a:pt x="1185825" y="2817399"/>
                </a:cubicBezTo>
                <a:close/>
                <a:moveTo>
                  <a:pt x="402864" y="2812459"/>
                </a:moveTo>
                <a:cubicBezTo>
                  <a:pt x="404841" y="2812459"/>
                  <a:pt x="406321" y="2813939"/>
                  <a:pt x="406321" y="2815916"/>
                </a:cubicBezTo>
                <a:cubicBezTo>
                  <a:pt x="406321" y="2817891"/>
                  <a:pt x="404841" y="2819371"/>
                  <a:pt x="402864" y="2819371"/>
                </a:cubicBezTo>
                <a:cubicBezTo>
                  <a:pt x="400889" y="2819371"/>
                  <a:pt x="399409" y="2817891"/>
                  <a:pt x="399409" y="2815916"/>
                </a:cubicBezTo>
                <a:cubicBezTo>
                  <a:pt x="399409" y="2813939"/>
                  <a:pt x="400889" y="2812459"/>
                  <a:pt x="402864" y="2812459"/>
                </a:cubicBezTo>
                <a:close/>
                <a:moveTo>
                  <a:pt x="1929299" y="2811967"/>
                </a:moveTo>
                <a:cubicBezTo>
                  <a:pt x="1933491" y="2811967"/>
                  <a:pt x="1936943" y="2815421"/>
                  <a:pt x="1936943" y="2819619"/>
                </a:cubicBezTo>
                <a:cubicBezTo>
                  <a:pt x="1937192" y="2823815"/>
                  <a:pt x="1933737" y="2827269"/>
                  <a:pt x="1929299" y="2827269"/>
                </a:cubicBezTo>
                <a:cubicBezTo>
                  <a:pt x="1925104" y="2827269"/>
                  <a:pt x="1921652" y="2823815"/>
                  <a:pt x="1921652" y="2819619"/>
                </a:cubicBezTo>
                <a:cubicBezTo>
                  <a:pt x="1921652" y="2815421"/>
                  <a:pt x="1925104" y="2811967"/>
                  <a:pt x="1929299" y="2811967"/>
                </a:cubicBezTo>
                <a:close/>
                <a:moveTo>
                  <a:pt x="1723447" y="2807771"/>
                </a:moveTo>
                <a:cubicBezTo>
                  <a:pt x="1726164" y="2807771"/>
                  <a:pt x="1728381" y="2809992"/>
                  <a:pt x="1728381" y="2812708"/>
                </a:cubicBezTo>
                <a:cubicBezTo>
                  <a:pt x="1728626" y="2815424"/>
                  <a:pt x="1726164" y="2817645"/>
                  <a:pt x="1723447" y="2817645"/>
                </a:cubicBezTo>
                <a:cubicBezTo>
                  <a:pt x="1720730" y="2817645"/>
                  <a:pt x="1718509" y="2815424"/>
                  <a:pt x="1718509" y="2812708"/>
                </a:cubicBezTo>
                <a:cubicBezTo>
                  <a:pt x="1718509" y="2809992"/>
                  <a:pt x="1720730" y="2807771"/>
                  <a:pt x="1723447" y="2807771"/>
                </a:cubicBezTo>
                <a:close/>
                <a:moveTo>
                  <a:pt x="517148" y="2791728"/>
                </a:moveTo>
                <a:cubicBezTo>
                  <a:pt x="519125" y="2791728"/>
                  <a:pt x="520605" y="2793208"/>
                  <a:pt x="520605" y="2795185"/>
                </a:cubicBezTo>
                <a:cubicBezTo>
                  <a:pt x="520605" y="2796911"/>
                  <a:pt x="519125" y="2798640"/>
                  <a:pt x="517148" y="2798640"/>
                </a:cubicBezTo>
                <a:cubicBezTo>
                  <a:pt x="515173" y="2798640"/>
                  <a:pt x="513693" y="2797160"/>
                  <a:pt x="513693" y="2795185"/>
                </a:cubicBezTo>
                <a:cubicBezTo>
                  <a:pt x="513693" y="2793208"/>
                  <a:pt x="515173" y="2791728"/>
                  <a:pt x="517148" y="2791728"/>
                </a:cubicBezTo>
                <a:close/>
                <a:moveTo>
                  <a:pt x="1513876" y="2789999"/>
                </a:moveTo>
                <a:cubicBezTo>
                  <a:pt x="1519061" y="2789999"/>
                  <a:pt x="1523011" y="2794195"/>
                  <a:pt x="1523011" y="2799131"/>
                </a:cubicBezTo>
                <a:cubicBezTo>
                  <a:pt x="1523011" y="2804068"/>
                  <a:pt x="1518812" y="2808266"/>
                  <a:pt x="1513876" y="2808266"/>
                </a:cubicBezTo>
                <a:cubicBezTo>
                  <a:pt x="1508693" y="2808266"/>
                  <a:pt x="1504743" y="2804068"/>
                  <a:pt x="1504743" y="2799131"/>
                </a:cubicBezTo>
                <a:cubicBezTo>
                  <a:pt x="1504743" y="2793948"/>
                  <a:pt x="1508939" y="2789999"/>
                  <a:pt x="1513876" y="2789999"/>
                </a:cubicBezTo>
                <a:close/>
                <a:moveTo>
                  <a:pt x="966395" y="2783580"/>
                </a:moveTo>
                <a:cubicBezTo>
                  <a:pt x="969110" y="2783580"/>
                  <a:pt x="971085" y="2785801"/>
                  <a:pt x="971085" y="2788268"/>
                </a:cubicBezTo>
                <a:cubicBezTo>
                  <a:pt x="971085" y="2790737"/>
                  <a:pt x="969110" y="2792958"/>
                  <a:pt x="966395" y="2792958"/>
                </a:cubicBezTo>
                <a:cubicBezTo>
                  <a:pt x="963679" y="2792958"/>
                  <a:pt x="961704" y="2790737"/>
                  <a:pt x="961704" y="2788268"/>
                </a:cubicBezTo>
                <a:cubicBezTo>
                  <a:pt x="961704" y="2785555"/>
                  <a:pt x="963925" y="2783580"/>
                  <a:pt x="966395" y="2783580"/>
                </a:cubicBezTo>
                <a:close/>
                <a:moveTo>
                  <a:pt x="1293199" y="2773215"/>
                </a:moveTo>
                <a:cubicBezTo>
                  <a:pt x="1297149" y="2773215"/>
                  <a:pt x="1300359" y="2776423"/>
                  <a:pt x="1300359" y="2780373"/>
                </a:cubicBezTo>
                <a:cubicBezTo>
                  <a:pt x="1300359" y="2784568"/>
                  <a:pt x="1297149" y="2787530"/>
                  <a:pt x="1293199" y="2787530"/>
                </a:cubicBezTo>
                <a:cubicBezTo>
                  <a:pt x="1289250" y="2787530"/>
                  <a:pt x="1286042" y="2784322"/>
                  <a:pt x="1286042" y="2780373"/>
                </a:cubicBezTo>
                <a:cubicBezTo>
                  <a:pt x="1286042" y="2776423"/>
                  <a:pt x="1289250" y="2773215"/>
                  <a:pt x="1293199" y="2773215"/>
                </a:cubicBezTo>
                <a:close/>
                <a:moveTo>
                  <a:pt x="630697" y="2767044"/>
                </a:moveTo>
                <a:cubicBezTo>
                  <a:pt x="632675" y="2767044"/>
                  <a:pt x="634156" y="2768524"/>
                  <a:pt x="634156" y="2770501"/>
                </a:cubicBezTo>
                <a:cubicBezTo>
                  <a:pt x="634156" y="2772476"/>
                  <a:pt x="632675" y="2773956"/>
                  <a:pt x="630697" y="2773956"/>
                </a:cubicBezTo>
                <a:cubicBezTo>
                  <a:pt x="628723" y="2773956"/>
                  <a:pt x="627243" y="2772476"/>
                  <a:pt x="627243" y="2770501"/>
                </a:cubicBezTo>
                <a:cubicBezTo>
                  <a:pt x="627243" y="2768524"/>
                  <a:pt x="628723" y="2767044"/>
                  <a:pt x="630697" y="2767044"/>
                </a:cubicBezTo>
                <a:close/>
                <a:moveTo>
                  <a:pt x="1824888" y="2750260"/>
                </a:moveTo>
                <a:cubicBezTo>
                  <a:pt x="1827603" y="2750260"/>
                  <a:pt x="1830073" y="2752481"/>
                  <a:pt x="1830073" y="2755443"/>
                </a:cubicBezTo>
                <a:cubicBezTo>
                  <a:pt x="1829826" y="2758159"/>
                  <a:pt x="1827603" y="2760626"/>
                  <a:pt x="1824888" y="2760626"/>
                </a:cubicBezTo>
                <a:cubicBezTo>
                  <a:pt x="1821924" y="2760626"/>
                  <a:pt x="1819690" y="2758405"/>
                  <a:pt x="1819690" y="2755443"/>
                </a:cubicBezTo>
                <a:cubicBezTo>
                  <a:pt x="1819690" y="2752730"/>
                  <a:pt x="1821924" y="2750260"/>
                  <a:pt x="1824888" y="2750260"/>
                </a:cubicBezTo>
                <a:close/>
                <a:moveTo>
                  <a:pt x="2027996" y="2749518"/>
                </a:moveTo>
                <a:cubicBezTo>
                  <a:pt x="2032686" y="2749518"/>
                  <a:pt x="2036387" y="2753221"/>
                  <a:pt x="2036387" y="2757909"/>
                </a:cubicBezTo>
                <a:cubicBezTo>
                  <a:pt x="2036387" y="2762600"/>
                  <a:pt x="2032686" y="2766303"/>
                  <a:pt x="2027996" y="2766303"/>
                </a:cubicBezTo>
                <a:cubicBezTo>
                  <a:pt x="2023305" y="2766303"/>
                  <a:pt x="2019602" y="2762600"/>
                  <a:pt x="2019602" y="2757909"/>
                </a:cubicBezTo>
                <a:cubicBezTo>
                  <a:pt x="2019602" y="2753221"/>
                  <a:pt x="2023305" y="2749518"/>
                  <a:pt x="2027996" y="2749518"/>
                </a:cubicBezTo>
                <a:close/>
                <a:moveTo>
                  <a:pt x="1075977" y="2745074"/>
                </a:moveTo>
                <a:cubicBezTo>
                  <a:pt x="1078693" y="2745074"/>
                  <a:pt x="1080914" y="2747297"/>
                  <a:pt x="1080914" y="2750011"/>
                </a:cubicBezTo>
                <a:cubicBezTo>
                  <a:pt x="1080914" y="2752726"/>
                  <a:pt x="1078693" y="2754947"/>
                  <a:pt x="1075977" y="2754947"/>
                </a:cubicBezTo>
                <a:cubicBezTo>
                  <a:pt x="1073261" y="2754947"/>
                  <a:pt x="1071040" y="2752726"/>
                  <a:pt x="1071040" y="2750011"/>
                </a:cubicBezTo>
                <a:cubicBezTo>
                  <a:pt x="1071040" y="2747297"/>
                  <a:pt x="1073261" y="2745074"/>
                  <a:pt x="1075977" y="2745074"/>
                </a:cubicBezTo>
                <a:close/>
                <a:moveTo>
                  <a:pt x="56804" y="2744333"/>
                </a:moveTo>
                <a:cubicBezTo>
                  <a:pt x="58283" y="2744333"/>
                  <a:pt x="59765" y="2745567"/>
                  <a:pt x="59765" y="2747295"/>
                </a:cubicBezTo>
                <a:cubicBezTo>
                  <a:pt x="59765" y="2749024"/>
                  <a:pt x="58283" y="2750257"/>
                  <a:pt x="56804" y="2750257"/>
                </a:cubicBezTo>
                <a:cubicBezTo>
                  <a:pt x="55321" y="2750257"/>
                  <a:pt x="54088" y="2749024"/>
                  <a:pt x="54088" y="2747295"/>
                </a:cubicBezTo>
                <a:cubicBezTo>
                  <a:pt x="54088" y="2745815"/>
                  <a:pt x="55321" y="2744333"/>
                  <a:pt x="56804" y="2744333"/>
                </a:cubicBezTo>
                <a:close/>
                <a:moveTo>
                  <a:pt x="743255" y="2738409"/>
                </a:moveTo>
                <a:cubicBezTo>
                  <a:pt x="745231" y="2738409"/>
                  <a:pt x="746711" y="2739889"/>
                  <a:pt x="746711" y="2741866"/>
                </a:cubicBezTo>
                <a:cubicBezTo>
                  <a:pt x="746958" y="2743841"/>
                  <a:pt x="745231" y="2745321"/>
                  <a:pt x="743255" y="2745321"/>
                </a:cubicBezTo>
                <a:cubicBezTo>
                  <a:pt x="741280" y="2745321"/>
                  <a:pt x="739799" y="2743841"/>
                  <a:pt x="739799" y="2741866"/>
                </a:cubicBezTo>
                <a:cubicBezTo>
                  <a:pt x="739799" y="2739889"/>
                  <a:pt x="741280" y="2738409"/>
                  <a:pt x="743255" y="2738409"/>
                </a:cubicBezTo>
                <a:close/>
                <a:moveTo>
                  <a:pt x="1617798" y="2736683"/>
                </a:moveTo>
                <a:cubicBezTo>
                  <a:pt x="1622981" y="2736683"/>
                  <a:pt x="1627423" y="2740879"/>
                  <a:pt x="1627423" y="2746310"/>
                </a:cubicBezTo>
                <a:cubicBezTo>
                  <a:pt x="1627423" y="2751493"/>
                  <a:pt x="1622981" y="2755935"/>
                  <a:pt x="1617798" y="2755935"/>
                </a:cubicBezTo>
                <a:cubicBezTo>
                  <a:pt x="1612612" y="2755935"/>
                  <a:pt x="1608170" y="2751740"/>
                  <a:pt x="1608170" y="2746310"/>
                </a:cubicBezTo>
                <a:cubicBezTo>
                  <a:pt x="1608170" y="2741127"/>
                  <a:pt x="1612366" y="2736683"/>
                  <a:pt x="1617798" y="2736683"/>
                </a:cubicBezTo>
                <a:close/>
                <a:moveTo>
                  <a:pt x="172570" y="2734708"/>
                </a:moveTo>
                <a:cubicBezTo>
                  <a:pt x="174049" y="2734708"/>
                  <a:pt x="175283" y="2735942"/>
                  <a:pt x="175283" y="2737424"/>
                </a:cubicBezTo>
                <a:cubicBezTo>
                  <a:pt x="175283" y="2738904"/>
                  <a:pt x="174049" y="2740140"/>
                  <a:pt x="172570" y="2740140"/>
                </a:cubicBezTo>
                <a:cubicBezTo>
                  <a:pt x="171087" y="2740140"/>
                  <a:pt x="170100" y="2738904"/>
                  <a:pt x="170100" y="2737424"/>
                </a:cubicBezTo>
                <a:cubicBezTo>
                  <a:pt x="170100" y="2735942"/>
                  <a:pt x="171334" y="2734708"/>
                  <a:pt x="172570" y="2734708"/>
                </a:cubicBezTo>
                <a:close/>
                <a:moveTo>
                  <a:pt x="1399096" y="2726068"/>
                </a:moveTo>
                <a:cubicBezTo>
                  <a:pt x="1403291" y="2726068"/>
                  <a:pt x="1406499" y="2729276"/>
                  <a:pt x="1406499" y="2733474"/>
                </a:cubicBezTo>
                <a:cubicBezTo>
                  <a:pt x="1406499" y="2737421"/>
                  <a:pt x="1403291" y="2740878"/>
                  <a:pt x="1399096" y="2740878"/>
                </a:cubicBezTo>
                <a:cubicBezTo>
                  <a:pt x="1395144" y="2740878"/>
                  <a:pt x="1391689" y="2737670"/>
                  <a:pt x="1391689" y="2733474"/>
                </a:cubicBezTo>
                <a:cubicBezTo>
                  <a:pt x="1391689" y="2729276"/>
                  <a:pt x="1394897" y="2726068"/>
                  <a:pt x="1399096" y="2726068"/>
                </a:cubicBezTo>
                <a:close/>
                <a:moveTo>
                  <a:pt x="288088" y="2721132"/>
                </a:moveTo>
                <a:cubicBezTo>
                  <a:pt x="289321" y="2721132"/>
                  <a:pt x="290555" y="2722119"/>
                  <a:pt x="290555" y="2723599"/>
                </a:cubicBezTo>
                <a:cubicBezTo>
                  <a:pt x="290555" y="2725081"/>
                  <a:pt x="289567" y="2726069"/>
                  <a:pt x="288088" y="2726069"/>
                </a:cubicBezTo>
                <a:cubicBezTo>
                  <a:pt x="286852" y="2726069"/>
                  <a:pt x="285618" y="2725081"/>
                  <a:pt x="285618" y="2723599"/>
                </a:cubicBezTo>
                <a:cubicBezTo>
                  <a:pt x="285618" y="2722366"/>
                  <a:pt x="286605" y="2721132"/>
                  <a:pt x="288088" y="2721132"/>
                </a:cubicBezTo>
                <a:close/>
                <a:moveTo>
                  <a:pt x="855068" y="2706322"/>
                </a:moveTo>
                <a:cubicBezTo>
                  <a:pt x="857046" y="2706322"/>
                  <a:pt x="858526" y="2707802"/>
                  <a:pt x="858526" y="2709777"/>
                </a:cubicBezTo>
                <a:cubicBezTo>
                  <a:pt x="858526" y="2711754"/>
                  <a:pt x="857046" y="2713234"/>
                  <a:pt x="855068" y="2713234"/>
                </a:cubicBezTo>
                <a:cubicBezTo>
                  <a:pt x="853096" y="2713234"/>
                  <a:pt x="851614" y="2711754"/>
                  <a:pt x="851614" y="2709777"/>
                </a:cubicBezTo>
                <a:cubicBezTo>
                  <a:pt x="851614" y="2707802"/>
                  <a:pt x="853096" y="2706322"/>
                  <a:pt x="855068" y="2706322"/>
                </a:cubicBezTo>
                <a:close/>
                <a:moveTo>
                  <a:pt x="403108" y="2703606"/>
                </a:moveTo>
                <a:cubicBezTo>
                  <a:pt x="404342" y="2703606"/>
                  <a:pt x="405332" y="2704594"/>
                  <a:pt x="405332" y="2705827"/>
                </a:cubicBezTo>
                <a:cubicBezTo>
                  <a:pt x="405083" y="2707063"/>
                  <a:pt x="404096" y="2708048"/>
                  <a:pt x="403108" y="2708048"/>
                </a:cubicBezTo>
                <a:cubicBezTo>
                  <a:pt x="401875" y="2708048"/>
                  <a:pt x="400887" y="2707063"/>
                  <a:pt x="400887" y="2705827"/>
                </a:cubicBezTo>
                <a:cubicBezTo>
                  <a:pt x="400887" y="2704594"/>
                  <a:pt x="401875" y="2703606"/>
                  <a:pt x="403108" y="2703606"/>
                </a:cubicBezTo>
                <a:close/>
                <a:moveTo>
                  <a:pt x="1184341" y="2703360"/>
                </a:moveTo>
                <a:cubicBezTo>
                  <a:pt x="1187057" y="2703360"/>
                  <a:pt x="1189278" y="2705581"/>
                  <a:pt x="1189278" y="2708297"/>
                </a:cubicBezTo>
                <a:cubicBezTo>
                  <a:pt x="1189278" y="2711013"/>
                  <a:pt x="1187057" y="2713234"/>
                  <a:pt x="1184341" y="2713234"/>
                </a:cubicBezTo>
                <a:cubicBezTo>
                  <a:pt x="1181625" y="2713234"/>
                  <a:pt x="1179404" y="2711013"/>
                  <a:pt x="1179404" y="2708297"/>
                </a:cubicBezTo>
                <a:cubicBezTo>
                  <a:pt x="1179404" y="2705581"/>
                  <a:pt x="1181625" y="2703360"/>
                  <a:pt x="1184341" y="2703360"/>
                </a:cubicBezTo>
                <a:close/>
                <a:moveTo>
                  <a:pt x="1924364" y="2689783"/>
                </a:moveTo>
                <a:cubicBezTo>
                  <a:pt x="1927321" y="2689783"/>
                  <a:pt x="1930034" y="2692253"/>
                  <a:pt x="1930034" y="2695215"/>
                </a:cubicBezTo>
                <a:cubicBezTo>
                  <a:pt x="1930034" y="2698174"/>
                  <a:pt x="1927321" y="2700644"/>
                  <a:pt x="1924364" y="2700644"/>
                </a:cubicBezTo>
                <a:cubicBezTo>
                  <a:pt x="1921404" y="2700644"/>
                  <a:pt x="1918936" y="2698174"/>
                  <a:pt x="1918936" y="2695215"/>
                </a:cubicBezTo>
                <a:cubicBezTo>
                  <a:pt x="1918936" y="2692253"/>
                  <a:pt x="1921404" y="2689783"/>
                  <a:pt x="1924364" y="2689783"/>
                </a:cubicBezTo>
                <a:close/>
                <a:moveTo>
                  <a:pt x="2125001" y="2684600"/>
                </a:moveTo>
                <a:cubicBezTo>
                  <a:pt x="2130184" y="2684600"/>
                  <a:pt x="2134133" y="2688796"/>
                  <a:pt x="2134133" y="2693732"/>
                </a:cubicBezTo>
                <a:cubicBezTo>
                  <a:pt x="2134133" y="2698669"/>
                  <a:pt x="2129938" y="2702864"/>
                  <a:pt x="2125001" y="2702864"/>
                </a:cubicBezTo>
                <a:cubicBezTo>
                  <a:pt x="2120065" y="2702864"/>
                  <a:pt x="2115869" y="2698669"/>
                  <a:pt x="2115869" y="2693732"/>
                </a:cubicBezTo>
                <a:cubicBezTo>
                  <a:pt x="2115869" y="2688549"/>
                  <a:pt x="2120065" y="2684600"/>
                  <a:pt x="2125001" y="2684600"/>
                </a:cubicBezTo>
                <a:close/>
                <a:moveTo>
                  <a:pt x="517146" y="2682379"/>
                </a:moveTo>
                <a:cubicBezTo>
                  <a:pt x="518133" y="2682379"/>
                  <a:pt x="519120" y="2683366"/>
                  <a:pt x="519120" y="2684354"/>
                </a:cubicBezTo>
                <a:cubicBezTo>
                  <a:pt x="519120" y="2685341"/>
                  <a:pt x="518379" y="2686328"/>
                  <a:pt x="517146" y="2686328"/>
                </a:cubicBezTo>
                <a:cubicBezTo>
                  <a:pt x="516159" y="2686328"/>
                  <a:pt x="515172" y="2685587"/>
                  <a:pt x="515172" y="2684354"/>
                </a:cubicBezTo>
                <a:cubicBezTo>
                  <a:pt x="515172" y="2683366"/>
                  <a:pt x="516159" y="2682379"/>
                  <a:pt x="517146" y="2682379"/>
                </a:cubicBezTo>
                <a:close/>
                <a:moveTo>
                  <a:pt x="1719988" y="2680405"/>
                </a:moveTo>
                <a:cubicBezTo>
                  <a:pt x="1725420" y="2680405"/>
                  <a:pt x="1730110" y="2684849"/>
                  <a:pt x="1730110" y="2690525"/>
                </a:cubicBezTo>
                <a:cubicBezTo>
                  <a:pt x="1729862" y="2695956"/>
                  <a:pt x="1725420" y="2700398"/>
                  <a:pt x="1719988" y="2700398"/>
                </a:cubicBezTo>
                <a:cubicBezTo>
                  <a:pt x="1714558" y="2700398"/>
                  <a:pt x="1710116" y="2695956"/>
                  <a:pt x="1710116" y="2690525"/>
                </a:cubicBezTo>
                <a:cubicBezTo>
                  <a:pt x="1710116" y="2685096"/>
                  <a:pt x="1714558" y="2680405"/>
                  <a:pt x="1719988" y="2680405"/>
                </a:cubicBezTo>
                <a:close/>
                <a:moveTo>
                  <a:pt x="1503507" y="2675219"/>
                </a:moveTo>
                <a:cubicBezTo>
                  <a:pt x="1507703" y="2675219"/>
                  <a:pt x="1511157" y="2678676"/>
                  <a:pt x="1511157" y="2682871"/>
                </a:cubicBezTo>
                <a:cubicBezTo>
                  <a:pt x="1511406" y="2687067"/>
                  <a:pt x="1507949" y="2690521"/>
                  <a:pt x="1503507" y="2690521"/>
                </a:cubicBezTo>
                <a:cubicBezTo>
                  <a:pt x="1499309" y="2690521"/>
                  <a:pt x="1495855" y="2687067"/>
                  <a:pt x="1495855" y="2682871"/>
                </a:cubicBezTo>
                <a:cubicBezTo>
                  <a:pt x="1495855" y="2678676"/>
                  <a:pt x="1499309" y="2675219"/>
                  <a:pt x="1503507" y="2675219"/>
                </a:cubicBezTo>
                <a:close/>
                <a:moveTo>
                  <a:pt x="965405" y="2670531"/>
                </a:moveTo>
                <a:cubicBezTo>
                  <a:pt x="967134" y="2670531"/>
                  <a:pt x="968862" y="2672011"/>
                  <a:pt x="968862" y="2673988"/>
                </a:cubicBezTo>
                <a:cubicBezTo>
                  <a:pt x="969109" y="2675963"/>
                  <a:pt x="967383" y="2677443"/>
                  <a:pt x="965405" y="2677443"/>
                </a:cubicBezTo>
                <a:cubicBezTo>
                  <a:pt x="963433" y="2677443"/>
                  <a:pt x="961951" y="2675963"/>
                  <a:pt x="961951" y="2673988"/>
                </a:cubicBezTo>
                <a:cubicBezTo>
                  <a:pt x="961951" y="2672011"/>
                  <a:pt x="963679" y="2670531"/>
                  <a:pt x="965405" y="2670531"/>
                </a:cubicBezTo>
                <a:close/>
                <a:moveTo>
                  <a:pt x="1291222" y="2657942"/>
                </a:moveTo>
                <a:cubicBezTo>
                  <a:pt x="1294185" y="2657942"/>
                  <a:pt x="1296406" y="2660166"/>
                  <a:pt x="1296406" y="2663125"/>
                </a:cubicBezTo>
                <a:cubicBezTo>
                  <a:pt x="1296406" y="2665841"/>
                  <a:pt x="1294185" y="2668311"/>
                  <a:pt x="1291222" y="2668311"/>
                </a:cubicBezTo>
                <a:cubicBezTo>
                  <a:pt x="1288260" y="2668311"/>
                  <a:pt x="1286039" y="2666087"/>
                  <a:pt x="1286039" y="2663125"/>
                </a:cubicBezTo>
                <a:cubicBezTo>
                  <a:pt x="1286039" y="2660166"/>
                  <a:pt x="1288260" y="2657942"/>
                  <a:pt x="1291222" y="2657942"/>
                </a:cubicBezTo>
                <a:close/>
                <a:moveTo>
                  <a:pt x="630698" y="2656955"/>
                </a:moveTo>
                <a:cubicBezTo>
                  <a:pt x="631685" y="2656955"/>
                  <a:pt x="632424" y="2657696"/>
                  <a:pt x="632424" y="2658683"/>
                </a:cubicBezTo>
                <a:cubicBezTo>
                  <a:pt x="632424" y="2659671"/>
                  <a:pt x="631685" y="2660409"/>
                  <a:pt x="630698" y="2660409"/>
                </a:cubicBezTo>
                <a:cubicBezTo>
                  <a:pt x="629710" y="2660409"/>
                  <a:pt x="628969" y="2659671"/>
                  <a:pt x="628969" y="2658683"/>
                </a:cubicBezTo>
                <a:cubicBezTo>
                  <a:pt x="628969" y="2657696"/>
                  <a:pt x="629710" y="2656955"/>
                  <a:pt x="630698" y="2656955"/>
                </a:cubicBezTo>
                <a:close/>
                <a:moveTo>
                  <a:pt x="56060" y="2635974"/>
                </a:moveTo>
                <a:cubicBezTo>
                  <a:pt x="57540" y="2635974"/>
                  <a:pt x="58776" y="2637208"/>
                  <a:pt x="58776" y="2638690"/>
                </a:cubicBezTo>
                <a:cubicBezTo>
                  <a:pt x="59022" y="2640170"/>
                  <a:pt x="57789" y="2641406"/>
                  <a:pt x="56060" y="2641406"/>
                </a:cubicBezTo>
                <a:cubicBezTo>
                  <a:pt x="54578" y="2641406"/>
                  <a:pt x="53345" y="2640170"/>
                  <a:pt x="53345" y="2638690"/>
                </a:cubicBezTo>
                <a:cubicBezTo>
                  <a:pt x="53345" y="2637208"/>
                  <a:pt x="54578" y="2635974"/>
                  <a:pt x="56060" y="2635974"/>
                </a:cubicBezTo>
                <a:close/>
                <a:moveTo>
                  <a:pt x="1074743" y="2631038"/>
                </a:moveTo>
                <a:cubicBezTo>
                  <a:pt x="1076718" y="2631038"/>
                  <a:pt x="1078197" y="2632518"/>
                  <a:pt x="1078197" y="2634495"/>
                </a:cubicBezTo>
                <a:cubicBezTo>
                  <a:pt x="1078197" y="2636470"/>
                  <a:pt x="1076718" y="2638196"/>
                  <a:pt x="1074743" y="2638196"/>
                </a:cubicBezTo>
                <a:cubicBezTo>
                  <a:pt x="1072768" y="2638196"/>
                  <a:pt x="1071039" y="2636716"/>
                  <a:pt x="1071039" y="2634495"/>
                </a:cubicBezTo>
                <a:cubicBezTo>
                  <a:pt x="1071039" y="2632518"/>
                  <a:pt x="1072768" y="2631038"/>
                  <a:pt x="1074743" y="2631038"/>
                </a:cubicBezTo>
                <a:close/>
                <a:moveTo>
                  <a:pt x="743006" y="2628076"/>
                </a:moveTo>
                <a:cubicBezTo>
                  <a:pt x="743746" y="2628076"/>
                  <a:pt x="744487" y="2628817"/>
                  <a:pt x="744487" y="2629556"/>
                </a:cubicBezTo>
                <a:cubicBezTo>
                  <a:pt x="744487" y="2630297"/>
                  <a:pt x="743992" y="2631038"/>
                  <a:pt x="743006" y="2631038"/>
                </a:cubicBezTo>
                <a:cubicBezTo>
                  <a:pt x="742265" y="2631038"/>
                  <a:pt x="741522" y="2630297"/>
                  <a:pt x="741522" y="2629556"/>
                </a:cubicBezTo>
                <a:cubicBezTo>
                  <a:pt x="741522" y="2628817"/>
                  <a:pt x="742265" y="2628076"/>
                  <a:pt x="743006" y="2628076"/>
                </a:cubicBezTo>
                <a:close/>
                <a:moveTo>
                  <a:pt x="2022072" y="2626101"/>
                </a:moveTo>
                <a:cubicBezTo>
                  <a:pt x="2025280" y="2626101"/>
                  <a:pt x="2027996" y="2628817"/>
                  <a:pt x="2027996" y="2632025"/>
                </a:cubicBezTo>
                <a:cubicBezTo>
                  <a:pt x="2027996" y="2635482"/>
                  <a:pt x="2025529" y="2637949"/>
                  <a:pt x="2022072" y="2637949"/>
                </a:cubicBezTo>
                <a:cubicBezTo>
                  <a:pt x="2018864" y="2637949"/>
                  <a:pt x="2016148" y="2635233"/>
                  <a:pt x="2016148" y="2632025"/>
                </a:cubicBezTo>
                <a:cubicBezTo>
                  <a:pt x="2016148" y="2628817"/>
                  <a:pt x="2018864" y="2626101"/>
                  <a:pt x="2022072" y="2626101"/>
                </a:cubicBezTo>
                <a:close/>
                <a:moveTo>
                  <a:pt x="172070" y="2626101"/>
                </a:moveTo>
                <a:cubicBezTo>
                  <a:pt x="173552" y="2626101"/>
                  <a:pt x="174539" y="2627335"/>
                  <a:pt x="174539" y="2628571"/>
                </a:cubicBezTo>
                <a:cubicBezTo>
                  <a:pt x="174539" y="2629804"/>
                  <a:pt x="173552" y="2631038"/>
                  <a:pt x="172070" y="2631038"/>
                </a:cubicBezTo>
                <a:cubicBezTo>
                  <a:pt x="170590" y="2631038"/>
                  <a:pt x="169603" y="2630050"/>
                  <a:pt x="169603" y="2628571"/>
                </a:cubicBezTo>
                <a:cubicBezTo>
                  <a:pt x="169603" y="2627088"/>
                  <a:pt x="170590" y="2626101"/>
                  <a:pt x="172070" y="2626101"/>
                </a:cubicBezTo>
                <a:close/>
                <a:moveTo>
                  <a:pt x="1820442" y="2621411"/>
                </a:moveTo>
                <a:cubicBezTo>
                  <a:pt x="1826119" y="2621411"/>
                  <a:pt x="1830813" y="2626102"/>
                  <a:pt x="1830813" y="2631777"/>
                </a:cubicBezTo>
                <a:cubicBezTo>
                  <a:pt x="1830813" y="2637455"/>
                  <a:pt x="1826119" y="2642146"/>
                  <a:pt x="1820442" y="2642146"/>
                </a:cubicBezTo>
                <a:cubicBezTo>
                  <a:pt x="1814768" y="2642146"/>
                  <a:pt x="1810081" y="2637455"/>
                  <a:pt x="1810081" y="2631777"/>
                </a:cubicBezTo>
                <a:cubicBezTo>
                  <a:pt x="1810081" y="2626102"/>
                  <a:pt x="1814768" y="2621411"/>
                  <a:pt x="1820442" y="2621411"/>
                </a:cubicBezTo>
                <a:close/>
                <a:moveTo>
                  <a:pt x="1606442" y="2621164"/>
                </a:moveTo>
                <a:cubicBezTo>
                  <a:pt x="1610887" y="2621164"/>
                  <a:pt x="1614588" y="2624867"/>
                  <a:pt x="1614588" y="2629309"/>
                </a:cubicBezTo>
                <a:cubicBezTo>
                  <a:pt x="1614588" y="2633754"/>
                  <a:pt x="1610887" y="2637208"/>
                  <a:pt x="1606442" y="2637208"/>
                </a:cubicBezTo>
                <a:cubicBezTo>
                  <a:pt x="1601998" y="2637208"/>
                  <a:pt x="1598543" y="2633507"/>
                  <a:pt x="1598543" y="2629309"/>
                </a:cubicBezTo>
                <a:cubicBezTo>
                  <a:pt x="1598543" y="2624867"/>
                  <a:pt x="1601998" y="2621164"/>
                  <a:pt x="1606442" y="2621164"/>
                </a:cubicBezTo>
                <a:close/>
                <a:moveTo>
                  <a:pt x="2220032" y="2616228"/>
                </a:moveTo>
                <a:cubicBezTo>
                  <a:pt x="2225463" y="2616228"/>
                  <a:pt x="2230154" y="2620670"/>
                  <a:pt x="2230154" y="2626348"/>
                </a:cubicBezTo>
                <a:cubicBezTo>
                  <a:pt x="2229905" y="2632025"/>
                  <a:pt x="2225463" y="2636467"/>
                  <a:pt x="2220032" y="2636467"/>
                </a:cubicBezTo>
                <a:cubicBezTo>
                  <a:pt x="2214603" y="2636467"/>
                  <a:pt x="2209912" y="2632025"/>
                  <a:pt x="2209912" y="2626348"/>
                </a:cubicBezTo>
                <a:cubicBezTo>
                  <a:pt x="2209912" y="2620916"/>
                  <a:pt x="2214354" y="2616228"/>
                  <a:pt x="2220032" y="2616228"/>
                </a:cubicBezTo>
                <a:close/>
                <a:moveTo>
                  <a:pt x="287591" y="2612032"/>
                </a:moveTo>
                <a:cubicBezTo>
                  <a:pt x="288825" y="2612032"/>
                  <a:pt x="289812" y="2613020"/>
                  <a:pt x="289812" y="2614253"/>
                </a:cubicBezTo>
                <a:cubicBezTo>
                  <a:pt x="289812" y="2615487"/>
                  <a:pt x="288825" y="2616474"/>
                  <a:pt x="287591" y="2616474"/>
                </a:cubicBezTo>
                <a:cubicBezTo>
                  <a:pt x="286357" y="2616474"/>
                  <a:pt x="285370" y="2615487"/>
                  <a:pt x="285370" y="2614253"/>
                </a:cubicBezTo>
                <a:cubicBezTo>
                  <a:pt x="285370" y="2613020"/>
                  <a:pt x="286357" y="2612032"/>
                  <a:pt x="287591" y="2612032"/>
                </a:cubicBezTo>
                <a:close/>
                <a:moveTo>
                  <a:pt x="1396624" y="2609316"/>
                </a:moveTo>
                <a:cubicBezTo>
                  <a:pt x="1399586" y="2609316"/>
                  <a:pt x="1402053" y="2611786"/>
                  <a:pt x="1402053" y="2614748"/>
                </a:cubicBezTo>
                <a:cubicBezTo>
                  <a:pt x="1402053" y="2617461"/>
                  <a:pt x="1399586" y="2619931"/>
                  <a:pt x="1396624" y="2619931"/>
                </a:cubicBezTo>
                <a:cubicBezTo>
                  <a:pt x="1393662" y="2619931"/>
                  <a:pt x="1391192" y="2617461"/>
                  <a:pt x="1391192" y="2614748"/>
                </a:cubicBezTo>
                <a:cubicBezTo>
                  <a:pt x="1391192" y="2611786"/>
                  <a:pt x="1393662" y="2609316"/>
                  <a:pt x="1396624" y="2609316"/>
                </a:cubicBezTo>
                <a:close/>
                <a:moveTo>
                  <a:pt x="402367" y="2593765"/>
                </a:moveTo>
                <a:cubicBezTo>
                  <a:pt x="403354" y="2593765"/>
                  <a:pt x="404341" y="2594752"/>
                  <a:pt x="404341" y="2595740"/>
                </a:cubicBezTo>
                <a:cubicBezTo>
                  <a:pt x="404341" y="2596973"/>
                  <a:pt x="403600" y="2597714"/>
                  <a:pt x="402367" y="2597714"/>
                </a:cubicBezTo>
                <a:cubicBezTo>
                  <a:pt x="401380" y="2597714"/>
                  <a:pt x="400392" y="2596727"/>
                  <a:pt x="400392" y="2595740"/>
                </a:cubicBezTo>
                <a:cubicBezTo>
                  <a:pt x="400392" y="2594752"/>
                  <a:pt x="401380" y="2593765"/>
                  <a:pt x="402367" y="2593765"/>
                </a:cubicBezTo>
                <a:close/>
                <a:moveTo>
                  <a:pt x="854575" y="2592778"/>
                </a:moveTo>
                <a:cubicBezTo>
                  <a:pt x="856552" y="2592778"/>
                  <a:pt x="858032" y="2594258"/>
                  <a:pt x="858032" y="2596233"/>
                </a:cubicBezTo>
                <a:cubicBezTo>
                  <a:pt x="858032" y="2598210"/>
                  <a:pt x="856552" y="2599690"/>
                  <a:pt x="854575" y="2599690"/>
                </a:cubicBezTo>
                <a:cubicBezTo>
                  <a:pt x="852599" y="2599690"/>
                  <a:pt x="851120" y="2598210"/>
                  <a:pt x="851120" y="2596233"/>
                </a:cubicBezTo>
                <a:cubicBezTo>
                  <a:pt x="851120" y="2594258"/>
                  <a:pt x="852599" y="2592778"/>
                  <a:pt x="854575" y="2592778"/>
                </a:cubicBezTo>
                <a:close/>
                <a:moveTo>
                  <a:pt x="1182613" y="2588087"/>
                </a:moveTo>
                <a:cubicBezTo>
                  <a:pt x="1184588" y="2588087"/>
                  <a:pt x="1186068" y="2589816"/>
                  <a:pt x="1186068" y="2591791"/>
                </a:cubicBezTo>
                <a:cubicBezTo>
                  <a:pt x="1186317" y="2593519"/>
                  <a:pt x="1184588" y="2595245"/>
                  <a:pt x="1182613" y="2595245"/>
                </a:cubicBezTo>
                <a:cubicBezTo>
                  <a:pt x="1180639" y="2595245"/>
                  <a:pt x="1178910" y="2593765"/>
                  <a:pt x="1178910" y="2591791"/>
                </a:cubicBezTo>
                <a:cubicBezTo>
                  <a:pt x="1178910" y="2589816"/>
                  <a:pt x="1180639" y="2588087"/>
                  <a:pt x="1182613" y="2588087"/>
                </a:cubicBezTo>
                <a:close/>
                <a:moveTo>
                  <a:pt x="516652" y="2571798"/>
                </a:moveTo>
                <a:cubicBezTo>
                  <a:pt x="517639" y="2571798"/>
                  <a:pt x="518378" y="2572539"/>
                  <a:pt x="518378" y="2573526"/>
                </a:cubicBezTo>
                <a:cubicBezTo>
                  <a:pt x="518378" y="2574514"/>
                  <a:pt x="517639" y="2575255"/>
                  <a:pt x="516652" y="2575255"/>
                </a:cubicBezTo>
                <a:cubicBezTo>
                  <a:pt x="515665" y="2575255"/>
                  <a:pt x="514924" y="2574514"/>
                  <a:pt x="514924" y="2573526"/>
                </a:cubicBezTo>
                <a:cubicBezTo>
                  <a:pt x="514924" y="2572539"/>
                  <a:pt x="515665" y="2571798"/>
                  <a:pt x="516652" y="2571798"/>
                </a:cubicBezTo>
                <a:close/>
                <a:moveTo>
                  <a:pt x="1707644" y="2563899"/>
                </a:moveTo>
                <a:cubicBezTo>
                  <a:pt x="1712334" y="2563899"/>
                  <a:pt x="1716037" y="2567602"/>
                  <a:pt x="1716037" y="2572290"/>
                </a:cubicBezTo>
                <a:cubicBezTo>
                  <a:pt x="1715791" y="2576981"/>
                  <a:pt x="1712086" y="2580684"/>
                  <a:pt x="1707644" y="2580684"/>
                </a:cubicBezTo>
                <a:cubicBezTo>
                  <a:pt x="1703201" y="2580684"/>
                  <a:pt x="1699253" y="2576981"/>
                  <a:pt x="1699253" y="2572290"/>
                </a:cubicBezTo>
                <a:cubicBezTo>
                  <a:pt x="1699253" y="2567849"/>
                  <a:pt x="1702956" y="2563899"/>
                  <a:pt x="1707644" y="2563899"/>
                </a:cubicBezTo>
                <a:close/>
                <a:moveTo>
                  <a:pt x="2118090" y="2559703"/>
                </a:moveTo>
                <a:cubicBezTo>
                  <a:pt x="2121545" y="2559703"/>
                  <a:pt x="2124507" y="2562665"/>
                  <a:pt x="2124507" y="2566120"/>
                </a:cubicBezTo>
                <a:cubicBezTo>
                  <a:pt x="2124507" y="2569577"/>
                  <a:pt x="2121545" y="2572539"/>
                  <a:pt x="2118090" y="2572539"/>
                </a:cubicBezTo>
                <a:cubicBezTo>
                  <a:pt x="2114633" y="2572539"/>
                  <a:pt x="2111671" y="2569577"/>
                  <a:pt x="2111671" y="2566120"/>
                </a:cubicBezTo>
                <a:cubicBezTo>
                  <a:pt x="2111671" y="2562665"/>
                  <a:pt x="2114633" y="2559703"/>
                  <a:pt x="2118090" y="2559703"/>
                </a:cubicBezTo>
                <a:close/>
                <a:moveTo>
                  <a:pt x="1919180" y="2558713"/>
                </a:moveTo>
                <a:cubicBezTo>
                  <a:pt x="1925345" y="2558713"/>
                  <a:pt x="1930281" y="2563650"/>
                  <a:pt x="1930281" y="2569820"/>
                </a:cubicBezTo>
                <a:cubicBezTo>
                  <a:pt x="1930281" y="2575993"/>
                  <a:pt x="1925345" y="2580927"/>
                  <a:pt x="1919180" y="2580927"/>
                </a:cubicBezTo>
                <a:cubicBezTo>
                  <a:pt x="1913014" y="2580927"/>
                  <a:pt x="1908080" y="2575993"/>
                  <a:pt x="1908080" y="2569820"/>
                </a:cubicBezTo>
                <a:cubicBezTo>
                  <a:pt x="1908080" y="2563650"/>
                  <a:pt x="1913014" y="2558713"/>
                  <a:pt x="1919180" y="2558713"/>
                </a:cubicBezTo>
                <a:close/>
                <a:moveTo>
                  <a:pt x="1500545" y="2557234"/>
                </a:moveTo>
                <a:cubicBezTo>
                  <a:pt x="1503505" y="2557234"/>
                  <a:pt x="1505975" y="2559704"/>
                  <a:pt x="1505975" y="2562666"/>
                </a:cubicBezTo>
                <a:cubicBezTo>
                  <a:pt x="1505975" y="2565625"/>
                  <a:pt x="1503505" y="2568095"/>
                  <a:pt x="1500545" y="2568095"/>
                </a:cubicBezTo>
                <a:cubicBezTo>
                  <a:pt x="1497583" y="2568095"/>
                  <a:pt x="1495113" y="2565625"/>
                  <a:pt x="1495113" y="2562666"/>
                </a:cubicBezTo>
                <a:cubicBezTo>
                  <a:pt x="1495113" y="2559704"/>
                  <a:pt x="1497583" y="2557234"/>
                  <a:pt x="1500545" y="2557234"/>
                </a:cubicBezTo>
                <a:close/>
                <a:moveTo>
                  <a:pt x="964662" y="2556000"/>
                </a:moveTo>
                <a:cubicBezTo>
                  <a:pt x="966390" y="2556000"/>
                  <a:pt x="967869" y="2557480"/>
                  <a:pt x="967869" y="2559208"/>
                </a:cubicBezTo>
                <a:cubicBezTo>
                  <a:pt x="967869" y="2561183"/>
                  <a:pt x="966390" y="2562416"/>
                  <a:pt x="964662" y="2562416"/>
                </a:cubicBezTo>
                <a:cubicBezTo>
                  <a:pt x="962933" y="2562416"/>
                  <a:pt x="961453" y="2560937"/>
                  <a:pt x="961453" y="2559208"/>
                </a:cubicBezTo>
                <a:cubicBezTo>
                  <a:pt x="961453" y="2557480"/>
                  <a:pt x="962933" y="2556000"/>
                  <a:pt x="964662" y="2556000"/>
                </a:cubicBezTo>
                <a:close/>
                <a:moveTo>
                  <a:pt x="2313088" y="2545881"/>
                </a:moveTo>
                <a:cubicBezTo>
                  <a:pt x="2319012" y="2545881"/>
                  <a:pt x="2323948" y="2550818"/>
                  <a:pt x="2323948" y="2556742"/>
                </a:cubicBezTo>
                <a:cubicBezTo>
                  <a:pt x="2323948" y="2562666"/>
                  <a:pt x="2319012" y="2567602"/>
                  <a:pt x="2313088" y="2567602"/>
                </a:cubicBezTo>
                <a:cubicBezTo>
                  <a:pt x="2307164" y="2567602"/>
                  <a:pt x="2302227" y="2562666"/>
                  <a:pt x="2302227" y="2556742"/>
                </a:cubicBezTo>
                <a:cubicBezTo>
                  <a:pt x="2302227" y="2550818"/>
                  <a:pt x="2307164" y="2545881"/>
                  <a:pt x="2313088" y="2545881"/>
                </a:cubicBezTo>
                <a:close/>
                <a:moveTo>
                  <a:pt x="629951" y="2545632"/>
                </a:moveTo>
                <a:cubicBezTo>
                  <a:pt x="630693" y="2545632"/>
                  <a:pt x="631433" y="2546373"/>
                  <a:pt x="631433" y="2547112"/>
                </a:cubicBezTo>
                <a:cubicBezTo>
                  <a:pt x="631433" y="2547853"/>
                  <a:pt x="630693" y="2548594"/>
                  <a:pt x="629951" y="2548594"/>
                </a:cubicBezTo>
                <a:cubicBezTo>
                  <a:pt x="629213" y="2548594"/>
                  <a:pt x="628472" y="2547853"/>
                  <a:pt x="628472" y="2547112"/>
                </a:cubicBezTo>
                <a:cubicBezTo>
                  <a:pt x="628472" y="2546373"/>
                  <a:pt x="629213" y="2545632"/>
                  <a:pt x="629951" y="2545632"/>
                </a:cubicBezTo>
                <a:close/>
                <a:moveTo>
                  <a:pt x="1289000" y="2541190"/>
                </a:moveTo>
                <a:cubicBezTo>
                  <a:pt x="1290975" y="2541190"/>
                  <a:pt x="1292703" y="2542919"/>
                  <a:pt x="1292703" y="2544893"/>
                </a:cubicBezTo>
                <a:cubicBezTo>
                  <a:pt x="1292703" y="2547114"/>
                  <a:pt x="1290975" y="2548594"/>
                  <a:pt x="1289000" y="2548594"/>
                </a:cubicBezTo>
                <a:cubicBezTo>
                  <a:pt x="1287025" y="2548594"/>
                  <a:pt x="1285296" y="2546868"/>
                  <a:pt x="1285296" y="2544893"/>
                </a:cubicBezTo>
                <a:cubicBezTo>
                  <a:pt x="1285296" y="2542919"/>
                  <a:pt x="1287025" y="2541190"/>
                  <a:pt x="1289000" y="2541190"/>
                </a:cubicBezTo>
                <a:close/>
                <a:moveTo>
                  <a:pt x="56799" y="2526872"/>
                </a:moveTo>
                <a:cubicBezTo>
                  <a:pt x="58279" y="2526872"/>
                  <a:pt x="59761" y="2528106"/>
                  <a:pt x="59761" y="2529834"/>
                </a:cubicBezTo>
                <a:cubicBezTo>
                  <a:pt x="59761" y="2531316"/>
                  <a:pt x="58528" y="2532796"/>
                  <a:pt x="56799" y="2532796"/>
                </a:cubicBezTo>
                <a:cubicBezTo>
                  <a:pt x="55071" y="2532796"/>
                  <a:pt x="53838" y="2531563"/>
                  <a:pt x="53838" y="2529834"/>
                </a:cubicBezTo>
                <a:cubicBezTo>
                  <a:pt x="53838" y="2528106"/>
                  <a:pt x="55071" y="2526872"/>
                  <a:pt x="56799" y="2526872"/>
                </a:cubicBezTo>
                <a:close/>
                <a:moveTo>
                  <a:pt x="172812" y="2516507"/>
                </a:moveTo>
                <a:cubicBezTo>
                  <a:pt x="174291" y="2516507"/>
                  <a:pt x="175527" y="2517741"/>
                  <a:pt x="175527" y="2519223"/>
                </a:cubicBezTo>
                <a:cubicBezTo>
                  <a:pt x="175527" y="2520703"/>
                  <a:pt x="174291" y="2521939"/>
                  <a:pt x="172812" y="2521939"/>
                </a:cubicBezTo>
                <a:cubicBezTo>
                  <a:pt x="171329" y="2521939"/>
                  <a:pt x="170096" y="2520703"/>
                  <a:pt x="170096" y="2519223"/>
                </a:cubicBezTo>
                <a:cubicBezTo>
                  <a:pt x="170096" y="2517741"/>
                  <a:pt x="171329" y="2516507"/>
                  <a:pt x="172812" y="2516507"/>
                </a:cubicBezTo>
                <a:close/>
                <a:moveTo>
                  <a:pt x="1073753" y="2515765"/>
                </a:moveTo>
                <a:cubicBezTo>
                  <a:pt x="1075482" y="2515765"/>
                  <a:pt x="1076715" y="2516999"/>
                  <a:pt x="1076715" y="2518727"/>
                </a:cubicBezTo>
                <a:cubicBezTo>
                  <a:pt x="1076715" y="2520207"/>
                  <a:pt x="1075236" y="2521689"/>
                  <a:pt x="1073753" y="2521689"/>
                </a:cubicBezTo>
                <a:cubicBezTo>
                  <a:pt x="1072025" y="2521689"/>
                  <a:pt x="1070792" y="2520455"/>
                  <a:pt x="1070792" y="2518727"/>
                </a:cubicBezTo>
                <a:cubicBezTo>
                  <a:pt x="1070792" y="2516999"/>
                  <a:pt x="1072025" y="2515765"/>
                  <a:pt x="1073753" y="2515765"/>
                </a:cubicBezTo>
                <a:close/>
                <a:moveTo>
                  <a:pt x="742260" y="2513545"/>
                </a:moveTo>
                <a:cubicBezTo>
                  <a:pt x="744236" y="2513545"/>
                  <a:pt x="745471" y="2515025"/>
                  <a:pt x="745471" y="2517000"/>
                </a:cubicBezTo>
                <a:cubicBezTo>
                  <a:pt x="745718" y="2518728"/>
                  <a:pt x="744236" y="2520211"/>
                  <a:pt x="742260" y="2520211"/>
                </a:cubicBezTo>
                <a:cubicBezTo>
                  <a:pt x="740531" y="2520211"/>
                  <a:pt x="739053" y="2518728"/>
                  <a:pt x="739053" y="2517000"/>
                </a:cubicBezTo>
                <a:cubicBezTo>
                  <a:pt x="739053" y="2515025"/>
                  <a:pt x="740531" y="2513545"/>
                  <a:pt x="742260" y="2513545"/>
                </a:cubicBezTo>
                <a:close/>
                <a:moveTo>
                  <a:pt x="1806867" y="2503671"/>
                </a:moveTo>
                <a:cubicBezTo>
                  <a:pt x="1811804" y="2503671"/>
                  <a:pt x="1815753" y="2507620"/>
                  <a:pt x="1815753" y="2512557"/>
                </a:cubicBezTo>
                <a:cubicBezTo>
                  <a:pt x="1815753" y="2517494"/>
                  <a:pt x="1811804" y="2521443"/>
                  <a:pt x="1806867" y="2521443"/>
                </a:cubicBezTo>
                <a:cubicBezTo>
                  <a:pt x="1801934" y="2521443"/>
                  <a:pt x="1797989" y="2517494"/>
                  <a:pt x="1797989" y="2512557"/>
                </a:cubicBezTo>
                <a:cubicBezTo>
                  <a:pt x="1797989" y="2507620"/>
                  <a:pt x="1801934" y="2503671"/>
                  <a:pt x="1806867" y="2503671"/>
                </a:cubicBezTo>
                <a:close/>
                <a:moveTo>
                  <a:pt x="288330" y="2501943"/>
                </a:moveTo>
                <a:cubicBezTo>
                  <a:pt x="289810" y="2501943"/>
                  <a:pt x="290797" y="2502930"/>
                  <a:pt x="290797" y="2504410"/>
                </a:cubicBezTo>
                <a:cubicBezTo>
                  <a:pt x="290797" y="2505646"/>
                  <a:pt x="289810" y="2506880"/>
                  <a:pt x="288330" y="2506880"/>
                </a:cubicBezTo>
                <a:cubicBezTo>
                  <a:pt x="286847" y="2506880"/>
                  <a:pt x="285860" y="2505892"/>
                  <a:pt x="285860" y="2504410"/>
                </a:cubicBezTo>
                <a:cubicBezTo>
                  <a:pt x="285860" y="2502930"/>
                  <a:pt x="286847" y="2501943"/>
                  <a:pt x="288330" y="2501943"/>
                </a:cubicBezTo>
                <a:close/>
                <a:moveTo>
                  <a:pt x="1602490" y="2501696"/>
                </a:moveTo>
                <a:cubicBezTo>
                  <a:pt x="1605452" y="2501696"/>
                  <a:pt x="1608168" y="2504166"/>
                  <a:pt x="1608168" y="2507374"/>
                </a:cubicBezTo>
                <a:cubicBezTo>
                  <a:pt x="1608168" y="2510582"/>
                  <a:pt x="1605698" y="2513049"/>
                  <a:pt x="1602490" y="2513049"/>
                </a:cubicBezTo>
                <a:cubicBezTo>
                  <a:pt x="1599281" y="2513049"/>
                  <a:pt x="1596812" y="2510582"/>
                  <a:pt x="1596812" y="2507374"/>
                </a:cubicBezTo>
                <a:cubicBezTo>
                  <a:pt x="1596812" y="2504166"/>
                  <a:pt x="1599281" y="2501696"/>
                  <a:pt x="1602490" y="2501696"/>
                </a:cubicBezTo>
                <a:close/>
                <a:moveTo>
                  <a:pt x="2015899" y="2493057"/>
                </a:moveTo>
                <a:cubicBezTo>
                  <a:pt x="2022564" y="2493057"/>
                  <a:pt x="2027996" y="2498489"/>
                  <a:pt x="2027996" y="2505151"/>
                </a:cubicBezTo>
                <a:cubicBezTo>
                  <a:pt x="2027996" y="2511816"/>
                  <a:pt x="2022564" y="2517248"/>
                  <a:pt x="2015899" y="2517248"/>
                </a:cubicBezTo>
                <a:cubicBezTo>
                  <a:pt x="2009237" y="2517248"/>
                  <a:pt x="2003805" y="2511816"/>
                  <a:pt x="2003805" y="2505151"/>
                </a:cubicBezTo>
                <a:cubicBezTo>
                  <a:pt x="2003805" y="2498489"/>
                  <a:pt x="2009237" y="2493057"/>
                  <a:pt x="2015899" y="2493057"/>
                </a:cubicBezTo>
                <a:close/>
                <a:moveTo>
                  <a:pt x="1393908" y="2491328"/>
                </a:moveTo>
                <a:cubicBezTo>
                  <a:pt x="1395883" y="2491328"/>
                  <a:pt x="1397611" y="2493057"/>
                  <a:pt x="1397611" y="2495031"/>
                </a:cubicBezTo>
                <a:cubicBezTo>
                  <a:pt x="1397611" y="2497006"/>
                  <a:pt x="1395883" y="2498735"/>
                  <a:pt x="1393908" y="2498735"/>
                </a:cubicBezTo>
                <a:cubicBezTo>
                  <a:pt x="1391933" y="2498735"/>
                  <a:pt x="1390205" y="2497006"/>
                  <a:pt x="1390205" y="2495031"/>
                </a:cubicBezTo>
                <a:cubicBezTo>
                  <a:pt x="1390205" y="2493057"/>
                  <a:pt x="1391933" y="2491328"/>
                  <a:pt x="1393908" y="2491328"/>
                </a:cubicBezTo>
                <a:close/>
                <a:moveTo>
                  <a:pt x="2211887" y="2490587"/>
                </a:moveTo>
                <a:cubicBezTo>
                  <a:pt x="2215837" y="2490587"/>
                  <a:pt x="2218799" y="2493795"/>
                  <a:pt x="2218799" y="2497498"/>
                </a:cubicBezTo>
                <a:cubicBezTo>
                  <a:pt x="2218799" y="2501202"/>
                  <a:pt x="2215837" y="2504410"/>
                  <a:pt x="2211887" y="2504410"/>
                </a:cubicBezTo>
                <a:cubicBezTo>
                  <a:pt x="2208184" y="2504410"/>
                  <a:pt x="2204976" y="2501448"/>
                  <a:pt x="2204976" y="2497498"/>
                </a:cubicBezTo>
                <a:cubicBezTo>
                  <a:pt x="2204976" y="2493795"/>
                  <a:pt x="2207938" y="2490587"/>
                  <a:pt x="2211887" y="2490587"/>
                </a:cubicBezTo>
                <a:close/>
                <a:moveTo>
                  <a:pt x="403353" y="2483183"/>
                </a:moveTo>
                <a:cubicBezTo>
                  <a:pt x="404587" y="2483183"/>
                  <a:pt x="405577" y="2484171"/>
                  <a:pt x="405577" y="2485404"/>
                </a:cubicBezTo>
                <a:cubicBezTo>
                  <a:pt x="405577" y="2486640"/>
                  <a:pt x="404587" y="2487625"/>
                  <a:pt x="403353" y="2487625"/>
                </a:cubicBezTo>
                <a:cubicBezTo>
                  <a:pt x="402120" y="2487625"/>
                  <a:pt x="401132" y="2486640"/>
                  <a:pt x="401132" y="2485404"/>
                </a:cubicBezTo>
                <a:cubicBezTo>
                  <a:pt x="401132" y="2484171"/>
                  <a:pt x="402120" y="2483183"/>
                  <a:pt x="403353" y="2483183"/>
                </a:cubicBezTo>
                <a:close/>
                <a:moveTo>
                  <a:pt x="853339" y="2479726"/>
                </a:moveTo>
                <a:cubicBezTo>
                  <a:pt x="855067" y="2479726"/>
                  <a:pt x="856301" y="2481208"/>
                  <a:pt x="856301" y="2482688"/>
                </a:cubicBezTo>
                <a:cubicBezTo>
                  <a:pt x="856547" y="2484170"/>
                  <a:pt x="855067" y="2485650"/>
                  <a:pt x="853339" y="2485650"/>
                </a:cubicBezTo>
                <a:cubicBezTo>
                  <a:pt x="851610" y="2485650"/>
                  <a:pt x="850377" y="2484170"/>
                  <a:pt x="850377" y="2482688"/>
                </a:cubicBezTo>
                <a:cubicBezTo>
                  <a:pt x="850377" y="2480960"/>
                  <a:pt x="851856" y="2479726"/>
                  <a:pt x="853339" y="2479726"/>
                </a:cubicBezTo>
                <a:close/>
                <a:moveTo>
                  <a:pt x="2404172" y="2472815"/>
                </a:moveTo>
                <a:cubicBezTo>
                  <a:pt x="2410588" y="2472815"/>
                  <a:pt x="2415774" y="2477998"/>
                  <a:pt x="2415774" y="2484417"/>
                </a:cubicBezTo>
                <a:cubicBezTo>
                  <a:pt x="2415774" y="2490833"/>
                  <a:pt x="2410588" y="2496019"/>
                  <a:pt x="2404172" y="2496019"/>
                </a:cubicBezTo>
                <a:cubicBezTo>
                  <a:pt x="2397753" y="2496019"/>
                  <a:pt x="2392570" y="2490833"/>
                  <a:pt x="2392570" y="2484417"/>
                </a:cubicBezTo>
                <a:cubicBezTo>
                  <a:pt x="2392570" y="2477998"/>
                  <a:pt x="2397753" y="2472815"/>
                  <a:pt x="2404172" y="2472815"/>
                </a:cubicBezTo>
                <a:close/>
                <a:moveTo>
                  <a:pt x="1181129" y="2471581"/>
                </a:moveTo>
                <a:cubicBezTo>
                  <a:pt x="1182609" y="2471581"/>
                  <a:pt x="1183845" y="2472815"/>
                  <a:pt x="1183845" y="2474297"/>
                </a:cubicBezTo>
                <a:cubicBezTo>
                  <a:pt x="1183845" y="2475777"/>
                  <a:pt x="1182609" y="2477013"/>
                  <a:pt x="1181129" y="2477013"/>
                </a:cubicBezTo>
                <a:cubicBezTo>
                  <a:pt x="1179647" y="2477013"/>
                  <a:pt x="1178413" y="2475777"/>
                  <a:pt x="1178413" y="2474297"/>
                </a:cubicBezTo>
                <a:cubicBezTo>
                  <a:pt x="1178413" y="2472815"/>
                  <a:pt x="1179647" y="2471581"/>
                  <a:pt x="1181129" y="2471581"/>
                </a:cubicBezTo>
                <a:close/>
                <a:moveTo>
                  <a:pt x="517388" y="2460228"/>
                </a:moveTo>
                <a:cubicBezTo>
                  <a:pt x="518622" y="2460228"/>
                  <a:pt x="519363" y="2461216"/>
                  <a:pt x="519363" y="2462203"/>
                </a:cubicBezTo>
                <a:cubicBezTo>
                  <a:pt x="519363" y="2463437"/>
                  <a:pt x="518622" y="2464424"/>
                  <a:pt x="517388" y="2464424"/>
                </a:cubicBezTo>
                <a:cubicBezTo>
                  <a:pt x="516155" y="2464424"/>
                  <a:pt x="515414" y="2463437"/>
                  <a:pt x="515414" y="2462203"/>
                </a:cubicBezTo>
                <a:cubicBezTo>
                  <a:pt x="515414" y="2460969"/>
                  <a:pt x="516401" y="2460228"/>
                  <a:pt x="517388" y="2460228"/>
                </a:cubicBezTo>
                <a:close/>
                <a:moveTo>
                  <a:pt x="1702954" y="2443444"/>
                </a:moveTo>
                <a:cubicBezTo>
                  <a:pt x="1706160" y="2443444"/>
                  <a:pt x="1708629" y="2445911"/>
                  <a:pt x="1708629" y="2449122"/>
                </a:cubicBezTo>
                <a:cubicBezTo>
                  <a:pt x="1708629" y="2452330"/>
                  <a:pt x="1706160" y="2454797"/>
                  <a:pt x="1702954" y="2454797"/>
                </a:cubicBezTo>
                <a:cubicBezTo>
                  <a:pt x="1699743" y="2454797"/>
                  <a:pt x="1697276" y="2452330"/>
                  <a:pt x="1697276" y="2449122"/>
                </a:cubicBezTo>
                <a:cubicBezTo>
                  <a:pt x="1697276" y="2445911"/>
                  <a:pt x="1699743" y="2443444"/>
                  <a:pt x="1702954" y="2443444"/>
                </a:cubicBezTo>
                <a:close/>
                <a:moveTo>
                  <a:pt x="963428" y="2441715"/>
                </a:moveTo>
                <a:cubicBezTo>
                  <a:pt x="964908" y="2441715"/>
                  <a:pt x="966141" y="2442949"/>
                  <a:pt x="966141" y="2444431"/>
                </a:cubicBezTo>
                <a:cubicBezTo>
                  <a:pt x="966141" y="2445911"/>
                  <a:pt x="964908" y="2447147"/>
                  <a:pt x="963428" y="2447147"/>
                </a:cubicBezTo>
                <a:cubicBezTo>
                  <a:pt x="961945" y="2447147"/>
                  <a:pt x="960712" y="2445911"/>
                  <a:pt x="960712" y="2444431"/>
                </a:cubicBezTo>
                <a:cubicBezTo>
                  <a:pt x="960712" y="2442949"/>
                  <a:pt x="961945" y="2441715"/>
                  <a:pt x="963428" y="2441715"/>
                </a:cubicBezTo>
                <a:close/>
                <a:moveTo>
                  <a:pt x="1904378" y="2440235"/>
                </a:moveTo>
                <a:cubicBezTo>
                  <a:pt x="1909805" y="2440235"/>
                  <a:pt x="1913997" y="2444677"/>
                  <a:pt x="1913997" y="2449862"/>
                </a:cubicBezTo>
                <a:cubicBezTo>
                  <a:pt x="1913997" y="2455045"/>
                  <a:pt x="1909805" y="2459487"/>
                  <a:pt x="1904378" y="2459487"/>
                </a:cubicBezTo>
                <a:cubicBezTo>
                  <a:pt x="1898942" y="2459487"/>
                  <a:pt x="1894743" y="2455045"/>
                  <a:pt x="1894743" y="2449862"/>
                </a:cubicBezTo>
                <a:cubicBezTo>
                  <a:pt x="1894743" y="2444431"/>
                  <a:pt x="1898942" y="2440235"/>
                  <a:pt x="1904378" y="2440235"/>
                </a:cubicBezTo>
                <a:close/>
                <a:moveTo>
                  <a:pt x="1497086" y="2438012"/>
                </a:moveTo>
                <a:cubicBezTo>
                  <a:pt x="1499061" y="2438012"/>
                  <a:pt x="1500790" y="2439741"/>
                  <a:pt x="1500790" y="2441715"/>
                </a:cubicBezTo>
                <a:cubicBezTo>
                  <a:pt x="1500790" y="2443690"/>
                  <a:pt x="1499061" y="2445416"/>
                  <a:pt x="1497086" y="2445416"/>
                </a:cubicBezTo>
                <a:cubicBezTo>
                  <a:pt x="1495112" y="2445416"/>
                  <a:pt x="1493383" y="2443690"/>
                  <a:pt x="1493383" y="2441715"/>
                </a:cubicBezTo>
                <a:cubicBezTo>
                  <a:pt x="1493383" y="2439741"/>
                  <a:pt x="1495112" y="2438012"/>
                  <a:pt x="1497086" y="2438012"/>
                </a:cubicBezTo>
                <a:close/>
                <a:moveTo>
                  <a:pt x="630444" y="2432829"/>
                </a:moveTo>
                <a:cubicBezTo>
                  <a:pt x="631431" y="2432829"/>
                  <a:pt x="632419" y="2433816"/>
                  <a:pt x="632419" y="2434804"/>
                </a:cubicBezTo>
                <a:cubicBezTo>
                  <a:pt x="632419" y="2436037"/>
                  <a:pt x="631678" y="2436778"/>
                  <a:pt x="630444" y="2436778"/>
                </a:cubicBezTo>
                <a:cubicBezTo>
                  <a:pt x="629457" y="2436778"/>
                  <a:pt x="628470" y="2436037"/>
                  <a:pt x="628470" y="2434804"/>
                </a:cubicBezTo>
                <a:cubicBezTo>
                  <a:pt x="628470" y="2433816"/>
                  <a:pt x="629211" y="2432829"/>
                  <a:pt x="630444" y="2432829"/>
                </a:cubicBezTo>
                <a:close/>
                <a:moveTo>
                  <a:pt x="2110684" y="2424435"/>
                </a:moveTo>
                <a:cubicBezTo>
                  <a:pt x="2117844" y="2424435"/>
                  <a:pt x="2123765" y="2430359"/>
                  <a:pt x="2123765" y="2437517"/>
                </a:cubicBezTo>
                <a:cubicBezTo>
                  <a:pt x="2123765" y="2444677"/>
                  <a:pt x="2117844" y="2450598"/>
                  <a:pt x="2110684" y="2450598"/>
                </a:cubicBezTo>
                <a:cubicBezTo>
                  <a:pt x="2103526" y="2450598"/>
                  <a:pt x="2097602" y="2444677"/>
                  <a:pt x="2097602" y="2437517"/>
                </a:cubicBezTo>
                <a:cubicBezTo>
                  <a:pt x="2097602" y="2430359"/>
                  <a:pt x="2103526" y="2424435"/>
                  <a:pt x="2110684" y="2424435"/>
                </a:cubicBezTo>
                <a:close/>
                <a:moveTo>
                  <a:pt x="1287022" y="2423943"/>
                </a:moveTo>
                <a:cubicBezTo>
                  <a:pt x="1288505" y="2423943"/>
                  <a:pt x="1289492" y="2424930"/>
                  <a:pt x="1289492" y="2426413"/>
                </a:cubicBezTo>
                <a:cubicBezTo>
                  <a:pt x="1289492" y="2427646"/>
                  <a:pt x="1288259" y="2428880"/>
                  <a:pt x="1287022" y="2428880"/>
                </a:cubicBezTo>
                <a:cubicBezTo>
                  <a:pt x="1285543" y="2428880"/>
                  <a:pt x="1284555" y="2427892"/>
                  <a:pt x="1284555" y="2426413"/>
                </a:cubicBezTo>
                <a:cubicBezTo>
                  <a:pt x="1284555" y="2424930"/>
                  <a:pt x="1285543" y="2423943"/>
                  <a:pt x="1287022" y="2423943"/>
                </a:cubicBezTo>
                <a:close/>
                <a:moveTo>
                  <a:pt x="2303955" y="2418760"/>
                </a:moveTo>
                <a:cubicBezTo>
                  <a:pt x="2307905" y="2418760"/>
                  <a:pt x="2311359" y="2421968"/>
                  <a:pt x="2311359" y="2425918"/>
                </a:cubicBezTo>
                <a:cubicBezTo>
                  <a:pt x="2311359" y="2429867"/>
                  <a:pt x="2307905" y="2433324"/>
                  <a:pt x="2303955" y="2433324"/>
                </a:cubicBezTo>
                <a:cubicBezTo>
                  <a:pt x="2300006" y="2433324"/>
                  <a:pt x="2296549" y="2430113"/>
                  <a:pt x="2296549" y="2425918"/>
                </a:cubicBezTo>
                <a:cubicBezTo>
                  <a:pt x="2296549" y="2421722"/>
                  <a:pt x="2299757" y="2418760"/>
                  <a:pt x="2303955" y="2418760"/>
                </a:cubicBezTo>
                <a:close/>
                <a:moveTo>
                  <a:pt x="57043" y="2418019"/>
                </a:moveTo>
                <a:cubicBezTo>
                  <a:pt x="58772" y="2418019"/>
                  <a:pt x="60005" y="2419253"/>
                  <a:pt x="60005" y="2420981"/>
                </a:cubicBezTo>
                <a:cubicBezTo>
                  <a:pt x="59759" y="2422463"/>
                  <a:pt x="58526" y="2423943"/>
                  <a:pt x="57043" y="2423943"/>
                </a:cubicBezTo>
                <a:cubicBezTo>
                  <a:pt x="55561" y="2423943"/>
                  <a:pt x="54081" y="2422710"/>
                  <a:pt x="54081" y="2420981"/>
                </a:cubicBezTo>
                <a:cubicBezTo>
                  <a:pt x="54081" y="2419501"/>
                  <a:pt x="55315" y="2418019"/>
                  <a:pt x="57043" y="2418019"/>
                </a:cubicBezTo>
                <a:close/>
                <a:moveTo>
                  <a:pt x="173057" y="2407158"/>
                </a:moveTo>
                <a:cubicBezTo>
                  <a:pt x="174536" y="2407158"/>
                  <a:pt x="175772" y="2408392"/>
                  <a:pt x="175772" y="2409874"/>
                </a:cubicBezTo>
                <a:cubicBezTo>
                  <a:pt x="175772" y="2411354"/>
                  <a:pt x="174536" y="2412590"/>
                  <a:pt x="173057" y="2412590"/>
                </a:cubicBezTo>
                <a:cubicBezTo>
                  <a:pt x="171574" y="2412590"/>
                  <a:pt x="170341" y="2411354"/>
                  <a:pt x="170341" y="2409874"/>
                </a:cubicBezTo>
                <a:cubicBezTo>
                  <a:pt x="170341" y="2408392"/>
                  <a:pt x="171574" y="2407158"/>
                  <a:pt x="173057" y="2407158"/>
                </a:cubicBezTo>
                <a:close/>
                <a:moveTo>
                  <a:pt x="742755" y="2401729"/>
                </a:moveTo>
                <a:cubicBezTo>
                  <a:pt x="743741" y="2401729"/>
                  <a:pt x="744479" y="2402470"/>
                  <a:pt x="744479" y="2403457"/>
                </a:cubicBezTo>
                <a:cubicBezTo>
                  <a:pt x="744479" y="2404445"/>
                  <a:pt x="743495" y="2405183"/>
                  <a:pt x="742755" y="2405183"/>
                </a:cubicBezTo>
                <a:cubicBezTo>
                  <a:pt x="741765" y="2405183"/>
                  <a:pt x="741024" y="2404445"/>
                  <a:pt x="741024" y="2403457"/>
                </a:cubicBezTo>
                <a:cubicBezTo>
                  <a:pt x="741024" y="2402470"/>
                  <a:pt x="741765" y="2401729"/>
                  <a:pt x="742755" y="2401729"/>
                </a:cubicBezTo>
                <a:close/>
                <a:moveTo>
                  <a:pt x="1071779" y="2400001"/>
                </a:moveTo>
                <a:cubicBezTo>
                  <a:pt x="1073259" y="2400001"/>
                  <a:pt x="1074246" y="2401235"/>
                  <a:pt x="1074246" y="2402471"/>
                </a:cubicBezTo>
                <a:cubicBezTo>
                  <a:pt x="1074246" y="2403950"/>
                  <a:pt x="1073259" y="2404938"/>
                  <a:pt x="1071779" y="2404938"/>
                </a:cubicBezTo>
                <a:cubicBezTo>
                  <a:pt x="1070543" y="2404938"/>
                  <a:pt x="1069310" y="2403704"/>
                  <a:pt x="1069310" y="2402471"/>
                </a:cubicBezTo>
                <a:cubicBezTo>
                  <a:pt x="1069310" y="2400988"/>
                  <a:pt x="1070543" y="2400001"/>
                  <a:pt x="1071779" y="2400001"/>
                </a:cubicBezTo>
                <a:close/>
                <a:moveTo>
                  <a:pt x="2493273" y="2397285"/>
                </a:moveTo>
                <a:cubicBezTo>
                  <a:pt x="2500091" y="2397285"/>
                  <a:pt x="2505616" y="2402810"/>
                  <a:pt x="2505616" y="2409625"/>
                </a:cubicBezTo>
                <a:cubicBezTo>
                  <a:pt x="2505616" y="2416443"/>
                  <a:pt x="2500091" y="2421968"/>
                  <a:pt x="2493273" y="2421968"/>
                </a:cubicBezTo>
                <a:cubicBezTo>
                  <a:pt x="2486458" y="2421968"/>
                  <a:pt x="2480933" y="2416443"/>
                  <a:pt x="2480933" y="2409625"/>
                </a:cubicBezTo>
                <a:cubicBezTo>
                  <a:pt x="2480933" y="2402810"/>
                  <a:pt x="2486458" y="2397285"/>
                  <a:pt x="2493273" y="2397285"/>
                </a:cubicBezTo>
                <a:close/>
                <a:moveTo>
                  <a:pt x="288571" y="2392102"/>
                </a:moveTo>
                <a:cubicBezTo>
                  <a:pt x="290053" y="2392102"/>
                  <a:pt x="291041" y="2393090"/>
                  <a:pt x="291041" y="2394572"/>
                </a:cubicBezTo>
                <a:cubicBezTo>
                  <a:pt x="291041" y="2396052"/>
                  <a:pt x="290053" y="2397039"/>
                  <a:pt x="288571" y="2397039"/>
                </a:cubicBezTo>
                <a:cubicBezTo>
                  <a:pt x="287091" y="2397039"/>
                  <a:pt x="286104" y="2395806"/>
                  <a:pt x="286104" y="2394572"/>
                </a:cubicBezTo>
                <a:cubicBezTo>
                  <a:pt x="286104" y="2393090"/>
                  <a:pt x="287091" y="2392102"/>
                  <a:pt x="288571" y="2392102"/>
                </a:cubicBezTo>
                <a:close/>
                <a:moveTo>
                  <a:pt x="1801188" y="2381241"/>
                </a:moveTo>
                <a:cubicBezTo>
                  <a:pt x="1804642" y="2381241"/>
                  <a:pt x="1807603" y="2383957"/>
                  <a:pt x="1807603" y="2387660"/>
                </a:cubicBezTo>
                <a:cubicBezTo>
                  <a:pt x="1807603" y="2391115"/>
                  <a:pt x="1804888" y="2393831"/>
                  <a:pt x="1801188" y="2393831"/>
                </a:cubicBezTo>
                <a:cubicBezTo>
                  <a:pt x="1797736" y="2393831"/>
                  <a:pt x="1794772" y="2391115"/>
                  <a:pt x="1794772" y="2387660"/>
                </a:cubicBezTo>
                <a:cubicBezTo>
                  <a:pt x="1794772" y="2384203"/>
                  <a:pt x="1797736" y="2381241"/>
                  <a:pt x="1801188" y="2381241"/>
                </a:cubicBezTo>
                <a:close/>
                <a:moveTo>
                  <a:pt x="1598289" y="2381241"/>
                </a:moveTo>
                <a:cubicBezTo>
                  <a:pt x="1600264" y="2381241"/>
                  <a:pt x="1601993" y="2382970"/>
                  <a:pt x="1601993" y="2384944"/>
                </a:cubicBezTo>
                <a:cubicBezTo>
                  <a:pt x="1601993" y="2386919"/>
                  <a:pt x="1600510" y="2388648"/>
                  <a:pt x="1598289" y="2388648"/>
                </a:cubicBezTo>
                <a:cubicBezTo>
                  <a:pt x="1596066" y="2388648"/>
                  <a:pt x="1594586" y="2386919"/>
                  <a:pt x="1594586" y="2384944"/>
                </a:cubicBezTo>
                <a:cubicBezTo>
                  <a:pt x="1594586" y="2382970"/>
                  <a:pt x="1596315" y="2381241"/>
                  <a:pt x="1598289" y="2381241"/>
                </a:cubicBezTo>
                <a:close/>
                <a:moveTo>
                  <a:pt x="1999855" y="2373342"/>
                </a:moveTo>
                <a:cubicBezTo>
                  <a:pt x="2005533" y="2373342"/>
                  <a:pt x="2010467" y="2378033"/>
                  <a:pt x="2010467" y="2383957"/>
                </a:cubicBezTo>
                <a:cubicBezTo>
                  <a:pt x="2010221" y="2389634"/>
                  <a:pt x="2005533" y="2394322"/>
                  <a:pt x="1999855" y="2394322"/>
                </a:cubicBezTo>
                <a:cubicBezTo>
                  <a:pt x="1993931" y="2394322"/>
                  <a:pt x="1989241" y="2389634"/>
                  <a:pt x="1989241" y="2383957"/>
                </a:cubicBezTo>
                <a:cubicBezTo>
                  <a:pt x="1989241" y="2378279"/>
                  <a:pt x="1993931" y="2373342"/>
                  <a:pt x="1999855" y="2373342"/>
                </a:cubicBezTo>
                <a:close/>
                <a:moveTo>
                  <a:pt x="403352" y="2372848"/>
                </a:moveTo>
                <a:cubicBezTo>
                  <a:pt x="404585" y="2372848"/>
                  <a:pt x="405575" y="2373836"/>
                  <a:pt x="405575" y="2375069"/>
                </a:cubicBezTo>
                <a:cubicBezTo>
                  <a:pt x="405821" y="2376057"/>
                  <a:pt x="404834" y="2377290"/>
                  <a:pt x="403352" y="2377290"/>
                </a:cubicBezTo>
                <a:cubicBezTo>
                  <a:pt x="402118" y="2377290"/>
                  <a:pt x="401131" y="2376305"/>
                  <a:pt x="401131" y="2375069"/>
                </a:cubicBezTo>
                <a:cubicBezTo>
                  <a:pt x="401131" y="2373836"/>
                  <a:pt x="402118" y="2372848"/>
                  <a:pt x="403352" y="2372848"/>
                </a:cubicBezTo>
                <a:close/>
                <a:moveTo>
                  <a:pt x="1391187" y="2372601"/>
                </a:moveTo>
                <a:cubicBezTo>
                  <a:pt x="1392421" y="2372601"/>
                  <a:pt x="1393411" y="2373589"/>
                  <a:pt x="1393411" y="2374822"/>
                </a:cubicBezTo>
                <a:cubicBezTo>
                  <a:pt x="1393411" y="2376058"/>
                  <a:pt x="1392421" y="2377046"/>
                  <a:pt x="1391187" y="2377046"/>
                </a:cubicBezTo>
                <a:cubicBezTo>
                  <a:pt x="1389954" y="2377046"/>
                  <a:pt x="1388967" y="2376058"/>
                  <a:pt x="1388967" y="2374822"/>
                </a:cubicBezTo>
                <a:cubicBezTo>
                  <a:pt x="1388967" y="2373589"/>
                  <a:pt x="1389954" y="2372601"/>
                  <a:pt x="1391187" y="2372601"/>
                </a:cubicBezTo>
                <a:close/>
                <a:moveTo>
                  <a:pt x="853579" y="2366677"/>
                </a:moveTo>
                <a:cubicBezTo>
                  <a:pt x="854320" y="2366677"/>
                  <a:pt x="855061" y="2367418"/>
                  <a:pt x="855061" y="2368157"/>
                </a:cubicBezTo>
                <a:cubicBezTo>
                  <a:pt x="855061" y="2368898"/>
                  <a:pt x="854320" y="2369639"/>
                  <a:pt x="853579" y="2369639"/>
                </a:cubicBezTo>
                <a:cubicBezTo>
                  <a:pt x="852840" y="2369639"/>
                  <a:pt x="852099" y="2368898"/>
                  <a:pt x="852099" y="2368157"/>
                </a:cubicBezTo>
                <a:cubicBezTo>
                  <a:pt x="852099" y="2367418"/>
                  <a:pt x="852840" y="2366677"/>
                  <a:pt x="853579" y="2366677"/>
                </a:cubicBezTo>
                <a:close/>
                <a:moveTo>
                  <a:pt x="1178658" y="2354583"/>
                </a:moveTo>
                <a:cubicBezTo>
                  <a:pt x="1179891" y="2354583"/>
                  <a:pt x="1180881" y="2355571"/>
                  <a:pt x="1180881" y="2356804"/>
                </a:cubicBezTo>
                <a:cubicBezTo>
                  <a:pt x="1180881" y="2358038"/>
                  <a:pt x="1179891" y="2359025"/>
                  <a:pt x="1178658" y="2359025"/>
                </a:cubicBezTo>
                <a:cubicBezTo>
                  <a:pt x="1177424" y="2359025"/>
                  <a:pt x="1176437" y="2358038"/>
                  <a:pt x="1176437" y="2356804"/>
                </a:cubicBezTo>
                <a:cubicBezTo>
                  <a:pt x="1176437" y="2355571"/>
                  <a:pt x="1177424" y="2354583"/>
                  <a:pt x="1178658" y="2354583"/>
                </a:cubicBezTo>
                <a:close/>
                <a:moveTo>
                  <a:pt x="2203494" y="2353347"/>
                </a:moveTo>
                <a:cubicBezTo>
                  <a:pt x="2211147" y="2353347"/>
                  <a:pt x="2217317" y="2359517"/>
                  <a:pt x="2217317" y="2367170"/>
                </a:cubicBezTo>
                <a:cubicBezTo>
                  <a:pt x="2217563" y="2374822"/>
                  <a:pt x="2211147" y="2380993"/>
                  <a:pt x="2203494" y="2380993"/>
                </a:cubicBezTo>
                <a:cubicBezTo>
                  <a:pt x="2195841" y="2380993"/>
                  <a:pt x="2189671" y="2374822"/>
                  <a:pt x="2189671" y="2367170"/>
                </a:cubicBezTo>
                <a:cubicBezTo>
                  <a:pt x="2189671" y="2359517"/>
                  <a:pt x="2195841" y="2353347"/>
                  <a:pt x="2203494" y="2353347"/>
                </a:cubicBezTo>
                <a:close/>
                <a:moveTo>
                  <a:pt x="517387" y="2348659"/>
                </a:moveTo>
                <a:cubicBezTo>
                  <a:pt x="518620" y="2348659"/>
                  <a:pt x="519362" y="2349647"/>
                  <a:pt x="519362" y="2350883"/>
                </a:cubicBezTo>
                <a:cubicBezTo>
                  <a:pt x="519608" y="2352116"/>
                  <a:pt x="518620" y="2353104"/>
                  <a:pt x="517387" y="2353104"/>
                </a:cubicBezTo>
                <a:cubicBezTo>
                  <a:pt x="516153" y="2353104"/>
                  <a:pt x="515412" y="2352116"/>
                  <a:pt x="515412" y="2350883"/>
                </a:cubicBezTo>
                <a:cubicBezTo>
                  <a:pt x="515412" y="2349647"/>
                  <a:pt x="516399" y="2348659"/>
                  <a:pt x="517387" y="2348659"/>
                </a:cubicBezTo>
                <a:close/>
                <a:moveTo>
                  <a:pt x="2393804" y="2344463"/>
                </a:moveTo>
                <a:cubicBezTo>
                  <a:pt x="2397999" y="2344463"/>
                  <a:pt x="2401703" y="2347917"/>
                  <a:pt x="2401703" y="2352115"/>
                </a:cubicBezTo>
                <a:cubicBezTo>
                  <a:pt x="2401454" y="2356311"/>
                  <a:pt x="2397999" y="2359765"/>
                  <a:pt x="2393804" y="2359765"/>
                </a:cubicBezTo>
                <a:cubicBezTo>
                  <a:pt x="2389608" y="2359765"/>
                  <a:pt x="2386151" y="2356311"/>
                  <a:pt x="2386151" y="2352115"/>
                </a:cubicBezTo>
                <a:cubicBezTo>
                  <a:pt x="2386151" y="2347917"/>
                  <a:pt x="2389608" y="2344463"/>
                  <a:pt x="2393804" y="2344463"/>
                </a:cubicBezTo>
                <a:close/>
                <a:moveTo>
                  <a:pt x="963174" y="2325209"/>
                </a:moveTo>
                <a:cubicBezTo>
                  <a:pt x="965152" y="2325209"/>
                  <a:pt x="966631" y="2326689"/>
                  <a:pt x="966631" y="2328664"/>
                </a:cubicBezTo>
                <a:cubicBezTo>
                  <a:pt x="966385" y="2330392"/>
                  <a:pt x="964903" y="2332121"/>
                  <a:pt x="963174" y="2332121"/>
                </a:cubicBezTo>
                <a:cubicBezTo>
                  <a:pt x="961200" y="2332121"/>
                  <a:pt x="959720" y="2330641"/>
                  <a:pt x="959720" y="2328664"/>
                </a:cubicBezTo>
                <a:cubicBezTo>
                  <a:pt x="959720" y="2326689"/>
                  <a:pt x="961200" y="2325209"/>
                  <a:pt x="963174" y="2325209"/>
                </a:cubicBezTo>
                <a:close/>
                <a:moveTo>
                  <a:pt x="1697765" y="2320767"/>
                </a:moveTo>
                <a:cubicBezTo>
                  <a:pt x="1700084" y="2320767"/>
                  <a:pt x="1701962" y="2322646"/>
                  <a:pt x="1701962" y="2324963"/>
                </a:cubicBezTo>
                <a:cubicBezTo>
                  <a:pt x="1701962" y="2327282"/>
                  <a:pt x="1700084" y="2329161"/>
                  <a:pt x="1697765" y="2329161"/>
                </a:cubicBezTo>
                <a:cubicBezTo>
                  <a:pt x="1695449" y="2329161"/>
                  <a:pt x="1693570" y="2327282"/>
                  <a:pt x="1693570" y="2324963"/>
                </a:cubicBezTo>
                <a:cubicBezTo>
                  <a:pt x="1693570" y="2322646"/>
                  <a:pt x="1695449" y="2320767"/>
                  <a:pt x="1697765" y="2320767"/>
                </a:cubicBezTo>
                <a:close/>
                <a:moveTo>
                  <a:pt x="630442" y="2320519"/>
                </a:moveTo>
                <a:cubicBezTo>
                  <a:pt x="631429" y="2320519"/>
                  <a:pt x="632417" y="2321260"/>
                  <a:pt x="632417" y="2322494"/>
                </a:cubicBezTo>
                <a:cubicBezTo>
                  <a:pt x="632417" y="2323727"/>
                  <a:pt x="631675" y="2324468"/>
                  <a:pt x="630442" y="2324468"/>
                </a:cubicBezTo>
                <a:cubicBezTo>
                  <a:pt x="629455" y="2324468"/>
                  <a:pt x="628468" y="2323481"/>
                  <a:pt x="628468" y="2322494"/>
                </a:cubicBezTo>
                <a:cubicBezTo>
                  <a:pt x="628468" y="2321506"/>
                  <a:pt x="629455" y="2320519"/>
                  <a:pt x="630442" y="2320519"/>
                </a:cubicBezTo>
                <a:close/>
                <a:moveTo>
                  <a:pt x="2580162" y="2319285"/>
                </a:moveTo>
                <a:cubicBezTo>
                  <a:pt x="2587319" y="2319285"/>
                  <a:pt x="2593243" y="2325209"/>
                  <a:pt x="2593243" y="2332369"/>
                </a:cubicBezTo>
                <a:cubicBezTo>
                  <a:pt x="2593243" y="2339527"/>
                  <a:pt x="2587319" y="2345451"/>
                  <a:pt x="2580162" y="2345451"/>
                </a:cubicBezTo>
                <a:cubicBezTo>
                  <a:pt x="2573004" y="2345451"/>
                  <a:pt x="2567080" y="2339527"/>
                  <a:pt x="2567080" y="2332369"/>
                </a:cubicBezTo>
                <a:cubicBezTo>
                  <a:pt x="2567080" y="2325209"/>
                  <a:pt x="2573004" y="2319285"/>
                  <a:pt x="2580162" y="2319285"/>
                </a:cubicBezTo>
                <a:close/>
                <a:moveTo>
                  <a:pt x="1493381" y="2318052"/>
                </a:moveTo>
                <a:cubicBezTo>
                  <a:pt x="1494368" y="2318052"/>
                  <a:pt x="1495355" y="2319039"/>
                  <a:pt x="1495355" y="2320027"/>
                </a:cubicBezTo>
                <a:cubicBezTo>
                  <a:pt x="1495355" y="2321014"/>
                  <a:pt x="1494614" y="2322001"/>
                  <a:pt x="1493381" y="2322001"/>
                </a:cubicBezTo>
                <a:cubicBezTo>
                  <a:pt x="1492147" y="2322001"/>
                  <a:pt x="1491406" y="2321014"/>
                  <a:pt x="1491406" y="2320027"/>
                </a:cubicBezTo>
                <a:cubicBezTo>
                  <a:pt x="1491406" y="2319039"/>
                  <a:pt x="1492393" y="2318052"/>
                  <a:pt x="1493381" y="2318052"/>
                </a:cubicBezTo>
                <a:close/>
                <a:moveTo>
                  <a:pt x="1897702" y="2315831"/>
                </a:moveTo>
                <a:cubicBezTo>
                  <a:pt x="1901654" y="2315831"/>
                  <a:pt x="1904619" y="2319039"/>
                  <a:pt x="1904619" y="2322989"/>
                </a:cubicBezTo>
                <a:cubicBezTo>
                  <a:pt x="1904619" y="2326938"/>
                  <a:pt x="1901654" y="2330146"/>
                  <a:pt x="1897702" y="2330146"/>
                </a:cubicBezTo>
                <a:cubicBezTo>
                  <a:pt x="1893750" y="2330146"/>
                  <a:pt x="1890543" y="2326938"/>
                  <a:pt x="1890543" y="2322989"/>
                </a:cubicBezTo>
                <a:cubicBezTo>
                  <a:pt x="1890543" y="2319039"/>
                  <a:pt x="1893750" y="2315831"/>
                  <a:pt x="1897702" y="2315831"/>
                </a:cubicBezTo>
                <a:close/>
                <a:moveTo>
                  <a:pt x="55069" y="2309658"/>
                </a:moveTo>
                <a:cubicBezTo>
                  <a:pt x="56549" y="2309658"/>
                  <a:pt x="57536" y="2310646"/>
                  <a:pt x="57536" y="2312128"/>
                </a:cubicBezTo>
                <a:cubicBezTo>
                  <a:pt x="57536" y="2313608"/>
                  <a:pt x="56303" y="2314595"/>
                  <a:pt x="55069" y="2314595"/>
                </a:cubicBezTo>
                <a:cubicBezTo>
                  <a:pt x="53833" y="2314595"/>
                  <a:pt x="52599" y="2313362"/>
                  <a:pt x="52599" y="2312128"/>
                </a:cubicBezTo>
                <a:cubicBezTo>
                  <a:pt x="52599" y="2310892"/>
                  <a:pt x="53587" y="2309658"/>
                  <a:pt x="55069" y="2309658"/>
                </a:cubicBezTo>
                <a:close/>
                <a:moveTo>
                  <a:pt x="1284059" y="2305216"/>
                </a:moveTo>
                <a:cubicBezTo>
                  <a:pt x="1285046" y="2305216"/>
                  <a:pt x="1286033" y="2306203"/>
                  <a:pt x="1286033" y="2307191"/>
                </a:cubicBezTo>
                <a:cubicBezTo>
                  <a:pt x="1286033" y="2308424"/>
                  <a:pt x="1285046" y="2309165"/>
                  <a:pt x="1284059" y="2309165"/>
                </a:cubicBezTo>
                <a:cubicBezTo>
                  <a:pt x="1283072" y="2309165"/>
                  <a:pt x="1282084" y="2308178"/>
                  <a:pt x="1282084" y="2307191"/>
                </a:cubicBezTo>
                <a:cubicBezTo>
                  <a:pt x="1282084" y="2306203"/>
                  <a:pt x="1283072" y="2305216"/>
                  <a:pt x="1284059" y="2305216"/>
                </a:cubicBezTo>
                <a:close/>
                <a:moveTo>
                  <a:pt x="2093158" y="2303734"/>
                </a:moveTo>
                <a:cubicBezTo>
                  <a:pt x="2099331" y="2303734"/>
                  <a:pt x="2104514" y="2308917"/>
                  <a:pt x="2104514" y="2315087"/>
                </a:cubicBezTo>
                <a:cubicBezTo>
                  <a:pt x="2104514" y="2321260"/>
                  <a:pt x="2099577" y="2326443"/>
                  <a:pt x="2093158" y="2326443"/>
                </a:cubicBezTo>
                <a:cubicBezTo>
                  <a:pt x="2086988" y="2326443"/>
                  <a:pt x="2081805" y="2321260"/>
                  <a:pt x="2081805" y="2315087"/>
                </a:cubicBezTo>
                <a:cubicBezTo>
                  <a:pt x="2081805" y="2308917"/>
                  <a:pt x="2086988" y="2303734"/>
                  <a:pt x="2093158" y="2303734"/>
                </a:cubicBezTo>
                <a:close/>
                <a:moveTo>
                  <a:pt x="170584" y="2299046"/>
                </a:moveTo>
                <a:cubicBezTo>
                  <a:pt x="171818" y="2299046"/>
                  <a:pt x="172559" y="2300033"/>
                  <a:pt x="172559" y="2301021"/>
                </a:cubicBezTo>
                <a:cubicBezTo>
                  <a:pt x="172559" y="2302008"/>
                  <a:pt x="171572" y="2302995"/>
                  <a:pt x="170584" y="2302995"/>
                </a:cubicBezTo>
                <a:cubicBezTo>
                  <a:pt x="169597" y="2302995"/>
                  <a:pt x="168610" y="2302008"/>
                  <a:pt x="168610" y="2301021"/>
                </a:cubicBezTo>
                <a:cubicBezTo>
                  <a:pt x="168610" y="2299787"/>
                  <a:pt x="169597" y="2299046"/>
                  <a:pt x="170584" y="2299046"/>
                </a:cubicBezTo>
                <a:close/>
                <a:moveTo>
                  <a:pt x="742506" y="2288431"/>
                </a:moveTo>
                <a:cubicBezTo>
                  <a:pt x="743493" y="2288431"/>
                  <a:pt x="744232" y="2289172"/>
                  <a:pt x="744232" y="2290159"/>
                </a:cubicBezTo>
                <a:cubicBezTo>
                  <a:pt x="744232" y="2291147"/>
                  <a:pt x="743493" y="2291888"/>
                  <a:pt x="742506" y="2291888"/>
                </a:cubicBezTo>
                <a:cubicBezTo>
                  <a:pt x="741517" y="2291888"/>
                  <a:pt x="740777" y="2291147"/>
                  <a:pt x="740777" y="2290159"/>
                </a:cubicBezTo>
                <a:cubicBezTo>
                  <a:pt x="740777" y="2289172"/>
                  <a:pt x="741517" y="2288431"/>
                  <a:pt x="742506" y="2288431"/>
                </a:cubicBezTo>
                <a:close/>
                <a:moveTo>
                  <a:pt x="285365" y="2283495"/>
                </a:moveTo>
                <a:cubicBezTo>
                  <a:pt x="286352" y="2283495"/>
                  <a:pt x="287090" y="2284236"/>
                  <a:pt x="287090" y="2285224"/>
                </a:cubicBezTo>
                <a:cubicBezTo>
                  <a:pt x="286844" y="2286211"/>
                  <a:pt x="286352" y="2286703"/>
                  <a:pt x="285365" y="2286703"/>
                </a:cubicBezTo>
                <a:cubicBezTo>
                  <a:pt x="284623" y="2286703"/>
                  <a:pt x="283882" y="2285965"/>
                  <a:pt x="283882" y="2285224"/>
                </a:cubicBezTo>
                <a:cubicBezTo>
                  <a:pt x="283882" y="2284236"/>
                  <a:pt x="284623" y="2283495"/>
                  <a:pt x="285365" y="2283495"/>
                </a:cubicBezTo>
                <a:close/>
                <a:moveTo>
                  <a:pt x="1071034" y="2282012"/>
                </a:moveTo>
                <a:cubicBezTo>
                  <a:pt x="1072763" y="2282012"/>
                  <a:pt x="1074242" y="2283492"/>
                  <a:pt x="1074242" y="2285220"/>
                </a:cubicBezTo>
                <a:cubicBezTo>
                  <a:pt x="1074242" y="2286949"/>
                  <a:pt x="1072763" y="2288428"/>
                  <a:pt x="1071034" y="2288428"/>
                </a:cubicBezTo>
                <a:cubicBezTo>
                  <a:pt x="1069306" y="2288428"/>
                  <a:pt x="1067826" y="2286949"/>
                  <a:pt x="1067826" y="2285220"/>
                </a:cubicBezTo>
                <a:cubicBezTo>
                  <a:pt x="1067826" y="2283492"/>
                  <a:pt x="1069306" y="2282012"/>
                  <a:pt x="1071034" y="2282012"/>
                </a:cubicBezTo>
                <a:close/>
                <a:moveTo>
                  <a:pt x="2294328" y="2279050"/>
                </a:moveTo>
                <a:cubicBezTo>
                  <a:pt x="2302473" y="2279050"/>
                  <a:pt x="2309139" y="2285715"/>
                  <a:pt x="2309139" y="2293860"/>
                </a:cubicBezTo>
                <a:cubicBezTo>
                  <a:pt x="2309139" y="2302005"/>
                  <a:pt x="2302473" y="2308671"/>
                  <a:pt x="2294328" y="2308671"/>
                </a:cubicBezTo>
                <a:cubicBezTo>
                  <a:pt x="2286183" y="2308671"/>
                  <a:pt x="2279518" y="2302005"/>
                  <a:pt x="2279518" y="2293860"/>
                </a:cubicBezTo>
                <a:cubicBezTo>
                  <a:pt x="2279518" y="2285715"/>
                  <a:pt x="2286183" y="2279050"/>
                  <a:pt x="2294328" y="2279050"/>
                </a:cubicBezTo>
                <a:close/>
                <a:moveTo>
                  <a:pt x="2481425" y="2267202"/>
                </a:moveTo>
                <a:cubicBezTo>
                  <a:pt x="2485870" y="2267202"/>
                  <a:pt x="2489573" y="2270905"/>
                  <a:pt x="2489573" y="2275347"/>
                </a:cubicBezTo>
                <a:cubicBezTo>
                  <a:pt x="2489573" y="2280038"/>
                  <a:pt x="2485870" y="2283495"/>
                  <a:pt x="2481425" y="2283495"/>
                </a:cubicBezTo>
                <a:cubicBezTo>
                  <a:pt x="2476983" y="2283495"/>
                  <a:pt x="2473280" y="2279792"/>
                  <a:pt x="2473280" y="2275347"/>
                </a:cubicBezTo>
                <a:cubicBezTo>
                  <a:pt x="2473280" y="2270905"/>
                  <a:pt x="2476983" y="2267202"/>
                  <a:pt x="2481425" y="2267202"/>
                </a:cubicBezTo>
                <a:close/>
                <a:moveTo>
                  <a:pt x="399646" y="2262019"/>
                </a:moveTo>
                <a:cubicBezTo>
                  <a:pt x="401374" y="2262019"/>
                  <a:pt x="402854" y="2263499"/>
                  <a:pt x="402854" y="2265227"/>
                </a:cubicBezTo>
                <a:cubicBezTo>
                  <a:pt x="402854" y="2266956"/>
                  <a:pt x="401374" y="2268435"/>
                  <a:pt x="399646" y="2268435"/>
                </a:cubicBezTo>
                <a:cubicBezTo>
                  <a:pt x="397917" y="2268435"/>
                  <a:pt x="396438" y="2266956"/>
                  <a:pt x="396438" y="2265227"/>
                </a:cubicBezTo>
                <a:cubicBezTo>
                  <a:pt x="396438" y="2263499"/>
                  <a:pt x="397917" y="2262019"/>
                  <a:pt x="399646" y="2262019"/>
                </a:cubicBezTo>
                <a:close/>
                <a:moveTo>
                  <a:pt x="1593845" y="2258562"/>
                </a:moveTo>
                <a:cubicBezTo>
                  <a:pt x="1595324" y="2258562"/>
                  <a:pt x="1596560" y="2259796"/>
                  <a:pt x="1596560" y="2261278"/>
                </a:cubicBezTo>
                <a:cubicBezTo>
                  <a:pt x="1596560" y="2262758"/>
                  <a:pt x="1595324" y="2263994"/>
                  <a:pt x="1593845" y="2263994"/>
                </a:cubicBezTo>
                <a:cubicBezTo>
                  <a:pt x="1592362" y="2263994"/>
                  <a:pt x="1591129" y="2262758"/>
                  <a:pt x="1591129" y="2261278"/>
                </a:cubicBezTo>
                <a:cubicBezTo>
                  <a:pt x="1591129" y="2259796"/>
                  <a:pt x="1592362" y="2258562"/>
                  <a:pt x="1593845" y="2258562"/>
                </a:cubicBezTo>
                <a:close/>
                <a:moveTo>
                  <a:pt x="1795267" y="2256837"/>
                </a:moveTo>
                <a:cubicBezTo>
                  <a:pt x="1797983" y="2256837"/>
                  <a:pt x="1799956" y="2259060"/>
                  <a:pt x="1799956" y="2261527"/>
                </a:cubicBezTo>
                <a:cubicBezTo>
                  <a:pt x="1799707" y="2264243"/>
                  <a:pt x="1797734" y="2266218"/>
                  <a:pt x="1795267" y="2266218"/>
                </a:cubicBezTo>
                <a:cubicBezTo>
                  <a:pt x="1792796" y="2266218"/>
                  <a:pt x="1790575" y="2264243"/>
                  <a:pt x="1790575" y="2261527"/>
                </a:cubicBezTo>
                <a:cubicBezTo>
                  <a:pt x="1790575" y="2259060"/>
                  <a:pt x="1792550" y="2256837"/>
                  <a:pt x="1795267" y="2256837"/>
                </a:cubicBezTo>
                <a:close/>
                <a:moveTo>
                  <a:pt x="1387485" y="2252392"/>
                </a:moveTo>
                <a:cubicBezTo>
                  <a:pt x="1388472" y="2252392"/>
                  <a:pt x="1389213" y="2253133"/>
                  <a:pt x="1389213" y="2254120"/>
                </a:cubicBezTo>
                <a:cubicBezTo>
                  <a:pt x="1389213" y="2255108"/>
                  <a:pt x="1388472" y="2255849"/>
                  <a:pt x="1387485" y="2255849"/>
                </a:cubicBezTo>
                <a:cubicBezTo>
                  <a:pt x="1386498" y="2255849"/>
                  <a:pt x="1385756" y="2255108"/>
                  <a:pt x="1385756" y="2254120"/>
                </a:cubicBezTo>
                <a:cubicBezTo>
                  <a:pt x="1385756" y="2253133"/>
                  <a:pt x="1386498" y="2252392"/>
                  <a:pt x="1387485" y="2252392"/>
                </a:cubicBezTo>
                <a:close/>
                <a:moveTo>
                  <a:pt x="853088" y="2251900"/>
                </a:moveTo>
                <a:cubicBezTo>
                  <a:pt x="853826" y="2251900"/>
                  <a:pt x="854568" y="2252641"/>
                  <a:pt x="854568" y="2253380"/>
                </a:cubicBezTo>
                <a:cubicBezTo>
                  <a:pt x="854568" y="2254121"/>
                  <a:pt x="853826" y="2254862"/>
                  <a:pt x="853088" y="2254862"/>
                </a:cubicBezTo>
                <a:cubicBezTo>
                  <a:pt x="852346" y="2254862"/>
                  <a:pt x="851605" y="2254121"/>
                  <a:pt x="851605" y="2253380"/>
                </a:cubicBezTo>
                <a:cubicBezTo>
                  <a:pt x="851605" y="2252641"/>
                  <a:pt x="852346" y="2251900"/>
                  <a:pt x="853088" y="2251900"/>
                </a:cubicBezTo>
                <a:close/>
                <a:moveTo>
                  <a:pt x="1991957" y="2247456"/>
                </a:moveTo>
                <a:cubicBezTo>
                  <a:pt x="1996152" y="2247456"/>
                  <a:pt x="1999856" y="2250911"/>
                  <a:pt x="1999856" y="2255355"/>
                </a:cubicBezTo>
                <a:cubicBezTo>
                  <a:pt x="1999856" y="2259799"/>
                  <a:pt x="1996401" y="2263254"/>
                  <a:pt x="1991957" y="2263254"/>
                </a:cubicBezTo>
                <a:cubicBezTo>
                  <a:pt x="1987761" y="2263254"/>
                  <a:pt x="1984058" y="2259799"/>
                  <a:pt x="1984058" y="2255355"/>
                </a:cubicBezTo>
                <a:cubicBezTo>
                  <a:pt x="1984058" y="2250911"/>
                  <a:pt x="1987512" y="2247456"/>
                  <a:pt x="1991957" y="2247456"/>
                </a:cubicBezTo>
                <a:close/>
                <a:moveTo>
                  <a:pt x="2664827" y="2238569"/>
                </a:moveTo>
                <a:cubicBezTo>
                  <a:pt x="2672479" y="2238569"/>
                  <a:pt x="2678650" y="2244739"/>
                  <a:pt x="2678650" y="2252638"/>
                </a:cubicBezTo>
                <a:cubicBezTo>
                  <a:pt x="2678650" y="2260291"/>
                  <a:pt x="2672479" y="2266461"/>
                  <a:pt x="2664827" y="2266461"/>
                </a:cubicBezTo>
                <a:cubicBezTo>
                  <a:pt x="2657174" y="2266461"/>
                  <a:pt x="2651004" y="2260291"/>
                  <a:pt x="2651004" y="2252638"/>
                </a:cubicBezTo>
                <a:cubicBezTo>
                  <a:pt x="2651004" y="2244988"/>
                  <a:pt x="2657174" y="2238569"/>
                  <a:pt x="2664827" y="2238569"/>
                </a:cubicBezTo>
                <a:close/>
                <a:moveTo>
                  <a:pt x="512943" y="2237336"/>
                </a:moveTo>
                <a:cubicBezTo>
                  <a:pt x="514425" y="2237336"/>
                  <a:pt x="515905" y="2238570"/>
                  <a:pt x="515905" y="2240298"/>
                </a:cubicBezTo>
                <a:cubicBezTo>
                  <a:pt x="515659" y="2242026"/>
                  <a:pt x="514425" y="2243260"/>
                  <a:pt x="512943" y="2243260"/>
                </a:cubicBezTo>
                <a:cubicBezTo>
                  <a:pt x="511461" y="2243260"/>
                  <a:pt x="509981" y="2242026"/>
                  <a:pt x="509981" y="2240298"/>
                </a:cubicBezTo>
                <a:cubicBezTo>
                  <a:pt x="509981" y="2238816"/>
                  <a:pt x="511215" y="2237336"/>
                  <a:pt x="512943" y="2237336"/>
                </a:cubicBezTo>
                <a:close/>
                <a:moveTo>
                  <a:pt x="1177423" y="2235115"/>
                </a:moveTo>
                <a:cubicBezTo>
                  <a:pt x="1179151" y="2235115"/>
                  <a:pt x="1180385" y="2236595"/>
                  <a:pt x="1180385" y="2238077"/>
                </a:cubicBezTo>
                <a:cubicBezTo>
                  <a:pt x="1180385" y="2239557"/>
                  <a:pt x="1179151" y="2241039"/>
                  <a:pt x="1177423" y="2241039"/>
                </a:cubicBezTo>
                <a:cubicBezTo>
                  <a:pt x="1175694" y="2241039"/>
                  <a:pt x="1174461" y="2239557"/>
                  <a:pt x="1174461" y="2238077"/>
                </a:cubicBezTo>
                <a:cubicBezTo>
                  <a:pt x="1174461" y="2236349"/>
                  <a:pt x="1175694" y="2235115"/>
                  <a:pt x="1177423" y="2235115"/>
                </a:cubicBezTo>
                <a:close/>
                <a:moveTo>
                  <a:pt x="2184488" y="2231412"/>
                </a:moveTo>
                <a:cubicBezTo>
                  <a:pt x="2191153" y="2231412"/>
                  <a:pt x="2196585" y="2236844"/>
                  <a:pt x="2196585" y="2243506"/>
                </a:cubicBezTo>
                <a:cubicBezTo>
                  <a:pt x="2196585" y="2250171"/>
                  <a:pt x="2191153" y="2255603"/>
                  <a:pt x="2184488" y="2255603"/>
                </a:cubicBezTo>
                <a:cubicBezTo>
                  <a:pt x="2177826" y="2255603"/>
                  <a:pt x="2172394" y="2250171"/>
                  <a:pt x="2172394" y="2243506"/>
                </a:cubicBezTo>
                <a:cubicBezTo>
                  <a:pt x="2172394" y="2236844"/>
                  <a:pt x="2177826" y="2231412"/>
                  <a:pt x="2184488" y="2231412"/>
                </a:cubicBezTo>
                <a:close/>
                <a:moveTo>
                  <a:pt x="962188" y="2209196"/>
                </a:moveTo>
                <a:cubicBezTo>
                  <a:pt x="964166" y="2209196"/>
                  <a:pt x="965645" y="2210676"/>
                  <a:pt x="965645" y="2212653"/>
                </a:cubicBezTo>
                <a:cubicBezTo>
                  <a:pt x="965645" y="2214379"/>
                  <a:pt x="964166" y="2216108"/>
                  <a:pt x="962188" y="2216108"/>
                </a:cubicBezTo>
                <a:cubicBezTo>
                  <a:pt x="960213" y="2216108"/>
                  <a:pt x="958734" y="2214628"/>
                  <a:pt x="958734" y="2212653"/>
                </a:cubicBezTo>
                <a:cubicBezTo>
                  <a:pt x="958734" y="2210676"/>
                  <a:pt x="960213" y="2209196"/>
                  <a:pt x="962188" y="2209196"/>
                </a:cubicBezTo>
                <a:close/>
                <a:moveTo>
                  <a:pt x="625011" y="2208949"/>
                </a:moveTo>
                <a:cubicBezTo>
                  <a:pt x="626491" y="2208949"/>
                  <a:pt x="627479" y="2209936"/>
                  <a:pt x="627479" y="2211416"/>
                </a:cubicBezTo>
                <a:cubicBezTo>
                  <a:pt x="627479" y="2212898"/>
                  <a:pt x="626491" y="2213886"/>
                  <a:pt x="625011" y="2213886"/>
                </a:cubicBezTo>
                <a:cubicBezTo>
                  <a:pt x="623775" y="2213886"/>
                  <a:pt x="622542" y="2212652"/>
                  <a:pt x="622542" y="2211416"/>
                </a:cubicBezTo>
                <a:cubicBezTo>
                  <a:pt x="622542" y="2210183"/>
                  <a:pt x="623529" y="2208949"/>
                  <a:pt x="625011" y="2208949"/>
                </a:cubicBezTo>
                <a:close/>
                <a:moveTo>
                  <a:pt x="2382696" y="2202284"/>
                </a:moveTo>
                <a:cubicBezTo>
                  <a:pt x="2391336" y="2202284"/>
                  <a:pt x="2398494" y="2209442"/>
                  <a:pt x="2398494" y="2218081"/>
                </a:cubicBezTo>
                <a:cubicBezTo>
                  <a:pt x="2398494" y="2226721"/>
                  <a:pt x="2391336" y="2233879"/>
                  <a:pt x="2382696" y="2233879"/>
                </a:cubicBezTo>
                <a:cubicBezTo>
                  <a:pt x="2374057" y="2233879"/>
                  <a:pt x="2366899" y="2226721"/>
                  <a:pt x="2366899" y="2218081"/>
                </a:cubicBezTo>
                <a:cubicBezTo>
                  <a:pt x="2366899" y="2209442"/>
                  <a:pt x="2374057" y="2202284"/>
                  <a:pt x="2382696" y="2202284"/>
                </a:cubicBezTo>
                <a:close/>
                <a:moveTo>
                  <a:pt x="55067" y="2201297"/>
                </a:moveTo>
                <a:cubicBezTo>
                  <a:pt x="56301" y="2201297"/>
                  <a:pt x="57288" y="2202285"/>
                  <a:pt x="57288" y="2203521"/>
                </a:cubicBezTo>
                <a:cubicBezTo>
                  <a:pt x="57535" y="2204506"/>
                  <a:pt x="56301" y="2205742"/>
                  <a:pt x="55067" y="2205742"/>
                </a:cubicBezTo>
                <a:cubicBezTo>
                  <a:pt x="53831" y="2205742"/>
                  <a:pt x="52598" y="2204754"/>
                  <a:pt x="52598" y="2203521"/>
                </a:cubicBezTo>
                <a:cubicBezTo>
                  <a:pt x="52598" y="2202285"/>
                  <a:pt x="53585" y="2201297"/>
                  <a:pt x="55067" y="2201297"/>
                </a:cubicBezTo>
                <a:close/>
                <a:moveTo>
                  <a:pt x="1692331" y="2196363"/>
                </a:moveTo>
                <a:cubicBezTo>
                  <a:pt x="1694059" y="2196363"/>
                  <a:pt x="1695540" y="2197843"/>
                  <a:pt x="1695540" y="2199571"/>
                </a:cubicBezTo>
                <a:cubicBezTo>
                  <a:pt x="1695540" y="2201300"/>
                  <a:pt x="1694059" y="2202782"/>
                  <a:pt x="1692331" y="2202782"/>
                </a:cubicBezTo>
                <a:cubicBezTo>
                  <a:pt x="1690603" y="2202782"/>
                  <a:pt x="1689123" y="2201300"/>
                  <a:pt x="1689123" y="2199571"/>
                </a:cubicBezTo>
                <a:cubicBezTo>
                  <a:pt x="1689123" y="2197843"/>
                  <a:pt x="1690603" y="2196363"/>
                  <a:pt x="1692331" y="2196363"/>
                </a:cubicBezTo>
                <a:close/>
                <a:moveTo>
                  <a:pt x="1488934" y="2195373"/>
                </a:moveTo>
                <a:cubicBezTo>
                  <a:pt x="1489921" y="2195373"/>
                  <a:pt x="1490909" y="2196360"/>
                  <a:pt x="1490909" y="2197348"/>
                </a:cubicBezTo>
                <a:cubicBezTo>
                  <a:pt x="1490909" y="2198335"/>
                  <a:pt x="1490167" y="2199322"/>
                  <a:pt x="1488934" y="2199322"/>
                </a:cubicBezTo>
                <a:cubicBezTo>
                  <a:pt x="1487946" y="2199322"/>
                  <a:pt x="1486959" y="2198335"/>
                  <a:pt x="1486959" y="2197348"/>
                </a:cubicBezTo>
                <a:cubicBezTo>
                  <a:pt x="1486959" y="2196360"/>
                  <a:pt x="1487701" y="2195373"/>
                  <a:pt x="1488934" y="2195373"/>
                </a:cubicBezTo>
                <a:close/>
                <a:moveTo>
                  <a:pt x="1890541" y="2189944"/>
                </a:moveTo>
                <a:cubicBezTo>
                  <a:pt x="1893502" y="2189944"/>
                  <a:pt x="1895477" y="2192165"/>
                  <a:pt x="1895477" y="2195127"/>
                </a:cubicBezTo>
                <a:cubicBezTo>
                  <a:pt x="1895477" y="2198089"/>
                  <a:pt x="1893255" y="2200313"/>
                  <a:pt x="1890541" y="2200313"/>
                </a:cubicBezTo>
                <a:cubicBezTo>
                  <a:pt x="1887825" y="2200313"/>
                  <a:pt x="1885359" y="2198089"/>
                  <a:pt x="1885359" y="2195127"/>
                </a:cubicBezTo>
                <a:cubicBezTo>
                  <a:pt x="1885359" y="2192414"/>
                  <a:pt x="1887577" y="2189944"/>
                  <a:pt x="1890541" y="2189944"/>
                </a:cubicBezTo>
                <a:close/>
                <a:moveTo>
                  <a:pt x="170586" y="2189698"/>
                </a:moveTo>
                <a:cubicBezTo>
                  <a:pt x="171573" y="2189698"/>
                  <a:pt x="172561" y="2190439"/>
                  <a:pt x="172561" y="2191427"/>
                </a:cubicBezTo>
                <a:cubicBezTo>
                  <a:pt x="172312" y="2192660"/>
                  <a:pt x="171573" y="2193402"/>
                  <a:pt x="170586" y="2193402"/>
                </a:cubicBezTo>
                <a:cubicBezTo>
                  <a:pt x="169598" y="2193402"/>
                  <a:pt x="168857" y="2192660"/>
                  <a:pt x="168857" y="2191427"/>
                </a:cubicBezTo>
                <a:cubicBezTo>
                  <a:pt x="168857" y="2190439"/>
                  <a:pt x="169598" y="2189698"/>
                  <a:pt x="170586" y="2189698"/>
                </a:cubicBezTo>
                <a:close/>
                <a:moveTo>
                  <a:pt x="2566831" y="2187723"/>
                </a:moveTo>
                <a:cubicBezTo>
                  <a:pt x="2571521" y="2187723"/>
                  <a:pt x="2575471" y="2191672"/>
                  <a:pt x="2575471" y="2196363"/>
                </a:cubicBezTo>
                <a:cubicBezTo>
                  <a:pt x="2575471" y="2201053"/>
                  <a:pt x="2571521" y="2205003"/>
                  <a:pt x="2566831" y="2205003"/>
                </a:cubicBezTo>
                <a:cubicBezTo>
                  <a:pt x="2561894" y="2205003"/>
                  <a:pt x="2558191" y="2201053"/>
                  <a:pt x="2558191" y="2196363"/>
                </a:cubicBezTo>
                <a:cubicBezTo>
                  <a:pt x="2558191" y="2191672"/>
                  <a:pt x="2562140" y="2187723"/>
                  <a:pt x="2566831" y="2187723"/>
                </a:cubicBezTo>
                <a:close/>
                <a:moveTo>
                  <a:pt x="1282082" y="2184266"/>
                </a:moveTo>
                <a:cubicBezTo>
                  <a:pt x="1283562" y="2184266"/>
                  <a:pt x="1284799" y="2185500"/>
                  <a:pt x="1284799" y="2186982"/>
                </a:cubicBezTo>
                <a:cubicBezTo>
                  <a:pt x="1284799" y="2188462"/>
                  <a:pt x="1283562" y="2189695"/>
                  <a:pt x="1282082" y="2189695"/>
                </a:cubicBezTo>
                <a:cubicBezTo>
                  <a:pt x="1280600" y="2189695"/>
                  <a:pt x="1279367" y="2188462"/>
                  <a:pt x="1279367" y="2186982"/>
                </a:cubicBezTo>
                <a:cubicBezTo>
                  <a:pt x="1279367" y="2185500"/>
                  <a:pt x="1280600" y="2184266"/>
                  <a:pt x="1282082" y="2184266"/>
                </a:cubicBezTo>
                <a:close/>
                <a:moveTo>
                  <a:pt x="736084" y="2176367"/>
                </a:moveTo>
                <a:cubicBezTo>
                  <a:pt x="737071" y="2176367"/>
                  <a:pt x="738059" y="2177354"/>
                  <a:pt x="738059" y="2178342"/>
                </a:cubicBezTo>
                <a:cubicBezTo>
                  <a:pt x="738059" y="2179329"/>
                  <a:pt x="737318" y="2180316"/>
                  <a:pt x="736084" y="2180316"/>
                </a:cubicBezTo>
                <a:cubicBezTo>
                  <a:pt x="734851" y="2180316"/>
                  <a:pt x="734111" y="2179329"/>
                  <a:pt x="734111" y="2178342"/>
                </a:cubicBezTo>
                <a:cubicBezTo>
                  <a:pt x="734111" y="2177354"/>
                  <a:pt x="735097" y="2176367"/>
                  <a:pt x="736084" y="2176367"/>
                </a:cubicBezTo>
                <a:close/>
                <a:moveTo>
                  <a:pt x="2084274" y="2176121"/>
                </a:moveTo>
                <a:cubicBezTo>
                  <a:pt x="2088964" y="2176121"/>
                  <a:pt x="2092911" y="2180070"/>
                  <a:pt x="2092911" y="2184761"/>
                </a:cubicBezTo>
                <a:cubicBezTo>
                  <a:pt x="2092665" y="2189698"/>
                  <a:pt x="2088964" y="2193401"/>
                  <a:pt x="2084274" y="2193401"/>
                </a:cubicBezTo>
                <a:cubicBezTo>
                  <a:pt x="2079583" y="2193401"/>
                  <a:pt x="2075634" y="2189451"/>
                  <a:pt x="2075634" y="2184761"/>
                </a:cubicBezTo>
                <a:cubicBezTo>
                  <a:pt x="2075634" y="2180070"/>
                  <a:pt x="2079583" y="2176121"/>
                  <a:pt x="2084274" y="2176121"/>
                </a:cubicBezTo>
                <a:close/>
                <a:moveTo>
                  <a:pt x="285360" y="2171925"/>
                </a:moveTo>
                <a:cubicBezTo>
                  <a:pt x="287335" y="2171925"/>
                  <a:pt x="288817" y="2173405"/>
                  <a:pt x="288817" y="2175380"/>
                </a:cubicBezTo>
                <a:cubicBezTo>
                  <a:pt x="288817" y="2177108"/>
                  <a:pt x="287335" y="2178837"/>
                  <a:pt x="285360" y="2178837"/>
                </a:cubicBezTo>
                <a:cubicBezTo>
                  <a:pt x="283385" y="2178837"/>
                  <a:pt x="281906" y="2177354"/>
                  <a:pt x="281906" y="2175380"/>
                </a:cubicBezTo>
                <a:cubicBezTo>
                  <a:pt x="281906" y="2173405"/>
                  <a:pt x="283385" y="2171925"/>
                  <a:pt x="285360" y="2171925"/>
                </a:cubicBezTo>
                <a:close/>
                <a:moveTo>
                  <a:pt x="1069553" y="2164519"/>
                </a:moveTo>
                <a:cubicBezTo>
                  <a:pt x="1071281" y="2164519"/>
                  <a:pt x="1072761" y="2165999"/>
                  <a:pt x="1072761" y="2167727"/>
                </a:cubicBezTo>
                <a:cubicBezTo>
                  <a:pt x="1072761" y="2169456"/>
                  <a:pt x="1071527" y="2170938"/>
                  <a:pt x="1069553" y="2170938"/>
                </a:cubicBezTo>
                <a:cubicBezTo>
                  <a:pt x="1067824" y="2170938"/>
                  <a:pt x="1066345" y="2169456"/>
                  <a:pt x="1066345" y="2167727"/>
                </a:cubicBezTo>
                <a:cubicBezTo>
                  <a:pt x="1066345" y="2165999"/>
                  <a:pt x="1067824" y="2164519"/>
                  <a:pt x="1069553" y="2164519"/>
                </a:cubicBezTo>
                <a:close/>
                <a:moveTo>
                  <a:pt x="2273595" y="2156620"/>
                </a:moveTo>
                <a:cubicBezTo>
                  <a:pt x="2280752" y="2156620"/>
                  <a:pt x="2286430" y="2162298"/>
                  <a:pt x="2286430" y="2169456"/>
                </a:cubicBezTo>
                <a:cubicBezTo>
                  <a:pt x="2286430" y="2176367"/>
                  <a:pt x="2280752" y="2182291"/>
                  <a:pt x="2273595" y="2182291"/>
                </a:cubicBezTo>
                <a:cubicBezTo>
                  <a:pt x="2266437" y="2182291"/>
                  <a:pt x="2260759" y="2176613"/>
                  <a:pt x="2260759" y="2169456"/>
                </a:cubicBezTo>
                <a:cubicBezTo>
                  <a:pt x="2260759" y="2162298"/>
                  <a:pt x="2266437" y="2156620"/>
                  <a:pt x="2273595" y="2156620"/>
                </a:cubicBezTo>
                <a:close/>
                <a:moveTo>
                  <a:pt x="2747268" y="2155633"/>
                </a:moveTo>
                <a:cubicBezTo>
                  <a:pt x="2755413" y="2155633"/>
                  <a:pt x="2762078" y="2162298"/>
                  <a:pt x="2762078" y="2170443"/>
                </a:cubicBezTo>
                <a:cubicBezTo>
                  <a:pt x="2761832" y="2178588"/>
                  <a:pt x="2755413" y="2185254"/>
                  <a:pt x="2747268" y="2185254"/>
                </a:cubicBezTo>
                <a:cubicBezTo>
                  <a:pt x="2739123" y="2185254"/>
                  <a:pt x="2732458" y="2178588"/>
                  <a:pt x="2732458" y="2170443"/>
                </a:cubicBezTo>
                <a:cubicBezTo>
                  <a:pt x="2732458" y="2162298"/>
                  <a:pt x="2739123" y="2155633"/>
                  <a:pt x="2747268" y="2155633"/>
                </a:cubicBezTo>
                <a:close/>
                <a:moveTo>
                  <a:pt x="399644" y="2151438"/>
                </a:moveTo>
                <a:cubicBezTo>
                  <a:pt x="401372" y="2151438"/>
                  <a:pt x="402606" y="2152672"/>
                  <a:pt x="402606" y="2154400"/>
                </a:cubicBezTo>
                <a:cubicBezTo>
                  <a:pt x="402606" y="2155880"/>
                  <a:pt x="401124" y="2157362"/>
                  <a:pt x="399644" y="2157362"/>
                </a:cubicBezTo>
                <a:cubicBezTo>
                  <a:pt x="397916" y="2157362"/>
                  <a:pt x="396682" y="2156128"/>
                  <a:pt x="396682" y="2154400"/>
                </a:cubicBezTo>
                <a:cubicBezTo>
                  <a:pt x="396682" y="2152672"/>
                  <a:pt x="397916" y="2151438"/>
                  <a:pt x="399644" y="2151438"/>
                </a:cubicBezTo>
                <a:close/>
                <a:moveTo>
                  <a:pt x="845679" y="2139094"/>
                </a:moveTo>
                <a:cubicBezTo>
                  <a:pt x="846667" y="2139094"/>
                  <a:pt x="847408" y="2139835"/>
                  <a:pt x="847408" y="2140574"/>
                </a:cubicBezTo>
                <a:cubicBezTo>
                  <a:pt x="847408" y="2141564"/>
                  <a:pt x="846667" y="2142302"/>
                  <a:pt x="845679" y="2142302"/>
                </a:cubicBezTo>
                <a:cubicBezTo>
                  <a:pt x="844692" y="2142302"/>
                  <a:pt x="844200" y="2141564"/>
                  <a:pt x="844200" y="2140574"/>
                </a:cubicBezTo>
                <a:cubicBezTo>
                  <a:pt x="844200" y="2139586"/>
                  <a:pt x="844941" y="2139094"/>
                  <a:pt x="845679" y="2139094"/>
                </a:cubicBezTo>
                <a:close/>
                <a:moveTo>
                  <a:pt x="1588411" y="2135145"/>
                </a:moveTo>
                <a:cubicBezTo>
                  <a:pt x="1589645" y="2135145"/>
                  <a:pt x="1590632" y="2136133"/>
                  <a:pt x="1590632" y="2137366"/>
                </a:cubicBezTo>
                <a:cubicBezTo>
                  <a:pt x="1590881" y="2138602"/>
                  <a:pt x="1589894" y="2139587"/>
                  <a:pt x="1588411" y="2139587"/>
                </a:cubicBezTo>
                <a:cubicBezTo>
                  <a:pt x="1587178" y="2139587"/>
                  <a:pt x="1586190" y="2138602"/>
                  <a:pt x="1586190" y="2137366"/>
                </a:cubicBezTo>
                <a:cubicBezTo>
                  <a:pt x="1586190" y="2136133"/>
                  <a:pt x="1587178" y="2135145"/>
                  <a:pt x="1588411" y="2135145"/>
                </a:cubicBezTo>
                <a:close/>
                <a:moveTo>
                  <a:pt x="1788597" y="2132678"/>
                </a:moveTo>
                <a:cubicBezTo>
                  <a:pt x="1789585" y="2132678"/>
                  <a:pt x="1790326" y="2133419"/>
                  <a:pt x="1790326" y="2134406"/>
                </a:cubicBezTo>
                <a:cubicBezTo>
                  <a:pt x="1790326" y="2135394"/>
                  <a:pt x="1789585" y="2136135"/>
                  <a:pt x="1788597" y="2136135"/>
                </a:cubicBezTo>
                <a:cubicBezTo>
                  <a:pt x="1787610" y="2136135"/>
                  <a:pt x="1786869" y="2135394"/>
                  <a:pt x="1786869" y="2134406"/>
                </a:cubicBezTo>
                <a:cubicBezTo>
                  <a:pt x="1786869" y="2133419"/>
                  <a:pt x="1787610" y="2132678"/>
                  <a:pt x="1788597" y="2132678"/>
                </a:cubicBezTo>
                <a:close/>
                <a:moveTo>
                  <a:pt x="1384767" y="2129470"/>
                </a:moveTo>
                <a:cubicBezTo>
                  <a:pt x="1386247" y="2129470"/>
                  <a:pt x="1387481" y="2130704"/>
                  <a:pt x="1387481" y="2131937"/>
                </a:cubicBezTo>
                <a:cubicBezTo>
                  <a:pt x="1387234" y="2133420"/>
                  <a:pt x="1386001" y="2134653"/>
                  <a:pt x="1384767" y="2134653"/>
                </a:cubicBezTo>
                <a:cubicBezTo>
                  <a:pt x="1383285" y="2134653"/>
                  <a:pt x="1382298" y="2133420"/>
                  <a:pt x="1382298" y="2131937"/>
                </a:cubicBezTo>
                <a:cubicBezTo>
                  <a:pt x="1382298" y="2130457"/>
                  <a:pt x="1383531" y="2129470"/>
                  <a:pt x="1384767" y="2129470"/>
                </a:cubicBezTo>
                <a:close/>
                <a:moveTo>
                  <a:pt x="512692" y="2126508"/>
                </a:moveTo>
                <a:cubicBezTo>
                  <a:pt x="514175" y="2126508"/>
                  <a:pt x="515162" y="2127496"/>
                  <a:pt x="515162" y="2128978"/>
                </a:cubicBezTo>
                <a:cubicBezTo>
                  <a:pt x="515162" y="2130212"/>
                  <a:pt x="514175" y="2131445"/>
                  <a:pt x="512692" y="2131445"/>
                </a:cubicBezTo>
                <a:cubicBezTo>
                  <a:pt x="511213" y="2131445"/>
                  <a:pt x="510225" y="2130212"/>
                  <a:pt x="510225" y="2128978"/>
                </a:cubicBezTo>
                <a:cubicBezTo>
                  <a:pt x="510225" y="2127496"/>
                  <a:pt x="511459" y="2126508"/>
                  <a:pt x="512692" y="2126508"/>
                </a:cubicBezTo>
                <a:close/>
                <a:moveTo>
                  <a:pt x="2468839" y="2122805"/>
                </a:moveTo>
                <a:cubicBezTo>
                  <a:pt x="2478217" y="2122805"/>
                  <a:pt x="2485624" y="2130212"/>
                  <a:pt x="2485624" y="2139590"/>
                </a:cubicBezTo>
                <a:cubicBezTo>
                  <a:pt x="2485624" y="2148969"/>
                  <a:pt x="2477971" y="2156375"/>
                  <a:pt x="2468839" y="2156375"/>
                </a:cubicBezTo>
                <a:cubicBezTo>
                  <a:pt x="2459707" y="2156375"/>
                  <a:pt x="2452054" y="2148969"/>
                  <a:pt x="2452054" y="2139590"/>
                </a:cubicBezTo>
                <a:cubicBezTo>
                  <a:pt x="2452054" y="2130458"/>
                  <a:pt x="2459458" y="2122805"/>
                  <a:pt x="2468839" y="2122805"/>
                </a:cubicBezTo>
                <a:close/>
                <a:moveTo>
                  <a:pt x="1983566" y="2120584"/>
                </a:moveTo>
                <a:cubicBezTo>
                  <a:pt x="1986528" y="2120584"/>
                  <a:pt x="1988995" y="2123054"/>
                  <a:pt x="1988995" y="2126016"/>
                </a:cubicBezTo>
                <a:cubicBezTo>
                  <a:pt x="1988995" y="2128975"/>
                  <a:pt x="1986528" y="2131445"/>
                  <a:pt x="1983566" y="2131445"/>
                </a:cubicBezTo>
                <a:cubicBezTo>
                  <a:pt x="1980604" y="2131445"/>
                  <a:pt x="1978134" y="2128975"/>
                  <a:pt x="1978134" y="2126016"/>
                </a:cubicBezTo>
                <a:cubicBezTo>
                  <a:pt x="1978134" y="2123054"/>
                  <a:pt x="1980604" y="2120584"/>
                  <a:pt x="1983566" y="2120584"/>
                </a:cubicBezTo>
                <a:close/>
                <a:moveTo>
                  <a:pt x="1175447" y="2115893"/>
                </a:moveTo>
                <a:cubicBezTo>
                  <a:pt x="1177175" y="2115893"/>
                  <a:pt x="1178408" y="2117127"/>
                  <a:pt x="1178408" y="2118855"/>
                </a:cubicBezTo>
                <a:cubicBezTo>
                  <a:pt x="1178408" y="2120335"/>
                  <a:pt x="1176929" y="2121817"/>
                  <a:pt x="1175447" y="2121817"/>
                </a:cubicBezTo>
                <a:cubicBezTo>
                  <a:pt x="1173718" y="2121817"/>
                  <a:pt x="1172484" y="2120583"/>
                  <a:pt x="1172484" y="2118855"/>
                </a:cubicBezTo>
                <a:cubicBezTo>
                  <a:pt x="1172484" y="2117127"/>
                  <a:pt x="1173718" y="2115893"/>
                  <a:pt x="1175447" y="2115893"/>
                </a:cubicBezTo>
                <a:close/>
                <a:moveTo>
                  <a:pt x="2649770" y="2105279"/>
                </a:moveTo>
                <a:cubicBezTo>
                  <a:pt x="2654953" y="2105279"/>
                  <a:pt x="2659149" y="2109475"/>
                  <a:pt x="2659149" y="2114660"/>
                </a:cubicBezTo>
                <a:cubicBezTo>
                  <a:pt x="2659149" y="2119843"/>
                  <a:pt x="2654953" y="2124038"/>
                  <a:pt x="2649770" y="2124038"/>
                </a:cubicBezTo>
                <a:cubicBezTo>
                  <a:pt x="2644585" y="2124038"/>
                  <a:pt x="2640389" y="2119843"/>
                  <a:pt x="2640389" y="2114660"/>
                </a:cubicBezTo>
                <a:cubicBezTo>
                  <a:pt x="2640389" y="2109475"/>
                  <a:pt x="2644585" y="2105279"/>
                  <a:pt x="2649770" y="2105279"/>
                </a:cubicBezTo>
                <a:close/>
                <a:moveTo>
                  <a:pt x="2174122" y="2102071"/>
                </a:moveTo>
                <a:cubicBezTo>
                  <a:pt x="2179305" y="2102071"/>
                  <a:pt x="2183500" y="2106267"/>
                  <a:pt x="2183500" y="2111452"/>
                </a:cubicBezTo>
                <a:cubicBezTo>
                  <a:pt x="2183500" y="2116635"/>
                  <a:pt x="2179305" y="2120830"/>
                  <a:pt x="2174122" y="2120830"/>
                </a:cubicBezTo>
                <a:cubicBezTo>
                  <a:pt x="2168937" y="2120830"/>
                  <a:pt x="2164741" y="2116635"/>
                  <a:pt x="2164741" y="2111452"/>
                </a:cubicBezTo>
                <a:cubicBezTo>
                  <a:pt x="2164741" y="2106267"/>
                  <a:pt x="2168937" y="2102071"/>
                  <a:pt x="2174122" y="2102071"/>
                </a:cubicBezTo>
                <a:close/>
                <a:moveTo>
                  <a:pt x="953792" y="2097629"/>
                </a:moveTo>
                <a:cubicBezTo>
                  <a:pt x="954533" y="2097629"/>
                  <a:pt x="955026" y="2098121"/>
                  <a:pt x="955026" y="2098863"/>
                </a:cubicBezTo>
                <a:cubicBezTo>
                  <a:pt x="955026" y="2099604"/>
                  <a:pt x="954533" y="2100099"/>
                  <a:pt x="953792" y="2100099"/>
                </a:cubicBezTo>
                <a:cubicBezTo>
                  <a:pt x="953051" y="2100099"/>
                  <a:pt x="952559" y="2099604"/>
                  <a:pt x="952559" y="2098863"/>
                </a:cubicBezTo>
                <a:cubicBezTo>
                  <a:pt x="952559" y="2098121"/>
                  <a:pt x="953051" y="2097629"/>
                  <a:pt x="953792" y="2097629"/>
                </a:cubicBezTo>
                <a:close/>
                <a:moveTo>
                  <a:pt x="624760" y="2096888"/>
                </a:moveTo>
                <a:cubicBezTo>
                  <a:pt x="625748" y="2096888"/>
                  <a:pt x="626735" y="2097875"/>
                  <a:pt x="626735" y="2098863"/>
                </a:cubicBezTo>
                <a:cubicBezTo>
                  <a:pt x="626735" y="2099850"/>
                  <a:pt x="625994" y="2100837"/>
                  <a:pt x="624760" y="2100837"/>
                </a:cubicBezTo>
                <a:cubicBezTo>
                  <a:pt x="623773" y="2100837"/>
                  <a:pt x="622785" y="2099850"/>
                  <a:pt x="622785" y="2098863"/>
                </a:cubicBezTo>
                <a:cubicBezTo>
                  <a:pt x="622785" y="2097629"/>
                  <a:pt x="623773" y="2096888"/>
                  <a:pt x="624760" y="2096888"/>
                </a:cubicBezTo>
                <a:close/>
                <a:moveTo>
                  <a:pt x="54817" y="2091705"/>
                </a:moveTo>
                <a:cubicBezTo>
                  <a:pt x="56296" y="2091705"/>
                  <a:pt x="57532" y="2092939"/>
                  <a:pt x="57532" y="2094421"/>
                </a:cubicBezTo>
                <a:cubicBezTo>
                  <a:pt x="57532" y="2095901"/>
                  <a:pt x="56296" y="2097134"/>
                  <a:pt x="54817" y="2097134"/>
                </a:cubicBezTo>
                <a:cubicBezTo>
                  <a:pt x="53334" y="2097134"/>
                  <a:pt x="52101" y="2095901"/>
                  <a:pt x="52101" y="2094421"/>
                </a:cubicBezTo>
                <a:cubicBezTo>
                  <a:pt x="52101" y="2092939"/>
                  <a:pt x="53334" y="2091705"/>
                  <a:pt x="54817" y="2091705"/>
                </a:cubicBezTo>
                <a:close/>
                <a:moveTo>
                  <a:pt x="170335" y="2079857"/>
                </a:moveTo>
                <a:cubicBezTo>
                  <a:pt x="171569" y="2079857"/>
                  <a:pt x="172556" y="2080844"/>
                  <a:pt x="172556" y="2082327"/>
                </a:cubicBezTo>
                <a:cubicBezTo>
                  <a:pt x="172556" y="2083560"/>
                  <a:pt x="171569" y="2084548"/>
                  <a:pt x="170335" y="2084548"/>
                </a:cubicBezTo>
                <a:cubicBezTo>
                  <a:pt x="169099" y="2084548"/>
                  <a:pt x="167865" y="2083560"/>
                  <a:pt x="167865" y="2082327"/>
                </a:cubicBezTo>
                <a:cubicBezTo>
                  <a:pt x="167865" y="2081091"/>
                  <a:pt x="168853" y="2079857"/>
                  <a:pt x="170335" y="2079857"/>
                </a:cubicBezTo>
                <a:close/>
                <a:moveTo>
                  <a:pt x="2360234" y="2078374"/>
                </a:moveTo>
                <a:cubicBezTo>
                  <a:pt x="2367886" y="2078374"/>
                  <a:pt x="2374057" y="2084544"/>
                  <a:pt x="2374057" y="2092197"/>
                </a:cubicBezTo>
                <a:cubicBezTo>
                  <a:pt x="2374057" y="2099849"/>
                  <a:pt x="2367886" y="2106020"/>
                  <a:pt x="2360234" y="2106020"/>
                </a:cubicBezTo>
                <a:cubicBezTo>
                  <a:pt x="2352581" y="2106020"/>
                  <a:pt x="2346411" y="2099849"/>
                  <a:pt x="2346411" y="2092197"/>
                </a:cubicBezTo>
                <a:cubicBezTo>
                  <a:pt x="2346411" y="2084544"/>
                  <a:pt x="2352581" y="2078374"/>
                  <a:pt x="2360234" y="2078374"/>
                </a:cubicBezTo>
                <a:close/>
                <a:moveTo>
                  <a:pt x="1485231" y="2070968"/>
                </a:moveTo>
                <a:cubicBezTo>
                  <a:pt x="1486465" y="2070968"/>
                  <a:pt x="1487698" y="2071955"/>
                  <a:pt x="1487698" y="2073438"/>
                </a:cubicBezTo>
                <a:cubicBezTo>
                  <a:pt x="1487698" y="2074671"/>
                  <a:pt x="1486711" y="2075905"/>
                  <a:pt x="1485231" y="2075905"/>
                </a:cubicBezTo>
                <a:cubicBezTo>
                  <a:pt x="1483995" y="2075905"/>
                  <a:pt x="1482761" y="2074918"/>
                  <a:pt x="1482761" y="2073438"/>
                </a:cubicBezTo>
                <a:cubicBezTo>
                  <a:pt x="1482761" y="2072202"/>
                  <a:pt x="1483749" y="2070968"/>
                  <a:pt x="1485231" y="2070968"/>
                </a:cubicBezTo>
                <a:close/>
                <a:moveTo>
                  <a:pt x="1685913" y="2070722"/>
                </a:moveTo>
                <a:cubicBezTo>
                  <a:pt x="1687392" y="2070722"/>
                  <a:pt x="1688628" y="2071956"/>
                  <a:pt x="1688628" y="2073438"/>
                </a:cubicBezTo>
                <a:cubicBezTo>
                  <a:pt x="1688628" y="2074918"/>
                  <a:pt x="1687392" y="2076154"/>
                  <a:pt x="1685913" y="2076154"/>
                </a:cubicBezTo>
                <a:cubicBezTo>
                  <a:pt x="1684430" y="2076154"/>
                  <a:pt x="1683196" y="2074918"/>
                  <a:pt x="1683196" y="2073438"/>
                </a:cubicBezTo>
                <a:cubicBezTo>
                  <a:pt x="1683196" y="2071956"/>
                  <a:pt x="1684430" y="2070722"/>
                  <a:pt x="1685913" y="2070722"/>
                </a:cubicBezTo>
                <a:close/>
                <a:moveTo>
                  <a:pt x="2827242" y="2070476"/>
                </a:moveTo>
                <a:cubicBezTo>
                  <a:pt x="2835880" y="2070476"/>
                  <a:pt x="2842791" y="2077387"/>
                  <a:pt x="2842791" y="2086027"/>
                </a:cubicBezTo>
                <a:cubicBezTo>
                  <a:pt x="2842791" y="2094667"/>
                  <a:pt x="2835880" y="2101579"/>
                  <a:pt x="2827242" y="2101579"/>
                </a:cubicBezTo>
                <a:cubicBezTo>
                  <a:pt x="2818603" y="2101579"/>
                  <a:pt x="2811691" y="2094667"/>
                  <a:pt x="2811691" y="2086027"/>
                </a:cubicBezTo>
                <a:cubicBezTo>
                  <a:pt x="2811691" y="2077387"/>
                  <a:pt x="2818603" y="2070476"/>
                  <a:pt x="2827242" y="2070476"/>
                </a:cubicBezTo>
                <a:close/>
                <a:moveTo>
                  <a:pt x="1882639" y="2064057"/>
                </a:moveTo>
                <a:cubicBezTo>
                  <a:pt x="1883873" y="2064057"/>
                  <a:pt x="1884862" y="2065044"/>
                  <a:pt x="1884862" y="2066278"/>
                </a:cubicBezTo>
                <a:cubicBezTo>
                  <a:pt x="1885111" y="2067514"/>
                  <a:pt x="1884123" y="2068502"/>
                  <a:pt x="1882639" y="2068502"/>
                </a:cubicBezTo>
                <a:cubicBezTo>
                  <a:pt x="1881407" y="2068502"/>
                  <a:pt x="1880419" y="2067514"/>
                  <a:pt x="1880419" y="2066278"/>
                </a:cubicBezTo>
                <a:cubicBezTo>
                  <a:pt x="1880419" y="2065044"/>
                  <a:pt x="1881407" y="2064057"/>
                  <a:pt x="1882639" y="2064057"/>
                </a:cubicBezTo>
                <a:close/>
                <a:moveTo>
                  <a:pt x="285111" y="2063318"/>
                </a:moveTo>
                <a:cubicBezTo>
                  <a:pt x="286099" y="2063318"/>
                  <a:pt x="287086" y="2064305"/>
                  <a:pt x="287086" y="2065293"/>
                </a:cubicBezTo>
                <a:cubicBezTo>
                  <a:pt x="287086" y="2066280"/>
                  <a:pt x="286345" y="2067267"/>
                  <a:pt x="285111" y="2067267"/>
                </a:cubicBezTo>
                <a:cubicBezTo>
                  <a:pt x="284124" y="2067267"/>
                  <a:pt x="283137" y="2066280"/>
                  <a:pt x="283137" y="2065293"/>
                </a:cubicBezTo>
                <a:cubicBezTo>
                  <a:pt x="283137" y="2064305"/>
                  <a:pt x="284124" y="2063318"/>
                  <a:pt x="285111" y="2063318"/>
                </a:cubicBezTo>
                <a:close/>
                <a:moveTo>
                  <a:pt x="1279119" y="2063072"/>
                </a:moveTo>
                <a:cubicBezTo>
                  <a:pt x="1280598" y="2063072"/>
                  <a:pt x="1282081" y="2064306"/>
                  <a:pt x="1282081" y="2066034"/>
                </a:cubicBezTo>
                <a:cubicBezTo>
                  <a:pt x="1282081" y="2067514"/>
                  <a:pt x="1280845" y="2068750"/>
                  <a:pt x="1279119" y="2068750"/>
                </a:cubicBezTo>
                <a:cubicBezTo>
                  <a:pt x="1277390" y="2068750"/>
                  <a:pt x="1276403" y="2067514"/>
                  <a:pt x="1276403" y="2066034"/>
                </a:cubicBezTo>
                <a:cubicBezTo>
                  <a:pt x="1276403" y="2064552"/>
                  <a:pt x="1277636" y="2063072"/>
                  <a:pt x="1279119" y="2063072"/>
                </a:cubicBezTo>
                <a:close/>
                <a:moveTo>
                  <a:pt x="735587" y="2062823"/>
                </a:moveTo>
                <a:cubicBezTo>
                  <a:pt x="736577" y="2062823"/>
                  <a:pt x="737069" y="2063564"/>
                  <a:pt x="737069" y="2064303"/>
                </a:cubicBezTo>
                <a:cubicBezTo>
                  <a:pt x="737069" y="2065044"/>
                  <a:pt x="736328" y="2065785"/>
                  <a:pt x="735587" y="2065785"/>
                </a:cubicBezTo>
                <a:cubicBezTo>
                  <a:pt x="734849" y="2065785"/>
                  <a:pt x="734109" y="2065044"/>
                  <a:pt x="734109" y="2064303"/>
                </a:cubicBezTo>
                <a:cubicBezTo>
                  <a:pt x="734109" y="2063564"/>
                  <a:pt x="734849" y="2062823"/>
                  <a:pt x="735587" y="2062823"/>
                </a:cubicBezTo>
                <a:close/>
                <a:moveTo>
                  <a:pt x="1060176" y="2051716"/>
                </a:moveTo>
                <a:cubicBezTo>
                  <a:pt x="1060669" y="2051716"/>
                  <a:pt x="1061164" y="2052211"/>
                  <a:pt x="1061164" y="2052704"/>
                </a:cubicBezTo>
                <a:cubicBezTo>
                  <a:pt x="1061164" y="2053445"/>
                  <a:pt x="1060669" y="2053691"/>
                  <a:pt x="1060176" y="2053691"/>
                </a:cubicBezTo>
                <a:cubicBezTo>
                  <a:pt x="1059684" y="2053691"/>
                  <a:pt x="1059189" y="2053196"/>
                  <a:pt x="1059189" y="2052704"/>
                </a:cubicBezTo>
                <a:cubicBezTo>
                  <a:pt x="1059189" y="2052211"/>
                  <a:pt x="1059684" y="2051716"/>
                  <a:pt x="1060176" y="2051716"/>
                </a:cubicBezTo>
                <a:close/>
                <a:moveTo>
                  <a:pt x="2074398" y="2047521"/>
                </a:moveTo>
                <a:cubicBezTo>
                  <a:pt x="2077606" y="2047521"/>
                  <a:pt x="2080322" y="2050237"/>
                  <a:pt x="2080322" y="2053445"/>
                </a:cubicBezTo>
                <a:cubicBezTo>
                  <a:pt x="2080322" y="2056653"/>
                  <a:pt x="2077606" y="2059369"/>
                  <a:pt x="2074398" y="2059369"/>
                </a:cubicBezTo>
                <a:cubicBezTo>
                  <a:pt x="2071190" y="2059369"/>
                  <a:pt x="2068474" y="2056653"/>
                  <a:pt x="2068474" y="2053445"/>
                </a:cubicBezTo>
                <a:cubicBezTo>
                  <a:pt x="2068474" y="2050237"/>
                  <a:pt x="2071190" y="2047521"/>
                  <a:pt x="2074398" y="2047521"/>
                </a:cubicBezTo>
                <a:close/>
                <a:moveTo>
                  <a:pt x="399150" y="2041843"/>
                </a:moveTo>
                <a:cubicBezTo>
                  <a:pt x="400137" y="2041843"/>
                  <a:pt x="400875" y="2042584"/>
                  <a:pt x="400875" y="2043571"/>
                </a:cubicBezTo>
                <a:cubicBezTo>
                  <a:pt x="400875" y="2044559"/>
                  <a:pt x="400137" y="2045300"/>
                  <a:pt x="399150" y="2045300"/>
                </a:cubicBezTo>
                <a:cubicBezTo>
                  <a:pt x="398162" y="2045300"/>
                  <a:pt x="397421" y="2044559"/>
                  <a:pt x="397421" y="2043571"/>
                </a:cubicBezTo>
                <a:cubicBezTo>
                  <a:pt x="397421" y="2042584"/>
                  <a:pt x="398162" y="2041843"/>
                  <a:pt x="399150" y="2041843"/>
                </a:cubicBezTo>
                <a:close/>
                <a:moveTo>
                  <a:pt x="2552516" y="2041102"/>
                </a:moveTo>
                <a:cubicBezTo>
                  <a:pt x="2562143" y="2041102"/>
                  <a:pt x="2570288" y="2049001"/>
                  <a:pt x="2570288" y="2058628"/>
                </a:cubicBezTo>
                <a:cubicBezTo>
                  <a:pt x="2570288" y="2068501"/>
                  <a:pt x="2562143" y="2076400"/>
                  <a:pt x="2552516" y="2076400"/>
                </a:cubicBezTo>
                <a:cubicBezTo>
                  <a:pt x="2542889" y="2076400"/>
                  <a:pt x="2534744" y="2068501"/>
                  <a:pt x="2534744" y="2058628"/>
                </a:cubicBezTo>
                <a:cubicBezTo>
                  <a:pt x="2534744" y="2049001"/>
                  <a:pt x="2542643" y="2041102"/>
                  <a:pt x="2552516" y="2041102"/>
                </a:cubicBezTo>
                <a:close/>
                <a:moveTo>
                  <a:pt x="2261747" y="2025058"/>
                </a:moveTo>
                <a:cubicBezTo>
                  <a:pt x="2267424" y="2025058"/>
                  <a:pt x="2271866" y="2029500"/>
                  <a:pt x="2271866" y="2035178"/>
                </a:cubicBezTo>
                <a:cubicBezTo>
                  <a:pt x="2271620" y="2040855"/>
                  <a:pt x="2267178" y="2045300"/>
                  <a:pt x="2261747" y="2045300"/>
                </a:cubicBezTo>
                <a:cubicBezTo>
                  <a:pt x="2256069" y="2045300"/>
                  <a:pt x="2251627" y="2040855"/>
                  <a:pt x="2251627" y="2035178"/>
                </a:cubicBezTo>
                <a:cubicBezTo>
                  <a:pt x="2251627" y="2029500"/>
                  <a:pt x="2256069" y="2025058"/>
                  <a:pt x="2261747" y="2025058"/>
                </a:cubicBezTo>
                <a:close/>
                <a:moveTo>
                  <a:pt x="844690" y="2024317"/>
                </a:moveTo>
                <a:cubicBezTo>
                  <a:pt x="845183" y="2024317"/>
                  <a:pt x="845678" y="2024809"/>
                  <a:pt x="845678" y="2025304"/>
                </a:cubicBezTo>
                <a:cubicBezTo>
                  <a:pt x="845678" y="2025797"/>
                  <a:pt x="845431" y="2026292"/>
                  <a:pt x="844690" y="2026292"/>
                </a:cubicBezTo>
                <a:cubicBezTo>
                  <a:pt x="844198" y="2026292"/>
                  <a:pt x="843703" y="2025797"/>
                  <a:pt x="843703" y="2025304"/>
                </a:cubicBezTo>
                <a:cubicBezTo>
                  <a:pt x="843703" y="2024809"/>
                  <a:pt x="844198" y="2024317"/>
                  <a:pt x="844690" y="2024317"/>
                </a:cubicBezTo>
                <a:close/>
                <a:moveTo>
                  <a:pt x="2730484" y="2020368"/>
                </a:moveTo>
                <a:cubicBezTo>
                  <a:pt x="2736159" y="2020368"/>
                  <a:pt x="2740850" y="2025059"/>
                  <a:pt x="2740850" y="2030737"/>
                </a:cubicBezTo>
                <a:cubicBezTo>
                  <a:pt x="2740850" y="2036412"/>
                  <a:pt x="2736159" y="2041103"/>
                  <a:pt x="2730484" y="2041103"/>
                </a:cubicBezTo>
                <a:cubicBezTo>
                  <a:pt x="2724806" y="2041103"/>
                  <a:pt x="2720115" y="2036412"/>
                  <a:pt x="2720115" y="2030737"/>
                </a:cubicBezTo>
                <a:cubicBezTo>
                  <a:pt x="2720115" y="2025059"/>
                  <a:pt x="2724806" y="2020368"/>
                  <a:pt x="2730484" y="2020368"/>
                </a:cubicBezTo>
                <a:close/>
                <a:moveTo>
                  <a:pt x="512199" y="2013705"/>
                </a:moveTo>
                <a:cubicBezTo>
                  <a:pt x="514174" y="2013705"/>
                  <a:pt x="515654" y="2015185"/>
                  <a:pt x="515654" y="2017160"/>
                </a:cubicBezTo>
                <a:cubicBezTo>
                  <a:pt x="515902" y="2018888"/>
                  <a:pt x="514174" y="2020617"/>
                  <a:pt x="512199" y="2020617"/>
                </a:cubicBezTo>
                <a:cubicBezTo>
                  <a:pt x="510224" y="2020617"/>
                  <a:pt x="508496" y="2019137"/>
                  <a:pt x="508496" y="2017160"/>
                </a:cubicBezTo>
                <a:cubicBezTo>
                  <a:pt x="508496" y="2015185"/>
                  <a:pt x="509976" y="2013705"/>
                  <a:pt x="512199" y="2013705"/>
                </a:cubicBezTo>
                <a:close/>
                <a:moveTo>
                  <a:pt x="1583718" y="2009015"/>
                </a:moveTo>
                <a:cubicBezTo>
                  <a:pt x="1584952" y="2009015"/>
                  <a:pt x="1585939" y="2010002"/>
                  <a:pt x="1585939" y="2011236"/>
                </a:cubicBezTo>
                <a:cubicBezTo>
                  <a:pt x="1585939" y="2012470"/>
                  <a:pt x="1584952" y="2013457"/>
                  <a:pt x="1583718" y="2013457"/>
                </a:cubicBezTo>
                <a:cubicBezTo>
                  <a:pt x="1582484" y="2013457"/>
                  <a:pt x="1581497" y="2012470"/>
                  <a:pt x="1581497" y="2011236"/>
                </a:cubicBezTo>
                <a:cubicBezTo>
                  <a:pt x="1581497" y="2010002"/>
                  <a:pt x="1582484" y="2009015"/>
                  <a:pt x="1583718" y="2009015"/>
                </a:cubicBezTo>
                <a:close/>
                <a:moveTo>
                  <a:pt x="1381064" y="2006299"/>
                </a:moveTo>
                <a:cubicBezTo>
                  <a:pt x="1382544" y="2006299"/>
                  <a:pt x="1383780" y="2007533"/>
                  <a:pt x="1383780" y="2009015"/>
                </a:cubicBezTo>
                <a:cubicBezTo>
                  <a:pt x="1383531" y="2010495"/>
                  <a:pt x="1382298" y="2011731"/>
                  <a:pt x="1381064" y="2011731"/>
                </a:cubicBezTo>
                <a:cubicBezTo>
                  <a:pt x="1379582" y="2011731"/>
                  <a:pt x="1378349" y="2010495"/>
                  <a:pt x="1378349" y="2009015"/>
                </a:cubicBezTo>
                <a:cubicBezTo>
                  <a:pt x="1378349" y="2007533"/>
                  <a:pt x="1379582" y="2006299"/>
                  <a:pt x="1381064" y="2006299"/>
                </a:cubicBezTo>
                <a:close/>
                <a:moveTo>
                  <a:pt x="1780944" y="2003583"/>
                </a:moveTo>
                <a:cubicBezTo>
                  <a:pt x="1782671" y="2003583"/>
                  <a:pt x="1783905" y="2005063"/>
                  <a:pt x="1783905" y="2006545"/>
                </a:cubicBezTo>
                <a:cubicBezTo>
                  <a:pt x="1783905" y="2008273"/>
                  <a:pt x="1782671" y="2009507"/>
                  <a:pt x="1780944" y="2009507"/>
                </a:cubicBezTo>
                <a:cubicBezTo>
                  <a:pt x="1779217" y="2009507"/>
                  <a:pt x="1777982" y="2008273"/>
                  <a:pt x="1777982" y="2006545"/>
                </a:cubicBezTo>
                <a:cubicBezTo>
                  <a:pt x="1777982" y="2004816"/>
                  <a:pt x="1779217" y="2003583"/>
                  <a:pt x="1780944" y="2003583"/>
                </a:cubicBezTo>
                <a:close/>
                <a:moveTo>
                  <a:pt x="1164830" y="2001857"/>
                </a:moveTo>
                <a:cubicBezTo>
                  <a:pt x="1165323" y="2001857"/>
                  <a:pt x="1165818" y="2002349"/>
                  <a:pt x="1165818" y="2002844"/>
                </a:cubicBezTo>
                <a:cubicBezTo>
                  <a:pt x="1165818" y="2003337"/>
                  <a:pt x="1165323" y="2003832"/>
                  <a:pt x="1164830" y="2003832"/>
                </a:cubicBezTo>
                <a:cubicBezTo>
                  <a:pt x="1164338" y="2003832"/>
                  <a:pt x="1163843" y="2003337"/>
                  <a:pt x="1163843" y="2002844"/>
                </a:cubicBezTo>
                <a:cubicBezTo>
                  <a:pt x="1163843" y="2002349"/>
                  <a:pt x="1164338" y="2001857"/>
                  <a:pt x="1164830" y="2001857"/>
                </a:cubicBezTo>
                <a:close/>
                <a:moveTo>
                  <a:pt x="2444650" y="1998154"/>
                </a:moveTo>
                <a:cubicBezTo>
                  <a:pt x="2452549" y="1998154"/>
                  <a:pt x="2459214" y="2004819"/>
                  <a:pt x="2459214" y="2012718"/>
                </a:cubicBezTo>
                <a:cubicBezTo>
                  <a:pt x="2459214" y="2020617"/>
                  <a:pt x="2452795" y="2027279"/>
                  <a:pt x="2444650" y="2027279"/>
                </a:cubicBezTo>
                <a:cubicBezTo>
                  <a:pt x="2436505" y="2027279"/>
                  <a:pt x="2430086" y="2020617"/>
                  <a:pt x="2430086" y="2012718"/>
                </a:cubicBezTo>
                <a:cubicBezTo>
                  <a:pt x="2430086" y="2004819"/>
                  <a:pt x="2436505" y="1998154"/>
                  <a:pt x="2444650" y="1998154"/>
                </a:cubicBezTo>
                <a:close/>
                <a:moveTo>
                  <a:pt x="1974437" y="1991735"/>
                </a:moveTo>
                <a:cubicBezTo>
                  <a:pt x="1975918" y="1991735"/>
                  <a:pt x="1977401" y="1992968"/>
                  <a:pt x="1977401" y="1994697"/>
                </a:cubicBezTo>
                <a:cubicBezTo>
                  <a:pt x="1977401" y="1996425"/>
                  <a:pt x="1975918" y="1997659"/>
                  <a:pt x="1974437" y="1997659"/>
                </a:cubicBezTo>
                <a:cubicBezTo>
                  <a:pt x="1972707" y="1997659"/>
                  <a:pt x="1971473" y="1996425"/>
                  <a:pt x="1971473" y="1994697"/>
                </a:cubicBezTo>
                <a:cubicBezTo>
                  <a:pt x="1971473" y="1992968"/>
                  <a:pt x="1972707" y="1991735"/>
                  <a:pt x="1974437" y="1991735"/>
                </a:cubicBezTo>
                <a:close/>
                <a:moveTo>
                  <a:pt x="2904996" y="1983095"/>
                </a:moveTo>
                <a:cubicBezTo>
                  <a:pt x="2913880" y="1983095"/>
                  <a:pt x="2921286" y="1990501"/>
                  <a:pt x="2921286" y="1999387"/>
                </a:cubicBezTo>
                <a:cubicBezTo>
                  <a:pt x="2921286" y="2008520"/>
                  <a:pt x="2913880" y="2015677"/>
                  <a:pt x="2904996" y="2015677"/>
                </a:cubicBezTo>
                <a:cubicBezTo>
                  <a:pt x="2896108" y="2015677"/>
                  <a:pt x="2888704" y="2008273"/>
                  <a:pt x="2888704" y="1999387"/>
                </a:cubicBezTo>
                <a:cubicBezTo>
                  <a:pt x="2888704" y="1990501"/>
                  <a:pt x="2896108" y="1983095"/>
                  <a:pt x="2904996" y="1983095"/>
                </a:cubicBezTo>
                <a:close/>
                <a:moveTo>
                  <a:pt x="624017" y="1982603"/>
                </a:moveTo>
                <a:cubicBezTo>
                  <a:pt x="625745" y="1982603"/>
                  <a:pt x="627225" y="1984083"/>
                  <a:pt x="627225" y="1985811"/>
                </a:cubicBezTo>
                <a:cubicBezTo>
                  <a:pt x="627225" y="1987539"/>
                  <a:pt x="625745" y="1989022"/>
                  <a:pt x="624017" y="1989022"/>
                </a:cubicBezTo>
                <a:cubicBezTo>
                  <a:pt x="622288" y="1989022"/>
                  <a:pt x="620809" y="1987539"/>
                  <a:pt x="620809" y="1985811"/>
                </a:cubicBezTo>
                <a:cubicBezTo>
                  <a:pt x="620809" y="1984083"/>
                  <a:pt x="622288" y="1982603"/>
                  <a:pt x="624017" y="1982603"/>
                </a:cubicBezTo>
                <a:close/>
                <a:moveTo>
                  <a:pt x="54569" y="1982603"/>
                </a:moveTo>
                <a:cubicBezTo>
                  <a:pt x="56049" y="1982603"/>
                  <a:pt x="57285" y="1983837"/>
                  <a:pt x="57285" y="1985319"/>
                </a:cubicBezTo>
                <a:cubicBezTo>
                  <a:pt x="57285" y="1987045"/>
                  <a:pt x="56049" y="1988035"/>
                  <a:pt x="54569" y="1988035"/>
                </a:cubicBezTo>
                <a:cubicBezTo>
                  <a:pt x="53087" y="1988035"/>
                  <a:pt x="51853" y="1986799"/>
                  <a:pt x="51853" y="1985319"/>
                </a:cubicBezTo>
                <a:cubicBezTo>
                  <a:pt x="51853" y="1983837"/>
                  <a:pt x="53087" y="1982603"/>
                  <a:pt x="54569" y="1982603"/>
                </a:cubicBezTo>
                <a:close/>
                <a:moveTo>
                  <a:pt x="952310" y="1981123"/>
                </a:moveTo>
                <a:cubicBezTo>
                  <a:pt x="952803" y="1981123"/>
                  <a:pt x="953049" y="1981369"/>
                  <a:pt x="953049" y="1981864"/>
                </a:cubicBezTo>
                <a:cubicBezTo>
                  <a:pt x="953049" y="1982357"/>
                  <a:pt x="952803" y="1982603"/>
                  <a:pt x="952310" y="1982603"/>
                </a:cubicBezTo>
                <a:cubicBezTo>
                  <a:pt x="952064" y="1982603"/>
                  <a:pt x="951569" y="1982357"/>
                  <a:pt x="951569" y="1981864"/>
                </a:cubicBezTo>
                <a:cubicBezTo>
                  <a:pt x="951569" y="1981369"/>
                  <a:pt x="951815" y="1981123"/>
                  <a:pt x="952310" y="1981123"/>
                </a:cubicBezTo>
                <a:close/>
                <a:moveTo>
                  <a:pt x="2162766" y="1971742"/>
                </a:moveTo>
                <a:cubicBezTo>
                  <a:pt x="2166220" y="1971742"/>
                  <a:pt x="2169182" y="1974704"/>
                  <a:pt x="2169182" y="1978161"/>
                </a:cubicBezTo>
                <a:cubicBezTo>
                  <a:pt x="2168936" y="1981616"/>
                  <a:pt x="2166220" y="1984332"/>
                  <a:pt x="2162766" y="1984332"/>
                </a:cubicBezTo>
                <a:cubicBezTo>
                  <a:pt x="2159309" y="1984332"/>
                  <a:pt x="2156347" y="1981616"/>
                  <a:pt x="2156347" y="1978161"/>
                </a:cubicBezTo>
                <a:cubicBezTo>
                  <a:pt x="2156347" y="1974704"/>
                  <a:pt x="2159309" y="1971742"/>
                  <a:pt x="2162766" y="1971742"/>
                </a:cubicBezTo>
                <a:close/>
                <a:moveTo>
                  <a:pt x="170333" y="1970508"/>
                </a:moveTo>
                <a:cubicBezTo>
                  <a:pt x="171567" y="1970508"/>
                  <a:pt x="172554" y="1971495"/>
                  <a:pt x="172554" y="1972729"/>
                </a:cubicBezTo>
                <a:cubicBezTo>
                  <a:pt x="172554" y="1974211"/>
                  <a:pt x="171567" y="1975199"/>
                  <a:pt x="170333" y="1975199"/>
                </a:cubicBezTo>
                <a:cubicBezTo>
                  <a:pt x="169097" y="1975199"/>
                  <a:pt x="167864" y="1974211"/>
                  <a:pt x="167864" y="1972729"/>
                </a:cubicBezTo>
                <a:cubicBezTo>
                  <a:pt x="167864" y="1971495"/>
                  <a:pt x="168851" y="1970508"/>
                  <a:pt x="170333" y="1970508"/>
                </a:cubicBezTo>
                <a:close/>
                <a:moveTo>
                  <a:pt x="2633973" y="1956932"/>
                </a:moveTo>
                <a:cubicBezTo>
                  <a:pt x="2644093" y="1956932"/>
                  <a:pt x="2652487" y="1965323"/>
                  <a:pt x="2652487" y="1975445"/>
                </a:cubicBezTo>
                <a:cubicBezTo>
                  <a:pt x="2652487" y="1985565"/>
                  <a:pt x="2644093" y="1993959"/>
                  <a:pt x="2633973" y="1993959"/>
                </a:cubicBezTo>
                <a:cubicBezTo>
                  <a:pt x="2623605" y="1993959"/>
                  <a:pt x="2615460" y="1985565"/>
                  <a:pt x="2615460" y="1975445"/>
                </a:cubicBezTo>
                <a:cubicBezTo>
                  <a:pt x="2615460" y="1965077"/>
                  <a:pt x="2623851" y="1956932"/>
                  <a:pt x="2633973" y="1956932"/>
                </a:cubicBezTo>
                <a:close/>
                <a:moveTo>
                  <a:pt x="285110" y="1953229"/>
                </a:moveTo>
                <a:cubicBezTo>
                  <a:pt x="286097" y="1953229"/>
                  <a:pt x="287084" y="1954216"/>
                  <a:pt x="287084" y="1955204"/>
                </a:cubicBezTo>
                <a:cubicBezTo>
                  <a:pt x="287084" y="1956191"/>
                  <a:pt x="286097" y="1957178"/>
                  <a:pt x="285110" y="1957178"/>
                </a:cubicBezTo>
                <a:cubicBezTo>
                  <a:pt x="283876" y="1957178"/>
                  <a:pt x="283135" y="1956191"/>
                  <a:pt x="283135" y="1955204"/>
                </a:cubicBezTo>
                <a:cubicBezTo>
                  <a:pt x="283135" y="1954216"/>
                  <a:pt x="284122" y="1953229"/>
                  <a:pt x="285110" y="1953229"/>
                </a:cubicBezTo>
                <a:close/>
                <a:moveTo>
                  <a:pt x="1267269" y="1947800"/>
                </a:moveTo>
                <a:cubicBezTo>
                  <a:pt x="1267761" y="1947800"/>
                  <a:pt x="1268256" y="1948293"/>
                  <a:pt x="1268256" y="1948788"/>
                </a:cubicBezTo>
                <a:cubicBezTo>
                  <a:pt x="1268256" y="1949529"/>
                  <a:pt x="1267761" y="1949775"/>
                  <a:pt x="1267269" y="1949775"/>
                </a:cubicBezTo>
                <a:cubicBezTo>
                  <a:pt x="1266776" y="1949775"/>
                  <a:pt x="1266281" y="1949280"/>
                  <a:pt x="1266281" y="1948788"/>
                </a:cubicBezTo>
                <a:cubicBezTo>
                  <a:pt x="1266281" y="1948293"/>
                  <a:pt x="1266776" y="1947800"/>
                  <a:pt x="1267269" y="1947800"/>
                </a:cubicBezTo>
                <a:close/>
                <a:moveTo>
                  <a:pt x="734352" y="1946812"/>
                </a:moveTo>
                <a:cubicBezTo>
                  <a:pt x="736080" y="1946812"/>
                  <a:pt x="737314" y="1948046"/>
                  <a:pt x="737314" y="1949774"/>
                </a:cubicBezTo>
                <a:cubicBezTo>
                  <a:pt x="737314" y="1951503"/>
                  <a:pt x="736080" y="1952736"/>
                  <a:pt x="734352" y="1952736"/>
                </a:cubicBezTo>
                <a:cubicBezTo>
                  <a:pt x="732870" y="1952736"/>
                  <a:pt x="731390" y="1951503"/>
                  <a:pt x="731390" y="1949774"/>
                </a:cubicBezTo>
                <a:cubicBezTo>
                  <a:pt x="731390" y="1948046"/>
                  <a:pt x="732624" y="1946812"/>
                  <a:pt x="734352" y="1946812"/>
                </a:cubicBezTo>
                <a:close/>
                <a:moveTo>
                  <a:pt x="1480539" y="1946317"/>
                </a:moveTo>
                <a:cubicBezTo>
                  <a:pt x="1482019" y="1946317"/>
                  <a:pt x="1483006" y="1947304"/>
                  <a:pt x="1483006" y="1948787"/>
                </a:cubicBezTo>
                <a:cubicBezTo>
                  <a:pt x="1483006" y="1950020"/>
                  <a:pt x="1482019" y="1951254"/>
                  <a:pt x="1480539" y="1951254"/>
                </a:cubicBezTo>
                <a:cubicBezTo>
                  <a:pt x="1479303" y="1951254"/>
                  <a:pt x="1478069" y="1950267"/>
                  <a:pt x="1478069" y="1948787"/>
                </a:cubicBezTo>
                <a:cubicBezTo>
                  <a:pt x="1478069" y="1947304"/>
                  <a:pt x="1479057" y="1946317"/>
                  <a:pt x="1480539" y="1946317"/>
                </a:cubicBezTo>
                <a:close/>
                <a:moveTo>
                  <a:pt x="2346658" y="1945579"/>
                </a:moveTo>
                <a:cubicBezTo>
                  <a:pt x="2352582" y="1945579"/>
                  <a:pt x="2357519" y="1950516"/>
                  <a:pt x="2357519" y="1956440"/>
                </a:cubicBezTo>
                <a:cubicBezTo>
                  <a:pt x="2357519" y="1962363"/>
                  <a:pt x="2352828" y="1967300"/>
                  <a:pt x="2346658" y="1967300"/>
                </a:cubicBezTo>
                <a:cubicBezTo>
                  <a:pt x="2340734" y="1967300"/>
                  <a:pt x="2335797" y="1962363"/>
                  <a:pt x="2335797" y="1956440"/>
                </a:cubicBezTo>
                <a:cubicBezTo>
                  <a:pt x="2335797" y="1950516"/>
                  <a:pt x="2340734" y="1945579"/>
                  <a:pt x="2346658" y="1945579"/>
                </a:cubicBezTo>
                <a:close/>
                <a:moveTo>
                  <a:pt x="1679740" y="1943604"/>
                </a:moveTo>
                <a:cubicBezTo>
                  <a:pt x="1680728" y="1943604"/>
                  <a:pt x="1681715" y="1944591"/>
                  <a:pt x="1681715" y="1945579"/>
                </a:cubicBezTo>
                <a:cubicBezTo>
                  <a:pt x="1681961" y="1946812"/>
                  <a:pt x="1680974" y="1947554"/>
                  <a:pt x="1679740" y="1947554"/>
                </a:cubicBezTo>
                <a:cubicBezTo>
                  <a:pt x="1678753" y="1947554"/>
                  <a:pt x="1677766" y="1946566"/>
                  <a:pt x="1677766" y="1945579"/>
                </a:cubicBezTo>
                <a:cubicBezTo>
                  <a:pt x="1677766" y="1944591"/>
                  <a:pt x="1678753" y="1943604"/>
                  <a:pt x="1679740" y="1943604"/>
                </a:cubicBezTo>
                <a:close/>
                <a:moveTo>
                  <a:pt x="2808729" y="1933728"/>
                </a:moveTo>
                <a:cubicBezTo>
                  <a:pt x="2814899" y="1933728"/>
                  <a:pt x="2819836" y="1938665"/>
                  <a:pt x="2819836" y="1944835"/>
                </a:cubicBezTo>
                <a:cubicBezTo>
                  <a:pt x="2819836" y="1950759"/>
                  <a:pt x="2814899" y="1955945"/>
                  <a:pt x="2808729" y="1955945"/>
                </a:cubicBezTo>
                <a:cubicBezTo>
                  <a:pt x="2802559" y="1955945"/>
                  <a:pt x="2797622" y="1951008"/>
                  <a:pt x="2797622" y="1944835"/>
                </a:cubicBezTo>
                <a:cubicBezTo>
                  <a:pt x="2797622" y="1938665"/>
                  <a:pt x="2802559" y="1933728"/>
                  <a:pt x="2808729" y="1933728"/>
                </a:cubicBezTo>
                <a:close/>
                <a:moveTo>
                  <a:pt x="1058203" y="1933482"/>
                </a:moveTo>
                <a:cubicBezTo>
                  <a:pt x="1058695" y="1933482"/>
                  <a:pt x="1058941" y="1933728"/>
                  <a:pt x="1058941" y="1934223"/>
                </a:cubicBezTo>
                <a:cubicBezTo>
                  <a:pt x="1058695" y="1934470"/>
                  <a:pt x="1058449" y="1934962"/>
                  <a:pt x="1058203" y="1934962"/>
                </a:cubicBezTo>
                <a:cubicBezTo>
                  <a:pt x="1057954" y="1934962"/>
                  <a:pt x="1057461" y="1934716"/>
                  <a:pt x="1057461" y="1934223"/>
                </a:cubicBezTo>
                <a:cubicBezTo>
                  <a:pt x="1057461" y="1933728"/>
                  <a:pt x="1057708" y="1933482"/>
                  <a:pt x="1058203" y="1933482"/>
                </a:cubicBezTo>
                <a:close/>
                <a:moveTo>
                  <a:pt x="1873751" y="1932743"/>
                </a:moveTo>
                <a:cubicBezTo>
                  <a:pt x="1875729" y="1932743"/>
                  <a:pt x="1877208" y="1934223"/>
                  <a:pt x="1877208" y="1936198"/>
                </a:cubicBezTo>
                <a:cubicBezTo>
                  <a:pt x="1876962" y="1938175"/>
                  <a:pt x="1875479" y="1939655"/>
                  <a:pt x="1873751" y="1939655"/>
                </a:cubicBezTo>
                <a:cubicBezTo>
                  <a:pt x="1871776" y="1939655"/>
                  <a:pt x="1870294" y="1938175"/>
                  <a:pt x="1870294" y="1936198"/>
                </a:cubicBezTo>
                <a:cubicBezTo>
                  <a:pt x="1870294" y="1934223"/>
                  <a:pt x="1871776" y="1932743"/>
                  <a:pt x="1873751" y="1932743"/>
                </a:cubicBezTo>
                <a:close/>
                <a:moveTo>
                  <a:pt x="399148" y="1930766"/>
                </a:moveTo>
                <a:cubicBezTo>
                  <a:pt x="400135" y="1930766"/>
                  <a:pt x="400874" y="1931507"/>
                  <a:pt x="400874" y="1932494"/>
                </a:cubicBezTo>
                <a:cubicBezTo>
                  <a:pt x="400874" y="1933482"/>
                  <a:pt x="400135" y="1934223"/>
                  <a:pt x="399148" y="1934223"/>
                </a:cubicBezTo>
                <a:cubicBezTo>
                  <a:pt x="398161" y="1934223"/>
                  <a:pt x="397420" y="1933482"/>
                  <a:pt x="397420" y="1932494"/>
                </a:cubicBezTo>
                <a:cubicBezTo>
                  <a:pt x="397420" y="1931507"/>
                  <a:pt x="398161" y="1930766"/>
                  <a:pt x="399148" y="1930766"/>
                </a:cubicBezTo>
                <a:close/>
                <a:moveTo>
                  <a:pt x="2063784" y="1917192"/>
                </a:moveTo>
                <a:cubicBezTo>
                  <a:pt x="2065761" y="1917192"/>
                  <a:pt x="2067241" y="1918672"/>
                  <a:pt x="2067241" y="1920647"/>
                </a:cubicBezTo>
                <a:cubicBezTo>
                  <a:pt x="2067241" y="1922375"/>
                  <a:pt x="2065512" y="1924104"/>
                  <a:pt x="2063784" y="1924104"/>
                </a:cubicBezTo>
                <a:cubicBezTo>
                  <a:pt x="2061809" y="1924104"/>
                  <a:pt x="2060329" y="1922624"/>
                  <a:pt x="2060329" y="1920647"/>
                </a:cubicBezTo>
                <a:cubicBezTo>
                  <a:pt x="2060329" y="1918672"/>
                  <a:pt x="2061809" y="1917192"/>
                  <a:pt x="2063784" y="1917192"/>
                </a:cubicBezTo>
                <a:close/>
                <a:moveTo>
                  <a:pt x="2526597" y="1915217"/>
                </a:moveTo>
                <a:cubicBezTo>
                  <a:pt x="2534990" y="1915217"/>
                  <a:pt x="2541902" y="1922128"/>
                  <a:pt x="2541902" y="1930519"/>
                </a:cubicBezTo>
                <a:cubicBezTo>
                  <a:pt x="2541902" y="1938913"/>
                  <a:pt x="2534990" y="1945824"/>
                  <a:pt x="2526597" y="1945824"/>
                </a:cubicBezTo>
                <a:cubicBezTo>
                  <a:pt x="2518206" y="1945824"/>
                  <a:pt x="2511294" y="1938913"/>
                  <a:pt x="2511294" y="1930519"/>
                </a:cubicBezTo>
                <a:cubicBezTo>
                  <a:pt x="2511294" y="1922128"/>
                  <a:pt x="2518206" y="1915217"/>
                  <a:pt x="2526597" y="1915217"/>
                </a:cubicBezTo>
                <a:close/>
                <a:moveTo>
                  <a:pt x="843209" y="1907073"/>
                </a:moveTo>
                <a:cubicBezTo>
                  <a:pt x="844688" y="1907073"/>
                  <a:pt x="845676" y="1908307"/>
                  <a:pt x="845676" y="1909543"/>
                </a:cubicBezTo>
                <a:cubicBezTo>
                  <a:pt x="845925" y="1910776"/>
                  <a:pt x="844688" y="1912010"/>
                  <a:pt x="843209" y="1912010"/>
                </a:cubicBezTo>
                <a:cubicBezTo>
                  <a:pt x="841727" y="1912010"/>
                  <a:pt x="840493" y="1910776"/>
                  <a:pt x="840493" y="1909543"/>
                </a:cubicBezTo>
                <a:cubicBezTo>
                  <a:pt x="840493" y="1908060"/>
                  <a:pt x="841727" y="1907073"/>
                  <a:pt x="843209" y="1907073"/>
                </a:cubicBezTo>
                <a:close/>
                <a:moveTo>
                  <a:pt x="511949" y="1901395"/>
                </a:moveTo>
                <a:cubicBezTo>
                  <a:pt x="513926" y="1901395"/>
                  <a:pt x="515406" y="1902875"/>
                  <a:pt x="515406" y="1904852"/>
                </a:cubicBezTo>
                <a:cubicBezTo>
                  <a:pt x="515406" y="1906827"/>
                  <a:pt x="513926" y="1908307"/>
                  <a:pt x="511949" y="1908307"/>
                </a:cubicBezTo>
                <a:cubicBezTo>
                  <a:pt x="509974" y="1908307"/>
                  <a:pt x="508494" y="1906827"/>
                  <a:pt x="508494" y="1904852"/>
                </a:cubicBezTo>
                <a:cubicBezTo>
                  <a:pt x="508494" y="1902875"/>
                  <a:pt x="509974" y="1901395"/>
                  <a:pt x="511949" y="1901395"/>
                </a:cubicBezTo>
                <a:close/>
                <a:moveTo>
                  <a:pt x="2980280" y="1893742"/>
                </a:moveTo>
                <a:cubicBezTo>
                  <a:pt x="2989661" y="1893742"/>
                  <a:pt x="2997314" y="1901395"/>
                  <a:pt x="2997314" y="1910773"/>
                </a:cubicBezTo>
                <a:cubicBezTo>
                  <a:pt x="2997314" y="1920154"/>
                  <a:pt x="2989661" y="1927807"/>
                  <a:pt x="2980280" y="1927807"/>
                </a:cubicBezTo>
                <a:cubicBezTo>
                  <a:pt x="2970902" y="1927807"/>
                  <a:pt x="2963249" y="1920154"/>
                  <a:pt x="2963249" y="1910773"/>
                </a:cubicBezTo>
                <a:cubicBezTo>
                  <a:pt x="2963249" y="1901395"/>
                  <a:pt x="2970902" y="1893742"/>
                  <a:pt x="2980280" y="1893742"/>
                </a:cubicBezTo>
                <a:close/>
                <a:moveTo>
                  <a:pt x="2248665" y="1893250"/>
                </a:moveTo>
                <a:cubicBezTo>
                  <a:pt x="2252368" y="1893250"/>
                  <a:pt x="2255576" y="1896212"/>
                  <a:pt x="2255576" y="1899915"/>
                </a:cubicBezTo>
                <a:cubicBezTo>
                  <a:pt x="2255330" y="1903616"/>
                  <a:pt x="2252368" y="1906581"/>
                  <a:pt x="2248665" y="1906581"/>
                </a:cubicBezTo>
                <a:cubicBezTo>
                  <a:pt x="2244961" y="1906581"/>
                  <a:pt x="2241753" y="1903616"/>
                  <a:pt x="2241753" y="1899915"/>
                </a:cubicBezTo>
                <a:cubicBezTo>
                  <a:pt x="2241753" y="1896212"/>
                  <a:pt x="2244715" y="1893250"/>
                  <a:pt x="2248665" y="1893250"/>
                </a:cubicBezTo>
                <a:close/>
                <a:moveTo>
                  <a:pt x="1367732" y="1890039"/>
                </a:moveTo>
                <a:cubicBezTo>
                  <a:pt x="1368225" y="1890039"/>
                  <a:pt x="1368720" y="1890531"/>
                  <a:pt x="1368720" y="1891026"/>
                </a:cubicBezTo>
                <a:cubicBezTo>
                  <a:pt x="1368720" y="1891519"/>
                  <a:pt x="1368225" y="1892014"/>
                  <a:pt x="1367732" y="1892014"/>
                </a:cubicBezTo>
                <a:cubicBezTo>
                  <a:pt x="1366991" y="1892014"/>
                  <a:pt x="1366745" y="1891519"/>
                  <a:pt x="1366745" y="1891026"/>
                </a:cubicBezTo>
                <a:cubicBezTo>
                  <a:pt x="1366745" y="1890531"/>
                  <a:pt x="1367237" y="1890039"/>
                  <a:pt x="1367732" y="1890039"/>
                </a:cubicBezTo>
                <a:close/>
                <a:moveTo>
                  <a:pt x="1577792" y="1882389"/>
                </a:moveTo>
                <a:cubicBezTo>
                  <a:pt x="1579026" y="1882389"/>
                  <a:pt x="1580016" y="1883376"/>
                  <a:pt x="1580016" y="1884610"/>
                </a:cubicBezTo>
                <a:cubicBezTo>
                  <a:pt x="1580016" y="1885844"/>
                  <a:pt x="1579026" y="1886831"/>
                  <a:pt x="1577792" y="1886831"/>
                </a:cubicBezTo>
                <a:cubicBezTo>
                  <a:pt x="1576559" y="1886831"/>
                  <a:pt x="1575571" y="1885844"/>
                  <a:pt x="1575571" y="1884610"/>
                </a:cubicBezTo>
                <a:cubicBezTo>
                  <a:pt x="1575571" y="1883376"/>
                  <a:pt x="1576559" y="1882389"/>
                  <a:pt x="1577792" y="1882389"/>
                </a:cubicBezTo>
                <a:close/>
                <a:moveTo>
                  <a:pt x="1161869" y="1881894"/>
                </a:moveTo>
                <a:cubicBezTo>
                  <a:pt x="1162115" y="1881894"/>
                  <a:pt x="1162361" y="1882140"/>
                  <a:pt x="1162361" y="1882387"/>
                </a:cubicBezTo>
                <a:cubicBezTo>
                  <a:pt x="1162361" y="1882635"/>
                  <a:pt x="1162115" y="1882882"/>
                  <a:pt x="1161869" y="1882882"/>
                </a:cubicBezTo>
                <a:cubicBezTo>
                  <a:pt x="1161620" y="1882882"/>
                  <a:pt x="1161374" y="1882635"/>
                  <a:pt x="1161374" y="1882387"/>
                </a:cubicBezTo>
                <a:cubicBezTo>
                  <a:pt x="1161374" y="1882140"/>
                  <a:pt x="1161620" y="1881894"/>
                  <a:pt x="1161869" y="1881894"/>
                </a:cubicBezTo>
                <a:close/>
                <a:moveTo>
                  <a:pt x="1773533" y="1874983"/>
                </a:moveTo>
                <a:cubicBezTo>
                  <a:pt x="1774521" y="1874983"/>
                  <a:pt x="1775260" y="1875724"/>
                  <a:pt x="1775260" y="1876711"/>
                </a:cubicBezTo>
                <a:cubicBezTo>
                  <a:pt x="1775260" y="1877699"/>
                  <a:pt x="1774521" y="1878440"/>
                  <a:pt x="1773533" y="1878440"/>
                </a:cubicBezTo>
                <a:cubicBezTo>
                  <a:pt x="1772545" y="1878440"/>
                  <a:pt x="1771807" y="1877699"/>
                  <a:pt x="1771807" y="1876711"/>
                </a:cubicBezTo>
                <a:cubicBezTo>
                  <a:pt x="1771807" y="1875724"/>
                  <a:pt x="1772545" y="1874983"/>
                  <a:pt x="1773533" y="1874983"/>
                </a:cubicBezTo>
                <a:close/>
                <a:moveTo>
                  <a:pt x="56293" y="1873500"/>
                </a:moveTo>
                <a:cubicBezTo>
                  <a:pt x="58022" y="1873500"/>
                  <a:pt x="59255" y="1874734"/>
                  <a:pt x="59255" y="1876462"/>
                </a:cubicBezTo>
                <a:cubicBezTo>
                  <a:pt x="59255" y="1877944"/>
                  <a:pt x="57776" y="1879424"/>
                  <a:pt x="56293" y="1879424"/>
                </a:cubicBezTo>
                <a:cubicBezTo>
                  <a:pt x="54565" y="1879424"/>
                  <a:pt x="53331" y="1877944"/>
                  <a:pt x="53331" y="1876462"/>
                </a:cubicBezTo>
                <a:cubicBezTo>
                  <a:pt x="53331" y="1874734"/>
                  <a:pt x="54565" y="1873500"/>
                  <a:pt x="56293" y="1873500"/>
                </a:cubicBezTo>
                <a:close/>
                <a:moveTo>
                  <a:pt x="2712712" y="1870046"/>
                </a:moveTo>
                <a:cubicBezTo>
                  <a:pt x="2723573" y="1870046"/>
                  <a:pt x="2732213" y="1878686"/>
                  <a:pt x="2732213" y="1889547"/>
                </a:cubicBezTo>
                <a:cubicBezTo>
                  <a:pt x="2732213" y="1900162"/>
                  <a:pt x="2723327" y="1909045"/>
                  <a:pt x="2712712" y="1909045"/>
                </a:cubicBezTo>
                <a:cubicBezTo>
                  <a:pt x="2701851" y="1909045"/>
                  <a:pt x="2693211" y="1900162"/>
                  <a:pt x="2693211" y="1889547"/>
                </a:cubicBezTo>
                <a:cubicBezTo>
                  <a:pt x="2693211" y="1878686"/>
                  <a:pt x="2702097" y="1870046"/>
                  <a:pt x="2712712" y="1870046"/>
                </a:cubicBezTo>
                <a:close/>
                <a:moveTo>
                  <a:pt x="623523" y="1869059"/>
                </a:moveTo>
                <a:cubicBezTo>
                  <a:pt x="625251" y="1869059"/>
                  <a:pt x="626731" y="1870539"/>
                  <a:pt x="626731" y="1872267"/>
                </a:cubicBezTo>
                <a:cubicBezTo>
                  <a:pt x="626731" y="1873995"/>
                  <a:pt x="625251" y="1875478"/>
                  <a:pt x="623523" y="1875478"/>
                </a:cubicBezTo>
                <a:cubicBezTo>
                  <a:pt x="621795" y="1875478"/>
                  <a:pt x="620315" y="1873995"/>
                  <a:pt x="620315" y="1872267"/>
                </a:cubicBezTo>
                <a:cubicBezTo>
                  <a:pt x="620315" y="1870539"/>
                  <a:pt x="621795" y="1869059"/>
                  <a:pt x="623523" y="1869059"/>
                </a:cubicBezTo>
                <a:close/>
                <a:moveTo>
                  <a:pt x="2429345" y="1863135"/>
                </a:moveTo>
                <a:cubicBezTo>
                  <a:pt x="2435761" y="1863135"/>
                  <a:pt x="2440947" y="1868318"/>
                  <a:pt x="2440947" y="1874737"/>
                </a:cubicBezTo>
                <a:cubicBezTo>
                  <a:pt x="2440947" y="1881153"/>
                  <a:pt x="2435761" y="1886339"/>
                  <a:pt x="2429345" y="1886339"/>
                </a:cubicBezTo>
                <a:cubicBezTo>
                  <a:pt x="2422926" y="1886339"/>
                  <a:pt x="2417743" y="1881153"/>
                  <a:pt x="2417743" y="1874737"/>
                </a:cubicBezTo>
                <a:cubicBezTo>
                  <a:pt x="2417743" y="1868318"/>
                  <a:pt x="2422926" y="1863135"/>
                  <a:pt x="2429345" y="1863135"/>
                </a:cubicBezTo>
                <a:close/>
                <a:moveTo>
                  <a:pt x="950334" y="1862147"/>
                </a:moveTo>
                <a:cubicBezTo>
                  <a:pt x="951568" y="1862147"/>
                  <a:pt x="952558" y="1863134"/>
                  <a:pt x="952558" y="1864368"/>
                </a:cubicBezTo>
                <a:cubicBezTo>
                  <a:pt x="952558" y="1865604"/>
                  <a:pt x="951568" y="1866589"/>
                  <a:pt x="950334" y="1866589"/>
                </a:cubicBezTo>
                <a:cubicBezTo>
                  <a:pt x="949101" y="1866589"/>
                  <a:pt x="948113" y="1865604"/>
                  <a:pt x="948113" y="1864368"/>
                </a:cubicBezTo>
                <a:cubicBezTo>
                  <a:pt x="948113" y="1863134"/>
                  <a:pt x="949101" y="1862147"/>
                  <a:pt x="950334" y="1862147"/>
                </a:cubicBezTo>
                <a:close/>
                <a:moveTo>
                  <a:pt x="1963828" y="1861406"/>
                </a:moveTo>
                <a:cubicBezTo>
                  <a:pt x="1964813" y="1861406"/>
                  <a:pt x="1965306" y="1862147"/>
                  <a:pt x="1965306" y="1862886"/>
                </a:cubicBezTo>
                <a:cubicBezTo>
                  <a:pt x="1965552" y="1863876"/>
                  <a:pt x="1964813" y="1864614"/>
                  <a:pt x="1963828" y="1864614"/>
                </a:cubicBezTo>
                <a:cubicBezTo>
                  <a:pt x="1962842" y="1864614"/>
                  <a:pt x="1962102" y="1863876"/>
                  <a:pt x="1962102" y="1862886"/>
                </a:cubicBezTo>
                <a:cubicBezTo>
                  <a:pt x="1962102" y="1861898"/>
                  <a:pt x="1962842" y="1861406"/>
                  <a:pt x="1963828" y="1861406"/>
                </a:cubicBezTo>
                <a:close/>
                <a:moveTo>
                  <a:pt x="171814" y="1859927"/>
                </a:moveTo>
                <a:cubicBezTo>
                  <a:pt x="173293" y="1859927"/>
                  <a:pt x="174776" y="1861160"/>
                  <a:pt x="174776" y="1862889"/>
                </a:cubicBezTo>
                <a:cubicBezTo>
                  <a:pt x="174530" y="1864617"/>
                  <a:pt x="173293" y="1865851"/>
                  <a:pt x="171814" y="1865851"/>
                </a:cubicBezTo>
                <a:cubicBezTo>
                  <a:pt x="170332" y="1865851"/>
                  <a:pt x="168852" y="1864617"/>
                  <a:pt x="168852" y="1862889"/>
                </a:cubicBezTo>
                <a:cubicBezTo>
                  <a:pt x="168852" y="1861407"/>
                  <a:pt x="170086" y="1859927"/>
                  <a:pt x="171814" y="1859927"/>
                </a:cubicBezTo>
                <a:close/>
                <a:moveTo>
                  <a:pt x="2884508" y="1844129"/>
                </a:moveTo>
                <a:cubicBezTo>
                  <a:pt x="2891173" y="1844129"/>
                  <a:pt x="2896605" y="1849561"/>
                  <a:pt x="2896605" y="1856223"/>
                </a:cubicBezTo>
                <a:cubicBezTo>
                  <a:pt x="2896605" y="1862888"/>
                  <a:pt x="2891173" y="1868320"/>
                  <a:pt x="2884508" y="1868320"/>
                </a:cubicBezTo>
                <a:cubicBezTo>
                  <a:pt x="2877846" y="1868320"/>
                  <a:pt x="2872414" y="1862888"/>
                  <a:pt x="2872414" y="1856223"/>
                </a:cubicBezTo>
                <a:cubicBezTo>
                  <a:pt x="2872414" y="1849561"/>
                  <a:pt x="2877846" y="1844129"/>
                  <a:pt x="2884508" y="1844129"/>
                </a:cubicBezTo>
                <a:close/>
                <a:moveTo>
                  <a:pt x="286591" y="1841906"/>
                </a:moveTo>
                <a:cubicBezTo>
                  <a:pt x="288071" y="1841906"/>
                  <a:pt x="289307" y="1843140"/>
                  <a:pt x="289307" y="1844622"/>
                </a:cubicBezTo>
                <a:cubicBezTo>
                  <a:pt x="289307" y="1846102"/>
                  <a:pt x="288071" y="1847338"/>
                  <a:pt x="286591" y="1847338"/>
                </a:cubicBezTo>
                <a:cubicBezTo>
                  <a:pt x="285109" y="1847338"/>
                  <a:pt x="283876" y="1846102"/>
                  <a:pt x="283876" y="1844622"/>
                </a:cubicBezTo>
                <a:cubicBezTo>
                  <a:pt x="283876" y="1843140"/>
                  <a:pt x="285109" y="1841906"/>
                  <a:pt x="286591" y="1841906"/>
                </a:cubicBezTo>
                <a:close/>
                <a:moveTo>
                  <a:pt x="2150424" y="1838944"/>
                </a:moveTo>
                <a:cubicBezTo>
                  <a:pt x="2152647" y="1838944"/>
                  <a:pt x="2154619" y="1840919"/>
                  <a:pt x="2154619" y="1843140"/>
                </a:cubicBezTo>
                <a:cubicBezTo>
                  <a:pt x="2154619" y="1845363"/>
                  <a:pt x="2152647" y="1847335"/>
                  <a:pt x="2150424" y="1847335"/>
                </a:cubicBezTo>
                <a:cubicBezTo>
                  <a:pt x="2148203" y="1847335"/>
                  <a:pt x="2146228" y="1845363"/>
                  <a:pt x="2146228" y="1843140"/>
                </a:cubicBezTo>
                <a:cubicBezTo>
                  <a:pt x="2146228" y="1840919"/>
                  <a:pt x="2148203" y="1838944"/>
                  <a:pt x="2150424" y="1838944"/>
                </a:cubicBezTo>
                <a:close/>
                <a:moveTo>
                  <a:pt x="733609" y="1832032"/>
                </a:moveTo>
                <a:cubicBezTo>
                  <a:pt x="735092" y="1832032"/>
                  <a:pt x="736572" y="1833266"/>
                  <a:pt x="736572" y="1834748"/>
                </a:cubicBezTo>
                <a:cubicBezTo>
                  <a:pt x="736325" y="1836474"/>
                  <a:pt x="735092" y="1837710"/>
                  <a:pt x="733609" y="1837710"/>
                </a:cubicBezTo>
                <a:cubicBezTo>
                  <a:pt x="732127" y="1837710"/>
                  <a:pt x="730647" y="1836474"/>
                  <a:pt x="730647" y="1834748"/>
                </a:cubicBezTo>
                <a:cubicBezTo>
                  <a:pt x="730647" y="1833266"/>
                  <a:pt x="731881" y="1832032"/>
                  <a:pt x="733609" y="1832032"/>
                </a:cubicBezTo>
                <a:close/>
                <a:moveTo>
                  <a:pt x="2605830" y="1829565"/>
                </a:moveTo>
                <a:cubicBezTo>
                  <a:pt x="2614716" y="1829565"/>
                  <a:pt x="2621876" y="1836723"/>
                  <a:pt x="2621876" y="1845857"/>
                </a:cubicBezTo>
                <a:cubicBezTo>
                  <a:pt x="2622122" y="1854743"/>
                  <a:pt x="2614965" y="1862147"/>
                  <a:pt x="2605830" y="1862147"/>
                </a:cubicBezTo>
                <a:cubicBezTo>
                  <a:pt x="2596944" y="1862147"/>
                  <a:pt x="2589540" y="1854743"/>
                  <a:pt x="2589540" y="1845857"/>
                </a:cubicBezTo>
                <a:cubicBezTo>
                  <a:pt x="2589540" y="1836971"/>
                  <a:pt x="2596698" y="1829565"/>
                  <a:pt x="2605830" y="1829565"/>
                </a:cubicBezTo>
                <a:close/>
                <a:moveTo>
                  <a:pt x="1465727" y="1827837"/>
                </a:moveTo>
                <a:cubicBezTo>
                  <a:pt x="1466468" y="1827837"/>
                  <a:pt x="1466963" y="1828329"/>
                  <a:pt x="1466963" y="1829071"/>
                </a:cubicBezTo>
                <a:cubicBezTo>
                  <a:pt x="1466963" y="1829812"/>
                  <a:pt x="1466468" y="1830304"/>
                  <a:pt x="1465727" y="1830304"/>
                </a:cubicBezTo>
                <a:cubicBezTo>
                  <a:pt x="1464988" y="1830304"/>
                  <a:pt x="1464493" y="1829812"/>
                  <a:pt x="1464493" y="1829071"/>
                </a:cubicBezTo>
                <a:cubicBezTo>
                  <a:pt x="1464493" y="1828329"/>
                  <a:pt x="1464988" y="1827837"/>
                  <a:pt x="1465727" y="1827837"/>
                </a:cubicBezTo>
                <a:close/>
                <a:moveTo>
                  <a:pt x="1263318" y="1825862"/>
                </a:moveTo>
                <a:cubicBezTo>
                  <a:pt x="1263564" y="1825862"/>
                  <a:pt x="1263810" y="1826108"/>
                  <a:pt x="1263810" y="1826357"/>
                </a:cubicBezTo>
                <a:cubicBezTo>
                  <a:pt x="1264056" y="1826603"/>
                  <a:pt x="1263810" y="1826849"/>
                  <a:pt x="1263318" y="1826849"/>
                </a:cubicBezTo>
                <a:cubicBezTo>
                  <a:pt x="1263069" y="1826849"/>
                  <a:pt x="1262823" y="1826603"/>
                  <a:pt x="1262823" y="1826357"/>
                </a:cubicBezTo>
                <a:cubicBezTo>
                  <a:pt x="1262823" y="1826108"/>
                  <a:pt x="1263069" y="1825862"/>
                  <a:pt x="1263318" y="1825862"/>
                </a:cubicBezTo>
                <a:close/>
                <a:moveTo>
                  <a:pt x="400380" y="1818458"/>
                </a:moveTo>
                <a:cubicBezTo>
                  <a:pt x="401863" y="1818458"/>
                  <a:pt x="402850" y="1819692"/>
                  <a:pt x="402850" y="1820928"/>
                </a:cubicBezTo>
                <a:cubicBezTo>
                  <a:pt x="403096" y="1822161"/>
                  <a:pt x="401863" y="1823395"/>
                  <a:pt x="400380" y="1823395"/>
                </a:cubicBezTo>
                <a:cubicBezTo>
                  <a:pt x="398901" y="1823395"/>
                  <a:pt x="397913" y="1822161"/>
                  <a:pt x="397913" y="1820928"/>
                </a:cubicBezTo>
                <a:cubicBezTo>
                  <a:pt x="397913" y="1819445"/>
                  <a:pt x="399147" y="1818458"/>
                  <a:pt x="400380" y="1818458"/>
                </a:cubicBezTo>
                <a:close/>
                <a:moveTo>
                  <a:pt x="1672580" y="1815001"/>
                </a:moveTo>
                <a:cubicBezTo>
                  <a:pt x="1673813" y="1815001"/>
                  <a:pt x="1674554" y="1815988"/>
                  <a:pt x="1674554" y="1816976"/>
                </a:cubicBezTo>
                <a:cubicBezTo>
                  <a:pt x="1674554" y="1817963"/>
                  <a:pt x="1673813" y="1818950"/>
                  <a:pt x="1672580" y="1818950"/>
                </a:cubicBezTo>
                <a:cubicBezTo>
                  <a:pt x="1671346" y="1818950"/>
                  <a:pt x="1670605" y="1817963"/>
                  <a:pt x="1670605" y="1816976"/>
                </a:cubicBezTo>
                <a:cubicBezTo>
                  <a:pt x="1670605" y="1815742"/>
                  <a:pt x="1671592" y="1815001"/>
                  <a:pt x="1672580" y="1815001"/>
                </a:cubicBezTo>
                <a:close/>
                <a:moveTo>
                  <a:pt x="1055237" y="1812780"/>
                </a:moveTo>
                <a:cubicBezTo>
                  <a:pt x="1056224" y="1812780"/>
                  <a:pt x="1057211" y="1813767"/>
                  <a:pt x="1057211" y="1814755"/>
                </a:cubicBezTo>
                <a:cubicBezTo>
                  <a:pt x="1057211" y="1815988"/>
                  <a:pt x="1056470" y="1816729"/>
                  <a:pt x="1055237" y="1816729"/>
                </a:cubicBezTo>
                <a:cubicBezTo>
                  <a:pt x="1054249" y="1816729"/>
                  <a:pt x="1053262" y="1815742"/>
                  <a:pt x="1053262" y="1814755"/>
                </a:cubicBezTo>
                <a:cubicBezTo>
                  <a:pt x="1053262" y="1813767"/>
                  <a:pt x="1054249" y="1812780"/>
                  <a:pt x="1055237" y="1812780"/>
                </a:cubicBezTo>
                <a:close/>
                <a:moveTo>
                  <a:pt x="2331849" y="1811298"/>
                </a:moveTo>
                <a:cubicBezTo>
                  <a:pt x="2336045" y="1811298"/>
                  <a:pt x="2339499" y="1814755"/>
                  <a:pt x="2339499" y="1818950"/>
                </a:cubicBezTo>
                <a:cubicBezTo>
                  <a:pt x="2339748" y="1823146"/>
                  <a:pt x="2336291" y="1826600"/>
                  <a:pt x="2331849" y="1826600"/>
                </a:cubicBezTo>
                <a:cubicBezTo>
                  <a:pt x="2327651" y="1826600"/>
                  <a:pt x="2324197" y="1823146"/>
                  <a:pt x="2324197" y="1818950"/>
                </a:cubicBezTo>
                <a:cubicBezTo>
                  <a:pt x="2324197" y="1814755"/>
                  <a:pt x="2327651" y="1811298"/>
                  <a:pt x="2331849" y="1811298"/>
                </a:cubicBezTo>
                <a:close/>
                <a:moveTo>
                  <a:pt x="1864864" y="1802661"/>
                </a:moveTo>
                <a:cubicBezTo>
                  <a:pt x="1865854" y="1802661"/>
                  <a:pt x="1866346" y="1803402"/>
                  <a:pt x="1866346" y="1804389"/>
                </a:cubicBezTo>
                <a:cubicBezTo>
                  <a:pt x="1866346" y="1805131"/>
                  <a:pt x="1865606" y="1805869"/>
                  <a:pt x="1864864" y="1805869"/>
                </a:cubicBezTo>
                <a:cubicBezTo>
                  <a:pt x="1863880" y="1805869"/>
                  <a:pt x="1863385" y="1805131"/>
                  <a:pt x="1863385" y="1804389"/>
                </a:cubicBezTo>
                <a:cubicBezTo>
                  <a:pt x="1863385" y="1803402"/>
                  <a:pt x="1864126" y="1802661"/>
                  <a:pt x="1864864" y="1802661"/>
                </a:cubicBezTo>
                <a:close/>
                <a:moveTo>
                  <a:pt x="3052850" y="1802166"/>
                </a:moveTo>
                <a:cubicBezTo>
                  <a:pt x="3062723" y="1802166"/>
                  <a:pt x="3070622" y="1810065"/>
                  <a:pt x="3070622" y="1819938"/>
                </a:cubicBezTo>
                <a:cubicBezTo>
                  <a:pt x="3070622" y="1829565"/>
                  <a:pt x="3062723" y="1837710"/>
                  <a:pt x="3052850" y="1837710"/>
                </a:cubicBezTo>
                <a:cubicBezTo>
                  <a:pt x="3042977" y="1837710"/>
                  <a:pt x="3035078" y="1829811"/>
                  <a:pt x="3035078" y="1819938"/>
                </a:cubicBezTo>
                <a:cubicBezTo>
                  <a:pt x="3035078" y="1810065"/>
                  <a:pt x="3042977" y="1802166"/>
                  <a:pt x="3052850" y="1802166"/>
                </a:cubicBezTo>
                <a:close/>
                <a:moveTo>
                  <a:pt x="841725" y="1790072"/>
                </a:moveTo>
                <a:cubicBezTo>
                  <a:pt x="843223" y="1790072"/>
                  <a:pt x="844441" y="1791287"/>
                  <a:pt x="844441" y="1792788"/>
                </a:cubicBezTo>
                <a:cubicBezTo>
                  <a:pt x="844441" y="1794286"/>
                  <a:pt x="843223" y="1795501"/>
                  <a:pt x="841725" y="1795501"/>
                </a:cubicBezTo>
                <a:cubicBezTo>
                  <a:pt x="840225" y="1795501"/>
                  <a:pt x="839009" y="1794286"/>
                  <a:pt x="839009" y="1792788"/>
                </a:cubicBezTo>
                <a:cubicBezTo>
                  <a:pt x="839009" y="1791287"/>
                  <a:pt x="840225" y="1790072"/>
                  <a:pt x="841725" y="1790072"/>
                </a:cubicBezTo>
                <a:close/>
                <a:moveTo>
                  <a:pt x="513186" y="1789331"/>
                </a:moveTo>
                <a:cubicBezTo>
                  <a:pt x="514419" y="1789331"/>
                  <a:pt x="515653" y="1790318"/>
                  <a:pt x="515653" y="1791798"/>
                </a:cubicBezTo>
                <a:cubicBezTo>
                  <a:pt x="515653" y="1793280"/>
                  <a:pt x="514419" y="1794268"/>
                  <a:pt x="513186" y="1794268"/>
                </a:cubicBezTo>
                <a:cubicBezTo>
                  <a:pt x="511949" y="1794268"/>
                  <a:pt x="510716" y="1793280"/>
                  <a:pt x="510716" y="1791798"/>
                </a:cubicBezTo>
                <a:cubicBezTo>
                  <a:pt x="510716" y="1790565"/>
                  <a:pt x="511703" y="1789331"/>
                  <a:pt x="513186" y="1789331"/>
                </a:cubicBezTo>
                <a:close/>
                <a:moveTo>
                  <a:pt x="2051444" y="1784394"/>
                </a:moveTo>
                <a:cubicBezTo>
                  <a:pt x="2052431" y="1784394"/>
                  <a:pt x="2053418" y="1785381"/>
                  <a:pt x="2053418" y="1786369"/>
                </a:cubicBezTo>
                <a:cubicBezTo>
                  <a:pt x="2053418" y="1787602"/>
                  <a:pt x="2052677" y="1788343"/>
                  <a:pt x="2051444" y="1788343"/>
                </a:cubicBezTo>
                <a:cubicBezTo>
                  <a:pt x="2050456" y="1788343"/>
                  <a:pt x="2049469" y="1787356"/>
                  <a:pt x="2049469" y="1786369"/>
                </a:cubicBezTo>
                <a:cubicBezTo>
                  <a:pt x="2049469" y="1785381"/>
                  <a:pt x="2050456" y="1784394"/>
                  <a:pt x="2051444" y="1784394"/>
                </a:cubicBezTo>
                <a:close/>
                <a:moveTo>
                  <a:pt x="2788736" y="1780939"/>
                </a:moveTo>
                <a:cubicBezTo>
                  <a:pt x="2800089" y="1780939"/>
                  <a:pt x="2809224" y="1790071"/>
                  <a:pt x="2809224" y="1801427"/>
                </a:cubicBezTo>
                <a:cubicBezTo>
                  <a:pt x="2809224" y="1812780"/>
                  <a:pt x="2800089" y="1821915"/>
                  <a:pt x="2788736" y="1821915"/>
                </a:cubicBezTo>
                <a:cubicBezTo>
                  <a:pt x="2777380" y="1821915"/>
                  <a:pt x="2768248" y="1812780"/>
                  <a:pt x="2768248" y="1801427"/>
                </a:cubicBezTo>
                <a:cubicBezTo>
                  <a:pt x="2768248" y="1790071"/>
                  <a:pt x="2777380" y="1780939"/>
                  <a:pt x="2788736" y="1780939"/>
                </a:cubicBezTo>
                <a:close/>
                <a:moveTo>
                  <a:pt x="2509322" y="1778470"/>
                </a:moveTo>
                <a:cubicBezTo>
                  <a:pt x="2516231" y="1778470"/>
                  <a:pt x="2521662" y="1784148"/>
                  <a:pt x="2521662" y="1790813"/>
                </a:cubicBezTo>
                <a:cubicBezTo>
                  <a:pt x="2521662" y="1797475"/>
                  <a:pt x="2516231" y="1803153"/>
                  <a:pt x="2509322" y="1803153"/>
                </a:cubicBezTo>
                <a:cubicBezTo>
                  <a:pt x="2502411" y="1803153"/>
                  <a:pt x="2496979" y="1797722"/>
                  <a:pt x="2496979" y="1790813"/>
                </a:cubicBezTo>
                <a:cubicBezTo>
                  <a:pt x="2496979" y="1783902"/>
                  <a:pt x="2502657" y="1778470"/>
                  <a:pt x="2509322" y="1778470"/>
                </a:cubicBezTo>
                <a:close/>
                <a:moveTo>
                  <a:pt x="1362794" y="1765883"/>
                </a:moveTo>
                <a:cubicBezTo>
                  <a:pt x="1363040" y="1765883"/>
                  <a:pt x="1363286" y="1766129"/>
                  <a:pt x="1363286" y="1766375"/>
                </a:cubicBezTo>
                <a:cubicBezTo>
                  <a:pt x="1363286" y="1766624"/>
                  <a:pt x="1363040" y="1766870"/>
                  <a:pt x="1362794" y="1766870"/>
                </a:cubicBezTo>
                <a:cubicBezTo>
                  <a:pt x="1362545" y="1766870"/>
                  <a:pt x="1362299" y="1766624"/>
                  <a:pt x="1362299" y="1766375"/>
                </a:cubicBezTo>
                <a:cubicBezTo>
                  <a:pt x="1362299" y="1766129"/>
                  <a:pt x="1362545" y="1765883"/>
                  <a:pt x="1362794" y="1765883"/>
                </a:cubicBezTo>
                <a:close/>
                <a:moveTo>
                  <a:pt x="56540" y="1762672"/>
                </a:moveTo>
                <a:cubicBezTo>
                  <a:pt x="59256" y="1762672"/>
                  <a:pt x="61230" y="1764893"/>
                  <a:pt x="61230" y="1767362"/>
                </a:cubicBezTo>
                <a:cubicBezTo>
                  <a:pt x="61230" y="1769829"/>
                  <a:pt x="59256" y="1772053"/>
                  <a:pt x="56540" y="1772053"/>
                </a:cubicBezTo>
                <a:cubicBezTo>
                  <a:pt x="53824" y="1772053"/>
                  <a:pt x="51850" y="1769829"/>
                  <a:pt x="51850" y="1767362"/>
                </a:cubicBezTo>
                <a:cubicBezTo>
                  <a:pt x="51850" y="1764647"/>
                  <a:pt x="54071" y="1762672"/>
                  <a:pt x="56540" y="1762672"/>
                </a:cubicBezTo>
                <a:close/>
                <a:moveTo>
                  <a:pt x="1561254" y="1762426"/>
                </a:moveTo>
                <a:cubicBezTo>
                  <a:pt x="1561995" y="1762426"/>
                  <a:pt x="1562488" y="1762921"/>
                  <a:pt x="1562488" y="1763660"/>
                </a:cubicBezTo>
                <a:cubicBezTo>
                  <a:pt x="1562488" y="1764401"/>
                  <a:pt x="1561995" y="1764896"/>
                  <a:pt x="1561254" y="1764896"/>
                </a:cubicBezTo>
                <a:cubicBezTo>
                  <a:pt x="1560513" y="1764896"/>
                  <a:pt x="1560021" y="1764401"/>
                  <a:pt x="1560021" y="1763660"/>
                </a:cubicBezTo>
                <a:cubicBezTo>
                  <a:pt x="1560021" y="1762921"/>
                  <a:pt x="1560513" y="1762426"/>
                  <a:pt x="1561254" y="1762426"/>
                </a:cubicBezTo>
                <a:close/>
                <a:moveTo>
                  <a:pt x="1158165" y="1759218"/>
                </a:moveTo>
                <a:cubicBezTo>
                  <a:pt x="1159152" y="1759218"/>
                  <a:pt x="1159891" y="1759959"/>
                  <a:pt x="1159891" y="1760946"/>
                </a:cubicBezTo>
                <a:cubicBezTo>
                  <a:pt x="1159891" y="1761934"/>
                  <a:pt x="1159152" y="1762672"/>
                  <a:pt x="1158165" y="1762672"/>
                </a:cubicBezTo>
                <a:cubicBezTo>
                  <a:pt x="1157178" y="1762672"/>
                  <a:pt x="1156683" y="1761934"/>
                  <a:pt x="1156683" y="1760946"/>
                </a:cubicBezTo>
                <a:cubicBezTo>
                  <a:pt x="1156683" y="1759959"/>
                  <a:pt x="1157424" y="1759218"/>
                  <a:pt x="1158165" y="1759218"/>
                </a:cubicBezTo>
                <a:close/>
                <a:moveTo>
                  <a:pt x="2234595" y="1758231"/>
                </a:moveTo>
                <a:cubicBezTo>
                  <a:pt x="2237309" y="1758231"/>
                  <a:pt x="2239286" y="1760452"/>
                  <a:pt x="2239286" y="1762921"/>
                </a:cubicBezTo>
                <a:cubicBezTo>
                  <a:pt x="2239286" y="1765388"/>
                  <a:pt x="2237062" y="1767612"/>
                  <a:pt x="2234595" y="1767612"/>
                </a:cubicBezTo>
                <a:cubicBezTo>
                  <a:pt x="2231880" y="1767612"/>
                  <a:pt x="2229905" y="1765634"/>
                  <a:pt x="2229905" y="1762921"/>
                </a:cubicBezTo>
                <a:cubicBezTo>
                  <a:pt x="2229905" y="1760452"/>
                  <a:pt x="2232126" y="1758231"/>
                  <a:pt x="2234595" y="1758231"/>
                </a:cubicBezTo>
                <a:close/>
                <a:moveTo>
                  <a:pt x="624262" y="1755761"/>
                </a:moveTo>
                <a:cubicBezTo>
                  <a:pt x="625496" y="1755761"/>
                  <a:pt x="626483" y="1756748"/>
                  <a:pt x="626483" y="1757982"/>
                </a:cubicBezTo>
                <a:cubicBezTo>
                  <a:pt x="626732" y="1759218"/>
                  <a:pt x="625496" y="1760203"/>
                  <a:pt x="624262" y="1760203"/>
                </a:cubicBezTo>
                <a:cubicBezTo>
                  <a:pt x="623028" y="1760203"/>
                  <a:pt x="622041" y="1759218"/>
                  <a:pt x="622041" y="1757982"/>
                </a:cubicBezTo>
                <a:cubicBezTo>
                  <a:pt x="622041" y="1756748"/>
                  <a:pt x="623028" y="1755761"/>
                  <a:pt x="624262" y="1755761"/>
                </a:cubicBezTo>
                <a:close/>
                <a:moveTo>
                  <a:pt x="2957571" y="1752553"/>
                </a:moveTo>
                <a:cubicBezTo>
                  <a:pt x="2964731" y="1752553"/>
                  <a:pt x="2970655" y="1758477"/>
                  <a:pt x="2970655" y="1765635"/>
                </a:cubicBezTo>
                <a:cubicBezTo>
                  <a:pt x="2970655" y="1772795"/>
                  <a:pt x="2964731" y="1778716"/>
                  <a:pt x="2957571" y="1778716"/>
                </a:cubicBezTo>
                <a:cubicBezTo>
                  <a:pt x="2950413" y="1778716"/>
                  <a:pt x="2944489" y="1772795"/>
                  <a:pt x="2944489" y="1765635"/>
                </a:cubicBezTo>
                <a:cubicBezTo>
                  <a:pt x="2944489" y="1758477"/>
                  <a:pt x="2950413" y="1752553"/>
                  <a:pt x="2957571" y="1752553"/>
                </a:cubicBezTo>
                <a:close/>
                <a:moveTo>
                  <a:pt x="172058" y="1747862"/>
                </a:moveTo>
                <a:cubicBezTo>
                  <a:pt x="175020" y="1747862"/>
                  <a:pt x="177488" y="1750332"/>
                  <a:pt x="177488" y="1753294"/>
                </a:cubicBezTo>
                <a:cubicBezTo>
                  <a:pt x="177488" y="1756253"/>
                  <a:pt x="175267" y="1758723"/>
                  <a:pt x="172058" y="1758723"/>
                </a:cubicBezTo>
                <a:cubicBezTo>
                  <a:pt x="169096" y="1758723"/>
                  <a:pt x="166627" y="1756253"/>
                  <a:pt x="166627" y="1753294"/>
                </a:cubicBezTo>
                <a:cubicBezTo>
                  <a:pt x="166627" y="1750332"/>
                  <a:pt x="169096" y="1747862"/>
                  <a:pt x="172058" y="1747862"/>
                </a:cubicBezTo>
                <a:close/>
                <a:moveTo>
                  <a:pt x="1764894" y="1743913"/>
                </a:moveTo>
                <a:cubicBezTo>
                  <a:pt x="1765882" y="1743913"/>
                  <a:pt x="1766621" y="1744654"/>
                  <a:pt x="1766621" y="1745888"/>
                </a:cubicBezTo>
                <a:cubicBezTo>
                  <a:pt x="1766621" y="1746875"/>
                  <a:pt x="1765882" y="1747617"/>
                  <a:pt x="1764894" y="1747617"/>
                </a:cubicBezTo>
                <a:cubicBezTo>
                  <a:pt x="1763906" y="1747617"/>
                  <a:pt x="1763165" y="1746875"/>
                  <a:pt x="1763165" y="1745888"/>
                </a:cubicBezTo>
                <a:cubicBezTo>
                  <a:pt x="1763165" y="1744901"/>
                  <a:pt x="1763906" y="1743913"/>
                  <a:pt x="1764894" y="1743913"/>
                </a:cubicBezTo>
                <a:close/>
                <a:moveTo>
                  <a:pt x="948111" y="1743421"/>
                </a:moveTo>
                <a:cubicBezTo>
                  <a:pt x="949591" y="1743421"/>
                  <a:pt x="950827" y="1744655"/>
                  <a:pt x="950827" y="1746137"/>
                </a:cubicBezTo>
                <a:cubicBezTo>
                  <a:pt x="950827" y="1747617"/>
                  <a:pt x="949591" y="1748853"/>
                  <a:pt x="948111" y="1748853"/>
                </a:cubicBezTo>
                <a:cubicBezTo>
                  <a:pt x="946629" y="1748853"/>
                  <a:pt x="945395" y="1747617"/>
                  <a:pt x="945395" y="1746137"/>
                </a:cubicBezTo>
                <a:cubicBezTo>
                  <a:pt x="945395" y="1744655"/>
                  <a:pt x="946629" y="1743421"/>
                  <a:pt x="948111" y="1743421"/>
                </a:cubicBezTo>
                <a:close/>
                <a:moveTo>
                  <a:pt x="2682596" y="1741692"/>
                </a:moveTo>
                <a:cubicBezTo>
                  <a:pt x="2691977" y="1741692"/>
                  <a:pt x="2699630" y="1749345"/>
                  <a:pt x="2699630" y="1758723"/>
                </a:cubicBezTo>
                <a:cubicBezTo>
                  <a:pt x="2699630" y="1768350"/>
                  <a:pt x="2691977" y="1775757"/>
                  <a:pt x="2682596" y="1775757"/>
                </a:cubicBezTo>
                <a:cubicBezTo>
                  <a:pt x="2673218" y="1775757"/>
                  <a:pt x="2665565" y="1768104"/>
                  <a:pt x="2665565" y="1758723"/>
                </a:cubicBezTo>
                <a:cubicBezTo>
                  <a:pt x="2665565" y="1749345"/>
                  <a:pt x="2673218" y="1741692"/>
                  <a:pt x="2682596" y="1741692"/>
                </a:cubicBezTo>
                <a:close/>
                <a:moveTo>
                  <a:pt x="287082" y="1727869"/>
                </a:moveTo>
                <a:cubicBezTo>
                  <a:pt x="290539" y="1727869"/>
                  <a:pt x="293255" y="1730585"/>
                  <a:pt x="293255" y="1734039"/>
                </a:cubicBezTo>
                <a:cubicBezTo>
                  <a:pt x="293255" y="1737496"/>
                  <a:pt x="290293" y="1740212"/>
                  <a:pt x="287082" y="1740212"/>
                </a:cubicBezTo>
                <a:cubicBezTo>
                  <a:pt x="283628" y="1740212"/>
                  <a:pt x="280912" y="1737496"/>
                  <a:pt x="280912" y="1734039"/>
                </a:cubicBezTo>
                <a:cubicBezTo>
                  <a:pt x="280912" y="1730585"/>
                  <a:pt x="283628" y="1727869"/>
                  <a:pt x="287082" y="1727869"/>
                </a:cubicBezTo>
                <a:close/>
                <a:moveTo>
                  <a:pt x="1953224" y="1727377"/>
                </a:moveTo>
                <a:cubicBezTo>
                  <a:pt x="1953964" y="1727377"/>
                  <a:pt x="1954704" y="1728118"/>
                  <a:pt x="1954704" y="1728857"/>
                </a:cubicBezTo>
                <a:cubicBezTo>
                  <a:pt x="1954704" y="1729598"/>
                  <a:pt x="1954212" y="1730093"/>
                  <a:pt x="1953224" y="1730093"/>
                </a:cubicBezTo>
                <a:cubicBezTo>
                  <a:pt x="1952485" y="1730093"/>
                  <a:pt x="1951743" y="1729598"/>
                  <a:pt x="1951743" y="1728857"/>
                </a:cubicBezTo>
                <a:cubicBezTo>
                  <a:pt x="1951743" y="1728118"/>
                  <a:pt x="1952485" y="1727377"/>
                  <a:pt x="1953224" y="1727377"/>
                </a:cubicBezTo>
                <a:close/>
                <a:moveTo>
                  <a:pt x="2412563" y="1726882"/>
                </a:moveTo>
                <a:cubicBezTo>
                  <a:pt x="2417253" y="1726882"/>
                  <a:pt x="2421203" y="1730831"/>
                  <a:pt x="2421203" y="1735522"/>
                </a:cubicBezTo>
                <a:cubicBezTo>
                  <a:pt x="2421203" y="1740212"/>
                  <a:pt x="2417500" y="1744162"/>
                  <a:pt x="2412563" y="1744162"/>
                </a:cubicBezTo>
                <a:cubicBezTo>
                  <a:pt x="2407626" y="1744162"/>
                  <a:pt x="2403923" y="1740212"/>
                  <a:pt x="2403923" y="1735522"/>
                </a:cubicBezTo>
                <a:cubicBezTo>
                  <a:pt x="2403923" y="1730831"/>
                  <a:pt x="2407872" y="1726882"/>
                  <a:pt x="2412563" y="1726882"/>
                </a:cubicBezTo>
                <a:close/>
                <a:moveTo>
                  <a:pt x="733854" y="1716762"/>
                </a:moveTo>
                <a:cubicBezTo>
                  <a:pt x="735090" y="1716762"/>
                  <a:pt x="735828" y="1717750"/>
                  <a:pt x="735828" y="1718737"/>
                </a:cubicBezTo>
                <a:cubicBezTo>
                  <a:pt x="736077" y="1720217"/>
                  <a:pt x="735090" y="1720958"/>
                  <a:pt x="733854" y="1720958"/>
                </a:cubicBezTo>
                <a:cubicBezTo>
                  <a:pt x="732620" y="1720958"/>
                  <a:pt x="731632" y="1719971"/>
                  <a:pt x="731632" y="1718737"/>
                </a:cubicBezTo>
                <a:cubicBezTo>
                  <a:pt x="731632" y="1717503"/>
                  <a:pt x="732620" y="1716762"/>
                  <a:pt x="733854" y="1716762"/>
                </a:cubicBezTo>
                <a:close/>
                <a:moveTo>
                  <a:pt x="3122950" y="1708369"/>
                </a:moveTo>
                <a:cubicBezTo>
                  <a:pt x="3133318" y="1708369"/>
                  <a:pt x="3141709" y="1716763"/>
                  <a:pt x="3141709" y="1726882"/>
                </a:cubicBezTo>
                <a:cubicBezTo>
                  <a:pt x="3141709" y="1737002"/>
                  <a:pt x="3133069" y="1745642"/>
                  <a:pt x="3122950" y="1745642"/>
                </a:cubicBezTo>
                <a:cubicBezTo>
                  <a:pt x="3112584" y="1745642"/>
                  <a:pt x="3104190" y="1737248"/>
                  <a:pt x="3104190" y="1726882"/>
                </a:cubicBezTo>
                <a:cubicBezTo>
                  <a:pt x="3104190" y="1716514"/>
                  <a:pt x="3112584" y="1708369"/>
                  <a:pt x="3122950" y="1708369"/>
                </a:cubicBezTo>
                <a:close/>
                <a:moveTo>
                  <a:pt x="2136355" y="1704666"/>
                </a:moveTo>
                <a:cubicBezTo>
                  <a:pt x="2137591" y="1704666"/>
                  <a:pt x="2138576" y="1705653"/>
                  <a:pt x="2138576" y="1706887"/>
                </a:cubicBezTo>
                <a:cubicBezTo>
                  <a:pt x="2138825" y="1708369"/>
                  <a:pt x="2137838" y="1709357"/>
                  <a:pt x="2136355" y="1709357"/>
                </a:cubicBezTo>
                <a:cubicBezTo>
                  <a:pt x="2135122" y="1709357"/>
                  <a:pt x="2134134" y="1708369"/>
                  <a:pt x="2134134" y="1706887"/>
                </a:cubicBezTo>
                <a:cubicBezTo>
                  <a:pt x="2134134" y="1705653"/>
                  <a:pt x="2135122" y="1704666"/>
                  <a:pt x="2136355" y="1704666"/>
                </a:cubicBezTo>
                <a:close/>
                <a:moveTo>
                  <a:pt x="400871" y="1702199"/>
                </a:moveTo>
                <a:cubicBezTo>
                  <a:pt x="404574" y="1702199"/>
                  <a:pt x="407782" y="1705161"/>
                  <a:pt x="407782" y="1709111"/>
                </a:cubicBezTo>
                <a:cubicBezTo>
                  <a:pt x="407536" y="1713060"/>
                  <a:pt x="404574" y="1716022"/>
                  <a:pt x="400871" y="1716022"/>
                </a:cubicBezTo>
                <a:cubicBezTo>
                  <a:pt x="397168" y="1716022"/>
                  <a:pt x="393960" y="1713060"/>
                  <a:pt x="393960" y="1709111"/>
                </a:cubicBezTo>
                <a:cubicBezTo>
                  <a:pt x="393960" y="1705407"/>
                  <a:pt x="397168" y="1702199"/>
                  <a:pt x="400871" y="1702199"/>
                </a:cubicBezTo>
                <a:close/>
                <a:moveTo>
                  <a:pt x="1459554" y="1701952"/>
                </a:moveTo>
                <a:cubicBezTo>
                  <a:pt x="1459800" y="1701952"/>
                  <a:pt x="1460046" y="1702198"/>
                  <a:pt x="1460046" y="1702444"/>
                </a:cubicBezTo>
                <a:cubicBezTo>
                  <a:pt x="1460046" y="1702693"/>
                  <a:pt x="1459800" y="1702939"/>
                  <a:pt x="1459554" y="1702939"/>
                </a:cubicBezTo>
                <a:cubicBezTo>
                  <a:pt x="1459305" y="1702939"/>
                  <a:pt x="1459059" y="1702693"/>
                  <a:pt x="1459059" y="1702444"/>
                </a:cubicBezTo>
                <a:cubicBezTo>
                  <a:pt x="1459059" y="1702198"/>
                  <a:pt x="1459305" y="1701952"/>
                  <a:pt x="1459554" y="1701952"/>
                </a:cubicBezTo>
                <a:close/>
                <a:moveTo>
                  <a:pt x="1258625" y="1701952"/>
                </a:moveTo>
                <a:cubicBezTo>
                  <a:pt x="1259367" y="1701952"/>
                  <a:pt x="1259862" y="1702444"/>
                  <a:pt x="1259862" y="1703186"/>
                </a:cubicBezTo>
                <a:cubicBezTo>
                  <a:pt x="1260108" y="1703927"/>
                  <a:pt x="1259367" y="1704422"/>
                  <a:pt x="1258625" y="1704422"/>
                </a:cubicBezTo>
                <a:cubicBezTo>
                  <a:pt x="1257887" y="1704422"/>
                  <a:pt x="1257392" y="1703927"/>
                  <a:pt x="1257392" y="1703186"/>
                </a:cubicBezTo>
                <a:cubicBezTo>
                  <a:pt x="1257392" y="1702444"/>
                  <a:pt x="1257887" y="1701952"/>
                  <a:pt x="1258625" y="1701952"/>
                </a:cubicBezTo>
                <a:close/>
                <a:moveTo>
                  <a:pt x="1654311" y="1693312"/>
                </a:moveTo>
                <a:cubicBezTo>
                  <a:pt x="1655052" y="1693312"/>
                  <a:pt x="1655547" y="1693804"/>
                  <a:pt x="1655547" y="1694546"/>
                </a:cubicBezTo>
                <a:cubicBezTo>
                  <a:pt x="1655793" y="1695287"/>
                  <a:pt x="1655052" y="1695782"/>
                  <a:pt x="1654311" y="1695782"/>
                </a:cubicBezTo>
                <a:cubicBezTo>
                  <a:pt x="1653573" y="1695782"/>
                  <a:pt x="1653078" y="1695287"/>
                  <a:pt x="1653078" y="1694546"/>
                </a:cubicBezTo>
                <a:cubicBezTo>
                  <a:pt x="1653078" y="1693804"/>
                  <a:pt x="1653573" y="1693312"/>
                  <a:pt x="1654311" y="1693312"/>
                </a:cubicBezTo>
                <a:close/>
                <a:moveTo>
                  <a:pt x="1052273" y="1692079"/>
                </a:moveTo>
                <a:cubicBezTo>
                  <a:pt x="1053753" y="1692079"/>
                  <a:pt x="1054989" y="1693313"/>
                  <a:pt x="1054989" y="1694795"/>
                </a:cubicBezTo>
                <a:cubicBezTo>
                  <a:pt x="1055235" y="1696275"/>
                  <a:pt x="1054001" y="1697511"/>
                  <a:pt x="1052273" y="1697511"/>
                </a:cubicBezTo>
                <a:cubicBezTo>
                  <a:pt x="1050791" y="1697511"/>
                  <a:pt x="1049311" y="1696275"/>
                  <a:pt x="1049311" y="1694795"/>
                </a:cubicBezTo>
                <a:cubicBezTo>
                  <a:pt x="1049311" y="1693313"/>
                  <a:pt x="1050545" y="1692079"/>
                  <a:pt x="1052273" y="1692079"/>
                </a:cubicBezTo>
                <a:close/>
                <a:moveTo>
                  <a:pt x="2586578" y="1691092"/>
                </a:moveTo>
                <a:cubicBezTo>
                  <a:pt x="2593738" y="1691092"/>
                  <a:pt x="2599659" y="1697016"/>
                  <a:pt x="2599659" y="1704174"/>
                </a:cubicBezTo>
                <a:cubicBezTo>
                  <a:pt x="2599659" y="1711334"/>
                  <a:pt x="2593738" y="1717255"/>
                  <a:pt x="2586578" y="1717255"/>
                </a:cubicBezTo>
                <a:cubicBezTo>
                  <a:pt x="2579420" y="1717255"/>
                  <a:pt x="2573496" y="1711334"/>
                  <a:pt x="2573496" y="1704174"/>
                </a:cubicBezTo>
                <a:cubicBezTo>
                  <a:pt x="2573496" y="1697016"/>
                  <a:pt x="2579420" y="1691092"/>
                  <a:pt x="2586578" y="1691092"/>
                </a:cubicBezTo>
                <a:close/>
                <a:moveTo>
                  <a:pt x="2862294" y="1689609"/>
                </a:moveTo>
                <a:cubicBezTo>
                  <a:pt x="2874143" y="1689609"/>
                  <a:pt x="2883767" y="1699236"/>
                  <a:pt x="2883767" y="1711084"/>
                </a:cubicBezTo>
                <a:cubicBezTo>
                  <a:pt x="2883767" y="1722932"/>
                  <a:pt x="2874143" y="1732557"/>
                  <a:pt x="2862294" y="1732557"/>
                </a:cubicBezTo>
                <a:cubicBezTo>
                  <a:pt x="2850446" y="1732557"/>
                  <a:pt x="2840819" y="1722932"/>
                  <a:pt x="2840819" y="1711084"/>
                </a:cubicBezTo>
                <a:cubicBezTo>
                  <a:pt x="2840819" y="1699236"/>
                  <a:pt x="2850446" y="1689609"/>
                  <a:pt x="2862294" y="1689609"/>
                </a:cubicBezTo>
                <a:close/>
                <a:moveTo>
                  <a:pt x="2315804" y="1674553"/>
                </a:moveTo>
                <a:cubicBezTo>
                  <a:pt x="2318766" y="1674553"/>
                  <a:pt x="2321236" y="1677023"/>
                  <a:pt x="2321236" y="1679736"/>
                </a:cubicBezTo>
                <a:cubicBezTo>
                  <a:pt x="2321236" y="1682944"/>
                  <a:pt x="2318766" y="1685168"/>
                  <a:pt x="2315804" y="1685168"/>
                </a:cubicBezTo>
                <a:cubicBezTo>
                  <a:pt x="2312842" y="1685168"/>
                  <a:pt x="2310621" y="1682698"/>
                  <a:pt x="2310621" y="1679736"/>
                </a:cubicBezTo>
                <a:cubicBezTo>
                  <a:pt x="2310621" y="1676774"/>
                  <a:pt x="2313091" y="1674553"/>
                  <a:pt x="2315804" y="1674553"/>
                </a:cubicBezTo>
                <a:close/>
                <a:moveTo>
                  <a:pt x="841475" y="1672825"/>
                </a:moveTo>
                <a:cubicBezTo>
                  <a:pt x="842708" y="1672825"/>
                  <a:pt x="843698" y="1673812"/>
                  <a:pt x="843698" y="1675046"/>
                </a:cubicBezTo>
                <a:cubicBezTo>
                  <a:pt x="843944" y="1676280"/>
                  <a:pt x="842957" y="1677267"/>
                  <a:pt x="841475" y="1677267"/>
                </a:cubicBezTo>
                <a:cubicBezTo>
                  <a:pt x="840241" y="1677267"/>
                  <a:pt x="839254" y="1676280"/>
                  <a:pt x="839254" y="1675046"/>
                </a:cubicBezTo>
                <a:cubicBezTo>
                  <a:pt x="839254" y="1673812"/>
                  <a:pt x="840241" y="1672825"/>
                  <a:pt x="841475" y="1672825"/>
                </a:cubicBezTo>
                <a:close/>
                <a:moveTo>
                  <a:pt x="513184" y="1671345"/>
                </a:moveTo>
                <a:cubicBezTo>
                  <a:pt x="517379" y="1671345"/>
                  <a:pt x="520834" y="1674802"/>
                  <a:pt x="520834" y="1678997"/>
                </a:cubicBezTo>
                <a:cubicBezTo>
                  <a:pt x="520834" y="1683193"/>
                  <a:pt x="517379" y="1686650"/>
                  <a:pt x="513184" y="1686650"/>
                </a:cubicBezTo>
                <a:cubicBezTo>
                  <a:pt x="508986" y="1686650"/>
                  <a:pt x="505532" y="1683193"/>
                  <a:pt x="505532" y="1678997"/>
                </a:cubicBezTo>
                <a:cubicBezTo>
                  <a:pt x="505532" y="1674802"/>
                  <a:pt x="508986" y="1671345"/>
                  <a:pt x="513184" y="1671345"/>
                </a:cubicBezTo>
                <a:close/>
                <a:moveTo>
                  <a:pt x="1854497" y="1669370"/>
                </a:moveTo>
                <a:cubicBezTo>
                  <a:pt x="1855484" y="1669370"/>
                  <a:pt x="1856222" y="1670111"/>
                  <a:pt x="1856222" y="1671098"/>
                </a:cubicBezTo>
                <a:cubicBezTo>
                  <a:pt x="1855976" y="1672086"/>
                  <a:pt x="1855235" y="1672827"/>
                  <a:pt x="1854497" y="1672827"/>
                </a:cubicBezTo>
                <a:cubicBezTo>
                  <a:pt x="1853511" y="1672827"/>
                  <a:pt x="1852771" y="1672086"/>
                  <a:pt x="1852771" y="1671098"/>
                </a:cubicBezTo>
                <a:cubicBezTo>
                  <a:pt x="1852771" y="1670111"/>
                  <a:pt x="1853511" y="1669370"/>
                  <a:pt x="1854497" y="1669370"/>
                </a:cubicBezTo>
                <a:close/>
                <a:moveTo>
                  <a:pt x="3027918" y="1659002"/>
                </a:moveTo>
                <a:cubicBezTo>
                  <a:pt x="3035571" y="1659002"/>
                  <a:pt x="3041741" y="1665172"/>
                  <a:pt x="3041741" y="1673071"/>
                </a:cubicBezTo>
                <a:cubicBezTo>
                  <a:pt x="3041987" y="1680478"/>
                  <a:pt x="3035571" y="1686894"/>
                  <a:pt x="3027918" y="1686894"/>
                </a:cubicBezTo>
                <a:cubicBezTo>
                  <a:pt x="3020266" y="1686894"/>
                  <a:pt x="3013849" y="1680724"/>
                  <a:pt x="3013849" y="1673071"/>
                </a:cubicBezTo>
                <a:cubicBezTo>
                  <a:pt x="3013849" y="1665421"/>
                  <a:pt x="3020019" y="1659002"/>
                  <a:pt x="3027918" y="1659002"/>
                </a:cubicBezTo>
                <a:close/>
                <a:moveTo>
                  <a:pt x="57772" y="1655299"/>
                </a:moveTo>
                <a:cubicBezTo>
                  <a:pt x="59252" y="1655299"/>
                  <a:pt x="60488" y="1656533"/>
                  <a:pt x="60488" y="1658015"/>
                </a:cubicBezTo>
                <a:cubicBezTo>
                  <a:pt x="60488" y="1659495"/>
                  <a:pt x="59252" y="1660731"/>
                  <a:pt x="57772" y="1660731"/>
                </a:cubicBezTo>
                <a:cubicBezTo>
                  <a:pt x="56290" y="1660731"/>
                  <a:pt x="55056" y="1659495"/>
                  <a:pt x="55056" y="1658015"/>
                </a:cubicBezTo>
                <a:cubicBezTo>
                  <a:pt x="55056" y="1656533"/>
                  <a:pt x="56290" y="1655299"/>
                  <a:pt x="57772" y="1655299"/>
                </a:cubicBezTo>
                <a:close/>
                <a:moveTo>
                  <a:pt x="2756649" y="1651844"/>
                </a:moveTo>
                <a:cubicBezTo>
                  <a:pt x="2766522" y="1651844"/>
                  <a:pt x="2774421" y="1659743"/>
                  <a:pt x="2774421" y="1669616"/>
                </a:cubicBezTo>
                <a:cubicBezTo>
                  <a:pt x="2774667" y="1679243"/>
                  <a:pt x="2766522" y="1687388"/>
                  <a:pt x="2756649" y="1687388"/>
                </a:cubicBezTo>
                <a:cubicBezTo>
                  <a:pt x="2746776" y="1687388"/>
                  <a:pt x="2738877" y="1679489"/>
                  <a:pt x="2738877" y="1669616"/>
                </a:cubicBezTo>
                <a:cubicBezTo>
                  <a:pt x="2738877" y="1659743"/>
                  <a:pt x="2746776" y="1651844"/>
                  <a:pt x="2756649" y="1651844"/>
                </a:cubicBezTo>
                <a:close/>
                <a:moveTo>
                  <a:pt x="2039103" y="1648636"/>
                </a:moveTo>
                <a:cubicBezTo>
                  <a:pt x="2039844" y="1648636"/>
                  <a:pt x="2040339" y="1649128"/>
                  <a:pt x="2040339" y="1649870"/>
                </a:cubicBezTo>
                <a:cubicBezTo>
                  <a:pt x="2040339" y="1650611"/>
                  <a:pt x="2039844" y="1651106"/>
                  <a:pt x="2039103" y="1651106"/>
                </a:cubicBezTo>
                <a:cubicBezTo>
                  <a:pt x="2038361" y="1651106"/>
                  <a:pt x="2037869" y="1650611"/>
                  <a:pt x="2037869" y="1649870"/>
                </a:cubicBezTo>
                <a:cubicBezTo>
                  <a:pt x="2037869" y="1649128"/>
                  <a:pt x="2038361" y="1648636"/>
                  <a:pt x="2039103" y="1648636"/>
                </a:cubicBezTo>
                <a:close/>
                <a:moveTo>
                  <a:pt x="173291" y="1640984"/>
                </a:moveTo>
                <a:cubicBezTo>
                  <a:pt x="174527" y="1640984"/>
                  <a:pt x="175761" y="1641971"/>
                  <a:pt x="175761" y="1643454"/>
                </a:cubicBezTo>
                <a:cubicBezTo>
                  <a:pt x="175761" y="1644687"/>
                  <a:pt x="174773" y="1645921"/>
                  <a:pt x="173291" y="1645921"/>
                </a:cubicBezTo>
                <a:cubicBezTo>
                  <a:pt x="172058" y="1645921"/>
                  <a:pt x="170824" y="1644933"/>
                  <a:pt x="170824" y="1643454"/>
                </a:cubicBezTo>
                <a:cubicBezTo>
                  <a:pt x="170824" y="1642218"/>
                  <a:pt x="171812" y="1640984"/>
                  <a:pt x="173291" y="1640984"/>
                </a:cubicBezTo>
                <a:close/>
                <a:moveTo>
                  <a:pt x="1356869" y="1639996"/>
                </a:moveTo>
                <a:cubicBezTo>
                  <a:pt x="1357361" y="1639996"/>
                  <a:pt x="1357856" y="1640489"/>
                  <a:pt x="1357856" y="1640984"/>
                </a:cubicBezTo>
                <a:cubicBezTo>
                  <a:pt x="1357856" y="1641476"/>
                  <a:pt x="1357361" y="1641971"/>
                  <a:pt x="1356869" y="1641971"/>
                </a:cubicBezTo>
                <a:cubicBezTo>
                  <a:pt x="1356376" y="1641971"/>
                  <a:pt x="1355881" y="1641476"/>
                  <a:pt x="1355881" y="1640984"/>
                </a:cubicBezTo>
                <a:cubicBezTo>
                  <a:pt x="1355881" y="1640489"/>
                  <a:pt x="1356376" y="1639996"/>
                  <a:pt x="1356869" y="1639996"/>
                </a:cubicBezTo>
                <a:close/>
                <a:moveTo>
                  <a:pt x="2490560" y="1639750"/>
                </a:moveTo>
                <a:cubicBezTo>
                  <a:pt x="2495990" y="1639750"/>
                  <a:pt x="2500185" y="1644194"/>
                  <a:pt x="2500185" y="1649377"/>
                </a:cubicBezTo>
                <a:cubicBezTo>
                  <a:pt x="2500185" y="1654560"/>
                  <a:pt x="2495990" y="1659002"/>
                  <a:pt x="2490560" y="1659002"/>
                </a:cubicBezTo>
                <a:cubicBezTo>
                  <a:pt x="2485129" y="1659002"/>
                  <a:pt x="2480933" y="1654560"/>
                  <a:pt x="2480933" y="1649377"/>
                </a:cubicBezTo>
                <a:cubicBezTo>
                  <a:pt x="2480933" y="1643946"/>
                  <a:pt x="2485377" y="1639750"/>
                  <a:pt x="2490560" y="1639750"/>
                </a:cubicBezTo>
                <a:close/>
                <a:moveTo>
                  <a:pt x="1154214" y="1636293"/>
                </a:moveTo>
                <a:cubicBezTo>
                  <a:pt x="1155694" y="1636293"/>
                  <a:pt x="1156930" y="1637527"/>
                  <a:pt x="1156930" y="1639009"/>
                </a:cubicBezTo>
                <a:cubicBezTo>
                  <a:pt x="1156930" y="1640489"/>
                  <a:pt x="1155694" y="1641725"/>
                  <a:pt x="1154214" y="1641725"/>
                </a:cubicBezTo>
                <a:cubicBezTo>
                  <a:pt x="1152732" y="1641725"/>
                  <a:pt x="1151499" y="1640489"/>
                  <a:pt x="1151499" y="1639009"/>
                </a:cubicBezTo>
                <a:cubicBezTo>
                  <a:pt x="1151499" y="1637527"/>
                  <a:pt x="1152732" y="1636293"/>
                  <a:pt x="1154214" y="1636293"/>
                </a:cubicBezTo>
                <a:close/>
                <a:moveTo>
                  <a:pt x="624015" y="1635060"/>
                </a:moveTo>
                <a:cubicBezTo>
                  <a:pt x="628702" y="1635060"/>
                  <a:pt x="632406" y="1638763"/>
                  <a:pt x="632406" y="1643451"/>
                </a:cubicBezTo>
                <a:cubicBezTo>
                  <a:pt x="632406" y="1648142"/>
                  <a:pt x="628702" y="1651845"/>
                  <a:pt x="624015" y="1651845"/>
                </a:cubicBezTo>
                <a:cubicBezTo>
                  <a:pt x="619324" y="1651845"/>
                  <a:pt x="615620" y="1648142"/>
                  <a:pt x="615620" y="1643451"/>
                </a:cubicBezTo>
                <a:cubicBezTo>
                  <a:pt x="615620" y="1638763"/>
                  <a:pt x="619324" y="1635060"/>
                  <a:pt x="624015" y="1635060"/>
                </a:cubicBezTo>
                <a:close/>
                <a:moveTo>
                  <a:pt x="1553599" y="1634318"/>
                </a:moveTo>
                <a:cubicBezTo>
                  <a:pt x="1553848" y="1634318"/>
                  <a:pt x="1554094" y="1634564"/>
                  <a:pt x="1554094" y="1634813"/>
                </a:cubicBezTo>
                <a:cubicBezTo>
                  <a:pt x="1554094" y="1635059"/>
                  <a:pt x="1553848" y="1635305"/>
                  <a:pt x="1553599" y="1635305"/>
                </a:cubicBezTo>
                <a:cubicBezTo>
                  <a:pt x="1553353" y="1635305"/>
                  <a:pt x="1553107" y="1635059"/>
                  <a:pt x="1553107" y="1634813"/>
                </a:cubicBezTo>
                <a:cubicBezTo>
                  <a:pt x="1553107" y="1634564"/>
                  <a:pt x="1553353" y="1634318"/>
                  <a:pt x="1553599" y="1634318"/>
                </a:cubicBezTo>
                <a:close/>
                <a:moveTo>
                  <a:pt x="947120" y="1623706"/>
                </a:moveTo>
                <a:cubicBezTo>
                  <a:pt x="948483" y="1623706"/>
                  <a:pt x="949589" y="1624810"/>
                  <a:pt x="949589" y="1626173"/>
                </a:cubicBezTo>
                <a:cubicBezTo>
                  <a:pt x="949589" y="1627539"/>
                  <a:pt x="948486" y="1628643"/>
                  <a:pt x="947120" y="1628643"/>
                </a:cubicBezTo>
                <a:cubicBezTo>
                  <a:pt x="945756" y="1628643"/>
                  <a:pt x="944653" y="1627539"/>
                  <a:pt x="944653" y="1626173"/>
                </a:cubicBezTo>
                <a:cubicBezTo>
                  <a:pt x="944653" y="1624810"/>
                  <a:pt x="945756" y="1623706"/>
                  <a:pt x="947120" y="1623706"/>
                </a:cubicBezTo>
                <a:close/>
                <a:moveTo>
                  <a:pt x="2218552" y="1621978"/>
                </a:moveTo>
                <a:cubicBezTo>
                  <a:pt x="2220032" y="1621978"/>
                  <a:pt x="2221268" y="1623212"/>
                  <a:pt x="2221268" y="1624694"/>
                </a:cubicBezTo>
                <a:cubicBezTo>
                  <a:pt x="2221268" y="1626174"/>
                  <a:pt x="2220032" y="1627410"/>
                  <a:pt x="2218552" y="1627410"/>
                </a:cubicBezTo>
                <a:cubicBezTo>
                  <a:pt x="2217070" y="1627410"/>
                  <a:pt x="2215836" y="1626174"/>
                  <a:pt x="2215836" y="1624694"/>
                </a:cubicBezTo>
                <a:cubicBezTo>
                  <a:pt x="2215836" y="1623212"/>
                  <a:pt x="2217070" y="1621978"/>
                  <a:pt x="2218552" y="1621978"/>
                </a:cubicBezTo>
                <a:close/>
                <a:moveTo>
                  <a:pt x="288068" y="1621237"/>
                </a:moveTo>
                <a:cubicBezTo>
                  <a:pt x="289055" y="1621237"/>
                  <a:pt x="290043" y="1622224"/>
                  <a:pt x="290043" y="1623212"/>
                </a:cubicBezTo>
                <a:cubicBezTo>
                  <a:pt x="290043" y="1624199"/>
                  <a:pt x="289301" y="1625186"/>
                  <a:pt x="288068" y="1625186"/>
                </a:cubicBezTo>
                <a:cubicBezTo>
                  <a:pt x="286834" y="1625186"/>
                  <a:pt x="286093" y="1624199"/>
                  <a:pt x="286093" y="1623212"/>
                </a:cubicBezTo>
                <a:cubicBezTo>
                  <a:pt x="286093" y="1621978"/>
                  <a:pt x="287080" y="1621237"/>
                  <a:pt x="288068" y="1621237"/>
                </a:cubicBezTo>
                <a:close/>
                <a:moveTo>
                  <a:pt x="1744648" y="1620496"/>
                </a:moveTo>
                <a:cubicBezTo>
                  <a:pt x="1745390" y="1620496"/>
                  <a:pt x="1746132" y="1620991"/>
                  <a:pt x="1746132" y="1621729"/>
                </a:cubicBezTo>
                <a:cubicBezTo>
                  <a:pt x="1746132" y="1622719"/>
                  <a:pt x="1745390" y="1623212"/>
                  <a:pt x="1744648" y="1623212"/>
                </a:cubicBezTo>
                <a:cubicBezTo>
                  <a:pt x="1743910" y="1623212"/>
                  <a:pt x="1743415" y="1622719"/>
                  <a:pt x="1743415" y="1621729"/>
                </a:cubicBezTo>
                <a:cubicBezTo>
                  <a:pt x="1743415" y="1620991"/>
                  <a:pt x="1743910" y="1620496"/>
                  <a:pt x="1744648" y="1620496"/>
                </a:cubicBezTo>
                <a:close/>
                <a:moveTo>
                  <a:pt x="3190337" y="1612597"/>
                </a:moveTo>
                <a:cubicBezTo>
                  <a:pt x="3200952" y="1612597"/>
                  <a:pt x="3209835" y="1621237"/>
                  <a:pt x="3209835" y="1632098"/>
                </a:cubicBezTo>
                <a:cubicBezTo>
                  <a:pt x="3209835" y="1642959"/>
                  <a:pt x="3200952" y="1651596"/>
                  <a:pt x="3190337" y="1651596"/>
                </a:cubicBezTo>
                <a:cubicBezTo>
                  <a:pt x="3179722" y="1651596"/>
                  <a:pt x="3170836" y="1642959"/>
                  <a:pt x="3170836" y="1632098"/>
                </a:cubicBezTo>
                <a:cubicBezTo>
                  <a:pt x="3170836" y="1621237"/>
                  <a:pt x="3179476" y="1612597"/>
                  <a:pt x="3190337" y="1612597"/>
                </a:cubicBezTo>
                <a:close/>
                <a:moveTo>
                  <a:pt x="2661124" y="1601523"/>
                </a:moveTo>
                <a:cubicBezTo>
                  <a:pt x="2668776" y="1601523"/>
                  <a:pt x="2674947" y="1607660"/>
                  <a:pt x="2674947" y="1615313"/>
                </a:cubicBezTo>
                <a:cubicBezTo>
                  <a:pt x="2674947" y="1622965"/>
                  <a:pt x="2668776" y="1629136"/>
                  <a:pt x="2661124" y="1629136"/>
                </a:cubicBezTo>
                <a:cubicBezTo>
                  <a:pt x="2653471" y="1629136"/>
                  <a:pt x="2647301" y="1622965"/>
                  <a:pt x="2647301" y="1615313"/>
                </a:cubicBezTo>
                <a:cubicBezTo>
                  <a:pt x="2647301" y="1607660"/>
                  <a:pt x="2653471" y="1601523"/>
                  <a:pt x="2661124" y="1601523"/>
                </a:cubicBezTo>
                <a:close/>
                <a:moveTo>
                  <a:pt x="2933134" y="1596098"/>
                </a:moveTo>
                <a:cubicBezTo>
                  <a:pt x="2945474" y="1596098"/>
                  <a:pt x="2955347" y="1606178"/>
                  <a:pt x="2955347" y="1618521"/>
                </a:cubicBezTo>
                <a:cubicBezTo>
                  <a:pt x="2955347" y="1630861"/>
                  <a:pt x="2945474" y="1640984"/>
                  <a:pt x="2933134" y="1640984"/>
                </a:cubicBezTo>
                <a:cubicBezTo>
                  <a:pt x="2920791" y="1640984"/>
                  <a:pt x="2910671" y="1630861"/>
                  <a:pt x="2910671" y="1618521"/>
                </a:cubicBezTo>
                <a:cubicBezTo>
                  <a:pt x="2910671" y="1606178"/>
                  <a:pt x="2920791" y="1596098"/>
                  <a:pt x="2933134" y="1596098"/>
                </a:cubicBezTo>
                <a:close/>
                <a:moveTo>
                  <a:pt x="401614" y="1595331"/>
                </a:moveTo>
                <a:cubicBezTo>
                  <a:pt x="402601" y="1595331"/>
                  <a:pt x="403340" y="1596071"/>
                  <a:pt x="403340" y="1597059"/>
                </a:cubicBezTo>
                <a:cubicBezTo>
                  <a:pt x="403589" y="1598046"/>
                  <a:pt x="402601" y="1598788"/>
                  <a:pt x="401614" y="1598788"/>
                </a:cubicBezTo>
                <a:cubicBezTo>
                  <a:pt x="400627" y="1598788"/>
                  <a:pt x="399886" y="1598046"/>
                  <a:pt x="399886" y="1597059"/>
                </a:cubicBezTo>
                <a:cubicBezTo>
                  <a:pt x="399886" y="1596071"/>
                  <a:pt x="400627" y="1595331"/>
                  <a:pt x="401614" y="1595331"/>
                </a:cubicBezTo>
                <a:close/>
                <a:moveTo>
                  <a:pt x="733113" y="1593603"/>
                </a:moveTo>
                <a:cubicBezTo>
                  <a:pt x="738299" y="1593603"/>
                  <a:pt x="742248" y="1597553"/>
                  <a:pt x="742248" y="1602723"/>
                </a:cubicBezTo>
                <a:cubicBezTo>
                  <a:pt x="741999" y="1607660"/>
                  <a:pt x="738050" y="1611858"/>
                  <a:pt x="733113" y="1611858"/>
                </a:cubicBezTo>
                <a:cubicBezTo>
                  <a:pt x="728176" y="1611858"/>
                  <a:pt x="723981" y="1607908"/>
                  <a:pt x="723981" y="1602723"/>
                </a:cubicBezTo>
                <a:cubicBezTo>
                  <a:pt x="723981" y="1597799"/>
                  <a:pt x="727930" y="1593603"/>
                  <a:pt x="733113" y="1593603"/>
                </a:cubicBezTo>
                <a:close/>
                <a:moveTo>
                  <a:pt x="1941123" y="1591888"/>
                </a:moveTo>
                <a:cubicBezTo>
                  <a:pt x="1941864" y="1591888"/>
                  <a:pt x="1942604" y="1592627"/>
                  <a:pt x="1942604" y="1593366"/>
                </a:cubicBezTo>
                <a:cubicBezTo>
                  <a:pt x="1942604" y="1594107"/>
                  <a:pt x="1941864" y="1594847"/>
                  <a:pt x="1941123" y="1594847"/>
                </a:cubicBezTo>
                <a:cubicBezTo>
                  <a:pt x="1940385" y="1594847"/>
                  <a:pt x="1939644" y="1594107"/>
                  <a:pt x="1939644" y="1593366"/>
                </a:cubicBezTo>
                <a:cubicBezTo>
                  <a:pt x="1939644" y="1592627"/>
                  <a:pt x="1940385" y="1591888"/>
                  <a:pt x="1941123" y="1591888"/>
                </a:cubicBezTo>
                <a:close/>
                <a:moveTo>
                  <a:pt x="2394545" y="1588190"/>
                </a:moveTo>
                <a:cubicBezTo>
                  <a:pt x="2397753" y="1588190"/>
                  <a:pt x="2400469" y="1590904"/>
                  <a:pt x="2400469" y="1594113"/>
                </a:cubicBezTo>
                <a:cubicBezTo>
                  <a:pt x="2400469" y="1597571"/>
                  <a:pt x="2397753" y="1600035"/>
                  <a:pt x="2394545" y="1600035"/>
                </a:cubicBezTo>
                <a:cubicBezTo>
                  <a:pt x="2391337" y="1600035"/>
                  <a:pt x="2388621" y="1597321"/>
                  <a:pt x="2388621" y="1594113"/>
                </a:cubicBezTo>
                <a:cubicBezTo>
                  <a:pt x="2388621" y="1590904"/>
                  <a:pt x="2391337" y="1588190"/>
                  <a:pt x="2394545" y="1588190"/>
                </a:cubicBezTo>
                <a:close/>
                <a:moveTo>
                  <a:pt x="1253690" y="1575835"/>
                </a:moveTo>
                <a:cubicBezTo>
                  <a:pt x="1255170" y="1575835"/>
                  <a:pt x="1256652" y="1577070"/>
                  <a:pt x="1256652" y="1578797"/>
                </a:cubicBezTo>
                <a:cubicBezTo>
                  <a:pt x="1256406" y="1580279"/>
                  <a:pt x="1255170" y="1581514"/>
                  <a:pt x="1253690" y="1581514"/>
                </a:cubicBezTo>
                <a:cubicBezTo>
                  <a:pt x="1252208" y="1581514"/>
                  <a:pt x="1250975" y="1580279"/>
                  <a:pt x="1250975" y="1578797"/>
                </a:cubicBezTo>
                <a:cubicBezTo>
                  <a:pt x="1250975" y="1577317"/>
                  <a:pt x="1252208" y="1575835"/>
                  <a:pt x="1253690" y="1575835"/>
                </a:cubicBezTo>
                <a:close/>
                <a:moveTo>
                  <a:pt x="1452147" y="1574110"/>
                </a:moveTo>
                <a:cubicBezTo>
                  <a:pt x="1452639" y="1574110"/>
                  <a:pt x="1452885" y="1574357"/>
                  <a:pt x="1452885" y="1574851"/>
                </a:cubicBezTo>
                <a:cubicBezTo>
                  <a:pt x="1452885" y="1575343"/>
                  <a:pt x="1452639" y="1575589"/>
                  <a:pt x="1452147" y="1575589"/>
                </a:cubicBezTo>
                <a:cubicBezTo>
                  <a:pt x="1451652" y="1575589"/>
                  <a:pt x="1451405" y="1575343"/>
                  <a:pt x="1451405" y="1574851"/>
                </a:cubicBezTo>
                <a:cubicBezTo>
                  <a:pt x="1451405" y="1574357"/>
                  <a:pt x="1451652" y="1574110"/>
                  <a:pt x="1452147" y="1574110"/>
                </a:cubicBezTo>
                <a:close/>
                <a:moveTo>
                  <a:pt x="1050297" y="1570403"/>
                </a:moveTo>
                <a:cubicBezTo>
                  <a:pt x="1051779" y="1570403"/>
                  <a:pt x="1052767" y="1571636"/>
                  <a:pt x="1052767" y="1572873"/>
                </a:cubicBezTo>
                <a:cubicBezTo>
                  <a:pt x="1053013" y="1574108"/>
                  <a:pt x="1051779" y="1575339"/>
                  <a:pt x="1050297" y="1575339"/>
                </a:cubicBezTo>
                <a:cubicBezTo>
                  <a:pt x="1048817" y="1575339"/>
                  <a:pt x="1047830" y="1574108"/>
                  <a:pt x="1047830" y="1572873"/>
                </a:cubicBezTo>
                <a:cubicBezTo>
                  <a:pt x="1047830" y="1571390"/>
                  <a:pt x="1049063" y="1570403"/>
                  <a:pt x="1050297" y="1570403"/>
                </a:cubicBezTo>
                <a:close/>
                <a:moveTo>
                  <a:pt x="2122039" y="1567453"/>
                </a:moveTo>
                <a:cubicBezTo>
                  <a:pt x="2122532" y="1567453"/>
                  <a:pt x="2123027" y="1567948"/>
                  <a:pt x="2123027" y="1568440"/>
                </a:cubicBezTo>
                <a:cubicBezTo>
                  <a:pt x="2123027" y="1568932"/>
                  <a:pt x="2122532" y="1569428"/>
                  <a:pt x="2122039" y="1569428"/>
                </a:cubicBezTo>
                <a:cubicBezTo>
                  <a:pt x="2121544" y="1569428"/>
                  <a:pt x="2121052" y="1568932"/>
                  <a:pt x="2121052" y="1568440"/>
                </a:cubicBezTo>
                <a:cubicBezTo>
                  <a:pt x="2121052" y="1567948"/>
                  <a:pt x="2121544" y="1567453"/>
                  <a:pt x="2122039" y="1567453"/>
                </a:cubicBezTo>
                <a:close/>
                <a:moveTo>
                  <a:pt x="513922" y="1563984"/>
                </a:moveTo>
                <a:cubicBezTo>
                  <a:pt x="514663" y="1563984"/>
                  <a:pt x="515404" y="1564725"/>
                  <a:pt x="515404" y="1565463"/>
                </a:cubicBezTo>
                <a:cubicBezTo>
                  <a:pt x="515404" y="1566204"/>
                  <a:pt x="514663" y="1566945"/>
                  <a:pt x="513922" y="1566945"/>
                </a:cubicBezTo>
                <a:cubicBezTo>
                  <a:pt x="513183" y="1566945"/>
                  <a:pt x="512442" y="1566204"/>
                  <a:pt x="512442" y="1565463"/>
                </a:cubicBezTo>
                <a:cubicBezTo>
                  <a:pt x="512442" y="1564725"/>
                  <a:pt x="512937" y="1563984"/>
                  <a:pt x="513922" y="1563984"/>
                </a:cubicBezTo>
                <a:close/>
                <a:moveTo>
                  <a:pt x="3095798" y="1563524"/>
                </a:moveTo>
                <a:cubicBezTo>
                  <a:pt x="3103943" y="1563524"/>
                  <a:pt x="3110608" y="1570185"/>
                  <a:pt x="3110608" y="1578329"/>
                </a:cubicBezTo>
                <a:cubicBezTo>
                  <a:pt x="3110608" y="1586473"/>
                  <a:pt x="3103943" y="1593137"/>
                  <a:pt x="3095798" y="1593137"/>
                </a:cubicBezTo>
                <a:cubicBezTo>
                  <a:pt x="3087653" y="1593137"/>
                  <a:pt x="3080988" y="1586473"/>
                  <a:pt x="3080988" y="1578329"/>
                </a:cubicBezTo>
                <a:cubicBezTo>
                  <a:pt x="3080988" y="1570185"/>
                  <a:pt x="3087653" y="1563524"/>
                  <a:pt x="3095798" y="1563524"/>
                </a:cubicBezTo>
                <a:close/>
                <a:moveTo>
                  <a:pt x="1645174" y="1563251"/>
                </a:moveTo>
                <a:cubicBezTo>
                  <a:pt x="1645422" y="1563251"/>
                  <a:pt x="1645422" y="1563498"/>
                  <a:pt x="1645422" y="1563498"/>
                </a:cubicBezTo>
                <a:cubicBezTo>
                  <a:pt x="1645422" y="1563743"/>
                  <a:pt x="1645174" y="1563743"/>
                  <a:pt x="1645174" y="1563743"/>
                </a:cubicBezTo>
                <a:cubicBezTo>
                  <a:pt x="1644928" y="1563743"/>
                  <a:pt x="1644928" y="1563498"/>
                  <a:pt x="1644928" y="1563498"/>
                </a:cubicBezTo>
                <a:cubicBezTo>
                  <a:pt x="1644928" y="1563251"/>
                  <a:pt x="1645174" y="1563251"/>
                  <a:pt x="1645174" y="1563251"/>
                </a:cubicBezTo>
                <a:close/>
                <a:moveTo>
                  <a:pt x="2827983" y="1559323"/>
                </a:moveTo>
                <a:cubicBezTo>
                  <a:pt x="2838349" y="1559323"/>
                  <a:pt x="2846497" y="1567711"/>
                  <a:pt x="2846497" y="1578080"/>
                </a:cubicBezTo>
                <a:cubicBezTo>
                  <a:pt x="2846497" y="1588442"/>
                  <a:pt x="2838349" y="1596594"/>
                  <a:pt x="2827983" y="1596594"/>
                </a:cubicBezTo>
                <a:cubicBezTo>
                  <a:pt x="2817615" y="1596594"/>
                  <a:pt x="2809470" y="1588197"/>
                  <a:pt x="2809470" y="1578080"/>
                </a:cubicBezTo>
                <a:cubicBezTo>
                  <a:pt x="2809470" y="1567711"/>
                  <a:pt x="2817864" y="1559323"/>
                  <a:pt x="2827983" y="1559323"/>
                </a:cubicBezTo>
                <a:close/>
                <a:moveTo>
                  <a:pt x="2565598" y="1549930"/>
                </a:moveTo>
                <a:cubicBezTo>
                  <a:pt x="2571522" y="1549930"/>
                  <a:pt x="2576212" y="1554874"/>
                  <a:pt x="2576212" y="1560798"/>
                </a:cubicBezTo>
                <a:cubicBezTo>
                  <a:pt x="2576459" y="1566721"/>
                  <a:pt x="2571522" y="1571410"/>
                  <a:pt x="2565598" y="1571410"/>
                </a:cubicBezTo>
                <a:cubicBezTo>
                  <a:pt x="2559674" y="1571410"/>
                  <a:pt x="2554983" y="1566476"/>
                  <a:pt x="2554983" y="1560798"/>
                </a:cubicBezTo>
                <a:cubicBezTo>
                  <a:pt x="2554983" y="1554874"/>
                  <a:pt x="2559920" y="1549930"/>
                  <a:pt x="2565598" y="1549930"/>
                </a:cubicBezTo>
                <a:close/>
                <a:moveTo>
                  <a:pt x="839993" y="1547199"/>
                </a:moveTo>
                <a:cubicBezTo>
                  <a:pt x="845176" y="1547199"/>
                  <a:pt x="849866" y="1551643"/>
                  <a:pt x="849866" y="1556829"/>
                </a:cubicBezTo>
                <a:cubicBezTo>
                  <a:pt x="849866" y="1562256"/>
                  <a:pt x="845422" y="1566700"/>
                  <a:pt x="839993" y="1566700"/>
                </a:cubicBezTo>
                <a:cubicBezTo>
                  <a:pt x="834562" y="1566700"/>
                  <a:pt x="830366" y="1562256"/>
                  <a:pt x="830366" y="1556829"/>
                </a:cubicBezTo>
                <a:cubicBezTo>
                  <a:pt x="830366" y="1551390"/>
                  <a:pt x="834811" y="1547199"/>
                  <a:pt x="839993" y="1547199"/>
                </a:cubicBezTo>
                <a:close/>
                <a:moveTo>
                  <a:pt x="57771" y="1545222"/>
                </a:moveTo>
                <a:cubicBezTo>
                  <a:pt x="59746" y="1545222"/>
                  <a:pt x="61475" y="1546951"/>
                  <a:pt x="61475" y="1548926"/>
                </a:cubicBezTo>
                <a:cubicBezTo>
                  <a:pt x="61475" y="1550901"/>
                  <a:pt x="59746" y="1552622"/>
                  <a:pt x="57771" y="1552622"/>
                </a:cubicBezTo>
                <a:cubicBezTo>
                  <a:pt x="55797" y="1552622"/>
                  <a:pt x="54068" y="1550901"/>
                  <a:pt x="54068" y="1548926"/>
                </a:cubicBezTo>
                <a:cubicBezTo>
                  <a:pt x="54068" y="1546951"/>
                  <a:pt x="55797" y="1545222"/>
                  <a:pt x="57771" y="1545222"/>
                </a:cubicBezTo>
                <a:close/>
                <a:moveTo>
                  <a:pt x="1832279" y="1544495"/>
                </a:moveTo>
                <a:cubicBezTo>
                  <a:pt x="1833092" y="1544495"/>
                  <a:pt x="1833756" y="1545158"/>
                  <a:pt x="1833756" y="1545974"/>
                </a:cubicBezTo>
                <a:cubicBezTo>
                  <a:pt x="1833756" y="1546793"/>
                  <a:pt x="1833092" y="1547455"/>
                  <a:pt x="1832279" y="1547455"/>
                </a:cubicBezTo>
                <a:cubicBezTo>
                  <a:pt x="1831457" y="1547455"/>
                  <a:pt x="1830795" y="1546793"/>
                  <a:pt x="1830795" y="1545974"/>
                </a:cubicBezTo>
                <a:cubicBezTo>
                  <a:pt x="1830795" y="1545158"/>
                  <a:pt x="1831457" y="1544495"/>
                  <a:pt x="1832279" y="1544495"/>
                </a:cubicBezTo>
                <a:close/>
                <a:moveTo>
                  <a:pt x="2297785" y="1536605"/>
                </a:moveTo>
                <a:cubicBezTo>
                  <a:pt x="2299514" y="1536605"/>
                  <a:pt x="2300747" y="1537839"/>
                  <a:pt x="2300747" y="1539566"/>
                </a:cubicBezTo>
                <a:cubicBezTo>
                  <a:pt x="2300993" y="1541295"/>
                  <a:pt x="2299514" y="1542528"/>
                  <a:pt x="2297785" y="1542528"/>
                </a:cubicBezTo>
                <a:cubicBezTo>
                  <a:pt x="2296057" y="1542528"/>
                  <a:pt x="2294823" y="1541045"/>
                  <a:pt x="2294823" y="1539566"/>
                </a:cubicBezTo>
                <a:cubicBezTo>
                  <a:pt x="2294823" y="1537839"/>
                  <a:pt x="2296303" y="1536605"/>
                  <a:pt x="2297785" y="1536605"/>
                </a:cubicBezTo>
                <a:close/>
                <a:moveTo>
                  <a:pt x="173535" y="1529673"/>
                </a:moveTo>
                <a:cubicBezTo>
                  <a:pt x="175756" y="1529673"/>
                  <a:pt x="177484" y="1531402"/>
                  <a:pt x="177484" y="1533622"/>
                </a:cubicBezTo>
                <a:cubicBezTo>
                  <a:pt x="177238" y="1535598"/>
                  <a:pt x="175510" y="1537325"/>
                  <a:pt x="173535" y="1537325"/>
                </a:cubicBezTo>
                <a:cubicBezTo>
                  <a:pt x="171560" y="1537325"/>
                  <a:pt x="169586" y="1535598"/>
                  <a:pt x="169586" y="1533622"/>
                </a:cubicBezTo>
                <a:cubicBezTo>
                  <a:pt x="169586" y="1531402"/>
                  <a:pt x="171314" y="1529673"/>
                  <a:pt x="173535" y="1529673"/>
                </a:cubicBezTo>
                <a:close/>
                <a:moveTo>
                  <a:pt x="624256" y="1524985"/>
                </a:moveTo>
                <a:cubicBezTo>
                  <a:pt x="625985" y="1524985"/>
                  <a:pt x="627467" y="1526464"/>
                  <a:pt x="627467" y="1528192"/>
                </a:cubicBezTo>
                <a:cubicBezTo>
                  <a:pt x="627713" y="1529920"/>
                  <a:pt x="626231" y="1531402"/>
                  <a:pt x="624256" y="1531402"/>
                </a:cubicBezTo>
                <a:cubicBezTo>
                  <a:pt x="622528" y="1531402"/>
                  <a:pt x="621048" y="1529920"/>
                  <a:pt x="621048" y="1528192"/>
                </a:cubicBezTo>
                <a:cubicBezTo>
                  <a:pt x="621048" y="1526464"/>
                  <a:pt x="622528" y="1524985"/>
                  <a:pt x="624256" y="1524985"/>
                </a:cubicBezTo>
                <a:close/>
                <a:moveTo>
                  <a:pt x="3255009" y="1515157"/>
                </a:moveTo>
                <a:cubicBezTo>
                  <a:pt x="3266116" y="1515157"/>
                  <a:pt x="3275248" y="1524285"/>
                  <a:pt x="3275248" y="1535390"/>
                </a:cubicBezTo>
                <a:cubicBezTo>
                  <a:pt x="3275248" y="1546493"/>
                  <a:pt x="3266116" y="1555632"/>
                  <a:pt x="3255009" y="1555632"/>
                </a:cubicBezTo>
                <a:cubicBezTo>
                  <a:pt x="3243899" y="1555632"/>
                  <a:pt x="3234767" y="1546493"/>
                  <a:pt x="3234767" y="1535390"/>
                </a:cubicBezTo>
                <a:cubicBezTo>
                  <a:pt x="3234767" y="1524285"/>
                  <a:pt x="3243899" y="1515157"/>
                  <a:pt x="3255009" y="1515157"/>
                </a:cubicBezTo>
                <a:close/>
                <a:moveTo>
                  <a:pt x="1151002" y="1511908"/>
                </a:moveTo>
                <a:cubicBezTo>
                  <a:pt x="1152482" y="1511908"/>
                  <a:pt x="1153718" y="1513142"/>
                  <a:pt x="1153718" y="1514624"/>
                </a:cubicBezTo>
                <a:cubicBezTo>
                  <a:pt x="1153964" y="1516103"/>
                  <a:pt x="1152730" y="1517339"/>
                  <a:pt x="1151002" y="1517339"/>
                </a:cubicBezTo>
                <a:cubicBezTo>
                  <a:pt x="1149520" y="1517339"/>
                  <a:pt x="1148286" y="1516103"/>
                  <a:pt x="1148286" y="1514624"/>
                </a:cubicBezTo>
                <a:cubicBezTo>
                  <a:pt x="1148286" y="1513142"/>
                  <a:pt x="1149520" y="1511908"/>
                  <a:pt x="1151002" y="1511908"/>
                </a:cubicBezTo>
                <a:close/>
                <a:moveTo>
                  <a:pt x="1350202" y="1511418"/>
                </a:moveTo>
                <a:cubicBezTo>
                  <a:pt x="1351684" y="1511418"/>
                  <a:pt x="1353164" y="1512652"/>
                  <a:pt x="1353164" y="1514380"/>
                </a:cubicBezTo>
                <a:cubicBezTo>
                  <a:pt x="1353164" y="1516108"/>
                  <a:pt x="1351930" y="1517096"/>
                  <a:pt x="1350202" y="1517096"/>
                </a:cubicBezTo>
                <a:cubicBezTo>
                  <a:pt x="1348719" y="1517096"/>
                  <a:pt x="1347239" y="1515859"/>
                  <a:pt x="1347239" y="1514380"/>
                </a:cubicBezTo>
                <a:cubicBezTo>
                  <a:pt x="1347239" y="1512898"/>
                  <a:pt x="1348473" y="1511418"/>
                  <a:pt x="1350202" y="1511418"/>
                </a:cubicBezTo>
                <a:close/>
                <a:moveTo>
                  <a:pt x="2024786" y="1511179"/>
                </a:moveTo>
                <a:cubicBezTo>
                  <a:pt x="2025527" y="1511179"/>
                  <a:pt x="2026022" y="1511674"/>
                  <a:pt x="2026022" y="1512413"/>
                </a:cubicBezTo>
                <a:cubicBezTo>
                  <a:pt x="2026022" y="1513154"/>
                  <a:pt x="2025527" y="1513649"/>
                  <a:pt x="2024786" y="1513649"/>
                </a:cubicBezTo>
                <a:cubicBezTo>
                  <a:pt x="2024047" y="1513649"/>
                  <a:pt x="2023552" y="1513154"/>
                  <a:pt x="2023552" y="1512413"/>
                </a:cubicBezTo>
                <a:cubicBezTo>
                  <a:pt x="2023552" y="1511674"/>
                  <a:pt x="2024047" y="1511179"/>
                  <a:pt x="2024786" y="1511179"/>
                </a:cubicBezTo>
                <a:close/>
                <a:moveTo>
                  <a:pt x="2732953" y="1509467"/>
                </a:moveTo>
                <a:cubicBezTo>
                  <a:pt x="2741098" y="1509467"/>
                  <a:pt x="2747514" y="1516132"/>
                  <a:pt x="2747514" y="1524030"/>
                </a:cubicBezTo>
                <a:cubicBezTo>
                  <a:pt x="2747514" y="1531926"/>
                  <a:pt x="2740849" y="1538589"/>
                  <a:pt x="2732953" y="1538589"/>
                </a:cubicBezTo>
                <a:cubicBezTo>
                  <a:pt x="2724805" y="1538589"/>
                  <a:pt x="2718389" y="1532173"/>
                  <a:pt x="2718389" y="1524030"/>
                </a:cubicBezTo>
                <a:cubicBezTo>
                  <a:pt x="2718389" y="1515887"/>
                  <a:pt x="2725054" y="1509467"/>
                  <a:pt x="2732953" y="1509467"/>
                </a:cubicBezTo>
                <a:close/>
                <a:moveTo>
                  <a:pt x="288313" y="1508201"/>
                </a:moveTo>
                <a:cubicBezTo>
                  <a:pt x="290534" y="1508201"/>
                  <a:pt x="292263" y="1509930"/>
                  <a:pt x="292263" y="1512151"/>
                </a:cubicBezTo>
                <a:cubicBezTo>
                  <a:pt x="292263" y="1514371"/>
                  <a:pt x="290534" y="1516100"/>
                  <a:pt x="288313" y="1516100"/>
                </a:cubicBezTo>
                <a:cubicBezTo>
                  <a:pt x="286092" y="1516100"/>
                  <a:pt x="284364" y="1514371"/>
                  <a:pt x="284364" y="1512151"/>
                </a:cubicBezTo>
                <a:cubicBezTo>
                  <a:pt x="284364" y="1509930"/>
                  <a:pt x="286092" y="1508201"/>
                  <a:pt x="288313" y="1508201"/>
                </a:cubicBezTo>
                <a:close/>
                <a:moveTo>
                  <a:pt x="1544711" y="1504259"/>
                </a:moveTo>
                <a:cubicBezTo>
                  <a:pt x="1544960" y="1504259"/>
                  <a:pt x="1544960" y="1504504"/>
                  <a:pt x="1544960" y="1504754"/>
                </a:cubicBezTo>
                <a:cubicBezTo>
                  <a:pt x="1545206" y="1505001"/>
                  <a:pt x="1544960" y="1505246"/>
                  <a:pt x="1544711" y="1505246"/>
                </a:cubicBezTo>
                <a:cubicBezTo>
                  <a:pt x="1544465" y="1505246"/>
                  <a:pt x="1544219" y="1505001"/>
                  <a:pt x="1544219" y="1504754"/>
                </a:cubicBezTo>
                <a:cubicBezTo>
                  <a:pt x="1544219" y="1504504"/>
                  <a:pt x="1544465" y="1504259"/>
                  <a:pt x="1544711" y="1504259"/>
                </a:cubicBezTo>
                <a:close/>
                <a:moveTo>
                  <a:pt x="3001263" y="1500833"/>
                </a:moveTo>
                <a:cubicBezTo>
                  <a:pt x="3014096" y="1500833"/>
                  <a:pt x="3024464" y="1511202"/>
                  <a:pt x="3024464" y="1524037"/>
                </a:cubicBezTo>
                <a:cubicBezTo>
                  <a:pt x="3024464" y="1536868"/>
                  <a:pt x="3014096" y="1547229"/>
                  <a:pt x="3001263" y="1547229"/>
                </a:cubicBezTo>
                <a:cubicBezTo>
                  <a:pt x="2988425" y="1547229"/>
                  <a:pt x="2978059" y="1536868"/>
                  <a:pt x="2978059" y="1524037"/>
                </a:cubicBezTo>
                <a:cubicBezTo>
                  <a:pt x="2978059" y="1511202"/>
                  <a:pt x="2988425" y="1500833"/>
                  <a:pt x="3001263" y="1500833"/>
                </a:cubicBezTo>
                <a:close/>
                <a:moveTo>
                  <a:pt x="2470073" y="1499586"/>
                </a:moveTo>
                <a:cubicBezTo>
                  <a:pt x="2473530" y="1499586"/>
                  <a:pt x="2476492" y="1502549"/>
                  <a:pt x="2476492" y="1506005"/>
                </a:cubicBezTo>
                <a:cubicBezTo>
                  <a:pt x="2476492" y="1509460"/>
                  <a:pt x="2473776" y="1512424"/>
                  <a:pt x="2470073" y="1512424"/>
                </a:cubicBezTo>
                <a:cubicBezTo>
                  <a:pt x="2466372" y="1512424"/>
                  <a:pt x="2463656" y="1509460"/>
                  <a:pt x="2463656" y="1506005"/>
                </a:cubicBezTo>
                <a:cubicBezTo>
                  <a:pt x="2463656" y="1502303"/>
                  <a:pt x="2466618" y="1499586"/>
                  <a:pt x="2470073" y="1499586"/>
                </a:cubicBezTo>
                <a:close/>
                <a:moveTo>
                  <a:pt x="944651" y="1495615"/>
                </a:moveTo>
                <a:cubicBezTo>
                  <a:pt x="950578" y="1495615"/>
                  <a:pt x="955019" y="1500306"/>
                  <a:pt x="955019" y="1505982"/>
                </a:cubicBezTo>
                <a:cubicBezTo>
                  <a:pt x="955019" y="1511660"/>
                  <a:pt x="950578" y="1516351"/>
                  <a:pt x="944651" y="1516351"/>
                </a:cubicBezTo>
                <a:cubicBezTo>
                  <a:pt x="938975" y="1516351"/>
                  <a:pt x="934285" y="1511660"/>
                  <a:pt x="934285" y="1505982"/>
                </a:cubicBezTo>
                <a:cubicBezTo>
                  <a:pt x="934285" y="1500306"/>
                  <a:pt x="938975" y="1495615"/>
                  <a:pt x="944651" y="1495615"/>
                </a:cubicBezTo>
                <a:close/>
                <a:moveTo>
                  <a:pt x="1733542" y="1488215"/>
                </a:moveTo>
                <a:cubicBezTo>
                  <a:pt x="1733790" y="1488215"/>
                  <a:pt x="1733790" y="1488461"/>
                  <a:pt x="1733790" y="1488461"/>
                </a:cubicBezTo>
                <a:cubicBezTo>
                  <a:pt x="1734037" y="1488710"/>
                  <a:pt x="1733790" y="1488710"/>
                  <a:pt x="1733542" y="1488710"/>
                </a:cubicBezTo>
                <a:cubicBezTo>
                  <a:pt x="1733296" y="1488710"/>
                  <a:pt x="1733296" y="1488710"/>
                  <a:pt x="1733296" y="1488461"/>
                </a:cubicBezTo>
                <a:cubicBezTo>
                  <a:pt x="1733296" y="1488215"/>
                  <a:pt x="1733296" y="1488215"/>
                  <a:pt x="1733542" y="1488215"/>
                </a:cubicBezTo>
                <a:close/>
                <a:moveTo>
                  <a:pt x="2202014" y="1483039"/>
                </a:moveTo>
                <a:cubicBezTo>
                  <a:pt x="2202507" y="1483039"/>
                  <a:pt x="2202753" y="1483285"/>
                  <a:pt x="2202753" y="1483779"/>
                </a:cubicBezTo>
                <a:cubicBezTo>
                  <a:pt x="2202753" y="1484272"/>
                  <a:pt x="2202507" y="1484518"/>
                  <a:pt x="2202014" y="1484518"/>
                </a:cubicBezTo>
                <a:cubicBezTo>
                  <a:pt x="2201519" y="1484518"/>
                  <a:pt x="2201273" y="1484272"/>
                  <a:pt x="2201273" y="1483779"/>
                </a:cubicBezTo>
                <a:cubicBezTo>
                  <a:pt x="2201273" y="1483285"/>
                  <a:pt x="2201519" y="1483039"/>
                  <a:pt x="2202014" y="1483039"/>
                </a:cubicBezTo>
                <a:close/>
                <a:moveTo>
                  <a:pt x="732866" y="1482530"/>
                </a:moveTo>
                <a:cubicBezTo>
                  <a:pt x="734346" y="1482530"/>
                  <a:pt x="735828" y="1483763"/>
                  <a:pt x="735828" y="1485492"/>
                </a:cubicBezTo>
                <a:cubicBezTo>
                  <a:pt x="735828" y="1487221"/>
                  <a:pt x="734346" y="1488454"/>
                  <a:pt x="732866" y="1488454"/>
                </a:cubicBezTo>
                <a:cubicBezTo>
                  <a:pt x="731137" y="1488454"/>
                  <a:pt x="729904" y="1487221"/>
                  <a:pt x="729904" y="1485492"/>
                </a:cubicBezTo>
                <a:cubicBezTo>
                  <a:pt x="729904" y="1483763"/>
                  <a:pt x="731137" y="1482530"/>
                  <a:pt x="732866" y="1482530"/>
                </a:cubicBezTo>
                <a:close/>
                <a:moveTo>
                  <a:pt x="401610" y="1480554"/>
                </a:moveTo>
                <a:cubicBezTo>
                  <a:pt x="403831" y="1480554"/>
                  <a:pt x="405805" y="1482528"/>
                  <a:pt x="405805" y="1484749"/>
                </a:cubicBezTo>
                <a:cubicBezTo>
                  <a:pt x="405805" y="1487219"/>
                  <a:pt x="404079" y="1488945"/>
                  <a:pt x="401610" y="1488945"/>
                </a:cubicBezTo>
                <a:cubicBezTo>
                  <a:pt x="399389" y="1488945"/>
                  <a:pt x="397414" y="1486970"/>
                  <a:pt x="397414" y="1484749"/>
                </a:cubicBezTo>
                <a:cubicBezTo>
                  <a:pt x="397414" y="1482528"/>
                  <a:pt x="399389" y="1480554"/>
                  <a:pt x="401610" y="1480554"/>
                </a:cubicBezTo>
                <a:close/>
                <a:moveTo>
                  <a:pt x="3160716" y="1465777"/>
                </a:moveTo>
                <a:cubicBezTo>
                  <a:pt x="3169356" y="1465777"/>
                  <a:pt x="3176514" y="1472932"/>
                  <a:pt x="3176514" y="1481575"/>
                </a:cubicBezTo>
                <a:cubicBezTo>
                  <a:pt x="3176514" y="1490217"/>
                  <a:pt x="3169356" y="1497378"/>
                  <a:pt x="3160716" y="1497378"/>
                </a:cubicBezTo>
                <a:cubicBezTo>
                  <a:pt x="3152077" y="1497378"/>
                  <a:pt x="3144919" y="1490217"/>
                  <a:pt x="3144919" y="1481575"/>
                </a:cubicBezTo>
                <a:cubicBezTo>
                  <a:pt x="3144919" y="1472932"/>
                  <a:pt x="3152077" y="1465777"/>
                  <a:pt x="3160716" y="1465777"/>
                </a:cubicBezTo>
                <a:close/>
                <a:moveTo>
                  <a:pt x="1916693" y="1465260"/>
                </a:moveTo>
                <a:cubicBezTo>
                  <a:pt x="1917434" y="1465260"/>
                  <a:pt x="1918175" y="1466003"/>
                  <a:pt x="1918175" y="1466746"/>
                </a:cubicBezTo>
                <a:cubicBezTo>
                  <a:pt x="1918175" y="1467486"/>
                  <a:pt x="1917680" y="1468226"/>
                  <a:pt x="1916693" y="1468226"/>
                </a:cubicBezTo>
                <a:cubicBezTo>
                  <a:pt x="1915955" y="1468226"/>
                  <a:pt x="1915214" y="1467486"/>
                  <a:pt x="1915214" y="1466746"/>
                </a:cubicBezTo>
                <a:cubicBezTo>
                  <a:pt x="1915214" y="1466003"/>
                  <a:pt x="1915955" y="1465260"/>
                  <a:pt x="1916693" y="1465260"/>
                </a:cubicBezTo>
                <a:close/>
                <a:moveTo>
                  <a:pt x="2896357" y="1464782"/>
                </a:moveTo>
                <a:cubicBezTo>
                  <a:pt x="2906972" y="1464782"/>
                  <a:pt x="2915858" y="1473426"/>
                  <a:pt x="2915858" y="1484288"/>
                </a:cubicBezTo>
                <a:cubicBezTo>
                  <a:pt x="2915858" y="1495152"/>
                  <a:pt x="2907218" y="1503795"/>
                  <a:pt x="2896357" y="1503795"/>
                </a:cubicBezTo>
                <a:cubicBezTo>
                  <a:pt x="2885742" y="1503795"/>
                  <a:pt x="2876856" y="1495152"/>
                  <a:pt x="2876856" y="1484288"/>
                </a:cubicBezTo>
                <a:cubicBezTo>
                  <a:pt x="2876856" y="1473426"/>
                  <a:pt x="2885496" y="1464782"/>
                  <a:pt x="2896357" y="1464782"/>
                </a:cubicBezTo>
                <a:close/>
                <a:moveTo>
                  <a:pt x="2637674" y="1457875"/>
                </a:moveTo>
                <a:cubicBezTo>
                  <a:pt x="2644090" y="1457875"/>
                  <a:pt x="2649522" y="1463053"/>
                  <a:pt x="2649522" y="1469473"/>
                </a:cubicBezTo>
                <a:cubicBezTo>
                  <a:pt x="2649522" y="1476137"/>
                  <a:pt x="2644339" y="1481320"/>
                  <a:pt x="2637674" y="1481320"/>
                </a:cubicBezTo>
                <a:cubicBezTo>
                  <a:pt x="2631255" y="1481320"/>
                  <a:pt x="2626072" y="1476137"/>
                  <a:pt x="2626072" y="1469473"/>
                </a:cubicBezTo>
                <a:cubicBezTo>
                  <a:pt x="2626072" y="1463053"/>
                  <a:pt x="2631255" y="1457875"/>
                  <a:pt x="2637674" y="1457875"/>
                </a:cubicBezTo>
                <a:close/>
                <a:moveTo>
                  <a:pt x="2374057" y="1448236"/>
                </a:moveTo>
                <a:cubicBezTo>
                  <a:pt x="2376032" y="1448236"/>
                  <a:pt x="2377512" y="1449716"/>
                  <a:pt x="2377512" y="1451687"/>
                </a:cubicBezTo>
                <a:cubicBezTo>
                  <a:pt x="2377512" y="1453662"/>
                  <a:pt x="2376032" y="1455155"/>
                  <a:pt x="2374057" y="1455155"/>
                </a:cubicBezTo>
                <a:cubicBezTo>
                  <a:pt x="2372082" y="1455155"/>
                  <a:pt x="2370600" y="1453662"/>
                  <a:pt x="2370600" y="1451687"/>
                </a:cubicBezTo>
                <a:cubicBezTo>
                  <a:pt x="2370600" y="1449716"/>
                  <a:pt x="2372082" y="1448236"/>
                  <a:pt x="2374057" y="1448236"/>
                </a:cubicBezTo>
                <a:close/>
                <a:moveTo>
                  <a:pt x="1248999" y="1448220"/>
                </a:moveTo>
                <a:cubicBezTo>
                  <a:pt x="1250973" y="1448220"/>
                  <a:pt x="1252699" y="1449702"/>
                  <a:pt x="1252699" y="1451924"/>
                </a:cubicBezTo>
                <a:cubicBezTo>
                  <a:pt x="1252699" y="1453899"/>
                  <a:pt x="1250973" y="1455628"/>
                  <a:pt x="1248999" y="1455628"/>
                </a:cubicBezTo>
                <a:cubicBezTo>
                  <a:pt x="1247024" y="1455628"/>
                  <a:pt x="1245295" y="1453899"/>
                  <a:pt x="1245295" y="1451924"/>
                </a:cubicBezTo>
                <a:cubicBezTo>
                  <a:pt x="1245295" y="1449950"/>
                  <a:pt x="1247024" y="1448220"/>
                  <a:pt x="1248999" y="1448220"/>
                </a:cubicBezTo>
                <a:close/>
                <a:moveTo>
                  <a:pt x="513426" y="1446986"/>
                </a:moveTo>
                <a:cubicBezTo>
                  <a:pt x="515895" y="1446986"/>
                  <a:pt x="517870" y="1448958"/>
                  <a:pt x="517870" y="1451425"/>
                </a:cubicBezTo>
                <a:cubicBezTo>
                  <a:pt x="517870" y="1453896"/>
                  <a:pt x="515895" y="1455873"/>
                  <a:pt x="513426" y="1455873"/>
                </a:cubicBezTo>
                <a:cubicBezTo>
                  <a:pt x="510959" y="1455873"/>
                  <a:pt x="508984" y="1453896"/>
                  <a:pt x="508984" y="1451425"/>
                </a:cubicBezTo>
                <a:cubicBezTo>
                  <a:pt x="508984" y="1448958"/>
                  <a:pt x="510959" y="1446986"/>
                  <a:pt x="513426" y="1446986"/>
                </a:cubicBezTo>
                <a:close/>
                <a:moveTo>
                  <a:pt x="1444000" y="1442548"/>
                </a:moveTo>
                <a:cubicBezTo>
                  <a:pt x="1445482" y="1442548"/>
                  <a:pt x="1446715" y="1443780"/>
                  <a:pt x="1446715" y="1445510"/>
                </a:cubicBezTo>
                <a:cubicBezTo>
                  <a:pt x="1446962" y="1447238"/>
                  <a:pt x="1445728" y="1448470"/>
                  <a:pt x="1444000" y="1448470"/>
                </a:cubicBezTo>
                <a:cubicBezTo>
                  <a:pt x="1442271" y="1448470"/>
                  <a:pt x="1441038" y="1447238"/>
                  <a:pt x="1441038" y="1445510"/>
                </a:cubicBezTo>
                <a:cubicBezTo>
                  <a:pt x="1441038" y="1444026"/>
                  <a:pt x="1442271" y="1442548"/>
                  <a:pt x="1444000" y="1442548"/>
                </a:cubicBezTo>
                <a:close/>
                <a:moveTo>
                  <a:pt x="1046839" y="1439086"/>
                </a:moveTo>
                <a:cubicBezTo>
                  <a:pt x="1053008" y="1439086"/>
                  <a:pt x="1057945" y="1444024"/>
                  <a:pt x="1057945" y="1450193"/>
                </a:cubicBezTo>
                <a:cubicBezTo>
                  <a:pt x="1057945" y="1456367"/>
                  <a:pt x="1053008" y="1461303"/>
                  <a:pt x="1046839" y="1461303"/>
                </a:cubicBezTo>
                <a:cubicBezTo>
                  <a:pt x="1040668" y="1461303"/>
                  <a:pt x="1035732" y="1456367"/>
                  <a:pt x="1035732" y="1450193"/>
                </a:cubicBezTo>
                <a:cubicBezTo>
                  <a:pt x="1035732" y="1444024"/>
                  <a:pt x="1040668" y="1439086"/>
                  <a:pt x="1046839" y="1439086"/>
                </a:cubicBezTo>
                <a:close/>
                <a:moveTo>
                  <a:pt x="839004" y="1434644"/>
                </a:moveTo>
                <a:cubicBezTo>
                  <a:pt x="840484" y="1434644"/>
                  <a:pt x="841720" y="1435877"/>
                  <a:pt x="841720" y="1437359"/>
                </a:cubicBezTo>
                <a:cubicBezTo>
                  <a:pt x="841471" y="1438838"/>
                  <a:pt x="840238" y="1440074"/>
                  <a:pt x="839004" y="1440074"/>
                </a:cubicBezTo>
                <a:cubicBezTo>
                  <a:pt x="837522" y="1440074"/>
                  <a:pt x="836289" y="1438838"/>
                  <a:pt x="836289" y="1437359"/>
                </a:cubicBezTo>
                <a:cubicBezTo>
                  <a:pt x="836289" y="1435877"/>
                  <a:pt x="837522" y="1434644"/>
                  <a:pt x="839004" y="1434644"/>
                </a:cubicBezTo>
                <a:close/>
                <a:moveTo>
                  <a:pt x="1634314" y="1430946"/>
                </a:moveTo>
                <a:lnTo>
                  <a:pt x="1634560" y="1431191"/>
                </a:lnTo>
                <a:lnTo>
                  <a:pt x="1634314" y="1431191"/>
                </a:lnTo>
                <a:close/>
                <a:moveTo>
                  <a:pt x="2105501" y="1427501"/>
                </a:moveTo>
                <a:cubicBezTo>
                  <a:pt x="2105993" y="1427501"/>
                  <a:pt x="2106488" y="1427996"/>
                  <a:pt x="2106488" y="1428488"/>
                </a:cubicBezTo>
                <a:cubicBezTo>
                  <a:pt x="2106488" y="1428979"/>
                  <a:pt x="2106242" y="1429469"/>
                  <a:pt x="2105501" y="1429469"/>
                </a:cubicBezTo>
                <a:cubicBezTo>
                  <a:pt x="2105008" y="1429469"/>
                  <a:pt x="2104513" y="1428979"/>
                  <a:pt x="2104513" y="1428488"/>
                </a:cubicBezTo>
                <a:cubicBezTo>
                  <a:pt x="2104513" y="1427996"/>
                  <a:pt x="2105008" y="1427501"/>
                  <a:pt x="2105501" y="1427501"/>
                </a:cubicBezTo>
                <a:close/>
                <a:moveTo>
                  <a:pt x="3316963" y="1415921"/>
                </a:moveTo>
                <a:cubicBezTo>
                  <a:pt x="3328565" y="1415921"/>
                  <a:pt x="3337943" y="1425293"/>
                  <a:pt x="3337943" y="1436901"/>
                </a:cubicBezTo>
                <a:cubicBezTo>
                  <a:pt x="3337943" y="1448498"/>
                  <a:pt x="3328565" y="1457887"/>
                  <a:pt x="3316963" y="1457887"/>
                </a:cubicBezTo>
                <a:cubicBezTo>
                  <a:pt x="3305363" y="1457887"/>
                  <a:pt x="3295982" y="1448498"/>
                  <a:pt x="3295982" y="1436901"/>
                </a:cubicBezTo>
                <a:cubicBezTo>
                  <a:pt x="3295982" y="1425293"/>
                  <a:pt x="3305363" y="1415921"/>
                  <a:pt x="3316963" y="1415921"/>
                </a:cubicBezTo>
                <a:close/>
                <a:moveTo>
                  <a:pt x="2801817" y="1415170"/>
                </a:moveTo>
                <a:cubicBezTo>
                  <a:pt x="2810211" y="1415170"/>
                  <a:pt x="2817122" y="1422081"/>
                  <a:pt x="2817122" y="1430474"/>
                </a:cubicBezTo>
                <a:cubicBezTo>
                  <a:pt x="2817122" y="1438863"/>
                  <a:pt x="2810211" y="1445777"/>
                  <a:pt x="2801817" y="1445777"/>
                </a:cubicBezTo>
                <a:cubicBezTo>
                  <a:pt x="2793426" y="1445777"/>
                  <a:pt x="2786515" y="1438863"/>
                  <a:pt x="2786515" y="1430474"/>
                </a:cubicBezTo>
                <a:cubicBezTo>
                  <a:pt x="2786515" y="1422081"/>
                  <a:pt x="2793426" y="1415170"/>
                  <a:pt x="2801817" y="1415170"/>
                </a:cubicBezTo>
                <a:close/>
                <a:moveTo>
                  <a:pt x="623516" y="1408229"/>
                </a:moveTo>
                <a:cubicBezTo>
                  <a:pt x="625983" y="1408229"/>
                  <a:pt x="627958" y="1410204"/>
                  <a:pt x="627958" y="1412674"/>
                </a:cubicBezTo>
                <a:cubicBezTo>
                  <a:pt x="627958" y="1415141"/>
                  <a:pt x="625983" y="1417116"/>
                  <a:pt x="623516" y="1417116"/>
                </a:cubicBezTo>
                <a:cubicBezTo>
                  <a:pt x="621046" y="1417116"/>
                  <a:pt x="618826" y="1415141"/>
                  <a:pt x="618826" y="1412674"/>
                </a:cubicBezTo>
                <a:cubicBezTo>
                  <a:pt x="618826" y="1410204"/>
                  <a:pt x="620800" y="1408229"/>
                  <a:pt x="623516" y="1408229"/>
                </a:cubicBezTo>
                <a:close/>
                <a:moveTo>
                  <a:pt x="2542643" y="1408007"/>
                </a:moveTo>
                <a:cubicBezTo>
                  <a:pt x="2546592" y="1408007"/>
                  <a:pt x="2549800" y="1411211"/>
                  <a:pt x="2549800" y="1415166"/>
                </a:cubicBezTo>
                <a:cubicBezTo>
                  <a:pt x="2549800" y="1419114"/>
                  <a:pt x="2546592" y="1422326"/>
                  <a:pt x="2542643" y="1422326"/>
                </a:cubicBezTo>
                <a:cubicBezTo>
                  <a:pt x="2538693" y="1422326"/>
                  <a:pt x="2535485" y="1419114"/>
                  <a:pt x="2535485" y="1415166"/>
                </a:cubicBezTo>
                <a:cubicBezTo>
                  <a:pt x="2535485" y="1411211"/>
                  <a:pt x="2538693" y="1408007"/>
                  <a:pt x="2542643" y="1408007"/>
                </a:cubicBezTo>
                <a:close/>
                <a:moveTo>
                  <a:pt x="3066425" y="1403327"/>
                </a:moveTo>
                <a:cubicBezTo>
                  <a:pt x="3079755" y="1403327"/>
                  <a:pt x="3090616" y="1414185"/>
                  <a:pt x="3090616" y="1427517"/>
                </a:cubicBezTo>
                <a:cubicBezTo>
                  <a:pt x="3090616" y="1440843"/>
                  <a:pt x="3079755" y="1451699"/>
                  <a:pt x="3066425" y="1451699"/>
                </a:cubicBezTo>
                <a:cubicBezTo>
                  <a:pt x="3053097" y="1451699"/>
                  <a:pt x="3042236" y="1440843"/>
                  <a:pt x="3042236" y="1427517"/>
                </a:cubicBezTo>
                <a:cubicBezTo>
                  <a:pt x="3042236" y="1414185"/>
                  <a:pt x="3053097" y="1403327"/>
                  <a:pt x="3066425" y="1403327"/>
                </a:cubicBezTo>
                <a:close/>
                <a:moveTo>
                  <a:pt x="2278777" y="1395906"/>
                </a:moveTo>
                <a:cubicBezTo>
                  <a:pt x="2279026" y="1395906"/>
                  <a:pt x="2279272" y="1396152"/>
                  <a:pt x="2279272" y="1396402"/>
                </a:cubicBezTo>
                <a:cubicBezTo>
                  <a:pt x="2279518" y="1396648"/>
                  <a:pt x="2279272" y="1396893"/>
                  <a:pt x="2278777" y="1396893"/>
                </a:cubicBezTo>
                <a:cubicBezTo>
                  <a:pt x="2278531" y="1396893"/>
                  <a:pt x="2278285" y="1396648"/>
                  <a:pt x="2278285" y="1396402"/>
                </a:cubicBezTo>
                <a:cubicBezTo>
                  <a:pt x="2278285" y="1396152"/>
                  <a:pt x="2278531" y="1395906"/>
                  <a:pt x="2278777" y="1395906"/>
                </a:cubicBezTo>
                <a:close/>
                <a:moveTo>
                  <a:pt x="1998373" y="1382818"/>
                </a:moveTo>
                <a:cubicBezTo>
                  <a:pt x="1999114" y="1382818"/>
                  <a:pt x="1999855" y="1383559"/>
                  <a:pt x="1999855" y="1384298"/>
                </a:cubicBezTo>
                <a:cubicBezTo>
                  <a:pt x="1999855" y="1385038"/>
                  <a:pt x="1999114" y="1385779"/>
                  <a:pt x="1998373" y="1385779"/>
                </a:cubicBezTo>
                <a:cubicBezTo>
                  <a:pt x="1997388" y="1385779"/>
                  <a:pt x="1996893" y="1385038"/>
                  <a:pt x="1996893" y="1384298"/>
                </a:cubicBezTo>
                <a:cubicBezTo>
                  <a:pt x="1996893" y="1383559"/>
                  <a:pt x="1997634" y="1382818"/>
                  <a:pt x="1998373" y="1382818"/>
                </a:cubicBezTo>
                <a:close/>
                <a:moveTo>
                  <a:pt x="942675" y="1381822"/>
                </a:moveTo>
                <a:cubicBezTo>
                  <a:pt x="943908" y="1381822"/>
                  <a:pt x="944898" y="1382809"/>
                  <a:pt x="944898" y="1384043"/>
                </a:cubicBezTo>
                <a:cubicBezTo>
                  <a:pt x="944898" y="1385526"/>
                  <a:pt x="943908" y="1386512"/>
                  <a:pt x="942675" y="1386512"/>
                </a:cubicBezTo>
                <a:cubicBezTo>
                  <a:pt x="941441" y="1386512"/>
                  <a:pt x="940453" y="1385526"/>
                  <a:pt x="940453" y="1384043"/>
                </a:cubicBezTo>
                <a:cubicBezTo>
                  <a:pt x="940453" y="1382809"/>
                  <a:pt x="941441" y="1381822"/>
                  <a:pt x="942675" y="1381822"/>
                </a:cubicBezTo>
                <a:close/>
                <a:moveTo>
                  <a:pt x="1344276" y="1380588"/>
                </a:moveTo>
                <a:cubicBezTo>
                  <a:pt x="1346745" y="1380588"/>
                  <a:pt x="1348720" y="1382563"/>
                  <a:pt x="1348720" y="1385030"/>
                </a:cubicBezTo>
                <a:cubicBezTo>
                  <a:pt x="1348720" y="1387500"/>
                  <a:pt x="1346499" y="1389475"/>
                  <a:pt x="1344276" y="1389475"/>
                </a:cubicBezTo>
                <a:cubicBezTo>
                  <a:pt x="1341809" y="1389475"/>
                  <a:pt x="1339834" y="1387500"/>
                  <a:pt x="1339834" y="1385030"/>
                </a:cubicBezTo>
                <a:cubicBezTo>
                  <a:pt x="1339834" y="1382563"/>
                  <a:pt x="1341809" y="1380588"/>
                  <a:pt x="1344276" y="1380588"/>
                </a:cubicBezTo>
                <a:close/>
                <a:moveTo>
                  <a:pt x="1146310" y="1377874"/>
                </a:moveTo>
                <a:cubicBezTo>
                  <a:pt x="1152975" y="1377874"/>
                  <a:pt x="1158158" y="1383306"/>
                  <a:pt x="1158158" y="1389723"/>
                </a:cubicBezTo>
                <a:cubicBezTo>
                  <a:pt x="1158158" y="1396142"/>
                  <a:pt x="1152975" y="1401570"/>
                  <a:pt x="1146310" y="1401570"/>
                </a:cubicBezTo>
                <a:cubicBezTo>
                  <a:pt x="1139645" y="1401570"/>
                  <a:pt x="1134462" y="1396142"/>
                  <a:pt x="1134462" y="1389723"/>
                </a:cubicBezTo>
                <a:cubicBezTo>
                  <a:pt x="1134462" y="1383306"/>
                  <a:pt x="1139894" y="1377874"/>
                  <a:pt x="1146310" y="1377874"/>
                </a:cubicBezTo>
                <a:close/>
                <a:moveTo>
                  <a:pt x="1534836" y="1370225"/>
                </a:moveTo>
                <a:cubicBezTo>
                  <a:pt x="1536315" y="1370225"/>
                  <a:pt x="1537798" y="1371458"/>
                  <a:pt x="1537798" y="1372941"/>
                </a:cubicBezTo>
                <a:cubicBezTo>
                  <a:pt x="1537798" y="1374666"/>
                  <a:pt x="1536564" y="1375903"/>
                  <a:pt x="1534836" y="1375903"/>
                </a:cubicBezTo>
                <a:cubicBezTo>
                  <a:pt x="1533354" y="1375903"/>
                  <a:pt x="1531874" y="1374666"/>
                  <a:pt x="1531874" y="1372941"/>
                </a:cubicBezTo>
                <a:cubicBezTo>
                  <a:pt x="1531874" y="1371458"/>
                  <a:pt x="1533107" y="1370225"/>
                  <a:pt x="1534836" y="1370225"/>
                </a:cubicBezTo>
                <a:close/>
                <a:moveTo>
                  <a:pt x="2962016" y="1368519"/>
                </a:moveTo>
                <a:cubicBezTo>
                  <a:pt x="2973123" y="1368519"/>
                  <a:pt x="2982255" y="1377652"/>
                  <a:pt x="2982255" y="1388762"/>
                </a:cubicBezTo>
                <a:cubicBezTo>
                  <a:pt x="2982255" y="1399870"/>
                  <a:pt x="2973123" y="1409002"/>
                  <a:pt x="2962016" y="1409002"/>
                </a:cubicBezTo>
                <a:cubicBezTo>
                  <a:pt x="2950906" y="1409002"/>
                  <a:pt x="2941774" y="1399870"/>
                  <a:pt x="2941774" y="1388762"/>
                </a:cubicBezTo>
                <a:cubicBezTo>
                  <a:pt x="2941774" y="1377652"/>
                  <a:pt x="2950906" y="1368519"/>
                  <a:pt x="2962016" y="1368519"/>
                </a:cubicBezTo>
                <a:close/>
                <a:moveTo>
                  <a:pt x="3222673" y="1366303"/>
                </a:moveTo>
                <a:cubicBezTo>
                  <a:pt x="3231805" y="1366303"/>
                  <a:pt x="3239458" y="1373711"/>
                  <a:pt x="3239458" y="1383090"/>
                </a:cubicBezTo>
                <a:cubicBezTo>
                  <a:pt x="3239458" y="1392222"/>
                  <a:pt x="3232051" y="1399629"/>
                  <a:pt x="3222673" y="1399629"/>
                </a:cubicBezTo>
                <a:cubicBezTo>
                  <a:pt x="3213541" y="1399629"/>
                  <a:pt x="3206134" y="1392222"/>
                  <a:pt x="3206134" y="1383090"/>
                </a:cubicBezTo>
                <a:cubicBezTo>
                  <a:pt x="3206134" y="1373957"/>
                  <a:pt x="3213541" y="1366303"/>
                  <a:pt x="3222673" y="1366303"/>
                </a:cubicBezTo>
                <a:close/>
                <a:moveTo>
                  <a:pt x="2707034" y="1363576"/>
                </a:moveTo>
                <a:cubicBezTo>
                  <a:pt x="2714191" y="1363576"/>
                  <a:pt x="2719869" y="1369254"/>
                  <a:pt x="2719869" y="1376167"/>
                </a:cubicBezTo>
                <a:cubicBezTo>
                  <a:pt x="2719623" y="1383324"/>
                  <a:pt x="2713945" y="1389003"/>
                  <a:pt x="2707034" y="1389003"/>
                </a:cubicBezTo>
                <a:cubicBezTo>
                  <a:pt x="2699876" y="1389003"/>
                  <a:pt x="2694198" y="1383324"/>
                  <a:pt x="2694198" y="1376167"/>
                </a:cubicBezTo>
                <a:cubicBezTo>
                  <a:pt x="2694198" y="1369254"/>
                  <a:pt x="2699876" y="1363576"/>
                  <a:pt x="2707034" y="1363576"/>
                </a:cubicBezTo>
                <a:close/>
                <a:moveTo>
                  <a:pt x="731136" y="1363058"/>
                </a:moveTo>
                <a:cubicBezTo>
                  <a:pt x="733852" y="1363058"/>
                  <a:pt x="735827" y="1365278"/>
                  <a:pt x="735827" y="1367748"/>
                </a:cubicBezTo>
                <a:cubicBezTo>
                  <a:pt x="736073" y="1370464"/>
                  <a:pt x="733852" y="1372439"/>
                  <a:pt x="731136" y="1372439"/>
                </a:cubicBezTo>
                <a:cubicBezTo>
                  <a:pt x="728420" y="1372439"/>
                  <a:pt x="726445" y="1370215"/>
                  <a:pt x="726445" y="1367748"/>
                </a:cubicBezTo>
                <a:cubicBezTo>
                  <a:pt x="726445" y="1365032"/>
                  <a:pt x="728666" y="1363058"/>
                  <a:pt x="731136" y="1363058"/>
                </a:cubicBezTo>
                <a:close/>
                <a:moveTo>
                  <a:pt x="2447364" y="1357647"/>
                </a:moveTo>
                <a:cubicBezTo>
                  <a:pt x="2449338" y="1357647"/>
                  <a:pt x="2451067" y="1359375"/>
                  <a:pt x="2451067" y="1361350"/>
                </a:cubicBezTo>
                <a:cubicBezTo>
                  <a:pt x="2451067" y="1363325"/>
                  <a:pt x="2449338" y="1365054"/>
                  <a:pt x="2447364" y="1365054"/>
                </a:cubicBezTo>
                <a:cubicBezTo>
                  <a:pt x="2445143" y="1365054"/>
                  <a:pt x="2443414" y="1363325"/>
                  <a:pt x="2443414" y="1361350"/>
                </a:cubicBezTo>
                <a:cubicBezTo>
                  <a:pt x="2443414" y="1359375"/>
                  <a:pt x="2445143" y="1357647"/>
                  <a:pt x="2447364" y="1357647"/>
                </a:cubicBezTo>
                <a:close/>
                <a:moveTo>
                  <a:pt x="1720953" y="1352946"/>
                </a:moveTo>
                <a:cubicBezTo>
                  <a:pt x="1721447" y="1352946"/>
                  <a:pt x="1721693" y="1353192"/>
                  <a:pt x="1721693" y="1353687"/>
                </a:cubicBezTo>
                <a:cubicBezTo>
                  <a:pt x="1721693" y="1354179"/>
                  <a:pt x="1721201" y="1354426"/>
                  <a:pt x="1720953" y="1354426"/>
                </a:cubicBezTo>
                <a:cubicBezTo>
                  <a:pt x="1720458" y="1354426"/>
                  <a:pt x="1720213" y="1354179"/>
                  <a:pt x="1720213" y="1353687"/>
                </a:cubicBezTo>
                <a:cubicBezTo>
                  <a:pt x="1720213" y="1353192"/>
                  <a:pt x="1720458" y="1352946"/>
                  <a:pt x="1720953" y="1352946"/>
                </a:cubicBezTo>
                <a:close/>
                <a:moveTo>
                  <a:pt x="2183008" y="1340609"/>
                </a:moveTo>
                <a:cubicBezTo>
                  <a:pt x="2183500" y="1340609"/>
                  <a:pt x="2183746" y="1341102"/>
                  <a:pt x="2183746" y="1341351"/>
                </a:cubicBezTo>
                <a:cubicBezTo>
                  <a:pt x="2183995" y="1341843"/>
                  <a:pt x="2183500" y="1342090"/>
                  <a:pt x="2183008" y="1342090"/>
                </a:cubicBezTo>
                <a:cubicBezTo>
                  <a:pt x="2182513" y="1342090"/>
                  <a:pt x="2182267" y="1341843"/>
                  <a:pt x="2182267" y="1341351"/>
                </a:cubicBezTo>
                <a:cubicBezTo>
                  <a:pt x="2182267" y="1340856"/>
                  <a:pt x="2182759" y="1340609"/>
                  <a:pt x="2183008" y="1340609"/>
                </a:cubicBezTo>
                <a:close/>
                <a:moveTo>
                  <a:pt x="55795" y="1328004"/>
                </a:moveTo>
                <a:cubicBezTo>
                  <a:pt x="57274" y="1328004"/>
                  <a:pt x="58510" y="1329238"/>
                  <a:pt x="58510" y="1330720"/>
                </a:cubicBezTo>
                <a:cubicBezTo>
                  <a:pt x="58510" y="1332200"/>
                  <a:pt x="57274" y="1333436"/>
                  <a:pt x="55795" y="1333436"/>
                </a:cubicBezTo>
                <a:cubicBezTo>
                  <a:pt x="54312" y="1333436"/>
                  <a:pt x="53079" y="1332200"/>
                  <a:pt x="53079" y="1330720"/>
                </a:cubicBezTo>
                <a:cubicBezTo>
                  <a:pt x="53079" y="1329238"/>
                  <a:pt x="54312" y="1328004"/>
                  <a:pt x="55795" y="1328004"/>
                </a:cubicBezTo>
                <a:close/>
                <a:moveTo>
                  <a:pt x="1901392" y="1327275"/>
                </a:moveTo>
                <a:cubicBezTo>
                  <a:pt x="1901884" y="1327275"/>
                  <a:pt x="1902380" y="1327770"/>
                  <a:pt x="1902380" y="1328262"/>
                </a:cubicBezTo>
                <a:cubicBezTo>
                  <a:pt x="1902380" y="1329004"/>
                  <a:pt x="1901884" y="1329250"/>
                  <a:pt x="1901392" y="1329250"/>
                </a:cubicBezTo>
                <a:cubicBezTo>
                  <a:pt x="1900899" y="1329250"/>
                  <a:pt x="1900404" y="1328755"/>
                  <a:pt x="1900404" y="1328262"/>
                </a:cubicBezTo>
                <a:cubicBezTo>
                  <a:pt x="1900404" y="1327770"/>
                  <a:pt x="1900899" y="1327275"/>
                  <a:pt x="1901392" y="1327275"/>
                </a:cubicBezTo>
                <a:close/>
                <a:moveTo>
                  <a:pt x="1043383" y="1324059"/>
                </a:moveTo>
                <a:cubicBezTo>
                  <a:pt x="1044371" y="1324059"/>
                  <a:pt x="1045358" y="1325046"/>
                  <a:pt x="1045358" y="1326033"/>
                </a:cubicBezTo>
                <a:cubicBezTo>
                  <a:pt x="1045604" y="1327020"/>
                  <a:pt x="1044617" y="1328008"/>
                  <a:pt x="1043383" y="1328008"/>
                </a:cubicBezTo>
                <a:cubicBezTo>
                  <a:pt x="1042396" y="1328008"/>
                  <a:pt x="1041408" y="1327020"/>
                  <a:pt x="1041408" y="1326033"/>
                </a:cubicBezTo>
                <a:cubicBezTo>
                  <a:pt x="1041408" y="1325046"/>
                  <a:pt x="1042396" y="1324059"/>
                  <a:pt x="1043383" y="1324059"/>
                </a:cubicBezTo>
                <a:close/>
                <a:moveTo>
                  <a:pt x="2867475" y="1318651"/>
                </a:moveTo>
                <a:cubicBezTo>
                  <a:pt x="2876360" y="1318651"/>
                  <a:pt x="2883518" y="1325809"/>
                  <a:pt x="2883518" y="1334696"/>
                </a:cubicBezTo>
                <a:cubicBezTo>
                  <a:pt x="2883767" y="1343583"/>
                  <a:pt x="2876360" y="1350991"/>
                  <a:pt x="2867475" y="1350991"/>
                </a:cubicBezTo>
                <a:cubicBezTo>
                  <a:pt x="2858589" y="1350991"/>
                  <a:pt x="2851431" y="1343829"/>
                  <a:pt x="2851431" y="1334696"/>
                </a:cubicBezTo>
                <a:cubicBezTo>
                  <a:pt x="2851431" y="1325809"/>
                  <a:pt x="2858589" y="1318651"/>
                  <a:pt x="2867475" y="1318651"/>
                </a:cubicBezTo>
                <a:close/>
                <a:moveTo>
                  <a:pt x="3376203" y="1314957"/>
                </a:moveTo>
                <a:cubicBezTo>
                  <a:pt x="3388297" y="1314957"/>
                  <a:pt x="3397924" y="1324830"/>
                  <a:pt x="3397924" y="1336680"/>
                </a:cubicBezTo>
                <a:cubicBezTo>
                  <a:pt x="3397924" y="1348776"/>
                  <a:pt x="3388051" y="1358404"/>
                  <a:pt x="3376203" y="1358404"/>
                </a:cubicBezTo>
                <a:cubicBezTo>
                  <a:pt x="3364108" y="1358404"/>
                  <a:pt x="3354481" y="1348776"/>
                  <a:pt x="3354481" y="1336680"/>
                </a:cubicBezTo>
                <a:cubicBezTo>
                  <a:pt x="3354481" y="1324584"/>
                  <a:pt x="3364355" y="1314957"/>
                  <a:pt x="3376203" y="1314957"/>
                </a:cubicBezTo>
                <a:close/>
                <a:moveTo>
                  <a:pt x="2612248" y="1314449"/>
                </a:moveTo>
                <a:cubicBezTo>
                  <a:pt x="2616444" y="1314449"/>
                  <a:pt x="2619898" y="1317903"/>
                  <a:pt x="2619898" y="1322101"/>
                </a:cubicBezTo>
                <a:cubicBezTo>
                  <a:pt x="2619898" y="1326297"/>
                  <a:pt x="2616690" y="1329754"/>
                  <a:pt x="2612248" y="1329754"/>
                </a:cubicBezTo>
                <a:cubicBezTo>
                  <a:pt x="2608053" y="1329754"/>
                  <a:pt x="2604596" y="1326297"/>
                  <a:pt x="2604596" y="1322101"/>
                </a:cubicBezTo>
                <a:cubicBezTo>
                  <a:pt x="2604596" y="1317903"/>
                  <a:pt x="2608053" y="1314449"/>
                  <a:pt x="2612248" y="1314449"/>
                </a:cubicBezTo>
                <a:close/>
                <a:moveTo>
                  <a:pt x="836536" y="1312455"/>
                </a:moveTo>
                <a:cubicBezTo>
                  <a:pt x="839252" y="1312455"/>
                  <a:pt x="841473" y="1314676"/>
                  <a:pt x="841473" y="1317638"/>
                </a:cubicBezTo>
                <a:cubicBezTo>
                  <a:pt x="841473" y="1320354"/>
                  <a:pt x="839252" y="1322575"/>
                  <a:pt x="836536" y="1322575"/>
                </a:cubicBezTo>
                <a:cubicBezTo>
                  <a:pt x="833823" y="1322575"/>
                  <a:pt x="831353" y="1320354"/>
                  <a:pt x="831353" y="1317638"/>
                </a:cubicBezTo>
                <a:cubicBezTo>
                  <a:pt x="831353" y="1314922"/>
                  <a:pt x="833574" y="1312455"/>
                  <a:pt x="836536" y="1312455"/>
                </a:cubicBezTo>
                <a:close/>
                <a:moveTo>
                  <a:pt x="170571" y="1312453"/>
                </a:moveTo>
                <a:cubicBezTo>
                  <a:pt x="171312" y="1312453"/>
                  <a:pt x="172053" y="1313194"/>
                  <a:pt x="172053" y="1313932"/>
                </a:cubicBezTo>
                <a:cubicBezTo>
                  <a:pt x="172053" y="1314674"/>
                  <a:pt x="171312" y="1315414"/>
                  <a:pt x="170571" y="1315414"/>
                </a:cubicBezTo>
                <a:cubicBezTo>
                  <a:pt x="169833" y="1315414"/>
                  <a:pt x="169092" y="1314674"/>
                  <a:pt x="169092" y="1313932"/>
                </a:cubicBezTo>
                <a:cubicBezTo>
                  <a:pt x="169092" y="1313194"/>
                  <a:pt x="169833" y="1312453"/>
                  <a:pt x="170571" y="1312453"/>
                </a:cubicBezTo>
                <a:close/>
                <a:moveTo>
                  <a:pt x="1242827" y="1311966"/>
                </a:moveTo>
                <a:cubicBezTo>
                  <a:pt x="1249739" y="1311966"/>
                  <a:pt x="1255414" y="1317644"/>
                  <a:pt x="1255414" y="1324555"/>
                </a:cubicBezTo>
                <a:cubicBezTo>
                  <a:pt x="1255414" y="1331467"/>
                  <a:pt x="1249739" y="1337146"/>
                  <a:pt x="1242827" y="1337146"/>
                </a:cubicBezTo>
                <a:cubicBezTo>
                  <a:pt x="1235916" y="1337146"/>
                  <a:pt x="1230238" y="1331467"/>
                  <a:pt x="1230238" y="1324555"/>
                </a:cubicBezTo>
                <a:cubicBezTo>
                  <a:pt x="1230238" y="1317644"/>
                  <a:pt x="1235916" y="1311966"/>
                  <a:pt x="1242827" y="1311966"/>
                </a:cubicBezTo>
                <a:close/>
                <a:moveTo>
                  <a:pt x="1436099" y="1308756"/>
                </a:moveTo>
                <a:cubicBezTo>
                  <a:pt x="1439061" y="1308756"/>
                  <a:pt x="1441282" y="1311227"/>
                  <a:pt x="1441282" y="1313939"/>
                </a:cubicBezTo>
                <a:cubicBezTo>
                  <a:pt x="1441531" y="1316902"/>
                  <a:pt x="1439061" y="1319123"/>
                  <a:pt x="1436099" y="1319123"/>
                </a:cubicBezTo>
                <a:cubicBezTo>
                  <a:pt x="1433137" y="1319123"/>
                  <a:pt x="1430916" y="1316656"/>
                  <a:pt x="1430916" y="1313939"/>
                </a:cubicBezTo>
                <a:cubicBezTo>
                  <a:pt x="1430916" y="1310977"/>
                  <a:pt x="1433137" y="1308756"/>
                  <a:pt x="1436099" y="1308756"/>
                </a:cubicBezTo>
                <a:close/>
                <a:moveTo>
                  <a:pt x="2352581" y="1305807"/>
                </a:moveTo>
                <a:cubicBezTo>
                  <a:pt x="2352827" y="1305807"/>
                  <a:pt x="2352827" y="1306053"/>
                  <a:pt x="2352827" y="1306053"/>
                </a:cubicBezTo>
                <a:cubicBezTo>
                  <a:pt x="2352827" y="1306303"/>
                  <a:pt x="2352827" y="1306549"/>
                  <a:pt x="2352581" y="1306549"/>
                </a:cubicBezTo>
                <a:cubicBezTo>
                  <a:pt x="2352335" y="1306549"/>
                  <a:pt x="2352335" y="1306303"/>
                  <a:pt x="2352335" y="1306053"/>
                </a:cubicBezTo>
                <a:cubicBezTo>
                  <a:pt x="2352335" y="1305807"/>
                  <a:pt x="2352581" y="1305807"/>
                  <a:pt x="2352581" y="1305807"/>
                </a:cubicBezTo>
                <a:close/>
                <a:moveTo>
                  <a:pt x="3128629" y="1303597"/>
                </a:moveTo>
                <a:cubicBezTo>
                  <a:pt x="3142452" y="1303597"/>
                  <a:pt x="3153805" y="1314950"/>
                  <a:pt x="3153805" y="1328774"/>
                </a:cubicBezTo>
                <a:cubicBezTo>
                  <a:pt x="3153805" y="1342847"/>
                  <a:pt x="3142452" y="1353956"/>
                  <a:pt x="3128629" y="1353956"/>
                </a:cubicBezTo>
                <a:cubicBezTo>
                  <a:pt x="3114807" y="1353956"/>
                  <a:pt x="3103451" y="1342599"/>
                  <a:pt x="3103451" y="1328774"/>
                </a:cubicBezTo>
                <a:cubicBezTo>
                  <a:pt x="3103451" y="1314950"/>
                  <a:pt x="3114807" y="1303597"/>
                  <a:pt x="3128629" y="1303597"/>
                </a:cubicBezTo>
                <a:close/>
                <a:moveTo>
                  <a:pt x="616109" y="1298633"/>
                </a:moveTo>
                <a:cubicBezTo>
                  <a:pt x="616354" y="1298633"/>
                  <a:pt x="616354" y="1298633"/>
                  <a:pt x="616354" y="1298877"/>
                </a:cubicBezTo>
                <a:cubicBezTo>
                  <a:pt x="616603" y="1298877"/>
                  <a:pt x="616354" y="1299126"/>
                  <a:pt x="616109" y="1299126"/>
                </a:cubicBezTo>
                <a:cubicBezTo>
                  <a:pt x="615863" y="1299126"/>
                  <a:pt x="615863" y="1299126"/>
                  <a:pt x="615863" y="1298877"/>
                </a:cubicBezTo>
                <a:cubicBezTo>
                  <a:pt x="615863" y="1298633"/>
                  <a:pt x="616109" y="1298633"/>
                  <a:pt x="616109" y="1298633"/>
                </a:cubicBezTo>
                <a:close/>
                <a:moveTo>
                  <a:pt x="2076373" y="1296667"/>
                </a:moveTo>
                <a:cubicBezTo>
                  <a:pt x="2077606" y="1296667"/>
                  <a:pt x="2078347" y="1297658"/>
                  <a:pt x="2078347" y="1298645"/>
                </a:cubicBezTo>
                <a:cubicBezTo>
                  <a:pt x="2078347" y="1299633"/>
                  <a:pt x="2077606" y="1300618"/>
                  <a:pt x="2076373" y="1300618"/>
                </a:cubicBezTo>
                <a:cubicBezTo>
                  <a:pt x="2075385" y="1300618"/>
                  <a:pt x="2074398" y="1299633"/>
                  <a:pt x="2074398" y="1298645"/>
                </a:cubicBezTo>
                <a:cubicBezTo>
                  <a:pt x="2074398" y="1297658"/>
                  <a:pt x="2075139" y="1296667"/>
                  <a:pt x="2076373" y="1296667"/>
                </a:cubicBezTo>
                <a:close/>
                <a:moveTo>
                  <a:pt x="1622461" y="1293702"/>
                </a:moveTo>
                <a:cubicBezTo>
                  <a:pt x="1624189" y="1293702"/>
                  <a:pt x="1625669" y="1295180"/>
                  <a:pt x="1625669" y="1296908"/>
                </a:cubicBezTo>
                <a:cubicBezTo>
                  <a:pt x="1625669" y="1298641"/>
                  <a:pt x="1624189" y="1300121"/>
                  <a:pt x="1622461" y="1300121"/>
                </a:cubicBezTo>
                <a:cubicBezTo>
                  <a:pt x="1620732" y="1300121"/>
                  <a:pt x="1619253" y="1298641"/>
                  <a:pt x="1619253" y="1296908"/>
                </a:cubicBezTo>
                <a:cubicBezTo>
                  <a:pt x="1619253" y="1295180"/>
                  <a:pt x="1620732" y="1293702"/>
                  <a:pt x="1622461" y="1293702"/>
                </a:cubicBezTo>
                <a:close/>
                <a:moveTo>
                  <a:pt x="284118" y="1289993"/>
                </a:moveTo>
                <a:cubicBezTo>
                  <a:pt x="284610" y="1289993"/>
                  <a:pt x="284856" y="1290486"/>
                  <a:pt x="284856" y="1290734"/>
                </a:cubicBezTo>
                <a:cubicBezTo>
                  <a:pt x="284856" y="1290980"/>
                  <a:pt x="284610" y="1291473"/>
                  <a:pt x="284118" y="1291473"/>
                </a:cubicBezTo>
                <a:cubicBezTo>
                  <a:pt x="283623" y="1291473"/>
                  <a:pt x="283377" y="1291226"/>
                  <a:pt x="283377" y="1290734"/>
                </a:cubicBezTo>
                <a:cubicBezTo>
                  <a:pt x="283377" y="1290239"/>
                  <a:pt x="283869" y="1289993"/>
                  <a:pt x="284118" y="1289993"/>
                </a:cubicBezTo>
                <a:close/>
                <a:moveTo>
                  <a:pt x="1804134" y="1270997"/>
                </a:moveTo>
                <a:cubicBezTo>
                  <a:pt x="1805122" y="1270997"/>
                  <a:pt x="1805860" y="1271738"/>
                  <a:pt x="1805860" y="1272725"/>
                </a:cubicBezTo>
                <a:cubicBezTo>
                  <a:pt x="1805860" y="1273712"/>
                  <a:pt x="1805122" y="1274450"/>
                  <a:pt x="1804134" y="1274450"/>
                </a:cubicBezTo>
                <a:cubicBezTo>
                  <a:pt x="1803148" y="1274450"/>
                  <a:pt x="1802407" y="1273712"/>
                  <a:pt x="1802407" y="1272725"/>
                </a:cubicBezTo>
                <a:cubicBezTo>
                  <a:pt x="1802407" y="1271738"/>
                  <a:pt x="1803148" y="1270997"/>
                  <a:pt x="1804134" y="1270997"/>
                </a:cubicBezTo>
                <a:close/>
                <a:moveTo>
                  <a:pt x="3024711" y="1270030"/>
                </a:moveTo>
                <a:cubicBezTo>
                  <a:pt x="3036313" y="1270030"/>
                  <a:pt x="3045694" y="1279406"/>
                  <a:pt x="3045694" y="1291005"/>
                </a:cubicBezTo>
                <a:cubicBezTo>
                  <a:pt x="3045694" y="1302610"/>
                  <a:pt x="3036313" y="1311987"/>
                  <a:pt x="3024711" y="1311987"/>
                </a:cubicBezTo>
                <a:cubicBezTo>
                  <a:pt x="3013111" y="1311987"/>
                  <a:pt x="3003484" y="1302610"/>
                  <a:pt x="3003484" y="1291005"/>
                </a:cubicBezTo>
                <a:cubicBezTo>
                  <a:pt x="3003484" y="1279406"/>
                  <a:pt x="3012865" y="1270030"/>
                  <a:pt x="3024711" y="1270030"/>
                </a:cubicBezTo>
                <a:close/>
                <a:moveTo>
                  <a:pt x="2773185" y="1266817"/>
                </a:moveTo>
                <a:cubicBezTo>
                  <a:pt x="2780838" y="1266817"/>
                  <a:pt x="2786762" y="1272986"/>
                  <a:pt x="2786762" y="1280636"/>
                </a:cubicBezTo>
                <a:cubicBezTo>
                  <a:pt x="2786762" y="1288286"/>
                  <a:pt x="2780591" y="1294456"/>
                  <a:pt x="2773185" y="1294456"/>
                </a:cubicBezTo>
                <a:cubicBezTo>
                  <a:pt x="2765532" y="1294456"/>
                  <a:pt x="2759362" y="1288286"/>
                  <a:pt x="2759362" y="1280636"/>
                </a:cubicBezTo>
                <a:cubicBezTo>
                  <a:pt x="2759362" y="1272986"/>
                  <a:pt x="2765532" y="1266817"/>
                  <a:pt x="2773185" y="1266817"/>
                </a:cubicBezTo>
                <a:close/>
                <a:moveTo>
                  <a:pt x="3281913" y="1265349"/>
                </a:moveTo>
                <a:cubicBezTo>
                  <a:pt x="3291540" y="1265349"/>
                  <a:pt x="3299436" y="1273245"/>
                  <a:pt x="3299436" y="1282869"/>
                </a:cubicBezTo>
                <a:cubicBezTo>
                  <a:pt x="3299436" y="1292492"/>
                  <a:pt x="3291540" y="1300391"/>
                  <a:pt x="3281913" y="1300391"/>
                </a:cubicBezTo>
                <a:cubicBezTo>
                  <a:pt x="3272286" y="1300391"/>
                  <a:pt x="3264387" y="1292492"/>
                  <a:pt x="3264387" y="1282869"/>
                </a:cubicBezTo>
                <a:cubicBezTo>
                  <a:pt x="3264387" y="1273245"/>
                  <a:pt x="3272286" y="1265349"/>
                  <a:pt x="3281913" y="1265349"/>
                </a:cubicBezTo>
                <a:close/>
                <a:moveTo>
                  <a:pt x="2517219" y="1264097"/>
                </a:moveTo>
                <a:cubicBezTo>
                  <a:pt x="2519439" y="1264097"/>
                  <a:pt x="2521414" y="1265825"/>
                  <a:pt x="2521414" y="1268291"/>
                </a:cubicBezTo>
                <a:cubicBezTo>
                  <a:pt x="2521414" y="1270512"/>
                  <a:pt x="2519688" y="1272486"/>
                  <a:pt x="2517219" y="1272486"/>
                </a:cubicBezTo>
                <a:cubicBezTo>
                  <a:pt x="2514998" y="1272486"/>
                  <a:pt x="2513023" y="1270512"/>
                  <a:pt x="2513023" y="1268291"/>
                </a:cubicBezTo>
                <a:cubicBezTo>
                  <a:pt x="2513023" y="1266071"/>
                  <a:pt x="2514998" y="1264097"/>
                  <a:pt x="2517219" y="1264097"/>
                </a:cubicBezTo>
                <a:close/>
                <a:moveTo>
                  <a:pt x="1141375" y="1261117"/>
                </a:moveTo>
                <a:cubicBezTo>
                  <a:pt x="1142362" y="1261117"/>
                  <a:pt x="1143101" y="1261858"/>
                  <a:pt x="1143101" y="1262845"/>
                </a:cubicBezTo>
                <a:cubicBezTo>
                  <a:pt x="1143101" y="1263832"/>
                  <a:pt x="1142362" y="1264571"/>
                  <a:pt x="1141375" y="1264571"/>
                </a:cubicBezTo>
                <a:cubicBezTo>
                  <a:pt x="1140388" y="1264571"/>
                  <a:pt x="1139647" y="1263832"/>
                  <a:pt x="1139647" y="1262845"/>
                </a:cubicBezTo>
                <a:cubicBezTo>
                  <a:pt x="1139647" y="1261858"/>
                  <a:pt x="1140388" y="1261117"/>
                  <a:pt x="1141375" y="1261117"/>
                </a:cubicBezTo>
                <a:close/>
                <a:moveTo>
                  <a:pt x="396177" y="1260375"/>
                </a:moveTo>
                <a:cubicBezTo>
                  <a:pt x="396426" y="1260375"/>
                  <a:pt x="396672" y="1260621"/>
                  <a:pt x="396672" y="1260867"/>
                </a:cubicBezTo>
                <a:cubicBezTo>
                  <a:pt x="396672" y="1261116"/>
                  <a:pt x="396426" y="1261362"/>
                  <a:pt x="396177" y="1261362"/>
                </a:cubicBezTo>
                <a:cubicBezTo>
                  <a:pt x="395931" y="1261362"/>
                  <a:pt x="395684" y="1261116"/>
                  <a:pt x="395684" y="1260867"/>
                </a:cubicBezTo>
                <a:cubicBezTo>
                  <a:pt x="395684" y="1260621"/>
                  <a:pt x="395931" y="1260375"/>
                  <a:pt x="396177" y="1260375"/>
                </a:cubicBezTo>
                <a:close/>
                <a:moveTo>
                  <a:pt x="938973" y="1256180"/>
                </a:moveTo>
                <a:cubicBezTo>
                  <a:pt x="942181" y="1256180"/>
                  <a:pt x="944648" y="1258649"/>
                  <a:pt x="944648" y="1261857"/>
                </a:cubicBezTo>
                <a:cubicBezTo>
                  <a:pt x="944648" y="1264819"/>
                  <a:pt x="942181" y="1267534"/>
                  <a:pt x="938973" y="1267534"/>
                </a:cubicBezTo>
                <a:cubicBezTo>
                  <a:pt x="936011" y="1267534"/>
                  <a:pt x="933295" y="1265065"/>
                  <a:pt x="933295" y="1261857"/>
                </a:cubicBezTo>
                <a:cubicBezTo>
                  <a:pt x="933295" y="1258649"/>
                  <a:pt x="935762" y="1256180"/>
                  <a:pt x="938973" y="1256180"/>
                </a:cubicBezTo>
                <a:close/>
                <a:moveTo>
                  <a:pt x="722495" y="1251736"/>
                </a:moveTo>
                <a:cubicBezTo>
                  <a:pt x="722988" y="1251736"/>
                  <a:pt x="723234" y="1251983"/>
                  <a:pt x="723234" y="1252478"/>
                </a:cubicBezTo>
                <a:cubicBezTo>
                  <a:pt x="723234" y="1252970"/>
                  <a:pt x="722988" y="1253216"/>
                  <a:pt x="722495" y="1253216"/>
                </a:cubicBezTo>
                <a:cubicBezTo>
                  <a:pt x="722000" y="1253216"/>
                  <a:pt x="721754" y="1252970"/>
                  <a:pt x="721754" y="1252478"/>
                </a:cubicBezTo>
                <a:cubicBezTo>
                  <a:pt x="721754" y="1251983"/>
                  <a:pt x="722249" y="1251736"/>
                  <a:pt x="722495" y="1251736"/>
                </a:cubicBezTo>
                <a:close/>
                <a:moveTo>
                  <a:pt x="2257304" y="1250768"/>
                </a:moveTo>
                <a:cubicBezTo>
                  <a:pt x="2257551" y="1250768"/>
                  <a:pt x="2258043" y="1251013"/>
                  <a:pt x="2258043" y="1251509"/>
                </a:cubicBezTo>
                <a:cubicBezTo>
                  <a:pt x="2258043" y="1252001"/>
                  <a:pt x="2257797" y="1252247"/>
                  <a:pt x="2257304" y="1252247"/>
                </a:cubicBezTo>
                <a:cubicBezTo>
                  <a:pt x="2257058" y="1252247"/>
                  <a:pt x="2256563" y="1252001"/>
                  <a:pt x="2256563" y="1251509"/>
                </a:cubicBezTo>
                <a:cubicBezTo>
                  <a:pt x="2256563" y="1251260"/>
                  <a:pt x="2256809" y="1250768"/>
                  <a:pt x="2257304" y="1250768"/>
                </a:cubicBezTo>
                <a:close/>
                <a:moveTo>
                  <a:pt x="1980355" y="1241627"/>
                </a:moveTo>
                <a:cubicBezTo>
                  <a:pt x="1981342" y="1241627"/>
                  <a:pt x="1982329" y="1242615"/>
                  <a:pt x="1982329" y="1243602"/>
                </a:cubicBezTo>
                <a:cubicBezTo>
                  <a:pt x="1982329" y="1244590"/>
                  <a:pt x="1981588" y="1245577"/>
                  <a:pt x="1980355" y="1245577"/>
                </a:cubicBezTo>
                <a:cubicBezTo>
                  <a:pt x="1979121" y="1245577"/>
                  <a:pt x="1978380" y="1244590"/>
                  <a:pt x="1978380" y="1243602"/>
                </a:cubicBezTo>
                <a:cubicBezTo>
                  <a:pt x="1978380" y="1242615"/>
                  <a:pt x="1979367" y="1241627"/>
                  <a:pt x="1980355" y="1241627"/>
                </a:cubicBezTo>
                <a:close/>
                <a:moveTo>
                  <a:pt x="1336128" y="1241619"/>
                </a:moveTo>
                <a:cubicBezTo>
                  <a:pt x="1343534" y="1241619"/>
                  <a:pt x="1349458" y="1247544"/>
                  <a:pt x="1349458" y="1254949"/>
                </a:cubicBezTo>
                <a:cubicBezTo>
                  <a:pt x="1349458" y="1262106"/>
                  <a:pt x="1343534" y="1268276"/>
                  <a:pt x="1336128" y="1268276"/>
                </a:cubicBezTo>
                <a:cubicBezTo>
                  <a:pt x="1328724" y="1268276"/>
                  <a:pt x="1322800" y="1262353"/>
                  <a:pt x="1322800" y="1254949"/>
                </a:cubicBezTo>
                <a:cubicBezTo>
                  <a:pt x="1322800" y="1247544"/>
                  <a:pt x="1328724" y="1241619"/>
                  <a:pt x="1336128" y="1241619"/>
                </a:cubicBezTo>
                <a:close/>
                <a:moveTo>
                  <a:pt x="1524712" y="1232488"/>
                </a:moveTo>
                <a:cubicBezTo>
                  <a:pt x="1528169" y="1232488"/>
                  <a:pt x="1530885" y="1235204"/>
                  <a:pt x="1530885" y="1238659"/>
                </a:cubicBezTo>
                <a:cubicBezTo>
                  <a:pt x="1530885" y="1242116"/>
                  <a:pt x="1528169" y="1244832"/>
                  <a:pt x="1524712" y="1244832"/>
                </a:cubicBezTo>
                <a:cubicBezTo>
                  <a:pt x="1521258" y="1244832"/>
                  <a:pt x="1518542" y="1242116"/>
                  <a:pt x="1518542" y="1238659"/>
                </a:cubicBezTo>
                <a:cubicBezTo>
                  <a:pt x="1518542" y="1235204"/>
                  <a:pt x="1521258" y="1232488"/>
                  <a:pt x="1524712" y="1232488"/>
                </a:cubicBezTo>
                <a:close/>
                <a:moveTo>
                  <a:pt x="2930172" y="1220412"/>
                </a:moveTo>
                <a:cubicBezTo>
                  <a:pt x="2939551" y="1220412"/>
                  <a:pt x="2947203" y="1228066"/>
                  <a:pt x="2947203" y="1237202"/>
                </a:cubicBezTo>
                <a:cubicBezTo>
                  <a:pt x="2947203" y="1246337"/>
                  <a:pt x="2939551" y="1253988"/>
                  <a:pt x="2930172" y="1253988"/>
                </a:cubicBezTo>
                <a:cubicBezTo>
                  <a:pt x="2920791" y="1253988"/>
                  <a:pt x="2913387" y="1246337"/>
                  <a:pt x="2913387" y="1237202"/>
                </a:cubicBezTo>
                <a:cubicBezTo>
                  <a:pt x="2913387" y="1227820"/>
                  <a:pt x="2921040" y="1220412"/>
                  <a:pt x="2930172" y="1220412"/>
                </a:cubicBezTo>
                <a:close/>
                <a:moveTo>
                  <a:pt x="2678647" y="1218433"/>
                </a:moveTo>
                <a:cubicBezTo>
                  <a:pt x="2683338" y="1218433"/>
                  <a:pt x="2687041" y="1222137"/>
                  <a:pt x="2687041" y="1226828"/>
                </a:cubicBezTo>
                <a:cubicBezTo>
                  <a:pt x="2687041" y="1231271"/>
                  <a:pt x="2683338" y="1234975"/>
                  <a:pt x="2678647" y="1234975"/>
                </a:cubicBezTo>
                <a:cubicBezTo>
                  <a:pt x="2674205" y="1234975"/>
                  <a:pt x="2670502" y="1231271"/>
                  <a:pt x="2670502" y="1226828"/>
                </a:cubicBezTo>
                <a:cubicBezTo>
                  <a:pt x="2670502" y="1222137"/>
                  <a:pt x="2674205" y="1218433"/>
                  <a:pt x="2678647" y="1218433"/>
                </a:cubicBezTo>
                <a:close/>
                <a:moveTo>
                  <a:pt x="56040" y="1218410"/>
                </a:moveTo>
                <a:cubicBezTo>
                  <a:pt x="57519" y="1218410"/>
                  <a:pt x="58755" y="1219643"/>
                  <a:pt x="58755" y="1221125"/>
                </a:cubicBezTo>
                <a:cubicBezTo>
                  <a:pt x="58755" y="1222854"/>
                  <a:pt x="57519" y="1224087"/>
                  <a:pt x="56040" y="1224087"/>
                </a:cubicBezTo>
                <a:cubicBezTo>
                  <a:pt x="54311" y="1224087"/>
                  <a:pt x="53078" y="1222854"/>
                  <a:pt x="53078" y="1221125"/>
                </a:cubicBezTo>
                <a:cubicBezTo>
                  <a:pt x="53078" y="1219643"/>
                  <a:pt x="54311" y="1218410"/>
                  <a:pt x="56040" y="1218410"/>
                </a:cubicBezTo>
                <a:close/>
                <a:moveTo>
                  <a:pt x="1706632" y="1214470"/>
                </a:moveTo>
                <a:cubicBezTo>
                  <a:pt x="1707868" y="1214470"/>
                  <a:pt x="1708858" y="1215457"/>
                  <a:pt x="1708858" y="1216691"/>
                </a:cubicBezTo>
                <a:cubicBezTo>
                  <a:pt x="1708858" y="1217924"/>
                  <a:pt x="1707868" y="1218911"/>
                  <a:pt x="1706632" y="1218911"/>
                </a:cubicBezTo>
                <a:cubicBezTo>
                  <a:pt x="1705401" y="1218911"/>
                  <a:pt x="1704413" y="1217924"/>
                  <a:pt x="1704413" y="1216691"/>
                </a:cubicBezTo>
                <a:cubicBezTo>
                  <a:pt x="1704413" y="1215457"/>
                  <a:pt x="1705401" y="1214470"/>
                  <a:pt x="1706632" y="1214470"/>
                </a:cubicBezTo>
                <a:close/>
                <a:moveTo>
                  <a:pt x="2422929" y="1213248"/>
                </a:moveTo>
                <a:lnTo>
                  <a:pt x="2423175" y="1213494"/>
                </a:lnTo>
                <a:lnTo>
                  <a:pt x="2422929" y="1213742"/>
                </a:lnTo>
                <a:lnTo>
                  <a:pt x="2422929" y="1213494"/>
                </a:lnTo>
                <a:close/>
                <a:moveTo>
                  <a:pt x="3432481" y="1212281"/>
                </a:moveTo>
                <a:cubicBezTo>
                  <a:pt x="3444821" y="1212281"/>
                  <a:pt x="3454944" y="1222397"/>
                  <a:pt x="3454944" y="1234744"/>
                </a:cubicBezTo>
                <a:cubicBezTo>
                  <a:pt x="3454944" y="1247335"/>
                  <a:pt x="3444821" y="1257456"/>
                  <a:pt x="3432481" y="1257456"/>
                </a:cubicBezTo>
                <a:cubicBezTo>
                  <a:pt x="3420138" y="1257456"/>
                  <a:pt x="3410018" y="1247335"/>
                  <a:pt x="3410018" y="1234744"/>
                </a:cubicBezTo>
                <a:cubicBezTo>
                  <a:pt x="3410018" y="1222397"/>
                  <a:pt x="3420138" y="1212281"/>
                  <a:pt x="3432481" y="1212281"/>
                </a:cubicBezTo>
                <a:close/>
                <a:moveTo>
                  <a:pt x="2151413" y="1207567"/>
                </a:moveTo>
                <a:cubicBezTo>
                  <a:pt x="2152893" y="1207567"/>
                  <a:pt x="2154129" y="1208801"/>
                  <a:pt x="2154129" y="1210282"/>
                </a:cubicBezTo>
                <a:cubicBezTo>
                  <a:pt x="2154129" y="1211761"/>
                  <a:pt x="2152893" y="1212995"/>
                  <a:pt x="2151413" y="1212995"/>
                </a:cubicBezTo>
                <a:cubicBezTo>
                  <a:pt x="2149931" y="1212995"/>
                  <a:pt x="2148697" y="1211761"/>
                  <a:pt x="2148697" y="1210282"/>
                </a:cubicBezTo>
                <a:cubicBezTo>
                  <a:pt x="2148697" y="1208801"/>
                  <a:pt x="2149931" y="1207567"/>
                  <a:pt x="2151413" y="1207567"/>
                </a:cubicBezTo>
                <a:close/>
                <a:moveTo>
                  <a:pt x="3187867" y="1202405"/>
                </a:moveTo>
                <a:cubicBezTo>
                  <a:pt x="3202431" y="1202405"/>
                  <a:pt x="3214033" y="1214003"/>
                  <a:pt x="3214033" y="1228564"/>
                </a:cubicBezTo>
                <a:cubicBezTo>
                  <a:pt x="3214033" y="1242887"/>
                  <a:pt x="3202431" y="1254735"/>
                  <a:pt x="3187867" y="1254735"/>
                </a:cubicBezTo>
                <a:cubicBezTo>
                  <a:pt x="3173552" y="1254735"/>
                  <a:pt x="3161704" y="1243133"/>
                  <a:pt x="3161704" y="1228564"/>
                </a:cubicBezTo>
                <a:cubicBezTo>
                  <a:pt x="3161704" y="1214249"/>
                  <a:pt x="3173306" y="1202405"/>
                  <a:pt x="3187867" y="1202405"/>
                </a:cubicBezTo>
                <a:close/>
                <a:moveTo>
                  <a:pt x="825920" y="1199406"/>
                </a:moveTo>
                <a:cubicBezTo>
                  <a:pt x="826661" y="1199406"/>
                  <a:pt x="827156" y="1199899"/>
                  <a:pt x="827156" y="1200640"/>
                </a:cubicBezTo>
                <a:cubicBezTo>
                  <a:pt x="827156" y="1201381"/>
                  <a:pt x="826661" y="1201874"/>
                  <a:pt x="825920" y="1201874"/>
                </a:cubicBezTo>
                <a:cubicBezTo>
                  <a:pt x="825182" y="1201874"/>
                  <a:pt x="824441" y="1201381"/>
                  <a:pt x="824441" y="1200640"/>
                </a:cubicBezTo>
                <a:cubicBezTo>
                  <a:pt x="824441" y="1199899"/>
                  <a:pt x="824936" y="1199406"/>
                  <a:pt x="825920" y="1199406"/>
                </a:cubicBezTo>
                <a:close/>
                <a:moveTo>
                  <a:pt x="170819" y="1198909"/>
                </a:moveTo>
                <a:cubicBezTo>
                  <a:pt x="173286" y="1198909"/>
                  <a:pt x="175507" y="1200884"/>
                  <a:pt x="175507" y="1203600"/>
                </a:cubicBezTo>
                <a:cubicBezTo>
                  <a:pt x="175260" y="1206067"/>
                  <a:pt x="173286" y="1208290"/>
                  <a:pt x="170819" y="1208290"/>
                </a:cubicBezTo>
                <a:cubicBezTo>
                  <a:pt x="168349" y="1208290"/>
                  <a:pt x="166129" y="1206316"/>
                  <a:pt x="166129" y="1203600"/>
                </a:cubicBezTo>
                <a:cubicBezTo>
                  <a:pt x="166129" y="1201130"/>
                  <a:pt x="168103" y="1198909"/>
                  <a:pt x="170819" y="1198909"/>
                </a:cubicBezTo>
                <a:close/>
                <a:moveTo>
                  <a:pt x="1038445" y="1194718"/>
                </a:moveTo>
                <a:cubicBezTo>
                  <a:pt x="1041902" y="1194718"/>
                  <a:pt x="1044617" y="1197434"/>
                  <a:pt x="1044617" y="1200888"/>
                </a:cubicBezTo>
                <a:cubicBezTo>
                  <a:pt x="1044617" y="1204346"/>
                  <a:pt x="1041902" y="1207062"/>
                  <a:pt x="1038445" y="1207062"/>
                </a:cubicBezTo>
                <a:cubicBezTo>
                  <a:pt x="1034991" y="1207062"/>
                  <a:pt x="1032275" y="1204346"/>
                  <a:pt x="1032275" y="1200888"/>
                </a:cubicBezTo>
                <a:cubicBezTo>
                  <a:pt x="1032275" y="1197434"/>
                  <a:pt x="1034991" y="1194718"/>
                  <a:pt x="1038445" y="1194718"/>
                </a:cubicBezTo>
                <a:close/>
                <a:moveTo>
                  <a:pt x="1236157" y="1193485"/>
                </a:moveTo>
                <a:cubicBezTo>
                  <a:pt x="1236898" y="1193485"/>
                  <a:pt x="1237639" y="1193980"/>
                  <a:pt x="1237639" y="1194965"/>
                </a:cubicBezTo>
                <a:cubicBezTo>
                  <a:pt x="1237393" y="1195706"/>
                  <a:pt x="1236898" y="1196201"/>
                  <a:pt x="1236157" y="1196201"/>
                </a:cubicBezTo>
                <a:cubicBezTo>
                  <a:pt x="1235419" y="1196201"/>
                  <a:pt x="1234678" y="1195706"/>
                  <a:pt x="1234678" y="1194965"/>
                </a:cubicBezTo>
                <a:cubicBezTo>
                  <a:pt x="1234678" y="1194226"/>
                  <a:pt x="1235419" y="1193485"/>
                  <a:pt x="1236157" y="1193485"/>
                </a:cubicBezTo>
                <a:close/>
                <a:moveTo>
                  <a:pt x="1883864" y="1185841"/>
                </a:moveTo>
                <a:cubicBezTo>
                  <a:pt x="1885345" y="1185841"/>
                  <a:pt x="1886580" y="1187075"/>
                  <a:pt x="1886580" y="1188558"/>
                </a:cubicBezTo>
                <a:cubicBezTo>
                  <a:pt x="1886580" y="1190037"/>
                  <a:pt x="1885345" y="1191272"/>
                  <a:pt x="1883864" y="1191272"/>
                </a:cubicBezTo>
                <a:cubicBezTo>
                  <a:pt x="1882381" y="1191272"/>
                  <a:pt x="1881147" y="1190037"/>
                  <a:pt x="1881147" y="1188558"/>
                </a:cubicBezTo>
                <a:cubicBezTo>
                  <a:pt x="1881147" y="1187075"/>
                  <a:pt x="1882381" y="1185841"/>
                  <a:pt x="1883864" y="1185841"/>
                </a:cubicBezTo>
                <a:close/>
                <a:moveTo>
                  <a:pt x="614379" y="1181879"/>
                </a:moveTo>
                <a:cubicBezTo>
                  <a:pt x="614628" y="1181879"/>
                  <a:pt x="614628" y="1182125"/>
                  <a:pt x="614628" y="1182125"/>
                </a:cubicBezTo>
                <a:cubicBezTo>
                  <a:pt x="614628" y="1182125"/>
                  <a:pt x="614379" y="1182374"/>
                  <a:pt x="614379" y="1182374"/>
                </a:cubicBezTo>
                <a:cubicBezTo>
                  <a:pt x="614133" y="1182374"/>
                  <a:pt x="614133" y="1182125"/>
                  <a:pt x="614133" y="1182125"/>
                </a:cubicBezTo>
                <a:cubicBezTo>
                  <a:pt x="614133" y="1181879"/>
                  <a:pt x="614379" y="1181879"/>
                  <a:pt x="614379" y="1181879"/>
                </a:cubicBezTo>
                <a:close/>
                <a:moveTo>
                  <a:pt x="284114" y="1172005"/>
                </a:moveTo>
                <a:cubicBezTo>
                  <a:pt x="287817" y="1172005"/>
                  <a:pt x="291025" y="1174967"/>
                  <a:pt x="291025" y="1178917"/>
                </a:cubicBezTo>
                <a:cubicBezTo>
                  <a:pt x="291025" y="1182620"/>
                  <a:pt x="288063" y="1185828"/>
                  <a:pt x="284114" y="1185828"/>
                </a:cubicBezTo>
                <a:cubicBezTo>
                  <a:pt x="280411" y="1185828"/>
                  <a:pt x="277202" y="1182866"/>
                  <a:pt x="277202" y="1178917"/>
                </a:cubicBezTo>
                <a:cubicBezTo>
                  <a:pt x="277202" y="1175213"/>
                  <a:pt x="280164" y="1172005"/>
                  <a:pt x="284114" y="1172005"/>
                </a:cubicBezTo>
                <a:close/>
                <a:moveTo>
                  <a:pt x="3084197" y="1169321"/>
                </a:moveTo>
                <a:cubicBezTo>
                  <a:pt x="3096293" y="1169321"/>
                  <a:pt x="3106164" y="1179196"/>
                  <a:pt x="3106164" y="1191291"/>
                </a:cubicBezTo>
                <a:cubicBezTo>
                  <a:pt x="3106164" y="1203387"/>
                  <a:pt x="3096293" y="1213257"/>
                  <a:pt x="3084197" y="1213257"/>
                </a:cubicBezTo>
                <a:cubicBezTo>
                  <a:pt x="3072102" y="1213257"/>
                  <a:pt x="3062229" y="1203387"/>
                  <a:pt x="3062229" y="1191291"/>
                </a:cubicBezTo>
                <a:cubicBezTo>
                  <a:pt x="3062229" y="1179196"/>
                  <a:pt x="3072102" y="1169321"/>
                  <a:pt x="3084197" y="1169321"/>
                </a:cubicBezTo>
                <a:close/>
                <a:moveTo>
                  <a:pt x="2584111" y="1168573"/>
                </a:moveTo>
                <a:cubicBezTo>
                  <a:pt x="2586578" y="1168573"/>
                  <a:pt x="2588553" y="1170546"/>
                  <a:pt x="2588553" y="1173014"/>
                </a:cubicBezTo>
                <a:cubicBezTo>
                  <a:pt x="2588553" y="1175485"/>
                  <a:pt x="2586578" y="1177459"/>
                  <a:pt x="2584111" y="1177459"/>
                </a:cubicBezTo>
                <a:cubicBezTo>
                  <a:pt x="2581642" y="1177459"/>
                  <a:pt x="2579667" y="1175485"/>
                  <a:pt x="2579667" y="1173014"/>
                </a:cubicBezTo>
                <a:cubicBezTo>
                  <a:pt x="2579667" y="1170546"/>
                  <a:pt x="2581642" y="1168573"/>
                  <a:pt x="2584111" y="1168573"/>
                </a:cubicBezTo>
                <a:close/>
                <a:moveTo>
                  <a:pt x="2836128" y="1168329"/>
                </a:moveTo>
                <a:cubicBezTo>
                  <a:pt x="2844273" y="1168329"/>
                  <a:pt x="2850938" y="1174996"/>
                  <a:pt x="2850938" y="1183140"/>
                </a:cubicBezTo>
                <a:cubicBezTo>
                  <a:pt x="2850692" y="1191286"/>
                  <a:pt x="2844273" y="1197951"/>
                  <a:pt x="2836128" y="1197951"/>
                </a:cubicBezTo>
                <a:cubicBezTo>
                  <a:pt x="2827983" y="1197951"/>
                  <a:pt x="2821318" y="1191286"/>
                  <a:pt x="2821318" y="1183140"/>
                </a:cubicBezTo>
                <a:cubicBezTo>
                  <a:pt x="2821318" y="1174996"/>
                  <a:pt x="2827983" y="1168329"/>
                  <a:pt x="2836128" y="1168329"/>
                </a:cubicBezTo>
                <a:close/>
                <a:moveTo>
                  <a:pt x="1425979" y="1166829"/>
                </a:moveTo>
                <a:cubicBezTo>
                  <a:pt x="1433631" y="1166829"/>
                  <a:pt x="1440048" y="1173245"/>
                  <a:pt x="1440048" y="1180898"/>
                </a:cubicBezTo>
                <a:cubicBezTo>
                  <a:pt x="1440048" y="1188798"/>
                  <a:pt x="1433631" y="1194967"/>
                  <a:pt x="1425979" y="1194967"/>
                </a:cubicBezTo>
                <a:cubicBezTo>
                  <a:pt x="1418326" y="1194967"/>
                  <a:pt x="1411910" y="1188798"/>
                  <a:pt x="1411910" y="1180898"/>
                </a:cubicBezTo>
                <a:cubicBezTo>
                  <a:pt x="1411910" y="1173245"/>
                  <a:pt x="1418080" y="1166829"/>
                  <a:pt x="1425979" y="1166829"/>
                </a:cubicBezTo>
                <a:close/>
                <a:moveTo>
                  <a:pt x="3338192" y="1161182"/>
                </a:moveTo>
                <a:cubicBezTo>
                  <a:pt x="3349053" y="1161182"/>
                  <a:pt x="3357939" y="1170067"/>
                  <a:pt x="3357939" y="1180929"/>
                </a:cubicBezTo>
                <a:cubicBezTo>
                  <a:pt x="3357939" y="1191791"/>
                  <a:pt x="3349053" y="1200678"/>
                  <a:pt x="3338192" y="1200678"/>
                </a:cubicBezTo>
                <a:cubicBezTo>
                  <a:pt x="3327331" y="1200678"/>
                  <a:pt x="3318445" y="1191791"/>
                  <a:pt x="3318445" y="1180929"/>
                </a:cubicBezTo>
                <a:cubicBezTo>
                  <a:pt x="3318445" y="1170067"/>
                  <a:pt x="3327331" y="1161182"/>
                  <a:pt x="3338192" y="1161182"/>
                </a:cubicBezTo>
                <a:close/>
                <a:moveTo>
                  <a:pt x="2328390" y="1158445"/>
                </a:moveTo>
                <a:cubicBezTo>
                  <a:pt x="2328639" y="1158445"/>
                  <a:pt x="2328885" y="1158692"/>
                  <a:pt x="2328885" y="1158941"/>
                </a:cubicBezTo>
                <a:cubicBezTo>
                  <a:pt x="2328639" y="1159433"/>
                  <a:pt x="2328639" y="1159433"/>
                  <a:pt x="2328390" y="1159433"/>
                </a:cubicBezTo>
                <a:cubicBezTo>
                  <a:pt x="2328144" y="1159433"/>
                  <a:pt x="2327898" y="1159187"/>
                  <a:pt x="2327898" y="1158941"/>
                </a:cubicBezTo>
                <a:cubicBezTo>
                  <a:pt x="2327898" y="1158692"/>
                  <a:pt x="2328144" y="1158445"/>
                  <a:pt x="2328390" y="1158445"/>
                </a:cubicBezTo>
                <a:close/>
                <a:moveTo>
                  <a:pt x="2055888" y="1153506"/>
                </a:moveTo>
                <a:cubicBezTo>
                  <a:pt x="2056875" y="1153506"/>
                  <a:pt x="2057862" y="1154492"/>
                  <a:pt x="2057862" y="1155481"/>
                </a:cubicBezTo>
                <a:cubicBezTo>
                  <a:pt x="2057862" y="1156467"/>
                  <a:pt x="2057121" y="1157455"/>
                  <a:pt x="2055888" y="1157455"/>
                </a:cubicBezTo>
                <a:cubicBezTo>
                  <a:pt x="2054900" y="1157455"/>
                  <a:pt x="2053913" y="1156467"/>
                  <a:pt x="2053913" y="1155481"/>
                </a:cubicBezTo>
                <a:cubicBezTo>
                  <a:pt x="2053913" y="1154492"/>
                  <a:pt x="2054900" y="1153506"/>
                  <a:pt x="2055888" y="1153506"/>
                </a:cubicBezTo>
                <a:close/>
                <a:moveTo>
                  <a:pt x="1610121" y="1151771"/>
                </a:moveTo>
                <a:cubicBezTo>
                  <a:pt x="1614317" y="1151771"/>
                  <a:pt x="1617771" y="1155226"/>
                  <a:pt x="1617771" y="1159424"/>
                </a:cubicBezTo>
                <a:cubicBezTo>
                  <a:pt x="1617771" y="1163865"/>
                  <a:pt x="1614317" y="1167073"/>
                  <a:pt x="1610121" y="1167073"/>
                </a:cubicBezTo>
                <a:cubicBezTo>
                  <a:pt x="1605923" y="1167073"/>
                  <a:pt x="1602469" y="1163619"/>
                  <a:pt x="1602469" y="1159424"/>
                </a:cubicBezTo>
                <a:cubicBezTo>
                  <a:pt x="1602469" y="1155226"/>
                  <a:pt x="1605923" y="1151771"/>
                  <a:pt x="1610121" y="1151771"/>
                </a:cubicBezTo>
                <a:close/>
                <a:moveTo>
                  <a:pt x="926380" y="1140656"/>
                </a:moveTo>
                <a:cubicBezTo>
                  <a:pt x="927613" y="1140656"/>
                  <a:pt x="928849" y="1141646"/>
                  <a:pt x="928849" y="1143128"/>
                </a:cubicBezTo>
                <a:cubicBezTo>
                  <a:pt x="928849" y="1144362"/>
                  <a:pt x="927862" y="1145350"/>
                  <a:pt x="926380" y="1145350"/>
                </a:cubicBezTo>
                <a:cubicBezTo>
                  <a:pt x="925146" y="1145350"/>
                  <a:pt x="924159" y="1144362"/>
                  <a:pt x="924159" y="1143128"/>
                </a:cubicBezTo>
                <a:cubicBezTo>
                  <a:pt x="924159" y="1141893"/>
                  <a:pt x="925146" y="1140656"/>
                  <a:pt x="926380" y="1140656"/>
                </a:cubicBezTo>
                <a:close/>
                <a:moveTo>
                  <a:pt x="395933" y="1137694"/>
                </a:moveTo>
                <a:cubicBezTo>
                  <a:pt x="401116" y="1137694"/>
                  <a:pt x="405557" y="1141887"/>
                  <a:pt x="405557" y="1147321"/>
                </a:cubicBezTo>
                <a:cubicBezTo>
                  <a:pt x="405557" y="1152504"/>
                  <a:pt x="401362" y="1156946"/>
                  <a:pt x="395933" y="1156946"/>
                </a:cubicBezTo>
                <a:cubicBezTo>
                  <a:pt x="390747" y="1156946"/>
                  <a:pt x="386305" y="1152750"/>
                  <a:pt x="386305" y="1147321"/>
                </a:cubicBezTo>
                <a:cubicBezTo>
                  <a:pt x="386305" y="1142136"/>
                  <a:pt x="390501" y="1137694"/>
                  <a:pt x="395933" y="1137694"/>
                </a:cubicBezTo>
                <a:close/>
                <a:moveTo>
                  <a:pt x="719535" y="1130784"/>
                </a:moveTo>
                <a:cubicBezTo>
                  <a:pt x="720768" y="1130784"/>
                  <a:pt x="722002" y="1131770"/>
                  <a:pt x="722002" y="1133250"/>
                </a:cubicBezTo>
                <a:cubicBezTo>
                  <a:pt x="722002" y="1134732"/>
                  <a:pt x="720768" y="1135719"/>
                  <a:pt x="719535" y="1135719"/>
                </a:cubicBezTo>
                <a:cubicBezTo>
                  <a:pt x="718299" y="1135719"/>
                  <a:pt x="717065" y="1134732"/>
                  <a:pt x="717065" y="1133250"/>
                </a:cubicBezTo>
                <a:cubicBezTo>
                  <a:pt x="717065" y="1132017"/>
                  <a:pt x="718053" y="1130784"/>
                  <a:pt x="719535" y="1130784"/>
                </a:cubicBezTo>
                <a:close/>
                <a:moveTo>
                  <a:pt x="1787348" y="1130051"/>
                </a:moveTo>
                <a:cubicBezTo>
                  <a:pt x="1789077" y="1130051"/>
                  <a:pt x="1790557" y="1131533"/>
                  <a:pt x="1790557" y="1133255"/>
                </a:cubicBezTo>
                <a:cubicBezTo>
                  <a:pt x="1790557" y="1134984"/>
                  <a:pt x="1789077" y="1136461"/>
                  <a:pt x="1787348" y="1136461"/>
                </a:cubicBezTo>
                <a:cubicBezTo>
                  <a:pt x="1785621" y="1136461"/>
                  <a:pt x="1784141" y="1134984"/>
                  <a:pt x="1784141" y="1133255"/>
                </a:cubicBezTo>
                <a:cubicBezTo>
                  <a:pt x="1784141" y="1131533"/>
                  <a:pt x="1785621" y="1130051"/>
                  <a:pt x="1787348" y="1130051"/>
                </a:cubicBezTo>
                <a:close/>
                <a:moveTo>
                  <a:pt x="1134709" y="1128318"/>
                </a:moveTo>
                <a:cubicBezTo>
                  <a:pt x="1138410" y="1128318"/>
                  <a:pt x="1141372" y="1131281"/>
                  <a:pt x="1141372" y="1134978"/>
                </a:cubicBezTo>
                <a:cubicBezTo>
                  <a:pt x="1141372" y="1138681"/>
                  <a:pt x="1138410" y="1141649"/>
                  <a:pt x="1134709" y="1141649"/>
                </a:cubicBezTo>
                <a:cubicBezTo>
                  <a:pt x="1131006" y="1141649"/>
                  <a:pt x="1128044" y="1138681"/>
                  <a:pt x="1128044" y="1134978"/>
                </a:cubicBezTo>
                <a:cubicBezTo>
                  <a:pt x="1128044" y="1131281"/>
                  <a:pt x="1131006" y="1128318"/>
                  <a:pt x="1134709" y="1128318"/>
                </a:cubicBezTo>
                <a:close/>
                <a:moveTo>
                  <a:pt x="1327243" y="1121407"/>
                </a:moveTo>
                <a:cubicBezTo>
                  <a:pt x="1327735" y="1121407"/>
                  <a:pt x="1328230" y="1121904"/>
                  <a:pt x="1328230" y="1122396"/>
                </a:cubicBezTo>
                <a:cubicBezTo>
                  <a:pt x="1328476" y="1122887"/>
                  <a:pt x="1327984" y="1123383"/>
                  <a:pt x="1327243" y="1123383"/>
                </a:cubicBezTo>
                <a:cubicBezTo>
                  <a:pt x="1326502" y="1123383"/>
                  <a:pt x="1326255" y="1122887"/>
                  <a:pt x="1326255" y="1122396"/>
                </a:cubicBezTo>
                <a:cubicBezTo>
                  <a:pt x="1326255" y="1121904"/>
                  <a:pt x="1326748" y="1121407"/>
                  <a:pt x="1327243" y="1121407"/>
                </a:cubicBezTo>
                <a:close/>
                <a:moveTo>
                  <a:pt x="2741839" y="1120190"/>
                </a:moveTo>
                <a:cubicBezTo>
                  <a:pt x="2746776" y="1120190"/>
                  <a:pt x="2750725" y="1124137"/>
                  <a:pt x="2750725" y="1129075"/>
                </a:cubicBezTo>
                <a:cubicBezTo>
                  <a:pt x="2750725" y="1134006"/>
                  <a:pt x="2746776" y="1137947"/>
                  <a:pt x="2741839" y="1137947"/>
                </a:cubicBezTo>
                <a:cubicBezTo>
                  <a:pt x="2736902" y="1137947"/>
                  <a:pt x="2732953" y="1134006"/>
                  <a:pt x="2732953" y="1129075"/>
                </a:cubicBezTo>
                <a:cubicBezTo>
                  <a:pt x="2732953" y="1124137"/>
                  <a:pt x="2736902" y="1120190"/>
                  <a:pt x="2741839" y="1120190"/>
                </a:cubicBezTo>
                <a:close/>
                <a:moveTo>
                  <a:pt x="2989907" y="1119947"/>
                </a:moveTo>
                <a:cubicBezTo>
                  <a:pt x="2999534" y="1119947"/>
                  <a:pt x="3007679" y="1127848"/>
                  <a:pt x="3007679" y="1137457"/>
                </a:cubicBezTo>
                <a:cubicBezTo>
                  <a:pt x="3007679" y="1147102"/>
                  <a:pt x="2999780" y="1155000"/>
                  <a:pt x="2989907" y="1155000"/>
                </a:cubicBezTo>
                <a:cubicBezTo>
                  <a:pt x="2980280" y="1155000"/>
                  <a:pt x="2972381" y="1147102"/>
                  <a:pt x="2972381" y="1137457"/>
                </a:cubicBezTo>
                <a:cubicBezTo>
                  <a:pt x="2972381" y="1127848"/>
                  <a:pt x="2980280" y="1119947"/>
                  <a:pt x="2989907" y="1119947"/>
                </a:cubicBezTo>
                <a:close/>
                <a:moveTo>
                  <a:pt x="2490065" y="1118210"/>
                </a:moveTo>
                <a:cubicBezTo>
                  <a:pt x="2490312" y="1118210"/>
                  <a:pt x="2490561" y="1118456"/>
                  <a:pt x="2490561" y="1118456"/>
                </a:cubicBezTo>
                <a:cubicBezTo>
                  <a:pt x="2490312" y="1118456"/>
                  <a:pt x="2490312" y="1118707"/>
                  <a:pt x="2490065" y="1118707"/>
                </a:cubicBezTo>
                <a:cubicBezTo>
                  <a:pt x="2489819" y="1118707"/>
                  <a:pt x="2489819" y="1118456"/>
                  <a:pt x="2489819" y="1118456"/>
                </a:cubicBezTo>
                <a:cubicBezTo>
                  <a:pt x="2489819" y="1118210"/>
                  <a:pt x="2490065" y="1118210"/>
                  <a:pt x="2490065" y="1118210"/>
                </a:cubicBezTo>
                <a:close/>
                <a:moveTo>
                  <a:pt x="2222994" y="1116484"/>
                </a:moveTo>
                <a:cubicBezTo>
                  <a:pt x="2224357" y="1116484"/>
                  <a:pt x="2225461" y="1117586"/>
                  <a:pt x="2225461" y="1118949"/>
                </a:cubicBezTo>
                <a:cubicBezTo>
                  <a:pt x="2225461" y="1120311"/>
                  <a:pt x="2224357" y="1121417"/>
                  <a:pt x="2222994" y="1121417"/>
                </a:cubicBezTo>
                <a:cubicBezTo>
                  <a:pt x="2221628" y="1121417"/>
                  <a:pt x="2220524" y="1120313"/>
                  <a:pt x="2220524" y="1118949"/>
                </a:cubicBezTo>
                <a:cubicBezTo>
                  <a:pt x="2220524" y="1117586"/>
                  <a:pt x="2221628" y="1116484"/>
                  <a:pt x="2222994" y="1116484"/>
                </a:cubicBezTo>
                <a:close/>
                <a:moveTo>
                  <a:pt x="55051" y="1111776"/>
                </a:moveTo>
                <a:lnTo>
                  <a:pt x="55297" y="1112021"/>
                </a:lnTo>
                <a:lnTo>
                  <a:pt x="55051" y="1112021"/>
                </a:lnTo>
                <a:close/>
                <a:moveTo>
                  <a:pt x="3485797" y="1107124"/>
                </a:moveTo>
                <a:cubicBezTo>
                  <a:pt x="3499374" y="1107124"/>
                  <a:pt x="3510235" y="1118226"/>
                  <a:pt x="3510235" y="1131556"/>
                </a:cubicBezTo>
                <a:cubicBezTo>
                  <a:pt x="3510235" y="1144893"/>
                  <a:pt x="3499125" y="1155997"/>
                  <a:pt x="3485797" y="1155997"/>
                </a:cubicBezTo>
                <a:cubicBezTo>
                  <a:pt x="3472221" y="1155997"/>
                  <a:pt x="3461360" y="1144893"/>
                  <a:pt x="3461360" y="1131556"/>
                </a:cubicBezTo>
                <a:cubicBezTo>
                  <a:pt x="3461360" y="1117982"/>
                  <a:pt x="3472221" y="1107124"/>
                  <a:pt x="3485797" y="1107124"/>
                </a:cubicBezTo>
                <a:close/>
                <a:moveTo>
                  <a:pt x="3244145" y="1099716"/>
                </a:moveTo>
                <a:cubicBezTo>
                  <a:pt x="3258955" y="1099716"/>
                  <a:pt x="3271050" y="1111809"/>
                  <a:pt x="3271050" y="1126614"/>
                </a:cubicBezTo>
                <a:cubicBezTo>
                  <a:pt x="3271298" y="1141430"/>
                  <a:pt x="3258955" y="1153529"/>
                  <a:pt x="3244145" y="1153529"/>
                </a:cubicBezTo>
                <a:cubicBezTo>
                  <a:pt x="3229335" y="1153529"/>
                  <a:pt x="3217241" y="1141430"/>
                  <a:pt x="3217241" y="1126614"/>
                </a:cubicBezTo>
                <a:cubicBezTo>
                  <a:pt x="3217241" y="1111809"/>
                  <a:pt x="3229335" y="1099716"/>
                  <a:pt x="3244145" y="1099716"/>
                </a:cubicBezTo>
                <a:close/>
                <a:moveTo>
                  <a:pt x="1960124" y="1097474"/>
                </a:moveTo>
                <a:cubicBezTo>
                  <a:pt x="1962032" y="1097474"/>
                  <a:pt x="1963578" y="1099020"/>
                  <a:pt x="1963578" y="1100931"/>
                </a:cubicBezTo>
                <a:cubicBezTo>
                  <a:pt x="1963578" y="1102839"/>
                  <a:pt x="1962032" y="1104385"/>
                  <a:pt x="1960124" y="1104385"/>
                </a:cubicBezTo>
                <a:cubicBezTo>
                  <a:pt x="1958218" y="1104385"/>
                  <a:pt x="1956672" y="1102839"/>
                  <a:pt x="1956672" y="1100931"/>
                </a:cubicBezTo>
                <a:cubicBezTo>
                  <a:pt x="1956672" y="1099020"/>
                  <a:pt x="1958218" y="1097474"/>
                  <a:pt x="1960124" y="1097474"/>
                </a:cubicBezTo>
                <a:close/>
                <a:moveTo>
                  <a:pt x="505526" y="1096721"/>
                </a:moveTo>
                <a:cubicBezTo>
                  <a:pt x="512435" y="1096721"/>
                  <a:pt x="517866" y="1102153"/>
                  <a:pt x="517866" y="1109064"/>
                </a:cubicBezTo>
                <a:cubicBezTo>
                  <a:pt x="517866" y="1115726"/>
                  <a:pt x="512435" y="1121402"/>
                  <a:pt x="505526" y="1121402"/>
                </a:cubicBezTo>
                <a:cubicBezTo>
                  <a:pt x="498615" y="1121402"/>
                  <a:pt x="493183" y="1115973"/>
                  <a:pt x="493183" y="1109064"/>
                </a:cubicBezTo>
                <a:cubicBezTo>
                  <a:pt x="493183" y="1102153"/>
                  <a:pt x="498615" y="1096721"/>
                  <a:pt x="505526" y="1096721"/>
                </a:cubicBezTo>
                <a:close/>
                <a:moveTo>
                  <a:pt x="169831" y="1092275"/>
                </a:moveTo>
                <a:cubicBezTo>
                  <a:pt x="170323" y="1092275"/>
                  <a:pt x="170818" y="1092771"/>
                  <a:pt x="170818" y="1093263"/>
                </a:cubicBezTo>
                <a:cubicBezTo>
                  <a:pt x="171065" y="1093758"/>
                  <a:pt x="170572" y="1094251"/>
                  <a:pt x="169831" y="1094251"/>
                </a:cubicBezTo>
                <a:cubicBezTo>
                  <a:pt x="169336" y="1094251"/>
                  <a:pt x="168844" y="1093758"/>
                  <a:pt x="168844" y="1093263"/>
                </a:cubicBezTo>
                <a:cubicBezTo>
                  <a:pt x="168844" y="1092771"/>
                  <a:pt x="169336" y="1092275"/>
                  <a:pt x="169831" y="1092275"/>
                </a:cubicBezTo>
                <a:close/>
                <a:moveTo>
                  <a:pt x="1512370" y="1088087"/>
                </a:moveTo>
                <a:cubicBezTo>
                  <a:pt x="1520515" y="1088087"/>
                  <a:pt x="1527180" y="1094753"/>
                  <a:pt x="1527180" y="1102898"/>
                </a:cubicBezTo>
                <a:cubicBezTo>
                  <a:pt x="1527180" y="1111042"/>
                  <a:pt x="1520515" y="1117707"/>
                  <a:pt x="1512370" y="1117707"/>
                </a:cubicBezTo>
                <a:cubicBezTo>
                  <a:pt x="1504225" y="1117707"/>
                  <a:pt x="1497559" y="1111042"/>
                  <a:pt x="1497559" y="1102898"/>
                </a:cubicBezTo>
                <a:cubicBezTo>
                  <a:pt x="1497559" y="1094753"/>
                  <a:pt x="1504225" y="1088087"/>
                  <a:pt x="1512370" y="1088087"/>
                </a:cubicBezTo>
                <a:close/>
                <a:moveTo>
                  <a:pt x="1023882" y="1078456"/>
                </a:moveTo>
                <a:cubicBezTo>
                  <a:pt x="1024870" y="1078456"/>
                  <a:pt x="1025857" y="1079443"/>
                  <a:pt x="1025857" y="1080431"/>
                </a:cubicBezTo>
                <a:cubicBezTo>
                  <a:pt x="1025857" y="1081418"/>
                  <a:pt x="1024870" y="1082405"/>
                  <a:pt x="1023882" y="1082405"/>
                </a:cubicBezTo>
                <a:cubicBezTo>
                  <a:pt x="1022895" y="1082405"/>
                  <a:pt x="1021908" y="1081418"/>
                  <a:pt x="1021908" y="1080431"/>
                </a:cubicBezTo>
                <a:cubicBezTo>
                  <a:pt x="1021908" y="1079443"/>
                  <a:pt x="1022895" y="1078456"/>
                  <a:pt x="1023882" y="1078456"/>
                </a:cubicBezTo>
                <a:close/>
                <a:moveTo>
                  <a:pt x="821724" y="1073764"/>
                </a:moveTo>
                <a:cubicBezTo>
                  <a:pt x="824439" y="1073764"/>
                  <a:pt x="826414" y="1075985"/>
                  <a:pt x="826414" y="1078701"/>
                </a:cubicBezTo>
                <a:cubicBezTo>
                  <a:pt x="826660" y="1081417"/>
                  <a:pt x="824439" y="1083637"/>
                  <a:pt x="821724" y="1083637"/>
                </a:cubicBezTo>
                <a:cubicBezTo>
                  <a:pt x="819008" y="1083637"/>
                  <a:pt x="816787" y="1081417"/>
                  <a:pt x="816787" y="1078701"/>
                </a:cubicBezTo>
                <a:cubicBezTo>
                  <a:pt x="816787" y="1075985"/>
                  <a:pt x="819008" y="1073764"/>
                  <a:pt x="821724" y="1073764"/>
                </a:cubicBezTo>
                <a:close/>
                <a:moveTo>
                  <a:pt x="2647547" y="1070085"/>
                </a:moveTo>
                <a:cubicBezTo>
                  <a:pt x="2650509" y="1070085"/>
                  <a:pt x="2652976" y="1072555"/>
                  <a:pt x="2652976" y="1075516"/>
                </a:cubicBezTo>
                <a:cubicBezTo>
                  <a:pt x="2652730" y="1078476"/>
                  <a:pt x="2650509" y="1080945"/>
                  <a:pt x="2647547" y="1080945"/>
                </a:cubicBezTo>
                <a:cubicBezTo>
                  <a:pt x="2644585" y="1080945"/>
                  <a:pt x="2642115" y="1078476"/>
                  <a:pt x="2642115" y="1075516"/>
                </a:cubicBezTo>
                <a:cubicBezTo>
                  <a:pt x="2642115" y="1072555"/>
                  <a:pt x="2644585" y="1070085"/>
                  <a:pt x="2647547" y="1070085"/>
                </a:cubicBezTo>
                <a:close/>
                <a:moveTo>
                  <a:pt x="2895862" y="1067373"/>
                </a:moveTo>
                <a:cubicBezTo>
                  <a:pt x="2904747" y="1067373"/>
                  <a:pt x="2912154" y="1074531"/>
                  <a:pt x="2912154" y="1083666"/>
                </a:cubicBezTo>
                <a:cubicBezTo>
                  <a:pt x="2911908" y="1092552"/>
                  <a:pt x="2904747" y="1099709"/>
                  <a:pt x="2895862" y="1099709"/>
                </a:cubicBezTo>
                <a:cubicBezTo>
                  <a:pt x="2886976" y="1099709"/>
                  <a:pt x="2879818" y="1092552"/>
                  <a:pt x="2879818" y="1083666"/>
                </a:cubicBezTo>
                <a:cubicBezTo>
                  <a:pt x="2879818" y="1074780"/>
                  <a:pt x="2886976" y="1067373"/>
                  <a:pt x="2895862" y="1067373"/>
                </a:cubicBezTo>
                <a:close/>
                <a:moveTo>
                  <a:pt x="1691576" y="1067355"/>
                </a:moveTo>
                <a:cubicBezTo>
                  <a:pt x="1696759" y="1067355"/>
                  <a:pt x="1700955" y="1071551"/>
                  <a:pt x="1700955" y="1076736"/>
                </a:cubicBezTo>
                <a:cubicBezTo>
                  <a:pt x="1700955" y="1081919"/>
                  <a:pt x="1696759" y="1086115"/>
                  <a:pt x="1691576" y="1086115"/>
                </a:cubicBezTo>
                <a:cubicBezTo>
                  <a:pt x="1686391" y="1086115"/>
                  <a:pt x="1682195" y="1081919"/>
                  <a:pt x="1682195" y="1076736"/>
                </a:cubicBezTo>
                <a:cubicBezTo>
                  <a:pt x="1682195" y="1071551"/>
                  <a:pt x="1686391" y="1067355"/>
                  <a:pt x="1691576" y="1067355"/>
                </a:cubicBezTo>
                <a:close/>
                <a:moveTo>
                  <a:pt x="3140721" y="1066883"/>
                </a:moveTo>
                <a:cubicBezTo>
                  <a:pt x="3153310" y="1066883"/>
                  <a:pt x="3163676" y="1077249"/>
                  <a:pt x="3163676" y="1089838"/>
                </a:cubicBezTo>
                <a:cubicBezTo>
                  <a:pt x="3163430" y="1102675"/>
                  <a:pt x="3153310" y="1112796"/>
                  <a:pt x="3140721" y="1112796"/>
                </a:cubicBezTo>
                <a:cubicBezTo>
                  <a:pt x="3128132" y="1112796"/>
                  <a:pt x="3117766" y="1102429"/>
                  <a:pt x="3117766" y="1089838"/>
                </a:cubicBezTo>
                <a:cubicBezTo>
                  <a:pt x="3117766" y="1077249"/>
                  <a:pt x="3127886" y="1066883"/>
                  <a:pt x="3140721" y="1066883"/>
                </a:cubicBezTo>
                <a:close/>
                <a:moveTo>
                  <a:pt x="283127" y="1064876"/>
                </a:moveTo>
                <a:cubicBezTo>
                  <a:pt x="284360" y="1064876"/>
                  <a:pt x="285350" y="1065863"/>
                  <a:pt x="285350" y="1067097"/>
                </a:cubicBezTo>
                <a:cubicBezTo>
                  <a:pt x="285350" y="1068331"/>
                  <a:pt x="284360" y="1069321"/>
                  <a:pt x="283127" y="1069321"/>
                </a:cubicBezTo>
                <a:cubicBezTo>
                  <a:pt x="281893" y="1069321"/>
                  <a:pt x="280906" y="1068331"/>
                  <a:pt x="280906" y="1067097"/>
                </a:cubicBezTo>
                <a:cubicBezTo>
                  <a:pt x="280906" y="1065863"/>
                  <a:pt x="281893" y="1064876"/>
                  <a:pt x="283127" y="1064876"/>
                </a:cubicBezTo>
                <a:close/>
                <a:moveTo>
                  <a:pt x="2395781" y="1063662"/>
                </a:moveTo>
                <a:cubicBezTo>
                  <a:pt x="2396027" y="1063662"/>
                  <a:pt x="2396027" y="1063908"/>
                  <a:pt x="2396027" y="1063908"/>
                </a:cubicBezTo>
                <a:cubicBezTo>
                  <a:pt x="2396027" y="1064154"/>
                  <a:pt x="2395781" y="1064154"/>
                  <a:pt x="2395781" y="1064154"/>
                </a:cubicBezTo>
                <a:cubicBezTo>
                  <a:pt x="2395532" y="1063908"/>
                  <a:pt x="2395781" y="1063662"/>
                  <a:pt x="2395781" y="1063662"/>
                </a:cubicBezTo>
                <a:close/>
                <a:moveTo>
                  <a:pt x="2127963" y="1059215"/>
                </a:moveTo>
                <a:cubicBezTo>
                  <a:pt x="2130925" y="1059215"/>
                  <a:pt x="2133146" y="1061437"/>
                  <a:pt x="2133146" y="1064399"/>
                </a:cubicBezTo>
                <a:cubicBezTo>
                  <a:pt x="2133394" y="1067361"/>
                  <a:pt x="2130925" y="1069830"/>
                  <a:pt x="2127963" y="1069830"/>
                </a:cubicBezTo>
                <a:cubicBezTo>
                  <a:pt x="2125001" y="1069830"/>
                  <a:pt x="2122780" y="1067361"/>
                  <a:pt x="2122780" y="1064399"/>
                </a:cubicBezTo>
                <a:cubicBezTo>
                  <a:pt x="2122780" y="1061437"/>
                  <a:pt x="2125250" y="1059215"/>
                  <a:pt x="2127963" y="1059215"/>
                </a:cubicBezTo>
                <a:close/>
                <a:moveTo>
                  <a:pt x="1227273" y="1056244"/>
                </a:moveTo>
                <a:cubicBezTo>
                  <a:pt x="1231468" y="1056244"/>
                  <a:pt x="1234925" y="1059698"/>
                  <a:pt x="1234925" y="1063896"/>
                </a:cubicBezTo>
                <a:cubicBezTo>
                  <a:pt x="1234925" y="1068091"/>
                  <a:pt x="1231468" y="1071546"/>
                  <a:pt x="1227273" y="1071546"/>
                </a:cubicBezTo>
                <a:cubicBezTo>
                  <a:pt x="1223075" y="1071546"/>
                  <a:pt x="1219620" y="1068091"/>
                  <a:pt x="1219620" y="1063896"/>
                </a:cubicBezTo>
                <a:cubicBezTo>
                  <a:pt x="1219620" y="1059698"/>
                  <a:pt x="1223075" y="1056244"/>
                  <a:pt x="1227273" y="1056244"/>
                </a:cubicBezTo>
                <a:close/>
                <a:moveTo>
                  <a:pt x="3391507" y="1053065"/>
                </a:moveTo>
                <a:cubicBezTo>
                  <a:pt x="3404835" y="1053065"/>
                  <a:pt x="3415696" y="1063927"/>
                  <a:pt x="3415696" y="1077254"/>
                </a:cubicBezTo>
                <a:cubicBezTo>
                  <a:pt x="3415696" y="1090582"/>
                  <a:pt x="3404835" y="1101446"/>
                  <a:pt x="3391507" y="1101446"/>
                </a:cubicBezTo>
                <a:cubicBezTo>
                  <a:pt x="3378177" y="1101446"/>
                  <a:pt x="3367316" y="1090582"/>
                  <a:pt x="3367316" y="1077254"/>
                </a:cubicBezTo>
                <a:cubicBezTo>
                  <a:pt x="3367316" y="1063927"/>
                  <a:pt x="3378177" y="1053065"/>
                  <a:pt x="3391507" y="1053065"/>
                </a:cubicBezTo>
                <a:close/>
                <a:moveTo>
                  <a:pt x="612653" y="1049080"/>
                </a:moveTo>
                <a:cubicBezTo>
                  <a:pt x="621047" y="1049080"/>
                  <a:pt x="627712" y="1055745"/>
                  <a:pt x="627712" y="1064137"/>
                </a:cubicBezTo>
                <a:cubicBezTo>
                  <a:pt x="627712" y="1072530"/>
                  <a:pt x="621047" y="1079195"/>
                  <a:pt x="612653" y="1079195"/>
                </a:cubicBezTo>
                <a:cubicBezTo>
                  <a:pt x="604262" y="1079195"/>
                  <a:pt x="597596" y="1072530"/>
                  <a:pt x="597596" y="1064137"/>
                </a:cubicBezTo>
                <a:cubicBezTo>
                  <a:pt x="597596" y="1055745"/>
                  <a:pt x="604262" y="1049080"/>
                  <a:pt x="612653" y="1049080"/>
                </a:cubicBezTo>
                <a:close/>
                <a:moveTo>
                  <a:pt x="1414870" y="1044643"/>
                </a:moveTo>
                <a:cubicBezTo>
                  <a:pt x="1415363" y="1044643"/>
                  <a:pt x="1415609" y="1044889"/>
                  <a:pt x="1415609" y="1045384"/>
                </a:cubicBezTo>
                <a:cubicBezTo>
                  <a:pt x="1415609" y="1045877"/>
                  <a:pt x="1415363" y="1046123"/>
                  <a:pt x="1414870" y="1046123"/>
                </a:cubicBezTo>
                <a:cubicBezTo>
                  <a:pt x="1414375" y="1046123"/>
                  <a:pt x="1414129" y="1045877"/>
                  <a:pt x="1414129" y="1045384"/>
                </a:cubicBezTo>
                <a:cubicBezTo>
                  <a:pt x="1414129" y="1044889"/>
                  <a:pt x="1414375" y="1044643"/>
                  <a:pt x="1414870" y="1044643"/>
                </a:cubicBezTo>
                <a:close/>
                <a:moveTo>
                  <a:pt x="1864608" y="1041194"/>
                </a:moveTo>
                <a:cubicBezTo>
                  <a:pt x="1867322" y="1041194"/>
                  <a:pt x="1869541" y="1043415"/>
                  <a:pt x="1869541" y="1046131"/>
                </a:cubicBezTo>
                <a:cubicBezTo>
                  <a:pt x="1869541" y="1048847"/>
                  <a:pt x="1867322" y="1051068"/>
                  <a:pt x="1864608" y="1051068"/>
                </a:cubicBezTo>
                <a:cubicBezTo>
                  <a:pt x="1861892" y="1051068"/>
                  <a:pt x="1859671" y="1048847"/>
                  <a:pt x="1859671" y="1046131"/>
                </a:cubicBezTo>
                <a:cubicBezTo>
                  <a:pt x="1859671" y="1043415"/>
                  <a:pt x="1861892" y="1041194"/>
                  <a:pt x="1864608" y="1041194"/>
                </a:cubicBezTo>
                <a:close/>
                <a:moveTo>
                  <a:pt x="394448" y="1030319"/>
                </a:moveTo>
                <a:cubicBezTo>
                  <a:pt x="396177" y="1030319"/>
                  <a:pt x="397656" y="1031799"/>
                  <a:pt x="397656" y="1033527"/>
                </a:cubicBezTo>
                <a:cubicBezTo>
                  <a:pt x="397905" y="1035255"/>
                  <a:pt x="396423" y="1036735"/>
                  <a:pt x="394448" y="1036735"/>
                </a:cubicBezTo>
                <a:cubicBezTo>
                  <a:pt x="392720" y="1036735"/>
                  <a:pt x="391240" y="1035255"/>
                  <a:pt x="391240" y="1033527"/>
                </a:cubicBezTo>
                <a:cubicBezTo>
                  <a:pt x="391240" y="1031799"/>
                  <a:pt x="392720" y="1030319"/>
                  <a:pt x="394448" y="1030319"/>
                </a:cubicBezTo>
                <a:close/>
                <a:moveTo>
                  <a:pt x="2290874" y="1019725"/>
                </a:moveTo>
                <a:cubicBezTo>
                  <a:pt x="2293836" y="1019725"/>
                  <a:pt x="2296057" y="1021946"/>
                  <a:pt x="2296057" y="1024907"/>
                </a:cubicBezTo>
                <a:cubicBezTo>
                  <a:pt x="2296057" y="1027870"/>
                  <a:pt x="2293590" y="1030090"/>
                  <a:pt x="2290874" y="1030090"/>
                </a:cubicBezTo>
                <a:cubicBezTo>
                  <a:pt x="2287912" y="1030090"/>
                  <a:pt x="2285691" y="1027870"/>
                  <a:pt x="2285691" y="1024907"/>
                </a:cubicBezTo>
                <a:cubicBezTo>
                  <a:pt x="2285691" y="1021946"/>
                  <a:pt x="2287912" y="1019725"/>
                  <a:pt x="2290874" y="1019725"/>
                </a:cubicBezTo>
                <a:close/>
                <a:moveTo>
                  <a:pt x="2553750" y="1018246"/>
                </a:moveTo>
                <a:cubicBezTo>
                  <a:pt x="2555230" y="1018246"/>
                  <a:pt x="2556217" y="1019480"/>
                  <a:pt x="2556217" y="1020962"/>
                </a:cubicBezTo>
                <a:cubicBezTo>
                  <a:pt x="2556217" y="1022195"/>
                  <a:pt x="2554984" y="1023429"/>
                  <a:pt x="2553750" y="1023429"/>
                </a:cubicBezTo>
                <a:cubicBezTo>
                  <a:pt x="2552268" y="1023429"/>
                  <a:pt x="2551280" y="1022195"/>
                  <a:pt x="2551280" y="1020962"/>
                </a:cubicBezTo>
                <a:cubicBezTo>
                  <a:pt x="2551280" y="1019480"/>
                  <a:pt x="2552514" y="1018246"/>
                  <a:pt x="2553750" y="1018246"/>
                </a:cubicBezTo>
                <a:close/>
                <a:moveTo>
                  <a:pt x="2801818" y="1018004"/>
                </a:moveTo>
                <a:cubicBezTo>
                  <a:pt x="2808237" y="1018004"/>
                  <a:pt x="2813420" y="1023188"/>
                  <a:pt x="2813420" y="1029360"/>
                </a:cubicBezTo>
                <a:cubicBezTo>
                  <a:pt x="2813174" y="1035776"/>
                  <a:pt x="2807991" y="1040713"/>
                  <a:pt x="2801818" y="1040713"/>
                </a:cubicBezTo>
                <a:cubicBezTo>
                  <a:pt x="2795648" y="1040713"/>
                  <a:pt x="2790465" y="1035530"/>
                  <a:pt x="2790465" y="1029360"/>
                </a:cubicBezTo>
                <a:cubicBezTo>
                  <a:pt x="2790465" y="1022941"/>
                  <a:pt x="2795648" y="1018004"/>
                  <a:pt x="2801818" y="1018004"/>
                </a:cubicBezTo>
                <a:close/>
                <a:moveTo>
                  <a:pt x="3046432" y="1017269"/>
                </a:moveTo>
                <a:cubicBezTo>
                  <a:pt x="3056554" y="1017269"/>
                  <a:pt x="3064945" y="1025413"/>
                  <a:pt x="3064945" y="1035781"/>
                </a:cubicBezTo>
                <a:cubicBezTo>
                  <a:pt x="3064945" y="1046147"/>
                  <a:pt x="3056554" y="1054295"/>
                  <a:pt x="3046432" y="1054295"/>
                </a:cubicBezTo>
                <a:cubicBezTo>
                  <a:pt x="3036312" y="1054295"/>
                  <a:pt x="3028167" y="1045901"/>
                  <a:pt x="3028167" y="1035781"/>
                </a:cubicBezTo>
                <a:cubicBezTo>
                  <a:pt x="3028167" y="1025659"/>
                  <a:pt x="3036312" y="1017269"/>
                  <a:pt x="3046432" y="1017269"/>
                </a:cubicBezTo>
                <a:close/>
                <a:moveTo>
                  <a:pt x="1117677" y="1008601"/>
                </a:moveTo>
                <a:cubicBezTo>
                  <a:pt x="1119652" y="1008601"/>
                  <a:pt x="1121381" y="1010330"/>
                  <a:pt x="1121381" y="1012305"/>
                </a:cubicBezTo>
                <a:cubicBezTo>
                  <a:pt x="1121381" y="1014526"/>
                  <a:pt x="1119652" y="1016008"/>
                  <a:pt x="1117677" y="1016008"/>
                </a:cubicBezTo>
                <a:cubicBezTo>
                  <a:pt x="1115703" y="1016008"/>
                  <a:pt x="1113974" y="1014280"/>
                  <a:pt x="1113974" y="1012305"/>
                </a:cubicBezTo>
                <a:cubicBezTo>
                  <a:pt x="1113974" y="1010330"/>
                  <a:pt x="1115703" y="1008601"/>
                  <a:pt x="1117677" y="1008601"/>
                </a:cubicBezTo>
                <a:close/>
                <a:moveTo>
                  <a:pt x="920704" y="1006874"/>
                </a:moveTo>
                <a:cubicBezTo>
                  <a:pt x="927120" y="1006874"/>
                  <a:pt x="932305" y="1012057"/>
                  <a:pt x="932305" y="1018476"/>
                </a:cubicBezTo>
                <a:cubicBezTo>
                  <a:pt x="932552" y="1024892"/>
                  <a:pt x="927120" y="1030078"/>
                  <a:pt x="920704" y="1030078"/>
                </a:cubicBezTo>
                <a:cubicBezTo>
                  <a:pt x="914285" y="1030078"/>
                  <a:pt x="909102" y="1024892"/>
                  <a:pt x="909102" y="1018476"/>
                </a:cubicBezTo>
                <a:cubicBezTo>
                  <a:pt x="909102" y="1012057"/>
                  <a:pt x="914285" y="1006874"/>
                  <a:pt x="920704" y="1006874"/>
                </a:cubicBezTo>
                <a:close/>
                <a:moveTo>
                  <a:pt x="1595061" y="1005397"/>
                </a:moveTo>
                <a:cubicBezTo>
                  <a:pt x="1603699" y="1005397"/>
                  <a:pt x="1610610" y="1012309"/>
                  <a:pt x="1610610" y="1020949"/>
                </a:cubicBezTo>
                <a:cubicBezTo>
                  <a:pt x="1610610" y="1029587"/>
                  <a:pt x="1603453" y="1036498"/>
                  <a:pt x="1595061" y="1036498"/>
                </a:cubicBezTo>
                <a:cubicBezTo>
                  <a:pt x="1586421" y="1036498"/>
                  <a:pt x="1579510" y="1029587"/>
                  <a:pt x="1579510" y="1020949"/>
                </a:cubicBezTo>
                <a:cubicBezTo>
                  <a:pt x="1579510" y="1012309"/>
                  <a:pt x="1586421" y="1005397"/>
                  <a:pt x="1595061" y="1005397"/>
                </a:cubicBezTo>
                <a:close/>
                <a:moveTo>
                  <a:pt x="2032931" y="1003922"/>
                </a:moveTo>
                <a:cubicBezTo>
                  <a:pt x="2036388" y="1003922"/>
                  <a:pt x="2039350" y="1006885"/>
                  <a:pt x="2039350" y="1010339"/>
                </a:cubicBezTo>
                <a:cubicBezTo>
                  <a:pt x="2039350" y="1013797"/>
                  <a:pt x="2036388" y="1016758"/>
                  <a:pt x="2032931" y="1016758"/>
                </a:cubicBezTo>
                <a:cubicBezTo>
                  <a:pt x="2029476" y="1016758"/>
                  <a:pt x="2026514" y="1013797"/>
                  <a:pt x="2026514" y="1010339"/>
                </a:cubicBezTo>
                <a:cubicBezTo>
                  <a:pt x="2026514" y="1006885"/>
                  <a:pt x="2029476" y="1003922"/>
                  <a:pt x="2032931" y="1003922"/>
                </a:cubicBezTo>
                <a:close/>
                <a:moveTo>
                  <a:pt x="3536149" y="997532"/>
                </a:moveTo>
                <a:cubicBezTo>
                  <a:pt x="3552196" y="997532"/>
                  <a:pt x="3565277" y="1010613"/>
                  <a:pt x="3565277" y="1026659"/>
                </a:cubicBezTo>
                <a:cubicBezTo>
                  <a:pt x="3565277" y="1042702"/>
                  <a:pt x="3552196" y="1055783"/>
                  <a:pt x="3536149" y="1055783"/>
                </a:cubicBezTo>
                <a:cubicBezTo>
                  <a:pt x="3520106" y="1055783"/>
                  <a:pt x="3507024" y="1042702"/>
                  <a:pt x="3507024" y="1026659"/>
                </a:cubicBezTo>
                <a:cubicBezTo>
                  <a:pt x="3507024" y="1010613"/>
                  <a:pt x="3520106" y="997532"/>
                  <a:pt x="3536149" y="997532"/>
                </a:cubicBezTo>
                <a:close/>
                <a:moveTo>
                  <a:pt x="716816" y="994779"/>
                </a:moveTo>
                <a:cubicBezTo>
                  <a:pt x="726767" y="994779"/>
                  <a:pt x="734834" y="1002846"/>
                  <a:pt x="734834" y="1012798"/>
                </a:cubicBezTo>
                <a:cubicBezTo>
                  <a:pt x="734834" y="1022749"/>
                  <a:pt x="726767" y="1030816"/>
                  <a:pt x="716816" y="1030816"/>
                </a:cubicBezTo>
                <a:cubicBezTo>
                  <a:pt x="706865" y="1030816"/>
                  <a:pt x="698798" y="1022749"/>
                  <a:pt x="698798" y="1012798"/>
                </a:cubicBezTo>
                <a:cubicBezTo>
                  <a:pt x="698798" y="1002846"/>
                  <a:pt x="706865" y="994779"/>
                  <a:pt x="716816" y="994779"/>
                </a:cubicBezTo>
                <a:close/>
                <a:moveTo>
                  <a:pt x="3297216" y="994565"/>
                </a:moveTo>
                <a:cubicBezTo>
                  <a:pt x="3312767" y="994565"/>
                  <a:pt x="3325357" y="1007153"/>
                  <a:pt x="3325357" y="1022704"/>
                </a:cubicBezTo>
                <a:cubicBezTo>
                  <a:pt x="3325603" y="1038254"/>
                  <a:pt x="3312767" y="1050842"/>
                  <a:pt x="3297216" y="1050842"/>
                </a:cubicBezTo>
                <a:cubicBezTo>
                  <a:pt x="3281667" y="1050842"/>
                  <a:pt x="3269078" y="1038254"/>
                  <a:pt x="3269078" y="1022704"/>
                </a:cubicBezTo>
                <a:cubicBezTo>
                  <a:pt x="3269078" y="1007153"/>
                  <a:pt x="3281667" y="994565"/>
                  <a:pt x="3297216" y="994565"/>
                </a:cubicBezTo>
                <a:close/>
                <a:moveTo>
                  <a:pt x="503551" y="986138"/>
                </a:moveTo>
                <a:cubicBezTo>
                  <a:pt x="507254" y="986138"/>
                  <a:pt x="510462" y="989100"/>
                  <a:pt x="510462" y="993049"/>
                </a:cubicBezTo>
                <a:cubicBezTo>
                  <a:pt x="510462" y="996753"/>
                  <a:pt x="507254" y="999961"/>
                  <a:pt x="503551" y="999961"/>
                </a:cubicBezTo>
                <a:cubicBezTo>
                  <a:pt x="499847" y="999961"/>
                  <a:pt x="496639" y="996753"/>
                  <a:pt x="496639" y="993049"/>
                </a:cubicBezTo>
                <a:cubicBezTo>
                  <a:pt x="496639" y="989346"/>
                  <a:pt x="499601" y="986138"/>
                  <a:pt x="503551" y="986138"/>
                </a:cubicBezTo>
                <a:close/>
                <a:moveTo>
                  <a:pt x="54804" y="984162"/>
                </a:moveTo>
                <a:cubicBezTo>
                  <a:pt x="65170" y="984162"/>
                  <a:pt x="73317" y="992553"/>
                  <a:pt x="73317" y="1002675"/>
                </a:cubicBezTo>
                <a:cubicBezTo>
                  <a:pt x="73317" y="1012795"/>
                  <a:pt x="64924" y="1021188"/>
                  <a:pt x="54804" y="1021188"/>
                </a:cubicBezTo>
                <a:cubicBezTo>
                  <a:pt x="44436" y="1021188"/>
                  <a:pt x="36291" y="1012795"/>
                  <a:pt x="36291" y="1002675"/>
                </a:cubicBezTo>
                <a:cubicBezTo>
                  <a:pt x="36291" y="992307"/>
                  <a:pt x="44684" y="984162"/>
                  <a:pt x="54804" y="984162"/>
                </a:cubicBezTo>
                <a:close/>
                <a:moveTo>
                  <a:pt x="1316380" y="979477"/>
                </a:moveTo>
                <a:cubicBezTo>
                  <a:pt x="1321317" y="979477"/>
                  <a:pt x="1325266" y="983427"/>
                  <a:pt x="1325266" y="988364"/>
                </a:cubicBezTo>
                <a:cubicBezTo>
                  <a:pt x="1325266" y="993301"/>
                  <a:pt x="1321317" y="997250"/>
                  <a:pt x="1316380" y="997250"/>
                </a:cubicBezTo>
                <a:cubicBezTo>
                  <a:pt x="1311444" y="997250"/>
                  <a:pt x="1307494" y="993301"/>
                  <a:pt x="1307494" y="988364"/>
                </a:cubicBezTo>
                <a:cubicBezTo>
                  <a:pt x="1307494" y="983427"/>
                  <a:pt x="1311444" y="979477"/>
                  <a:pt x="1316380" y="979477"/>
                </a:cubicBezTo>
                <a:close/>
                <a:moveTo>
                  <a:pt x="1769573" y="978741"/>
                </a:moveTo>
                <a:cubicBezTo>
                  <a:pt x="1775992" y="978741"/>
                  <a:pt x="1781178" y="983925"/>
                  <a:pt x="1781178" y="990344"/>
                </a:cubicBezTo>
                <a:cubicBezTo>
                  <a:pt x="1781178" y="996760"/>
                  <a:pt x="1775992" y="1001945"/>
                  <a:pt x="1769573" y="1001945"/>
                </a:cubicBezTo>
                <a:cubicBezTo>
                  <a:pt x="1763157" y="1001945"/>
                  <a:pt x="1757974" y="996760"/>
                  <a:pt x="1757974" y="990344"/>
                </a:cubicBezTo>
                <a:cubicBezTo>
                  <a:pt x="1757974" y="983925"/>
                  <a:pt x="1763157" y="978741"/>
                  <a:pt x="1769573" y="978741"/>
                </a:cubicBezTo>
                <a:close/>
                <a:moveTo>
                  <a:pt x="2707529" y="967894"/>
                </a:moveTo>
                <a:cubicBezTo>
                  <a:pt x="2711973" y="967894"/>
                  <a:pt x="2715428" y="971597"/>
                  <a:pt x="2715428" y="975792"/>
                </a:cubicBezTo>
                <a:cubicBezTo>
                  <a:pt x="2715428" y="980236"/>
                  <a:pt x="2711725" y="983692"/>
                  <a:pt x="2707529" y="983692"/>
                </a:cubicBezTo>
                <a:cubicBezTo>
                  <a:pt x="2703085" y="983692"/>
                  <a:pt x="2699630" y="980236"/>
                  <a:pt x="2699630" y="975792"/>
                </a:cubicBezTo>
                <a:cubicBezTo>
                  <a:pt x="2699630" y="971348"/>
                  <a:pt x="2703085" y="967894"/>
                  <a:pt x="2707529" y="967894"/>
                </a:cubicBezTo>
                <a:close/>
                <a:moveTo>
                  <a:pt x="2459458" y="966409"/>
                </a:moveTo>
                <a:lnTo>
                  <a:pt x="2459704" y="966409"/>
                </a:lnTo>
                <a:lnTo>
                  <a:pt x="2459458" y="966655"/>
                </a:lnTo>
                <a:close/>
                <a:moveTo>
                  <a:pt x="1498548" y="963927"/>
                </a:moveTo>
                <a:cubicBezTo>
                  <a:pt x="1498794" y="963927"/>
                  <a:pt x="1499040" y="964174"/>
                  <a:pt x="1499040" y="964422"/>
                </a:cubicBezTo>
                <a:cubicBezTo>
                  <a:pt x="1499040" y="964668"/>
                  <a:pt x="1498794" y="964915"/>
                  <a:pt x="1498548" y="964915"/>
                </a:cubicBezTo>
                <a:cubicBezTo>
                  <a:pt x="1498299" y="964915"/>
                  <a:pt x="1498053" y="964668"/>
                  <a:pt x="1498053" y="964422"/>
                </a:cubicBezTo>
                <a:cubicBezTo>
                  <a:pt x="1498053" y="964174"/>
                  <a:pt x="1498299" y="963927"/>
                  <a:pt x="1498548" y="963927"/>
                </a:cubicBezTo>
                <a:close/>
                <a:moveTo>
                  <a:pt x="2952140" y="962961"/>
                </a:moveTo>
                <a:cubicBezTo>
                  <a:pt x="2962754" y="962961"/>
                  <a:pt x="2971148" y="971601"/>
                  <a:pt x="2971148" y="981967"/>
                </a:cubicBezTo>
                <a:cubicBezTo>
                  <a:pt x="2971148" y="992335"/>
                  <a:pt x="2962754" y="1000973"/>
                  <a:pt x="2952140" y="1000973"/>
                </a:cubicBezTo>
                <a:cubicBezTo>
                  <a:pt x="2941774" y="1000973"/>
                  <a:pt x="2933134" y="992335"/>
                  <a:pt x="2933134" y="981967"/>
                </a:cubicBezTo>
                <a:cubicBezTo>
                  <a:pt x="2933134" y="971601"/>
                  <a:pt x="2941525" y="962961"/>
                  <a:pt x="2952140" y="962961"/>
                </a:cubicBezTo>
                <a:close/>
                <a:moveTo>
                  <a:pt x="169335" y="961700"/>
                </a:moveTo>
                <a:cubicBezTo>
                  <a:pt x="180937" y="961700"/>
                  <a:pt x="190316" y="971081"/>
                  <a:pt x="190316" y="982680"/>
                </a:cubicBezTo>
                <a:cubicBezTo>
                  <a:pt x="190316" y="994036"/>
                  <a:pt x="180937" y="1003414"/>
                  <a:pt x="169335" y="1003414"/>
                </a:cubicBezTo>
                <a:cubicBezTo>
                  <a:pt x="157733" y="1003414"/>
                  <a:pt x="148355" y="994036"/>
                  <a:pt x="148355" y="982680"/>
                </a:cubicBezTo>
                <a:cubicBezTo>
                  <a:pt x="148355" y="971081"/>
                  <a:pt x="157733" y="961700"/>
                  <a:pt x="169335" y="961700"/>
                </a:cubicBezTo>
                <a:close/>
                <a:moveTo>
                  <a:pt x="2196336" y="961469"/>
                </a:moveTo>
                <a:cubicBezTo>
                  <a:pt x="2201521" y="961469"/>
                  <a:pt x="2205717" y="965665"/>
                  <a:pt x="2205717" y="970848"/>
                </a:cubicBezTo>
                <a:cubicBezTo>
                  <a:pt x="2205717" y="976033"/>
                  <a:pt x="2201521" y="980229"/>
                  <a:pt x="2196336" y="980229"/>
                </a:cubicBezTo>
                <a:cubicBezTo>
                  <a:pt x="2191153" y="980229"/>
                  <a:pt x="2186957" y="976033"/>
                  <a:pt x="2186957" y="970848"/>
                </a:cubicBezTo>
                <a:cubicBezTo>
                  <a:pt x="2186957" y="965665"/>
                  <a:pt x="2191153" y="961469"/>
                  <a:pt x="2196336" y="961469"/>
                </a:cubicBezTo>
                <a:close/>
                <a:moveTo>
                  <a:pt x="3194037" y="960747"/>
                </a:moveTo>
                <a:cubicBezTo>
                  <a:pt x="3208355" y="960747"/>
                  <a:pt x="3219954" y="972348"/>
                  <a:pt x="3219954" y="986664"/>
                </a:cubicBezTo>
                <a:cubicBezTo>
                  <a:pt x="3219954" y="1000980"/>
                  <a:pt x="3208355" y="1012828"/>
                  <a:pt x="3194037" y="1012828"/>
                </a:cubicBezTo>
                <a:cubicBezTo>
                  <a:pt x="3179719" y="1012828"/>
                  <a:pt x="3168120" y="1001226"/>
                  <a:pt x="3168120" y="986664"/>
                </a:cubicBezTo>
                <a:cubicBezTo>
                  <a:pt x="3168120" y="972099"/>
                  <a:pt x="3179719" y="960747"/>
                  <a:pt x="3194037" y="960747"/>
                </a:cubicBezTo>
                <a:close/>
                <a:moveTo>
                  <a:pt x="1937665" y="948630"/>
                </a:moveTo>
                <a:cubicBezTo>
                  <a:pt x="1941613" y="948630"/>
                  <a:pt x="1945070" y="951838"/>
                  <a:pt x="1945070" y="956036"/>
                </a:cubicBezTo>
                <a:cubicBezTo>
                  <a:pt x="1945070" y="959982"/>
                  <a:pt x="1941862" y="963439"/>
                  <a:pt x="1937665" y="963439"/>
                </a:cubicBezTo>
                <a:cubicBezTo>
                  <a:pt x="1933470" y="963439"/>
                  <a:pt x="1930263" y="960232"/>
                  <a:pt x="1930263" y="956036"/>
                </a:cubicBezTo>
                <a:cubicBezTo>
                  <a:pt x="1930263" y="952084"/>
                  <a:pt x="1933470" y="948630"/>
                  <a:pt x="1937665" y="948630"/>
                </a:cubicBezTo>
                <a:close/>
                <a:moveTo>
                  <a:pt x="3441615" y="941005"/>
                </a:moveTo>
                <a:cubicBezTo>
                  <a:pt x="3458646" y="941005"/>
                  <a:pt x="3472715" y="954828"/>
                  <a:pt x="3472715" y="972105"/>
                </a:cubicBezTo>
                <a:cubicBezTo>
                  <a:pt x="3472715" y="989388"/>
                  <a:pt x="3458892" y="1003207"/>
                  <a:pt x="3441615" y="1003207"/>
                </a:cubicBezTo>
                <a:cubicBezTo>
                  <a:pt x="3424582" y="1003207"/>
                  <a:pt x="3410513" y="989388"/>
                  <a:pt x="3410513" y="972105"/>
                </a:cubicBezTo>
                <a:cubicBezTo>
                  <a:pt x="3410513" y="955074"/>
                  <a:pt x="3424336" y="941005"/>
                  <a:pt x="3441615" y="941005"/>
                </a:cubicBezTo>
                <a:close/>
                <a:moveTo>
                  <a:pt x="817527" y="934797"/>
                </a:moveTo>
                <a:cubicBezTo>
                  <a:pt x="828880" y="934797"/>
                  <a:pt x="838261" y="944176"/>
                  <a:pt x="838261" y="955532"/>
                </a:cubicBezTo>
                <a:cubicBezTo>
                  <a:pt x="838261" y="966887"/>
                  <a:pt x="829129" y="976266"/>
                  <a:pt x="817527" y="976266"/>
                </a:cubicBezTo>
                <a:cubicBezTo>
                  <a:pt x="805925" y="976266"/>
                  <a:pt x="796792" y="966887"/>
                  <a:pt x="796792" y="955532"/>
                </a:cubicBezTo>
                <a:cubicBezTo>
                  <a:pt x="796792" y="944176"/>
                  <a:pt x="806171" y="934797"/>
                  <a:pt x="817527" y="934797"/>
                </a:cubicBezTo>
                <a:close/>
                <a:moveTo>
                  <a:pt x="1016229" y="933811"/>
                </a:moveTo>
                <a:cubicBezTo>
                  <a:pt x="1026844" y="933811"/>
                  <a:pt x="1035235" y="942451"/>
                  <a:pt x="1035235" y="952817"/>
                </a:cubicBezTo>
                <a:cubicBezTo>
                  <a:pt x="1035483" y="963185"/>
                  <a:pt x="1026844" y="971825"/>
                  <a:pt x="1016229" y="971825"/>
                </a:cubicBezTo>
                <a:cubicBezTo>
                  <a:pt x="1005615" y="971825"/>
                  <a:pt x="997224" y="963185"/>
                  <a:pt x="997224" y="952817"/>
                </a:cubicBezTo>
                <a:cubicBezTo>
                  <a:pt x="997224" y="942205"/>
                  <a:pt x="1005864" y="933811"/>
                  <a:pt x="1016229" y="933811"/>
                </a:cubicBezTo>
                <a:close/>
                <a:moveTo>
                  <a:pt x="609689" y="933809"/>
                </a:moveTo>
                <a:cubicBezTo>
                  <a:pt x="616106" y="933809"/>
                  <a:pt x="621537" y="938991"/>
                  <a:pt x="621537" y="945411"/>
                </a:cubicBezTo>
                <a:cubicBezTo>
                  <a:pt x="621291" y="952076"/>
                  <a:pt x="616106" y="957258"/>
                  <a:pt x="609689" y="957258"/>
                </a:cubicBezTo>
                <a:cubicBezTo>
                  <a:pt x="603270" y="957258"/>
                  <a:pt x="598087" y="952076"/>
                  <a:pt x="598087" y="945411"/>
                </a:cubicBezTo>
                <a:cubicBezTo>
                  <a:pt x="598087" y="938991"/>
                  <a:pt x="603270" y="933809"/>
                  <a:pt x="609689" y="933809"/>
                </a:cubicBezTo>
                <a:close/>
                <a:moveTo>
                  <a:pt x="1207525" y="932825"/>
                </a:moveTo>
                <a:cubicBezTo>
                  <a:pt x="1210980" y="932825"/>
                  <a:pt x="1213941" y="935786"/>
                  <a:pt x="1213941" y="939241"/>
                </a:cubicBezTo>
                <a:cubicBezTo>
                  <a:pt x="1213941" y="942944"/>
                  <a:pt x="1210980" y="945660"/>
                  <a:pt x="1207525" y="945660"/>
                </a:cubicBezTo>
                <a:cubicBezTo>
                  <a:pt x="1204068" y="945660"/>
                  <a:pt x="1201106" y="942698"/>
                  <a:pt x="1201106" y="939241"/>
                </a:cubicBezTo>
                <a:cubicBezTo>
                  <a:pt x="1201106" y="935786"/>
                  <a:pt x="1204068" y="932825"/>
                  <a:pt x="1207525" y="932825"/>
                </a:cubicBezTo>
                <a:close/>
                <a:moveTo>
                  <a:pt x="282384" y="930351"/>
                </a:moveTo>
                <a:cubicBezTo>
                  <a:pt x="295715" y="930351"/>
                  <a:pt x="306576" y="941212"/>
                  <a:pt x="306576" y="954542"/>
                </a:cubicBezTo>
                <a:cubicBezTo>
                  <a:pt x="306576" y="967870"/>
                  <a:pt x="295715" y="978731"/>
                  <a:pt x="282384" y="978731"/>
                </a:cubicBezTo>
                <a:cubicBezTo>
                  <a:pt x="269056" y="978731"/>
                  <a:pt x="258196" y="967870"/>
                  <a:pt x="258196" y="954542"/>
                </a:cubicBezTo>
                <a:cubicBezTo>
                  <a:pt x="258196" y="941212"/>
                  <a:pt x="269056" y="930351"/>
                  <a:pt x="282384" y="930351"/>
                </a:cubicBezTo>
                <a:close/>
                <a:moveTo>
                  <a:pt x="2355051" y="919756"/>
                </a:moveTo>
                <a:cubicBezTo>
                  <a:pt x="2359988" y="919756"/>
                  <a:pt x="2363937" y="923705"/>
                  <a:pt x="2363937" y="928642"/>
                </a:cubicBezTo>
                <a:cubicBezTo>
                  <a:pt x="2364183" y="933578"/>
                  <a:pt x="2359988" y="937530"/>
                  <a:pt x="2355051" y="937530"/>
                </a:cubicBezTo>
                <a:cubicBezTo>
                  <a:pt x="2350114" y="937530"/>
                  <a:pt x="2346165" y="933578"/>
                  <a:pt x="2346165" y="928642"/>
                </a:cubicBezTo>
                <a:cubicBezTo>
                  <a:pt x="2346165" y="923705"/>
                  <a:pt x="2350114" y="919756"/>
                  <a:pt x="2355051" y="919756"/>
                </a:cubicBezTo>
                <a:close/>
                <a:moveTo>
                  <a:pt x="1673803" y="918757"/>
                </a:moveTo>
                <a:cubicBezTo>
                  <a:pt x="1682935" y="918757"/>
                  <a:pt x="1690092" y="925915"/>
                  <a:pt x="1690092" y="935049"/>
                </a:cubicBezTo>
                <a:cubicBezTo>
                  <a:pt x="1689847" y="943936"/>
                  <a:pt x="1682688" y="951340"/>
                  <a:pt x="1673803" y="951340"/>
                </a:cubicBezTo>
                <a:cubicBezTo>
                  <a:pt x="1664916" y="951340"/>
                  <a:pt x="1657510" y="944182"/>
                  <a:pt x="1657510" y="935049"/>
                </a:cubicBezTo>
                <a:cubicBezTo>
                  <a:pt x="1657510" y="926164"/>
                  <a:pt x="1664668" y="918757"/>
                  <a:pt x="1673803" y="918757"/>
                </a:cubicBezTo>
                <a:close/>
                <a:moveTo>
                  <a:pt x="2613731" y="915069"/>
                </a:moveTo>
                <a:cubicBezTo>
                  <a:pt x="2616939" y="915069"/>
                  <a:pt x="2619655" y="917785"/>
                  <a:pt x="2619655" y="920994"/>
                </a:cubicBezTo>
                <a:cubicBezTo>
                  <a:pt x="2619655" y="924201"/>
                  <a:pt x="2616939" y="926918"/>
                  <a:pt x="2613731" y="926918"/>
                </a:cubicBezTo>
                <a:cubicBezTo>
                  <a:pt x="2610523" y="926918"/>
                  <a:pt x="2607807" y="924201"/>
                  <a:pt x="2607807" y="920994"/>
                </a:cubicBezTo>
                <a:cubicBezTo>
                  <a:pt x="2607807" y="917785"/>
                  <a:pt x="2610523" y="915069"/>
                  <a:pt x="2613731" y="915069"/>
                </a:cubicBezTo>
                <a:close/>
                <a:moveTo>
                  <a:pt x="3099748" y="913102"/>
                </a:moveTo>
                <a:cubicBezTo>
                  <a:pt x="3110609" y="913102"/>
                  <a:pt x="3119495" y="921990"/>
                  <a:pt x="3119495" y="932851"/>
                </a:cubicBezTo>
                <a:cubicBezTo>
                  <a:pt x="3119495" y="943712"/>
                  <a:pt x="3110609" y="952599"/>
                  <a:pt x="3099748" y="952599"/>
                </a:cubicBezTo>
                <a:cubicBezTo>
                  <a:pt x="3088887" y="952599"/>
                  <a:pt x="3080001" y="943712"/>
                  <a:pt x="3080001" y="932851"/>
                </a:cubicBezTo>
                <a:cubicBezTo>
                  <a:pt x="3080001" y="921990"/>
                  <a:pt x="3088887" y="913102"/>
                  <a:pt x="3099748" y="913102"/>
                </a:cubicBezTo>
                <a:close/>
                <a:moveTo>
                  <a:pt x="2858096" y="910382"/>
                </a:moveTo>
                <a:cubicBezTo>
                  <a:pt x="2867477" y="910382"/>
                  <a:pt x="2875376" y="918035"/>
                  <a:pt x="2875376" y="927660"/>
                </a:cubicBezTo>
                <a:cubicBezTo>
                  <a:pt x="2875376" y="937289"/>
                  <a:pt x="2867723" y="944940"/>
                  <a:pt x="2858096" y="944940"/>
                </a:cubicBezTo>
                <a:cubicBezTo>
                  <a:pt x="2848718" y="944940"/>
                  <a:pt x="2840819" y="937289"/>
                  <a:pt x="2840819" y="927660"/>
                </a:cubicBezTo>
                <a:cubicBezTo>
                  <a:pt x="2840819" y="918281"/>
                  <a:pt x="2848472" y="910382"/>
                  <a:pt x="2858096" y="910382"/>
                </a:cubicBezTo>
                <a:close/>
                <a:moveTo>
                  <a:pt x="2101551" y="907164"/>
                </a:moveTo>
                <a:cubicBezTo>
                  <a:pt x="2106980" y="907164"/>
                  <a:pt x="2111425" y="911607"/>
                  <a:pt x="2111425" y="916790"/>
                </a:cubicBezTo>
                <a:cubicBezTo>
                  <a:pt x="2111425" y="922219"/>
                  <a:pt x="2106980" y="926664"/>
                  <a:pt x="2101551" y="926664"/>
                </a:cubicBezTo>
                <a:cubicBezTo>
                  <a:pt x="2096120" y="926664"/>
                  <a:pt x="2091678" y="922219"/>
                  <a:pt x="2091678" y="916790"/>
                </a:cubicBezTo>
                <a:cubicBezTo>
                  <a:pt x="2091678" y="911358"/>
                  <a:pt x="2096120" y="907164"/>
                  <a:pt x="2101551" y="907164"/>
                </a:cubicBezTo>
                <a:close/>
                <a:moveTo>
                  <a:pt x="1401289" y="898270"/>
                </a:moveTo>
                <a:cubicBezTo>
                  <a:pt x="1406967" y="898270"/>
                  <a:pt x="1411411" y="902715"/>
                  <a:pt x="1411411" y="908389"/>
                </a:cubicBezTo>
                <a:cubicBezTo>
                  <a:pt x="1411411" y="914066"/>
                  <a:pt x="1406967" y="918511"/>
                  <a:pt x="1401289" y="918511"/>
                </a:cubicBezTo>
                <a:cubicBezTo>
                  <a:pt x="1395614" y="918511"/>
                  <a:pt x="1391170" y="914066"/>
                  <a:pt x="1391170" y="908389"/>
                </a:cubicBezTo>
                <a:cubicBezTo>
                  <a:pt x="1391170" y="902715"/>
                  <a:pt x="1395614" y="898270"/>
                  <a:pt x="1401289" y="898270"/>
                </a:cubicBezTo>
                <a:close/>
                <a:moveTo>
                  <a:pt x="393460" y="891353"/>
                </a:moveTo>
                <a:cubicBezTo>
                  <a:pt x="409011" y="891353"/>
                  <a:pt x="421352" y="903942"/>
                  <a:pt x="421352" y="919244"/>
                </a:cubicBezTo>
                <a:cubicBezTo>
                  <a:pt x="421352" y="934549"/>
                  <a:pt x="408765" y="947138"/>
                  <a:pt x="393460" y="947138"/>
                </a:cubicBezTo>
                <a:cubicBezTo>
                  <a:pt x="378158" y="947138"/>
                  <a:pt x="365569" y="934549"/>
                  <a:pt x="365569" y="919244"/>
                </a:cubicBezTo>
                <a:cubicBezTo>
                  <a:pt x="365569" y="903942"/>
                  <a:pt x="378158" y="891353"/>
                  <a:pt x="393460" y="891353"/>
                </a:cubicBezTo>
                <a:close/>
                <a:moveTo>
                  <a:pt x="54064" y="887402"/>
                </a:moveTo>
                <a:cubicBezTo>
                  <a:pt x="57026" y="887402"/>
                  <a:pt x="59493" y="889869"/>
                  <a:pt x="59493" y="893080"/>
                </a:cubicBezTo>
                <a:cubicBezTo>
                  <a:pt x="59740" y="896042"/>
                  <a:pt x="57273" y="898509"/>
                  <a:pt x="54064" y="898509"/>
                </a:cubicBezTo>
                <a:cubicBezTo>
                  <a:pt x="51103" y="898509"/>
                  <a:pt x="48633" y="896042"/>
                  <a:pt x="48633" y="893080"/>
                </a:cubicBezTo>
                <a:cubicBezTo>
                  <a:pt x="48633" y="890118"/>
                  <a:pt x="51103" y="887402"/>
                  <a:pt x="54064" y="887402"/>
                </a:cubicBezTo>
                <a:close/>
                <a:moveTo>
                  <a:pt x="3347324" y="885957"/>
                </a:moveTo>
                <a:cubicBezTo>
                  <a:pt x="3364604" y="885957"/>
                  <a:pt x="3378673" y="900026"/>
                  <a:pt x="3378673" y="917551"/>
                </a:cubicBezTo>
                <a:cubicBezTo>
                  <a:pt x="3378673" y="935076"/>
                  <a:pt x="3364604" y="949147"/>
                  <a:pt x="3347324" y="949147"/>
                </a:cubicBezTo>
                <a:cubicBezTo>
                  <a:pt x="3330047" y="949147"/>
                  <a:pt x="3315729" y="935076"/>
                  <a:pt x="3315729" y="917551"/>
                </a:cubicBezTo>
                <a:cubicBezTo>
                  <a:pt x="3315729" y="900026"/>
                  <a:pt x="3329798" y="885957"/>
                  <a:pt x="3347324" y="885957"/>
                </a:cubicBezTo>
                <a:close/>
                <a:moveTo>
                  <a:pt x="1843380" y="885685"/>
                </a:moveTo>
                <a:cubicBezTo>
                  <a:pt x="1851281" y="885685"/>
                  <a:pt x="1857941" y="892102"/>
                  <a:pt x="1857941" y="900249"/>
                </a:cubicBezTo>
                <a:cubicBezTo>
                  <a:pt x="1857941" y="908394"/>
                  <a:pt x="1851281" y="914811"/>
                  <a:pt x="1843380" y="914811"/>
                </a:cubicBezTo>
                <a:cubicBezTo>
                  <a:pt x="1835479" y="914811"/>
                  <a:pt x="1828815" y="908394"/>
                  <a:pt x="1828815" y="900249"/>
                </a:cubicBezTo>
                <a:cubicBezTo>
                  <a:pt x="1828815" y="892351"/>
                  <a:pt x="1835229" y="885685"/>
                  <a:pt x="1843380" y="885685"/>
                </a:cubicBezTo>
                <a:close/>
                <a:moveTo>
                  <a:pt x="3583544" y="883987"/>
                </a:moveTo>
                <a:cubicBezTo>
                  <a:pt x="3603290" y="883987"/>
                  <a:pt x="3619583" y="900031"/>
                  <a:pt x="3619583" y="920022"/>
                </a:cubicBezTo>
                <a:cubicBezTo>
                  <a:pt x="3619583" y="940019"/>
                  <a:pt x="3603290" y="956063"/>
                  <a:pt x="3583544" y="956063"/>
                </a:cubicBezTo>
                <a:cubicBezTo>
                  <a:pt x="3563799" y="956063"/>
                  <a:pt x="3547507" y="940019"/>
                  <a:pt x="3547507" y="920022"/>
                </a:cubicBezTo>
                <a:cubicBezTo>
                  <a:pt x="3547507" y="900278"/>
                  <a:pt x="3563551" y="883987"/>
                  <a:pt x="3583544" y="883987"/>
                </a:cubicBezTo>
                <a:close/>
                <a:moveTo>
                  <a:pt x="1578029" y="879265"/>
                </a:moveTo>
                <a:lnTo>
                  <a:pt x="1578275" y="879265"/>
                </a:lnTo>
                <a:lnTo>
                  <a:pt x="1578523" y="879265"/>
                </a:lnTo>
                <a:lnTo>
                  <a:pt x="1578275" y="879511"/>
                </a:lnTo>
                <a:close/>
                <a:moveTo>
                  <a:pt x="712373" y="874815"/>
                </a:moveTo>
                <a:cubicBezTo>
                  <a:pt x="721506" y="874815"/>
                  <a:pt x="728912" y="882222"/>
                  <a:pt x="728912" y="891354"/>
                </a:cubicBezTo>
                <a:cubicBezTo>
                  <a:pt x="728912" y="900486"/>
                  <a:pt x="721506" y="907890"/>
                  <a:pt x="712373" y="907890"/>
                </a:cubicBezTo>
                <a:cubicBezTo>
                  <a:pt x="703241" y="907890"/>
                  <a:pt x="695834" y="900486"/>
                  <a:pt x="695834" y="891354"/>
                </a:cubicBezTo>
                <a:cubicBezTo>
                  <a:pt x="695834" y="882222"/>
                  <a:pt x="703241" y="874815"/>
                  <a:pt x="712373" y="874815"/>
                </a:cubicBezTo>
                <a:close/>
                <a:moveTo>
                  <a:pt x="168842" y="871110"/>
                </a:moveTo>
                <a:cubicBezTo>
                  <a:pt x="169088" y="871110"/>
                  <a:pt x="169335" y="871356"/>
                  <a:pt x="169335" y="871605"/>
                </a:cubicBezTo>
                <a:cubicBezTo>
                  <a:pt x="169335" y="871851"/>
                  <a:pt x="169088" y="872098"/>
                  <a:pt x="168842" y="872098"/>
                </a:cubicBezTo>
                <a:cubicBezTo>
                  <a:pt x="168593" y="872098"/>
                  <a:pt x="168347" y="871851"/>
                  <a:pt x="168347" y="871605"/>
                </a:cubicBezTo>
                <a:cubicBezTo>
                  <a:pt x="168347" y="871356"/>
                  <a:pt x="168593" y="871110"/>
                  <a:pt x="168842" y="871110"/>
                </a:cubicBezTo>
                <a:close/>
                <a:moveTo>
                  <a:pt x="914779" y="868151"/>
                </a:moveTo>
                <a:cubicBezTo>
                  <a:pt x="927861" y="868151"/>
                  <a:pt x="938475" y="878766"/>
                  <a:pt x="938475" y="891848"/>
                </a:cubicBezTo>
                <a:cubicBezTo>
                  <a:pt x="938475" y="904929"/>
                  <a:pt x="927861" y="915543"/>
                  <a:pt x="914779" y="915543"/>
                </a:cubicBezTo>
                <a:cubicBezTo>
                  <a:pt x="901697" y="915543"/>
                  <a:pt x="891083" y="904929"/>
                  <a:pt x="891083" y="891848"/>
                </a:cubicBezTo>
                <a:cubicBezTo>
                  <a:pt x="891083" y="878766"/>
                  <a:pt x="901697" y="868151"/>
                  <a:pt x="914779" y="868151"/>
                </a:cubicBezTo>
                <a:close/>
                <a:moveTo>
                  <a:pt x="2519686" y="865206"/>
                </a:moveTo>
                <a:cubicBezTo>
                  <a:pt x="2520427" y="865206"/>
                  <a:pt x="2521168" y="865947"/>
                  <a:pt x="2521168" y="866686"/>
                </a:cubicBezTo>
                <a:cubicBezTo>
                  <a:pt x="2521168" y="867426"/>
                  <a:pt x="2520427" y="868167"/>
                  <a:pt x="2519686" y="868167"/>
                </a:cubicBezTo>
                <a:cubicBezTo>
                  <a:pt x="2518947" y="868167"/>
                  <a:pt x="2518206" y="867426"/>
                  <a:pt x="2518206" y="866686"/>
                </a:cubicBezTo>
                <a:cubicBezTo>
                  <a:pt x="2518206" y="865947"/>
                  <a:pt x="2518947" y="865206"/>
                  <a:pt x="2519686" y="865206"/>
                </a:cubicBezTo>
                <a:close/>
                <a:moveTo>
                  <a:pt x="2763807" y="861262"/>
                </a:moveTo>
                <a:cubicBezTo>
                  <a:pt x="2770964" y="861262"/>
                  <a:pt x="2776642" y="867184"/>
                  <a:pt x="2776642" y="874096"/>
                </a:cubicBezTo>
                <a:cubicBezTo>
                  <a:pt x="2776642" y="881008"/>
                  <a:pt x="2770964" y="886932"/>
                  <a:pt x="2763807" y="886932"/>
                </a:cubicBezTo>
                <a:cubicBezTo>
                  <a:pt x="2756649" y="886932"/>
                  <a:pt x="2750725" y="881008"/>
                  <a:pt x="2750725" y="874096"/>
                </a:cubicBezTo>
                <a:cubicBezTo>
                  <a:pt x="2750725" y="866938"/>
                  <a:pt x="2756649" y="861262"/>
                  <a:pt x="2763807" y="861262"/>
                </a:cubicBezTo>
                <a:close/>
                <a:moveTo>
                  <a:pt x="2261008" y="860020"/>
                </a:moveTo>
                <a:cubicBezTo>
                  <a:pt x="2268904" y="860020"/>
                  <a:pt x="2275323" y="866435"/>
                  <a:pt x="2275323" y="874337"/>
                </a:cubicBezTo>
                <a:cubicBezTo>
                  <a:pt x="2275323" y="882233"/>
                  <a:pt x="2268904" y="888652"/>
                  <a:pt x="2261008" y="888652"/>
                </a:cubicBezTo>
                <a:cubicBezTo>
                  <a:pt x="2253109" y="888652"/>
                  <a:pt x="2246690" y="882233"/>
                  <a:pt x="2246690" y="874337"/>
                </a:cubicBezTo>
                <a:cubicBezTo>
                  <a:pt x="2246690" y="866435"/>
                  <a:pt x="2253109" y="860020"/>
                  <a:pt x="2261008" y="860020"/>
                </a:cubicBezTo>
                <a:close/>
                <a:moveTo>
                  <a:pt x="1107800" y="855563"/>
                </a:moveTo>
                <a:cubicBezTo>
                  <a:pt x="1122118" y="855563"/>
                  <a:pt x="1133720" y="867165"/>
                  <a:pt x="1133720" y="881480"/>
                </a:cubicBezTo>
                <a:cubicBezTo>
                  <a:pt x="1133720" y="895798"/>
                  <a:pt x="1122118" y="907400"/>
                  <a:pt x="1107800" y="907400"/>
                </a:cubicBezTo>
                <a:cubicBezTo>
                  <a:pt x="1093485" y="907400"/>
                  <a:pt x="1081883" y="895798"/>
                  <a:pt x="1081883" y="881480"/>
                </a:cubicBezTo>
                <a:cubicBezTo>
                  <a:pt x="1081883" y="867165"/>
                  <a:pt x="1093485" y="855563"/>
                  <a:pt x="1107800" y="855563"/>
                </a:cubicBezTo>
                <a:close/>
                <a:moveTo>
                  <a:pt x="3005456" y="854605"/>
                </a:moveTo>
                <a:cubicBezTo>
                  <a:pt x="3018786" y="854605"/>
                  <a:pt x="3029401" y="865464"/>
                  <a:pt x="3029401" y="878546"/>
                </a:cubicBezTo>
                <a:cubicBezTo>
                  <a:pt x="3029401" y="891630"/>
                  <a:pt x="3018540" y="902493"/>
                  <a:pt x="3005456" y="902493"/>
                </a:cubicBezTo>
                <a:cubicBezTo>
                  <a:pt x="2992128" y="902493"/>
                  <a:pt x="2981513" y="891630"/>
                  <a:pt x="2981513" y="878546"/>
                </a:cubicBezTo>
                <a:cubicBezTo>
                  <a:pt x="2981513" y="865464"/>
                  <a:pt x="2992374" y="854605"/>
                  <a:pt x="3005456" y="854605"/>
                </a:cubicBezTo>
                <a:close/>
                <a:moveTo>
                  <a:pt x="2007014" y="852858"/>
                </a:moveTo>
                <a:cubicBezTo>
                  <a:pt x="2012445" y="852858"/>
                  <a:pt x="2016887" y="857303"/>
                  <a:pt x="2016887" y="862732"/>
                </a:cubicBezTo>
                <a:cubicBezTo>
                  <a:pt x="2016887" y="868163"/>
                  <a:pt x="2012445" y="872605"/>
                  <a:pt x="2007014" y="872605"/>
                </a:cubicBezTo>
                <a:cubicBezTo>
                  <a:pt x="2001584" y="872605"/>
                  <a:pt x="1997140" y="868163"/>
                  <a:pt x="1997140" y="862732"/>
                </a:cubicBezTo>
                <a:cubicBezTo>
                  <a:pt x="1997140" y="857303"/>
                  <a:pt x="2001584" y="852858"/>
                  <a:pt x="2007014" y="852858"/>
                </a:cubicBezTo>
                <a:close/>
                <a:moveTo>
                  <a:pt x="1293424" y="852604"/>
                </a:moveTo>
                <a:cubicBezTo>
                  <a:pt x="1298607" y="852604"/>
                  <a:pt x="1302803" y="856800"/>
                  <a:pt x="1302803" y="861986"/>
                </a:cubicBezTo>
                <a:cubicBezTo>
                  <a:pt x="1303049" y="867168"/>
                  <a:pt x="1298853" y="871364"/>
                  <a:pt x="1293424" y="871364"/>
                </a:cubicBezTo>
                <a:cubicBezTo>
                  <a:pt x="1288239" y="871364"/>
                  <a:pt x="1284043" y="867168"/>
                  <a:pt x="1284043" y="861986"/>
                </a:cubicBezTo>
                <a:cubicBezTo>
                  <a:pt x="1284043" y="856800"/>
                  <a:pt x="1288239" y="852604"/>
                  <a:pt x="1293424" y="852604"/>
                </a:cubicBezTo>
                <a:close/>
                <a:moveTo>
                  <a:pt x="3244148" y="849917"/>
                </a:moveTo>
                <a:cubicBezTo>
                  <a:pt x="3261920" y="849917"/>
                  <a:pt x="3276481" y="864481"/>
                  <a:pt x="3276481" y="882253"/>
                </a:cubicBezTo>
                <a:cubicBezTo>
                  <a:pt x="3276235" y="900025"/>
                  <a:pt x="3261920" y="914583"/>
                  <a:pt x="3244148" y="914583"/>
                </a:cubicBezTo>
                <a:cubicBezTo>
                  <a:pt x="3226376" y="914583"/>
                  <a:pt x="3211812" y="900025"/>
                  <a:pt x="3211812" y="882253"/>
                </a:cubicBezTo>
                <a:cubicBezTo>
                  <a:pt x="3211812" y="864481"/>
                  <a:pt x="3226376" y="849917"/>
                  <a:pt x="3244148" y="849917"/>
                </a:cubicBezTo>
                <a:close/>
                <a:moveTo>
                  <a:pt x="501572" y="843960"/>
                </a:moveTo>
                <a:cubicBezTo>
                  <a:pt x="519098" y="843960"/>
                  <a:pt x="533413" y="858278"/>
                  <a:pt x="533413" y="875801"/>
                </a:cubicBezTo>
                <a:cubicBezTo>
                  <a:pt x="533413" y="893573"/>
                  <a:pt x="519098" y="907645"/>
                  <a:pt x="501572" y="907645"/>
                </a:cubicBezTo>
                <a:cubicBezTo>
                  <a:pt x="484047" y="907645"/>
                  <a:pt x="469731" y="893327"/>
                  <a:pt x="469731" y="875801"/>
                </a:cubicBezTo>
                <a:cubicBezTo>
                  <a:pt x="469731" y="858278"/>
                  <a:pt x="484047" y="843960"/>
                  <a:pt x="501572" y="843960"/>
                </a:cubicBezTo>
                <a:close/>
                <a:moveTo>
                  <a:pt x="281642" y="839515"/>
                </a:moveTo>
                <a:cubicBezTo>
                  <a:pt x="282878" y="839515"/>
                  <a:pt x="284111" y="840503"/>
                  <a:pt x="284111" y="841736"/>
                </a:cubicBezTo>
                <a:cubicBezTo>
                  <a:pt x="284111" y="842970"/>
                  <a:pt x="282878" y="844206"/>
                  <a:pt x="281642" y="844206"/>
                </a:cubicBezTo>
                <a:cubicBezTo>
                  <a:pt x="280408" y="844206"/>
                  <a:pt x="279175" y="843218"/>
                  <a:pt x="279175" y="841736"/>
                </a:cubicBezTo>
                <a:cubicBezTo>
                  <a:pt x="279175" y="840503"/>
                  <a:pt x="280162" y="839515"/>
                  <a:pt x="281642" y="839515"/>
                </a:cubicBezTo>
                <a:close/>
                <a:moveTo>
                  <a:pt x="1748346" y="828910"/>
                </a:moveTo>
                <a:cubicBezTo>
                  <a:pt x="1757724" y="828910"/>
                  <a:pt x="1765376" y="836562"/>
                  <a:pt x="1765376" y="845695"/>
                </a:cubicBezTo>
                <a:cubicBezTo>
                  <a:pt x="1765376" y="855073"/>
                  <a:pt x="1757724" y="862726"/>
                  <a:pt x="1748346" y="862726"/>
                </a:cubicBezTo>
                <a:cubicBezTo>
                  <a:pt x="1738967" y="862726"/>
                  <a:pt x="1731560" y="855073"/>
                  <a:pt x="1731560" y="845695"/>
                </a:cubicBezTo>
                <a:cubicBezTo>
                  <a:pt x="1731560" y="836316"/>
                  <a:pt x="1739214" y="828910"/>
                  <a:pt x="1748346" y="828910"/>
                </a:cubicBezTo>
                <a:close/>
                <a:moveTo>
                  <a:pt x="3488759" y="827955"/>
                </a:moveTo>
                <a:cubicBezTo>
                  <a:pt x="3509742" y="827955"/>
                  <a:pt x="3526524" y="844988"/>
                  <a:pt x="3526524" y="865720"/>
                </a:cubicBezTo>
                <a:cubicBezTo>
                  <a:pt x="3526524" y="886455"/>
                  <a:pt x="3509742" y="903488"/>
                  <a:pt x="3488759" y="903488"/>
                </a:cubicBezTo>
                <a:cubicBezTo>
                  <a:pt x="3468025" y="903488"/>
                  <a:pt x="3450994" y="886455"/>
                  <a:pt x="3450994" y="865720"/>
                </a:cubicBezTo>
                <a:cubicBezTo>
                  <a:pt x="3450994" y="844741"/>
                  <a:pt x="3468025" y="827955"/>
                  <a:pt x="3488759" y="827955"/>
                </a:cubicBezTo>
                <a:close/>
                <a:moveTo>
                  <a:pt x="2415772" y="816087"/>
                </a:moveTo>
                <a:cubicBezTo>
                  <a:pt x="2423176" y="816087"/>
                  <a:pt x="2429349" y="822257"/>
                  <a:pt x="2429349" y="829663"/>
                </a:cubicBezTo>
                <a:cubicBezTo>
                  <a:pt x="2429349" y="837067"/>
                  <a:pt x="2423176" y="843238"/>
                  <a:pt x="2415772" y="843238"/>
                </a:cubicBezTo>
                <a:cubicBezTo>
                  <a:pt x="2408365" y="843238"/>
                  <a:pt x="2402195" y="837067"/>
                  <a:pt x="2402195" y="829663"/>
                </a:cubicBezTo>
                <a:cubicBezTo>
                  <a:pt x="2402195" y="822257"/>
                  <a:pt x="2408365" y="816087"/>
                  <a:pt x="2415772" y="816087"/>
                </a:cubicBezTo>
                <a:close/>
                <a:moveTo>
                  <a:pt x="1482008" y="812618"/>
                </a:moveTo>
                <a:cubicBezTo>
                  <a:pt x="1488425" y="812618"/>
                  <a:pt x="1493361" y="817801"/>
                  <a:pt x="1493361" y="824220"/>
                </a:cubicBezTo>
                <a:cubicBezTo>
                  <a:pt x="1493361" y="830389"/>
                  <a:pt x="1488178" y="835573"/>
                  <a:pt x="1482008" y="835573"/>
                </a:cubicBezTo>
                <a:cubicBezTo>
                  <a:pt x="1475589" y="835573"/>
                  <a:pt x="1470652" y="830389"/>
                  <a:pt x="1470652" y="824220"/>
                </a:cubicBezTo>
                <a:cubicBezTo>
                  <a:pt x="1470652" y="817801"/>
                  <a:pt x="1475835" y="812618"/>
                  <a:pt x="1482008" y="812618"/>
                </a:cubicBezTo>
                <a:close/>
                <a:moveTo>
                  <a:pt x="811602" y="809156"/>
                </a:moveTo>
                <a:cubicBezTo>
                  <a:pt x="823450" y="809156"/>
                  <a:pt x="833074" y="818783"/>
                  <a:pt x="833074" y="830632"/>
                </a:cubicBezTo>
                <a:cubicBezTo>
                  <a:pt x="833074" y="842480"/>
                  <a:pt x="823450" y="852107"/>
                  <a:pt x="811602" y="852107"/>
                </a:cubicBezTo>
                <a:cubicBezTo>
                  <a:pt x="799754" y="852107"/>
                  <a:pt x="790126" y="842480"/>
                  <a:pt x="790126" y="830632"/>
                </a:cubicBezTo>
                <a:cubicBezTo>
                  <a:pt x="790126" y="818783"/>
                  <a:pt x="799754" y="809156"/>
                  <a:pt x="811602" y="809156"/>
                </a:cubicBezTo>
                <a:close/>
                <a:moveTo>
                  <a:pt x="2166470" y="806949"/>
                </a:moveTo>
                <a:cubicBezTo>
                  <a:pt x="2173874" y="806949"/>
                  <a:pt x="2180044" y="813119"/>
                  <a:pt x="2180044" y="820524"/>
                </a:cubicBezTo>
                <a:cubicBezTo>
                  <a:pt x="2180044" y="827928"/>
                  <a:pt x="2174120" y="834102"/>
                  <a:pt x="2166470" y="834102"/>
                </a:cubicBezTo>
                <a:cubicBezTo>
                  <a:pt x="2159063" y="834102"/>
                  <a:pt x="2152893" y="827928"/>
                  <a:pt x="2152893" y="820524"/>
                </a:cubicBezTo>
                <a:cubicBezTo>
                  <a:pt x="2152893" y="813119"/>
                  <a:pt x="2159063" y="806949"/>
                  <a:pt x="2166470" y="806949"/>
                </a:cubicBezTo>
                <a:close/>
                <a:moveTo>
                  <a:pt x="2670007" y="804737"/>
                </a:moveTo>
                <a:cubicBezTo>
                  <a:pt x="2677906" y="804737"/>
                  <a:pt x="2684325" y="811152"/>
                  <a:pt x="2684325" y="819052"/>
                </a:cubicBezTo>
                <a:cubicBezTo>
                  <a:pt x="2684325" y="826948"/>
                  <a:pt x="2677906" y="833368"/>
                  <a:pt x="2670007" y="833368"/>
                </a:cubicBezTo>
                <a:cubicBezTo>
                  <a:pt x="2662111" y="833368"/>
                  <a:pt x="2655692" y="826948"/>
                  <a:pt x="2655692" y="819052"/>
                </a:cubicBezTo>
                <a:cubicBezTo>
                  <a:pt x="2655692" y="811152"/>
                  <a:pt x="2662111" y="804737"/>
                  <a:pt x="2670007" y="804737"/>
                </a:cubicBezTo>
                <a:close/>
                <a:moveTo>
                  <a:pt x="3149610" y="801293"/>
                </a:moveTo>
                <a:cubicBezTo>
                  <a:pt x="3164174" y="801293"/>
                  <a:pt x="3176268" y="813140"/>
                  <a:pt x="3176268" y="827947"/>
                </a:cubicBezTo>
                <a:cubicBezTo>
                  <a:pt x="3176019" y="842512"/>
                  <a:pt x="3164174" y="854360"/>
                  <a:pt x="3149610" y="854360"/>
                </a:cubicBezTo>
                <a:cubicBezTo>
                  <a:pt x="3135046" y="854360"/>
                  <a:pt x="3123198" y="842512"/>
                  <a:pt x="3123198" y="827947"/>
                </a:cubicBezTo>
                <a:cubicBezTo>
                  <a:pt x="3123198" y="813386"/>
                  <a:pt x="3135046" y="801293"/>
                  <a:pt x="3149610" y="801293"/>
                </a:cubicBezTo>
                <a:close/>
                <a:moveTo>
                  <a:pt x="2911166" y="798325"/>
                </a:moveTo>
                <a:cubicBezTo>
                  <a:pt x="2925481" y="798325"/>
                  <a:pt x="2937083" y="809928"/>
                  <a:pt x="2937083" y="824240"/>
                </a:cubicBezTo>
                <a:cubicBezTo>
                  <a:pt x="2937083" y="838310"/>
                  <a:pt x="2925481" y="849911"/>
                  <a:pt x="2911166" y="849911"/>
                </a:cubicBezTo>
                <a:cubicBezTo>
                  <a:pt x="2896848" y="849911"/>
                  <a:pt x="2885495" y="838310"/>
                  <a:pt x="2885495" y="824240"/>
                </a:cubicBezTo>
                <a:cubicBezTo>
                  <a:pt x="2885495" y="809928"/>
                  <a:pt x="2897097" y="798325"/>
                  <a:pt x="2911166" y="798325"/>
                </a:cubicBezTo>
                <a:close/>
                <a:moveTo>
                  <a:pt x="1008081" y="795584"/>
                </a:moveTo>
                <a:cubicBezTo>
                  <a:pt x="1022892" y="795584"/>
                  <a:pt x="1034988" y="807678"/>
                  <a:pt x="1034988" y="822488"/>
                </a:cubicBezTo>
                <a:cubicBezTo>
                  <a:pt x="1034739" y="837544"/>
                  <a:pt x="1022892" y="849392"/>
                  <a:pt x="1008081" y="849392"/>
                </a:cubicBezTo>
                <a:cubicBezTo>
                  <a:pt x="993271" y="849392"/>
                  <a:pt x="981177" y="837298"/>
                  <a:pt x="981177" y="822488"/>
                </a:cubicBezTo>
                <a:cubicBezTo>
                  <a:pt x="981177" y="807678"/>
                  <a:pt x="993271" y="795584"/>
                  <a:pt x="1008081" y="795584"/>
                </a:cubicBezTo>
                <a:close/>
                <a:moveTo>
                  <a:pt x="391980" y="794097"/>
                </a:moveTo>
                <a:cubicBezTo>
                  <a:pt x="397163" y="794097"/>
                  <a:pt x="401605" y="798293"/>
                  <a:pt x="401605" y="803725"/>
                </a:cubicBezTo>
                <a:cubicBezTo>
                  <a:pt x="401605" y="809154"/>
                  <a:pt x="397163" y="813349"/>
                  <a:pt x="391980" y="813349"/>
                </a:cubicBezTo>
                <a:cubicBezTo>
                  <a:pt x="386797" y="813349"/>
                  <a:pt x="382353" y="809154"/>
                  <a:pt x="382353" y="803725"/>
                </a:cubicBezTo>
                <a:cubicBezTo>
                  <a:pt x="382353" y="798539"/>
                  <a:pt x="386548" y="794097"/>
                  <a:pt x="391980" y="794097"/>
                </a:cubicBezTo>
                <a:close/>
                <a:moveTo>
                  <a:pt x="1653562" y="789910"/>
                </a:moveTo>
                <a:cubicBezTo>
                  <a:pt x="1653808" y="789910"/>
                  <a:pt x="1654054" y="790156"/>
                  <a:pt x="1654054" y="790405"/>
                </a:cubicBezTo>
                <a:cubicBezTo>
                  <a:pt x="1654054" y="790651"/>
                  <a:pt x="1654054" y="790897"/>
                  <a:pt x="1653562" y="790897"/>
                </a:cubicBezTo>
                <a:cubicBezTo>
                  <a:pt x="1653314" y="790897"/>
                  <a:pt x="1653067" y="790651"/>
                  <a:pt x="1653067" y="790405"/>
                </a:cubicBezTo>
                <a:cubicBezTo>
                  <a:pt x="1653067" y="790156"/>
                  <a:pt x="1653314" y="789910"/>
                  <a:pt x="1653562" y="789910"/>
                </a:cubicBezTo>
                <a:close/>
                <a:moveTo>
                  <a:pt x="606480" y="789903"/>
                </a:moveTo>
                <a:cubicBezTo>
                  <a:pt x="625981" y="789903"/>
                  <a:pt x="642024" y="805701"/>
                  <a:pt x="642024" y="825447"/>
                </a:cubicBezTo>
                <a:cubicBezTo>
                  <a:pt x="642024" y="845194"/>
                  <a:pt x="625981" y="860991"/>
                  <a:pt x="606480" y="860991"/>
                </a:cubicBezTo>
                <a:cubicBezTo>
                  <a:pt x="586980" y="860991"/>
                  <a:pt x="570936" y="844948"/>
                  <a:pt x="570936" y="825447"/>
                </a:cubicBezTo>
                <a:cubicBezTo>
                  <a:pt x="570936" y="805947"/>
                  <a:pt x="586734" y="789903"/>
                  <a:pt x="606480" y="789903"/>
                </a:cubicBezTo>
                <a:close/>
                <a:moveTo>
                  <a:pt x="1913233" y="789667"/>
                </a:moveTo>
                <a:cubicBezTo>
                  <a:pt x="1923104" y="789667"/>
                  <a:pt x="1931001" y="797567"/>
                  <a:pt x="1931001" y="807440"/>
                </a:cubicBezTo>
                <a:cubicBezTo>
                  <a:pt x="1931001" y="817313"/>
                  <a:pt x="1923104" y="825212"/>
                  <a:pt x="1913233" y="825212"/>
                </a:cubicBezTo>
                <a:cubicBezTo>
                  <a:pt x="1903360" y="825212"/>
                  <a:pt x="1895460" y="817067"/>
                  <a:pt x="1895460" y="807440"/>
                </a:cubicBezTo>
                <a:cubicBezTo>
                  <a:pt x="1895460" y="797567"/>
                  <a:pt x="1903607" y="789667"/>
                  <a:pt x="1913233" y="789667"/>
                </a:cubicBezTo>
                <a:close/>
                <a:moveTo>
                  <a:pt x="1195181" y="773861"/>
                </a:moveTo>
                <a:cubicBezTo>
                  <a:pt x="1212459" y="773861"/>
                  <a:pt x="1226528" y="787931"/>
                  <a:pt x="1226528" y="805212"/>
                </a:cubicBezTo>
                <a:cubicBezTo>
                  <a:pt x="1226528" y="822489"/>
                  <a:pt x="1212459" y="836558"/>
                  <a:pt x="1195181" y="836558"/>
                </a:cubicBezTo>
                <a:cubicBezTo>
                  <a:pt x="1177902" y="836558"/>
                  <a:pt x="1163832" y="822489"/>
                  <a:pt x="1163832" y="805212"/>
                </a:cubicBezTo>
                <a:cubicBezTo>
                  <a:pt x="1163832" y="787931"/>
                  <a:pt x="1177902" y="773861"/>
                  <a:pt x="1195181" y="773861"/>
                </a:cubicBezTo>
                <a:close/>
                <a:moveTo>
                  <a:pt x="3394221" y="772902"/>
                </a:moveTo>
                <a:cubicBezTo>
                  <a:pt x="3414958" y="772902"/>
                  <a:pt x="3431989" y="789939"/>
                  <a:pt x="3431989" y="810921"/>
                </a:cubicBezTo>
                <a:cubicBezTo>
                  <a:pt x="3431989" y="831652"/>
                  <a:pt x="3414958" y="848687"/>
                  <a:pt x="3394221" y="848687"/>
                </a:cubicBezTo>
                <a:cubicBezTo>
                  <a:pt x="3373241" y="848687"/>
                  <a:pt x="3356210" y="831652"/>
                  <a:pt x="3356210" y="810921"/>
                </a:cubicBezTo>
                <a:cubicBezTo>
                  <a:pt x="3356210" y="789939"/>
                  <a:pt x="3373241" y="772902"/>
                  <a:pt x="3394221" y="772902"/>
                </a:cubicBezTo>
                <a:close/>
                <a:moveTo>
                  <a:pt x="3627725" y="769944"/>
                </a:moveTo>
                <a:cubicBezTo>
                  <a:pt x="3651421" y="769944"/>
                  <a:pt x="3670427" y="789202"/>
                  <a:pt x="3670427" y="812654"/>
                </a:cubicBezTo>
                <a:cubicBezTo>
                  <a:pt x="3670675" y="836349"/>
                  <a:pt x="3651421" y="855358"/>
                  <a:pt x="3627725" y="855358"/>
                </a:cubicBezTo>
                <a:cubicBezTo>
                  <a:pt x="3604029" y="855358"/>
                  <a:pt x="3585023" y="836103"/>
                  <a:pt x="3585023" y="812654"/>
                </a:cubicBezTo>
                <a:cubicBezTo>
                  <a:pt x="3585023" y="788955"/>
                  <a:pt x="3604275" y="769944"/>
                  <a:pt x="3627725" y="769944"/>
                </a:cubicBezTo>
                <a:close/>
                <a:moveTo>
                  <a:pt x="1375128" y="766951"/>
                </a:moveTo>
                <a:cubicBezTo>
                  <a:pt x="1382039" y="766951"/>
                  <a:pt x="1387715" y="772629"/>
                  <a:pt x="1387715" y="779541"/>
                </a:cubicBezTo>
                <a:cubicBezTo>
                  <a:pt x="1387715" y="786699"/>
                  <a:pt x="1382039" y="792131"/>
                  <a:pt x="1375128" y="792131"/>
                </a:cubicBezTo>
                <a:cubicBezTo>
                  <a:pt x="1368216" y="792131"/>
                  <a:pt x="1362539" y="786453"/>
                  <a:pt x="1362539" y="779541"/>
                </a:cubicBezTo>
                <a:cubicBezTo>
                  <a:pt x="1362539" y="772629"/>
                  <a:pt x="1368216" y="766951"/>
                  <a:pt x="1375128" y="766951"/>
                </a:cubicBezTo>
                <a:close/>
                <a:moveTo>
                  <a:pt x="2576212" y="758816"/>
                </a:moveTo>
                <a:cubicBezTo>
                  <a:pt x="2579420" y="758816"/>
                  <a:pt x="2582136" y="761531"/>
                  <a:pt x="2582136" y="764739"/>
                </a:cubicBezTo>
                <a:cubicBezTo>
                  <a:pt x="2582136" y="767947"/>
                  <a:pt x="2579420" y="770663"/>
                  <a:pt x="2576212" y="770663"/>
                </a:cubicBezTo>
                <a:cubicBezTo>
                  <a:pt x="2573004" y="770663"/>
                  <a:pt x="2570288" y="767947"/>
                  <a:pt x="2570288" y="764739"/>
                </a:cubicBezTo>
                <a:cubicBezTo>
                  <a:pt x="2570288" y="761531"/>
                  <a:pt x="2573004" y="758816"/>
                  <a:pt x="2576212" y="758816"/>
                </a:cubicBezTo>
                <a:close/>
                <a:moveTo>
                  <a:pt x="2321728" y="756347"/>
                </a:moveTo>
                <a:cubicBezTo>
                  <a:pt x="2332343" y="756347"/>
                  <a:pt x="2340983" y="764985"/>
                  <a:pt x="2340983" y="775600"/>
                </a:cubicBezTo>
                <a:cubicBezTo>
                  <a:pt x="2340983" y="786214"/>
                  <a:pt x="2332343" y="794855"/>
                  <a:pt x="2321728" y="794855"/>
                </a:cubicBezTo>
                <a:cubicBezTo>
                  <a:pt x="2311116" y="794855"/>
                  <a:pt x="2302476" y="786214"/>
                  <a:pt x="2302476" y="775600"/>
                </a:cubicBezTo>
                <a:cubicBezTo>
                  <a:pt x="2302476" y="764985"/>
                  <a:pt x="2311116" y="756347"/>
                  <a:pt x="2321728" y="756347"/>
                </a:cubicBezTo>
                <a:close/>
                <a:moveTo>
                  <a:pt x="54307" y="753369"/>
                </a:moveTo>
                <a:cubicBezTo>
                  <a:pt x="70599" y="753369"/>
                  <a:pt x="83927" y="766699"/>
                  <a:pt x="83927" y="782989"/>
                </a:cubicBezTo>
                <a:cubicBezTo>
                  <a:pt x="83927" y="799528"/>
                  <a:pt x="70599" y="812609"/>
                  <a:pt x="54307" y="812609"/>
                </a:cubicBezTo>
                <a:cubicBezTo>
                  <a:pt x="38017" y="812609"/>
                  <a:pt x="24687" y="799282"/>
                  <a:pt x="24687" y="782989"/>
                </a:cubicBezTo>
                <a:cubicBezTo>
                  <a:pt x="24687" y="766699"/>
                  <a:pt x="38017" y="753369"/>
                  <a:pt x="54307" y="753369"/>
                </a:cubicBezTo>
                <a:close/>
                <a:moveTo>
                  <a:pt x="2072178" y="752640"/>
                </a:moveTo>
                <a:cubicBezTo>
                  <a:pt x="2079830" y="752640"/>
                  <a:pt x="2086001" y="758810"/>
                  <a:pt x="2086001" y="766461"/>
                </a:cubicBezTo>
                <a:cubicBezTo>
                  <a:pt x="2086001" y="774115"/>
                  <a:pt x="2079830" y="780286"/>
                  <a:pt x="2072178" y="780286"/>
                </a:cubicBezTo>
                <a:cubicBezTo>
                  <a:pt x="2064525" y="780286"/>
                  <a:pt x="2058355" y="774115"/>
                  <a:pt x="2058355" y="766461"/>
                </a:cubicBezTo>
                <a:cubicBezTo>
                  <a:pt x="2058355" y="758810"/>
                  <a:pt x="2064525" y="752640"/>
                  <a:pt x="2072178" y="752640"/>
                </a:cubicBezTo>
                <a:close/>
                <a:moveTo>
                  <a:pt x="2816628" y="750431"/>
                </a:moveTo>
                <a:cubicBezTo>
                  <a:pt x="2827738" y="750431"/>
                  <a:pt x="2836621" y="759314"/>
                  <a:pt x="2836621" y="770420"/>
                </a:cubicBezTo>
                <a:cubicBezTo>
                  <a:pt x="2836621" y="781284"/>
                  <a:pt x="2827738" y="790419"/>
                  <a:pt x="2816628" y="790419"/>
                </a:cubicBezTo>
                <a:cubicBezTo>
                  <a:pt x="2805521" y="790419"/>
                  <a:pt x="2796635" y="781284"/>
                  <a:pt x="2796635" y="770420"/>
                </a:cubicBezTo>
                <a:cubicBezTo>
                  <a:pt x="2796635" y="759314"/>
                  <a:pt x="2805521" y="750431"/>
                  <a:pt x="2816628" y="750431"/>
                </a:cubicBezTo>
                <a:close/>
                <a:moveTo>
                  <a:pt x="3055072" y="743771"/>
                </a:moveTo>
                <a:cubicBezTo>
                  <a:pt x="3071610" y="743771"/>
                  <a:pt x="3084938" y="757100"/>
                  <a:pt x="3084938" y="773634"/>
                </a:cubicBezTo>
                <a:cubicBezTo>
                  <a:pt x="3084938" y="790177"/>
                  <a:pt x="3071610" y="803509"/>
                  <a:pt x="3055072" y="803509"/>
                </a:cubicBezTo>
                <a:cubicBezTo>
                  <a:pt x="3038536" y="803509"/>
                  <a:pt x="3025205" y="790177"/>
                  <a:pt x="3025205" y="773634"/>
                </a:cubicBezTo>
                <a:cubicBezTo>
                  <a:pt x="3025205" y="757100"/>
                  <a:pt x="3038536" y="743771"/>
                  <a:pt x="3055072" y="743771"/>
                </a:cubicBezTo>
                <a:close/>
                <a:moveTo>
                  <a:pt x="906632" y="737329"/>
                </a:moveTo>
                <a:cubicBezTo>
                  <a:pt x="921196" y="737329"/>
                  <a:pt x="933041" y="749176"/>
                  <a:pt x="933041" y="763740"/>
                </a:cubicBezTo>
                <a:cubicBezTo>
                  <a:pt x="933041" y="778302"/>
                  <a:pt x="921196" y="790150"/>
                  <a:pt x="906632" y="790150"/>
                </a:cubicBezTo>
                <a:cubicBezTo>
                  <a:pt x="892068" y="790150"/>
                  <a:pt x="880220" y="778302"/>
                  <a:pt x="880220" y="763740"/>
                </a:cubicBezTo>
                <a:cubicBezTo>
                  <a:pt x="880220" y="749176"/>
                  <a:pt x="892068" y="737329"/>
                  <a:pt x="906632" y="737329"/>
                </a:cubicBezTo>
                <a:close/>
                <a:moveTo>
                  <a:pt x="3291046" y="736618"/>
                </a:moveTo>
                <a:cubicBezTo>
                  <a:pt x="3312767" y="736618"/>
                  <a:pt x="3330539" y="754385"/>
                  <a:pt x="3330539" y="776109"/>
                </a:cubicBezTo>
                <a:cubicBezTo>
                  <a:pt x="3330539" y="797838"/>
                  <a:pt x="3312767" y="815609"/>
                  <a:pt x="3291046" y="815609"/>
                </a:cubicBezTo>
                <a:cubicBezTo>
                  <a:pt x="3269324" y="815609"/>
                  <a:pt x="3251552" y="797838"/>
                  <a:pt x="3251552" y="776109"/>
                </a:cubicBezTo>
                <a:cubicBezTo>
                  <a:pt x="3251552" y="754385"/>
                  <a:pt x="3269324" y="736618"/>
                  <a:pt x="3291046" y="736618"/>
                </a:cubicBezTo>
                <a:close/>
                <a:moveTo>
                  <a:pt x="1818695" y="735607"/>
                </a:moveTo>
                <a:cubicBezTo>
                  <a:pt x="1828320" y="735607"/>
                  <a:pt x="1836215" y="743506"/>
                  <a:pt x="1836215" y="753132"/>
                </a:cubicBezTo>
                <a:cubicBezTo>
                  <a:pt x="1836215" y="762758"/>
                  <a:pt x="1828320" y="770655"/>
                  <a:pt x="1818695" y="770655"/>
                </a:cubicBezTo>
                <a:cubicBezTo>
                  <a:pt x="1809066" y="770655"/>
                  <a:pt x="1801168" y="762758"/>
                  <a:pt x="1801168" y="753132"/>
                </a:cubicBezTo>
                <a:cubicBezTo>
                  <a:pt x="1801168" y="743506"/>
                  <a:pt x="1809066" y="735607"/>
                  <a:pt x="1818695" y="735607"/>
                </a:cubicBezTo>
                <a:close/>
                <a:moveTo>
                  <a:pt x="499105" y="734857"/>
                </a:moveTo>
                <a:cubicBezTo>
                  <a:pt x="511694" y="734857"/>
                  <a:pt x="522062" y="745223"/>
                  <a:pt x="522062" y="757812"/>
                </a:cubicBezTo>
                <a:cubicBezTo>
                  <a:pt x="522062" y="770401"/>
                  <a:pt x="511694" y="780769"/>
                  <a:pt x="499105" y="780769"/>
                </a:cubicBezTo>
                <a:cubicBezTo>
                  <a:pt x="486515" y="780769"/>
                  <a:pt x="476150" y="770401"/>
                  <a:pt x="476150" y="757812"/>
                </a:cubicBezTo>
                <a:cubicBezTo>
                  <a:pt x="476150" y="745223"/>
                  <a:pt x="486515" y="734857"/>
                  <a:pt x="499105" y="734857"/>
                </a:cubicBezTo>
                <a:close/>
                <a:moveTo>
                  <a:pt x="707681" y="728688"/>
                </a:moveTo>
                <a:cubicBezTo>
                  <a:pt x="729402" y="728688"/>
                  <a:pt x="746928" y="746213"/>
                  <a:pt x="746928" y="767935"/>
                </a:cubicBezTo>
                <a:cubicBezTo>
                  <a:pt x="746928" y="789657"/>
                  <a:pt x="729156" y="807183"/>
                  <a:pt x="707681" y="807183"/>
                </a:cubicBezTo>
                <a:cubicBezTo>
                  <a:pt x="685959" y="807183"/>
                  <a:pt x="668433" y="789657"/>
                  <a:pt x="668433" y="767935"/>
                </a:cubicBezTo>
                <a:cubicBezTo>
                  <a:pt x="668433" y="746460"/>
                  <a:pt x="685959" y="728688"/>
                  <a:pt x="707681" y="728688"/>
                </a:cubicBezTo>
                <a:close/>
                <a:moveTo>
                  <a:pt x="168839" y="724244"/>
                </a:moveTo>
                <a:cubicBezTo>
                  <a:pt x="188585" y="724244"/>
                  <a:pt x="204632" y="740288"/>
                  <a:pt x="204632" y="760034"/>
                </a:cubicBezTo>
                <a:cubicBezTo>
                  <a:pt x="204632" y="779781"/>
                  <a:pt x="188585" y="796074"/>
                  <a:pt x="168839" y="796074"/>
                </a:cubicBezTo>
                <a:cubicBezTo>
                  <a:pt x="149092" y="796074"/>
                  <a:pt x="133048" y="780027"/>
                  <a:pt x="133048" y="760034"/>
                </a:cubicBezTo>
                <a:cubicBezTo>
                  <a:pt x="133048" y="740288"/>
                  <a:pt x="149092" y="724244"/>
                  <a:pt x="168839" y="724244"/>
                </a:cubicBezTo>
                <a:close/>
                <a:moveTo>
                  <a:pt x="1558281" y="723016"/>
                </a:moveTo>
                <a:cubicBezTo>
                  <a:pt x="1565438" y="723016"/>
                  <a:pt x="1571116" y="728694"/>
                  <a:pt x="1571116" y="735851"/>
                </a:cubicBezTo>
                <a:cubicBezTo>
                  <a:pt x="1570870" y="743008"/>
                  <a:pt x="1565192" y="748686"/>
                  <a:pt x="1558281" y="748686"/>
                </a:cubicBezTo>
                <a:cubicBezTo>
                  <a:pt x="1551123" y="748686"/>
                  <a:pt x="1545445" y="743008"/>
                  <a:pt x="1545445" y="735851"/>
                </a:cubicBezTo>
                <a:cubicBezTo>
                  <a:pt x="1545445" y="728694"/>
                  <a:pt x="1551123" y="723016"/>
                  <a:pt x="1558281" y="723016"/>
                </a:cubicBezTo>
                <a:close/>
                <a:moveTo>
                  <a:pt x="1096942" y="717829"/>
                </a:moveTo>
                <a:cubicBezTo>
                  <a:pt x="1113478" y="717829"/>
                  <a:pt x="1127054" y="731406"/>
                  <a:pt x="1127054" y="747944"/>
                </a:cubicBezTo>
                <a:cubicBezTo>
                  <a:pt x="1127054" y="764479"/>
                  <a:pt x="1113478" y="778056"/>
                  <a:pt x="1096942" y="778056"/>
                </a:cubicBezTo>
                <a:cubicBezTo>
                  <a:pt x="1080403" y="778056"/>
                  <a:pt x="1066827" y="764479"/>
                  <a:pt x="1066827" y="747944"/>
                </a:cubicBezTo>
                <a:cubicBezTo>
                  <a:pt x="1066827" y="731406"/>
                  <a:pt x="1080403" y="717829"/>
                  <a:pt x="1096942" y="717829"/>
                </a:cubicBezTo>
                <a:close/>
                <a:moveTo>
                  <a:pt x="3532695" y="713177"/>
                </a:moveTo>
                <a:cubicBezTo>
                  <a:pt x="3557378" y="713177"/>
                  <a:pt x="3577371" y="733167"/>
                  <a:pt x="3577371" y="757847"/>
                </a:cubicBezTo>
                <a:cubicBezTo>
                  <a:pt x="3577371" y="782532"/>
                  <a:pt x="3557378" y="802536"/>
                  <a:pt x="3532695" y="802536"/>
                </a:cubicBezTo>
                <a:cubicBezTo>
                  <a:pt x="3508011" y="802536"/>
                  <a:pt x="3488018" y="782532"/>
                  <a:pt x="3488018" y="757847"/>
                </a:cubicBezTo>
                <a:cubicBezTo>
                  <a:pt x="3488018" y="733167"/>
                  <a:pt x="3508011" y="713177"/>
                  <a:pt x="3532695" y="713177"/>
                </a:cubicBezTo>
                <a:close/>
                <a:moveTo>
                  <a:pt x="2472295" y="710193"/>
                </a:moveTo>
                <a:cubicBezTo>
                  <a:pt x="2482661" y="710193"/>
                  <a:pt x="2490809" y="718584"/>
                  <a:pt x="2490809" y="728706"/>
                </a:cubicBezTo>
                <a:cubicBezTo>
                  <a:pt x="2491055" y="738824"/>
                  <a:pt x="2482661" y="747218"/>
                  <a:pt x="2472295" y="747218"/>
                </a:cubicBezTo>
                <a:cubicBezTo>
                  <a:pt x="2461927" y="747218"/>
                  <a:pt x="2453782" y="738824"/>
                  <a:pt x="2453782" y="728706"/>
                </a:cubicBezTo>
                <a:cubicBezTo>
                  <a:pt x="2453782" y="718338"/>
                  <a:pt x="2462173" y="710193"/>
                  <a:pt x="2472295" y="710193"/>
                </a:cubicBezTo>
                <a:close/>
                <a:moveTo>
                  <a:pt x="2227436" y="704759"/>
                </a:moveTo>
                <a:cubicBezTo>
                  <a:pt x="2236817" y="704759"/>
                  <a:pt x="2244470" y="712412"/>
                  <a:pt x="2244470" y="721791"/>
                </a:cubicBezTo>
                <a:cubicBezTo>
                  <a:pt x="2244470" y="731172"/>
                  <a:pt x="2236817" y="738823"/>
                  <a:pt x="2227436" y="738823"/>
                </a:cubicBezTo>
                <a:cubicBezTo>
                  <a:pt x="2218058" y="738823"/>
                  <a:pt x="2210405" y="731172"/>
                  <a:pt x="2210405" y="721791"/>
                </a:cubicBezTo>
                <a:cubicBezTo>
                  <a:pt x="2210405" y="712412"/>
                  <a:pt x="2218058" y="704759"/>
                  <a:pt x="2227436" y="704759"/>
                </a:cubicBezTo>
                <a:close/>
                <a:moveTo>
                  <a:pt x="1724647" y="695620"/>
                </a:moveTo>
                <a:cubicBezTo>
                  <a:pt x="1725881" y="695620"/>
                  <a:pt x="1726868" y="696607"/>
                  <a:pt x="1726868" y="697841"/>
                </a:cubicBezTo>
                <a:cubicBezTo>
                  <a:pt x="1726868" y="699075"/>
                  <a:pt x="1725881" y="700062"/>
                  <a:pt x="1724647" y="700062"/>
                </a:cubicBezTo>
                <a:cubicBezTo>
                  <a:pt x="1723414" y="700062"/>
                  <a:pt x="1722427" y="699075"/>
                  <a:pt x="1722427" y="697841"/>
                </a:cubicBezTo>
                <a:cubicBezTo>
                  <a:pt x="1722427" y="696607"/>
                  <a:pt x="1723414" y="695620"/>
                  <a:pt x="1724647" y="695620"/>
                </a:cubicBezTo>
                <a:close/>
                <a:moveTo>
                  <a:pt x="2722830" y="690697"/>
                </a:moveTo>
                <a:cubicBezTo>
                  <a:pt x="2736161" y="690697"/>
                  <a:pt x="2747268" y="701558"/>
                  <a:pt x="2747268" y="715135"/>
                </a:cubicBezTo>
                <a:cubicBezTo>
                  <a:pt x="2747268" y="728710"/>
                  <a:pt x="2736161" y="739568"/>
                  <a:pt x="2722830" y="739568"/>
                </a:cubicBezTo>
                <a:cubicBezTo>
                  <a:pt x="2709500" y="739568"/>
                  <a:pt x="2698393" y="728710"/>
                  <a:pt x="2698393" y="715135"/>
                </a:cubicBezTo>
                <a:cubicBezTo>
                  <a:pt x="2698393" y="701805"/>
                  <a:pt x="2709254" y="690697"/>
                  <a:pt x="2722830" y="690697"/>
                </a:cubicBezTo>
                <a:close/>
                <a:moveTo>
                  <a:pt x="1978629" y="689697"/>
                </a:moveTo>
                <a:cubicBezTo>
                  <a:pt x="1990724" y="689697"/>
                  <a:pt x="2000597" y="699570"/>
                  <a:pt x="2000597" y="711419"/>
                </a:cubicBezTo>
                <a:cubicBezTo>
                  <a:pt x="2000597" y="723267"/>
                  <a:pt x="1990724" y="733140"/>
                  <a:pt x="1978629" y="733140"/>
                </a:cubicBezTo>
                <a:cubicBezTo>
                  <a:pt x="1966538" y="733140"/>
                  <a:pt x="1956918" y="723267"/>
                  <a:pt x="1956918" y="711419"/>
                </a:cubicBezTo>
                <a:cubicBezTo>
                  <a:pt x="1956918" y="699324"/>
                  <a:pt x="1966784" y="689697"/>
                  <a:pt x="1978629" y="689697"/>
                </a:cubicBezTo>
                <a:close/>
                <a:moveTo>
                  <a:pt x="1278118" y="687469"/>
                </a:moveTo>
                <a:cubicBezTo>
                  <a:pt x="1298359" y="687469"/>
                  <a:pt x="1314895" y="704007"/>
                  <a:pt x="1314895" y="724247"/>
                </a:cubicBezTo>
                <a:cubicBezTo>
                  <a:pt x="1314895" y="744488"/>
                  <a:pt x="1298359" y="761023"/>
                  <a:pt x="1278118" y="761023"/>
                </a:cubicBezTo>
                <a:cubicBezTo>
                  <a:pt x="1257878" y="761023"/>
                  <a:pt x="1241340" y="744488"/>
                  <a:pt x="1241340" y="724247"/>
                </a:cubicBezTo>
                <a:cubicBezTo>
                  <a:pt x="1241340" y="704007"/>
                  <a:pt x="1257878" y="687469"/>
                  <a:pt x="1278118" y="687469"/>
                </a:cubicBezTo>
                <a:close/>
                <a:moveTo>
                  <a:pt x="281149" y="686971"/>
                </a:moveTo>
                <a:cubicBezTo>
                  <a:pt x="303857" y="686971"/>
                  <a:pt x="322371" y="705484"/>
                  <a:pt x="322371" y="728193"/>
                </a:cubicBezTo>
                <a:cubicBezTo>
                  <a:pt x="322371" y="750902"/>
                  <a:pt x="303857" y="769414"/>
                  <a:pt x="281149" y="769414"/>
                </a:cubicBezTo>
                <a:cubicBezTo>
                  <a:pt x="258440" y="769414"/>
                  <a:pt x="239927" y="750902"/>
                  <a:pt x="239927" y="728193"/>
                </a:cubicBezTo>
                <a:cubicBezTo>
                  <a:pt x="239927" y="705484"/>
                  <a:pt x="258440" y="686971"/>
                  <a:pt x="281149" y="686971"/>
                </a:cubicBezTo>
                <a:close/>
                <a:moveTo>
                  <a:pt x="3196012" y="684780"/>
                </a:moveTo>
                <a:cubicBezTo>
                  <a:pt x="3216253" y="684780"/>
                  <a:pt x="3232792" y="701318"/>
                  <a:pt x="3232792" y="721559"/>
                </a:cubicBezTo>
                <a:cubicBezTo>
                  <a:pt x="3232792" y="741799"/>
                  <a:pt x="3216253" y="758331"/>
                  <a:pt x="3196012" y="758331"/>
                </a:cubicBezTo>
                <a:cubicBezTo>
                  <a:pt x="3175773" y="758331"/>
                  <a:pt x="3159234" y="741799"/>
                  <a:pt x="3159234" y="721559"/>
                </a:cubicBezTo>
                <a:cubicBezTo>
                  <a:pt x="3159234" y="701318"/>
                  <a:pt x="3175773" y="684780"/>
                  <a:pt x="3196012" y="684780"/>
                </a:cubicBezTo>
                <a:close/>
                <a:moveTo>
                  <a:pt x="2960533" y="683791"/>
                </a:moveTo>
                <a:cubicBezTo>
                  <a:pt x="2980034" y="683791"/>
                  <a:pt x="2995831" y="699587"/>
                  <a:pt x="2995831" y="719090"/>
                </a:cubicBezTo>
                <a:cubicBezTo>
                  <a:pt x="2996077" y="738338"/>
                  <a:pt x="2980034" y="754381"/>
                  <a:pt x="2960533" y="754381"/>
                </a:cubicBezTo>
                <a:cubicBezTo>
                  <a:pt x="2941033" y="754381"/>
                  <a:pt x="2925235" y="738586"/>
                  <a:pt x="2925235" y="719090"/>
                </a:cubicBezTo>
                <a:cubicBezTo>
                  <a:pt x="2925235" y="699587"/>
                  <a:pt x="2941033" y="683791"/>
                  <a:pt x="2960533" y="683791"/>
                </a:cubicBezTo>
                <a:close/>
                <a:moveTo>
                  <a:pt x="1452386" y="677845"/>
                </a:moveTo>
                <a:cubicBezTo>
                  <a:pt x="1461024" y="677845"/>
                  <a:pt x="1467935" y="684757"/>
                  <a:pt x="1467935" y="693396"/>
                </a:cubicBezTo>
                <a:cubicBezTo>
                  <a:pt x="1467935" y="702034"/>
                  <a:pt x="1461024" y="708945"/>
                  <a:pt x="1452386" y="708945"/>
                </a:cubicBezTo>
                <a:cubicBezTo>
                  <a:pt x="1443746" y="708945"/>
                  <a:pt x="1436835" y="702034"/>
                  <a:pt x="1436835" y="693396"/>
                </a:cubicBezTo>
                <a:cubicBezTo>
                  <a:pt x="1436835" y="684757"/>
                  <a:pt x="1443746" y="677845"/>
                  <a:pt x="1452386" y="677845"/>
                </a:cubicBezTo>
                <a:close/>
                <a:moveTo>
                  <a:pt x="602530" y="670188"/>
                </a:moveTo>
                <a:cubicBezTo>
                  <a:pt x="621043" y="670188"/>
                  <a:pt x="636348" y="685244"/>
                  <a:pt x="636348" y="704004"/>
                </a:cubicBezTo>
                <a:cubicBezTo>
                  <a:pt x="636348" y="722763"/>
                  <a:pt x="621289" y="737819"/>
                  <a:pt x="602530" y="737819"/>
                </a:cubicBezTo>
                <a:cubicBezTo>
                  <a:pt x="584017" y="737819"/>
                  <a:pt x="568715" y="722763"/>
                  <a:pt x="568715" y="704004"/>
                </a:cubicBezTo>
                <a:cubicBezTo>
                  <a:pt x="568715" y="685490"/>
                  <a:pt x="583771" y="670188"/>
                  <a:pt x="602530" y="670188"/>
                </a:cubicBezTo>
                <a:close/>
                <a:moveTo>
                  <a:pt x="804686" y="661056"/>
                </a:moveTo>
                <a:cubicBezTo>
                  <a:pt x="828271" y="661056"/>
                  <a:pt x="847387" y="680176"/>
                  <a:pt x="847387" y="703757"/>
                </a:cubicBezTo>
                <a:cubicBezTo>
                  <a:pt x="847387" y="727342"/>
                  <a:pt x="828271" y="746459"/>
                  <a:pt x="804686" y="746459"/>
                </a:cubicBezTo>
                <a:cubicBezTo>
                  <a:pt x="781101" y="746459"/>
                  <a:pt x="761985" y="727342"/>
                  <a:pt x="761985" y="703757"/>
                </a:cubicBezTo>
                <a:cubicBezTo>
                  <a:pt x="761985" y="680176"/>
                  <a:pt x="781104" y="661056"/>
                  <a:pt x="804686" y="661056"/>
                </a:cubicBezTo>
                <a:close/>
                <a:moveTo>
                  <a:pt x="3437664" y="658126"/>
                </a:moveTo>
                <a:cubicBezTo>
                  <a:pt x="3462347" y="658126"/>
                  <a:pt x="3482340" y="678119"/>
                  <a:pt x="3482340" y="702803"/>
                </a:cubicBezTo>
                <a:cubicBezTo>
                  <a:pt x="3482340" y="727489"/>
                  <a:pt x="3462347" y="747479"/>
                  <a:pt x="3437664" y="747479"/>
                </a:cubicBezTo>
                <a:cubicBezTo>
                  <a:pt x="3412980" y="747479"/>
                  <a:pt x="3392987" y="727489"/>
                  <a:pt x="3392987" y="702803"/>
                </a:cubicBezTo>
                <a:cubicBezTo>
                  <a:pt x="3392987" y="678119"/>
                  <a:pt x="3412980" y="658126"/>
                  <a:pt x="3437664" y="658126"/>
                </a:cubicBezTo>
                <a:close/>
                <a:moveTo>
                  <a:pt x="997219" y="658093"/>
                </a:moveTo>
                <a:cubicBezTo>
                  <a:pt x="1015238" y="658093"/>
                  <a:pt x="1030050" y="672903"/>
                  <a:pt x="1030050" y="690921"/>
                </a:cubicBezTo>
                <a:cubicBezTo>
                  <a:pt x="1030050" y="708940"/>
                  <a:pt x="1015486" y="723753"/>
                  <a:pt x="997219" y="723753"/>
                </a:cubicBezTo>
                <a:cubicBezTo>
                  <a:pt x="979201" y="723753"/>
                  <a:pt x="964391" y="708940"/>
                  <a:pt x="964391" y="690921"/>
                </a:cubicBezTo>
                <a:cubicBezTo>
                  <a:pt x="964391" y="672903"/>
                  <a:pt x="979201" y="658093"/>
                  <a:pt x="997219" y="658093"/>
                </a:cubicBezTo>
                <a:close/>
                <a:moveTo>
                  <a:pt x="3668947" y="655170"/>
                </a:moveTo>
                <a:cubicBezTo>
                  <a:pt x="3695852" y="655170"/>
                  <a:pt x="3717576" y="676892"/>
                  <a:pt x="3717576" y="703797"/>
                </a:cubicBezTo>
                <a:cubicBezTo>
                  <a:pt x="3717576" y="730703"/>
                  <a:pt x="3695852" y="752423"/>
                  <a:pt x="3668947" y="752423"/>
                </a:cubicBezTo>
                <a:cubicBezTo>
                  <a:pt x="3642043" y="752423"/>
                  <a:pt x="3620321" y="730703"/>
                  <a:pt x="3620321" y="703797"/>
                </a:cubicBezTo>
                <a:cubicBezTo>
                  <a:pt x="3620321" y="676892"/>
                  <a:pt x="3642043" y="655170"/>
                  <a:pt x="3668947" y="655170"/>
                </a:cubicBezTo>
                <a:close/>
                <a:moveTo>
                  <a:pt x="2378255" y="650211"/>
                </a:moveTo>
                <a:cubicBezTo>
                  <a:pt x="2391583" y="650211"/>
                  <a:pt x="2402444" y="661071"/>
                  <a:pt x="2402444" y="674399"/>
                </a:cubicBezTo>
                <a:cubicBezTo>
                  <a:pt x="2402690" y="687484"/>
                  <a:pt x="2391829" y="698590"/>
                  <a:pt x="2378255" y="698590"/>
                </a:cubicBezTo>
                <a:cubicBezTo>
                  <a:pt x="2364925" y="698590"/>
                  <a:pt x="2354064" y="687730"/>
                  <a:pt x="2354064" y="674399"/>
                </a:cubicBezTo>
                <a:cubicBezTo>
                  <a:pt x="2354064" y="661071"/>
                  <a:pt x="2364925" y="650211"/>
                  <a:pt x="2378255" y="650211"/>
                </a:cubicBezTo>
                <a:close/>
                <a:moveTo>
                  <a:pt x="2133392" y="649712"/>
                </a:moveTo>
                <a:cubicBezTo>
                  <a:pt x="2143019" y="649712"/>
                  <a:pt x="2151164" y="657611"/>
                  <a:pt x="2151164" y="667484"/>
                </a:cubicBezTo>
                <a:cubicBezTo>
                  <a:pt x="2150918" y="677357"/>
                  <a:pt x="2143019" y="685256"/>
                  <a:pt x="2133392" y="685256"/>
                </a:cubicBezTo>
                <a:cubicBezTo>
                  <a:pt x="2123519" y="685256"/>
                  <a:pt x="2115620" y="677357"/>
                  <a:pt x="2115620" y="667484"/>
                </a:cubicBezTo>
                <a:cubicBezTo>
                  <a:pt x="2115620" y="657857"/>
                  <a:pt x="2123519" y="649712"/>
                  <a:pt x="2133392" y="649712"/>
                </a:cubicBezTo>
                <a:close/>
                <a:moveTo>
                  <a:pt x="2628541" y="643796"/>
                </a:moveTo>
                <a:cubicBezTo>
                  <a:pt x="2637920" y="643796"/>
                  <a:pt x="2645326" y="651448"/>
                  <a:pt x="2645326" y="660580"/>
                </a:cubicBezTo>
                <a:cubicBezTo>
                  <a:pt x="2645572" y="669959"/>
                  <a:pt x="2637920" y="677366"/>
                  <a:pt x="2628541" y="677366"/>
                </a:cubicBezTo>
                <a:cubicBezTo>
                  <a:pt x="2619160" y="677366"/>
                  <a:pt x="2611756" y="669712"/>
                  <a:pt x="2611756" y="660580"/>
                </a:cubicBezTo>
                <a:cubicBezTo>
                  <a:pt x="2611756" y="651202"/>
                  <a:pt x="2619409" y="643796"/>
                  <a:pt x="2628541" y="643796"/>
                </a:cubicBezTo>
                <a:close/>
                <a:moveTo>
                  <a:pt x="390743" y="641554"/>
                </a:moveTo>
                <a:cubicBezTo>
                  <a:pt x="415921" y="641554"/>
                  <a:pt x="436406" y="662042"/>
                  <a:pt x="436406" y="687218"/>
                </a:cubicBezTo>
                <a:cubicBezTo>
                  <a:pt x="436406" y="712397"/>
                  <a:pt x="415921" y="732882"/>
                  <a:pt x="390743" y="732882"/>
                </a:cubicBezTo>
                <a:cubicBezTo>
                  <a:pt x="365567" y="732882"/>
                  <a:pt x="345079" y="712397"/>
                  <a:pt x="345079" y="687218"/>
                </a:cubicBezTo>
                <a:cubicBezTo>
                  <a:pt x="345079" y="662042"/>
                  <a:pt x="365567" y="641554"/>
                  <a:pt x="390743" y="641554"/>
                </a:cubicBezTo>
                <a:close/>
                <a:moveTo>
                  <a:pt x="1884598" y="638357"/>
                </a:moveTo>
                <a:cubicBezTo>
                  <a:pt x="1894821" y="638357"/>
                  <a:pt x="1903110" y="646644"/>
                  <a:pt x="1903110" y="656869"/>
                </a:cubicBezTo>
                <a:cubicBezTo>
                  <a:pt x="1903110" y="667093"/>
                  <a:pt x="1894821" y="675380"/>
                  <a:pt x="1884598" y="675380"/>
                </a:cubicBezTo>
                <a:cubicBezTo>
                  <a:pt x="1874372" y="675380"/>
                  <a:pt x="1866084" y="667093"/>
                  <a:pt x="1866084" y="656869"/>
                </a:cubicBezTo>
                <a:cubicBezTo>
                  <a:pt x="1866084" y="646644"/>
                  <a:pt x="1874372" y="638357"/>
                  <a:pt x="1884598" y="638357"/>
                </a:cubicBezTo>
                <a:close/>
                <a:moveTo>
                  <a:pt x="2865995" y="636147"/>
                </a:moveTo>
                <a:cubicBezTo>
                  <a:pt x="2881793" y="636147"/>
                  <a:pt x="2894628" y="648982"/>
                  <a:pt x="2894628" y="664779"/>
                </a:cubicBezTo>
                <a:cubicBezTo>
                  <a:pt x="2894382" y="680578"/>
                  <a:pt x="2881793" y="693412"/>
                  <a:pt x="2865995" y="693412"/>
                </a:cubicBezTo>
                <a:cubicBezTo>
                  <a:pt x="2850198" y="693412"/>
                  <a:pt x="2837362" y="680578"/>
                  <a:pt x="2837362" y="664779"/>
                </a:cubicBezTo>
                <a:cubicBezTo>
                  <a:pt x="2837362" y="648982"/>
                  <a:pt x="2850198" y="636147"/>
                  <a:pt x="2865995" y="636147"/>
                </a:cubicBezTo>
                <a:close/>
                <a:moveTo>
                  <a:pt x="1181112" y="634893"/>
                </a:moveTo>
                <a:cubicBezTo>
                  <a:pt x="1199625" y="634893"/>
                  <a:pt x="1214436" y="649703"/>
                  <a:pt x="1214436" y="668216"/>
                </a:cubicBezTo>
                <a:cubicBezTo>
                  <a:pt x="1214436" y="686481"/>
                  <a:pt x="1199625" y="701540"/>
                  <a:pt x="1181112" y="701540"/>
                </a:cubicBezTo>
                <a:cubicBezTo>
                  <a:pt x="1162845" y="701540"/>
                  <a:pt x="1147789" y="686730"/>
                  <a:pt x="1147789" y="668216"/>
                </a:cubicBezTo>
                <a:cubicBezTo>
                  <a:pt x="1147789" y="649949"/>
                  <a:pt x="1162599" y="634893"/>
                  <a:pt x="1181112" y="634893"/>
                </a:cubicBezTo>
                <a:close/>
                <a:moveTo>
                  <a:pt x="3101230" y="629983"/>
                </a:moveTo>
                <a:cubicBezTo>
                  <a:pt x="3121716" y="629983"/>
                  <a:pt x="3138254" y="646520"/>
                  <a:pt x="3138254" y="667007"/>
                </a:cubicBezTo>
                <a:cubicBezTo>
                  <a:pt x="3138254" y="687493"/>
                  <a:pt x="3121716" y="704031"/>
                  <a:pt x="3101230" y="704031"/>
                </a:cubicBezTo>
                <a:cubicBezTo>
                  <a:pt x="3080743" y="704031"/>
                  <a:pt x="3064204" y="687493"/>
                  <a:pt x="3064204" y="667007"/>
                </a:cubicBezTo>
                <a:cubicBezTo>
                  <a:pt x="3064204" y="646520"/>
                  <a:pt x="3080743" y="629983"/>
                  <a:pt x="3101230" y="629983"/>
                </a:cubicBezTo>
                <a:close/>
                <a:moveTo>
                  <a:pt x="1629864" y="628727"/>
                </a:moveTo>
                <a:cubicBezTo>
                  <a:pt x="1638255" y="628727"/>
                  <a:pt x="1644920" y="635638"/>
                  <a:pt x="1644920" y="643783"/>
                </a:cubicBezTo>
                <a:cubicBezTo>
                  <a:pt x="1644920" y="652177"/>
                  <a:pt x="1638255" y="658842"/>
                  <a:pt x="1629864" y="658842"/>
                </a:cubicBezTo>
                <a:cubicBezTo>
                  <a:pt x="1621470" y="658842"/>
                  <a:pt x="1614558" y="651930"/>
                  <a:pt x="1614558" y="643783"/>
                </a:cubicBezTo>
                <a:cubicBezTo>
                  <a:pt x="1614558" y="635392"/>
                  <a:pt x="1621470" y="628727"/>
                  <a:pt x="1629864" y="628727"/>
                </a:cubicBezTo>
                <a:close/>
                <a:moveTo>
                  <a:pt x="51098" y="625261"/>
                </a:moveTo>
                <a:cubicBezTo>
                  <a:pt x="77756" y="625261"/>
                  <a:pt x="99477" y="646983"/>
                  <a:pt x="99477" y="673641"/>
                </a:cubicBezTo>
                <a:cubicBezTo>
                  <a:pt x="99477" y="700299"/>
                  <a:pt x="77756" y="722021"/>
                  <a:pt x="51098" y="722021"/>
                </a:cubicBezTo>
                <a:cubicBezTo>
                  <a:pt x="24440" y="722021"/>
                  <a:pt x="2718" y="700299"/>
                  <a:pt x="2718" y="673641"/>
                </a:cubicBezTo>
                <a:cubicBezTo>
                  <a:pt x="2718" y="646983"/>
                  <a:pt x="24440" y="625261"/>
                  <a:pt x="51098" y="625261"/>
                </a:cubicBezTo>
                <a:close/>
                <a:moveTo>
                  <a:pt x="3334488" y="622089"/>
                </a:moveTo>
                <a:cubicBezTo>
                  <a:pt x="3360159" y="622089"/>
                  <a:pt x="3380893" y="643068"/>
                  <a:pt x="3380893" y="668492"/>
                </a:cubicBezTo>
                <a:cubicBezTo>
                  <a:pt x="3380893" y="694161"/>
                  <a:pt x="3360159" y="714898"/>
                  <a:pt x="3334488" y="714898"/>
                </a:cubicBezTo>
                <a:cubicBezTo>
                  <a:pt x="3308817" y="714898"/>
                  <a:pt x="3288083" y="694161"/>
                  <a:pt x="3288083" y="668492"/>
                </a:cubicBezTo>
                <a:cubicBezTo>
                  <a:pt x="3288083" y="642822"/>
                  <a:pt x="3308817" y="622089"/>
                  <a:pt x="3334488" y="622089"/>
                </a:cubicBezTo>
                <a:close/>
                <a:moveTo>
                  <a:pt x="163903" y="605269"/>
                </a:moveTo>
                <a:cubicBezTo>
                  <a:pt x="188338" y="605269"/>
                  <a:pt x="208087" y="625015"/>
                  <a:pt x="208087" y="649452"/>
                </a:cubicBezTo>
                <a:cubicBezTo>
                  <a:pt x="208334" y="673640"/>
                  <a:pt x="188338" y="693636"/>
                  <a:pt x="163903" y="693636"/>
                </a:cubicBezTo>
                <a:cubicBezTo>
                  <a:pt x="139466" y="693636"/>
                  <a:pt x="119719" y="673887"/>
                  <a:pt x="119719" y="649452"/>
                </a:cubicBezTo>
                <a:cubicBezTo>
                  <a:pt x="119719" y="625015"/>
                  <a:pt x="139466" y="605269"/>
                  <a:pt x="163903" y="605269"/>
                </a:cubicBezTo>
                <a:close/>
                <a:moveTo>
                  <a:pt x="702003" y="602061"/>
                </a:moveTo>
                <a:cubicBezTo>
                  <a:pt x="724465" y="602061"/>
                  <a:pt x="742978" y="620328"/>
                  <a:pt x="742978" y="643037"/>
                </a:cubicBezTo>
                <a:cubicBezTo>
                  <a:pt x="742732" y="665497"/>
                  <a:pt x="724465" y="684010"/>
                  <a:pt x="702003" y="684010"/>
                </a:cubicBezTo>
                <a:cubicBezTo>
                  <a:pt x="679543" y="684010"/>
                  <a:pt x="661029" y="665745"/>
                  <a:pt x="661029" y="643037"/>
                </a:cubicBezTo>
                <a:cubicBezTo>
                  <a:pt x="661029" y="620575"/>
                  <a:pt x="679294" y="602061"/>
                  <a:pt x="702003" y="602061"/>
                </a:cubicBezTo>
                <a:close/>
                <a:moveTo>
                  <a:pt x="2284209" y="600103"/>
                </a:moveTo>
                <a:cubicBezTo>
                  <a:pt x="2295319" y="600103"/>
                  <a:pt x="2304451" y="609235"/>
                  <a:pt x="2304451" y="620341"/>
                </a:cubicBezTo>
                <a:cubicBezTo>
                  <a:pt x="2304451" y="631450"/>
                  <a:pt x="2295319" y="640582"/>
                  <a:pt x="2284209" y="640582"/>
                </a:cubicBezTo>
                <a:cubicBezTo>
                  <a:pt x="2273102" y="640582"/>
                  <a:pt x="2263970" y="631450"/>
                  <a:pt x="2263970" y="620341"/>
                </a:cubicBezTo>
                <a:cubicBezTo>
                  <a:pt x="2263970" y="609235"/>
                  <a:pt x="2273102" y="600103"/>
                  <a:pt x="2284209" y="600103"/>
                </a:cubicBezTo>
                <a:close/>
                <a:moveTo>
                  <a:pt x="2525117" y="599858"/>
                </a:moveTo>
                <a:cubicBezTo>
                  <a:pt x="2539186" y="599858"/>
                  <a:pt x="2550539" y="611213"/>
                  <a:pt x="2550539" y="625282"/>
                </a:cubicBezTo>
                <a:cubicBezTo>
                  <a:pt x="2550539" y="639350"/>
                  <a:pt x="2539186" y="650703"/>
                  <a:pt x="2525117" y="650703"/>
                </a:cubicBezTo>
                <a:cubicBezTo>
                  <a:pt x="2511045" y="650703"/>
                  <a:pt x="2499692" y="639350"/>
                  <a:pt x="2499692" y="625282"/>
                </a:cubicBezTo>
                <a:cubicBezTo>
                  <a:pt x="2499692" y="611213"/>
                  <a:pt x="2511045" y="599858"/>
                  <a:pt x="2525117" y="599858"/>
                </a:cubicBezTo>
                <a:close/>
                <a:moveTo>
                  <a:pt x="3573421" y="599141"/>
                </a:moveTo>
                <a:cubicBezTo>
                  <a:pt x="3600820" y="599141"/>
                  <a:pt x="3623037" y="621356"/>
                  <a:pt x="3623037" y="648750"/>
                </a:cubicBezTo>
                <a:cubicBezTo>
                  <a:pt x="3623037" y="676149"/>
                  <a:pt x="3600820" y="698366"/>
                  <a:pt x="3573421" y="698366"/>
                </a:cubicBezTo>
                <a:cubicBezTo>
                  <a:pt x="3546024" y="698366"/>
                  <a:pt x="3523808" y="676149"/>
                  <a:pt x="3523808" y="648750"/>
                </a:cubicBezTo>
                <a:cubicBezTo>
                  <a:pt x="3523808" y="621356"/>
                  <a:pt x="3546024" y="599141"/>
                  <a:pt x="3573421" y="599141"/>
                </a:cubicBezTo>
                <a:close/>
                <a:moveTo>
                  <a:pt x="1356365" y="598117"/>
                </a:moveTo>
                <a:cubicBezTo>
                  <a:pt x="1378827" y="598117"/>
                  <a:pt x="1397095" y="616381"/>
                  <a:pt x="1397095" y="638843"/>
                </a:cubicBezTo>
                <a:cubicBezTo>
                  <a:pt x="1397095" y="661059"/>
                  <a:pt x="1378827" y="679571"/>
                  <a:pt x="1356365" y="679571"/>
                </a:cubicBezTo>
                <a:cubicBezTo>
                  <a:pt x="1333904" y="679571"/>
                  <a:pt x="1315637" y="661305"/>
                  <a:pt x="1315637" y="638843"/>
                </a:cubicBezTo>
                <a:cubicBezTo>
                  <a:pt x="1315637" y="616381"/>
                  <a:pt x="1333904" y="598117"/>
                  <a:pt x="1356365" y="598117"/>
                </a:cubicBezTo>
                <a:close/>
                <a:moveTo>
                  <a:pt x="1790802" y="593431"/>
                </a:moveTo>
                <a:cubicBezTo>
                  <a:pt x="1795739" y="593431"/>
                  <a:pt x="1799439" y="597380"/>
                  <a:pt x="1799439" y="602071"/>
                </a:cubicBezTo>
                <a:cubicBezTo>
                  <a:pt x="1799688" y="607007"/>
                  <a:pt x="1795739" y="610708"/>
                  <a:pt x="1790802" y="610708"/>
                </a:cubicBezTo>
                <a:cubicBezTo>
                  <a:pt x="1786110" y="610708"/>
                  <a:pt x="1782162" y="606759"/>
                  <a:pt x="1782162" y="602071"/>
                </a:cubicBezTo>
                <a:cubicBezTo>
                  <a:pt x="1782162" y="597380"/>
                  <a:pt x="1786110" y="593431"/>
                  <a:pt x="1790802" y="593431"/>
                </a:cubicBezTo>
                <a:close/>
                <a:moveTo>
                  <a:pt x="496634" y="589718"/>
                </a:moveTo>
                <a:cubicBezTo>
                  <a:pt x="523292" y="589718"/>
                  <a:pt x="545260" y="611439"/>
                  <a:pt x="545260" y="638097"/>
                </a:cubicBezTo>
                <a:cubicBezTo>
                  <a:pt x="545260" y="664755"/>
                  <a:pt x="523292" y="686476"/>
                  <a:pt x="496634" y="686476"/>
                </a:cubicBezTo>
                <a:cubicBezTo>
                  <a:pt x="469976" y="686476"/>
                  <a:pt x="448255" y="664755"/>
                  <a:pt x="448255" y="638097"/>
                </a:cubicBezTo>
                <a:cubicBezTo>
                  <a:pt x="448255" y="611439"/>
                  <a:pt x="469976" y="589718"/>
                  <a:pt x="496634" y="589718"/>
                </a:cubicBezTo>
                <a:close/>
                <a:moveTo>
                  <a:pt x="897250" y="588733"/>
                </a:moveTo>
                <a:cubicBezTo>
                  <a:pt x="921933" y="588733"/>
                  <a:pt x="941926" y="608725"/>
                  <a:pt x="941926" y="633409"/>
                </a:cubicBezTo>
                <a:cubicBezTo>
                  <a:pt x="941926" y="658092"/>
                  <a:pt x="921933" y="678085"/>
                  <a:pt x="897250" y="678085"/>
                </a:cubicBezTo>
                <a:cubicBezTo>
                  <a:pt x="872566" y="678085"/>
                  <a:pt x="852573" y="658092"/>
                  <a:pt x="852573" y="633409"/>
                </a:cubicBezTo>
                <a:cubicBezTo>
                  <a:pt x="852573" y="608725"/>
                  <a:pt x="872566" y="588733"/>
                  <a:pt x="897250" y="588733"/>
                </a:cubicBezTo>
                <a:close/>
                <a:moveTo>
                  <a:pt x="2039844" y="586769"/>
                </a:moveTo>
                <a:cubicBezTo>
                  <a:pt x="2054159" y="586769"/>
                  <a:pt x="2065514" y="598370"/>
                  <a:pt x="2065514" y="612439"/>
                </a:cubicBezTo>
                <a:cubicBezTo>
                  <a:pt x="2065761" y="626508"/>
                  <a:pt x="2054159" y="638109"/>
                  <a:pt x="2039844" y="638109"/>
                </a:cubicBezTo>
                <a:cubicBezTo>
                  <a:pt x="2025526" y="638109"/>
                  <a:pt x="2014173" y="626508"/>
                  <a:pt x="2014173" y="612439"/>
                </a:cubicBezTo>
                <a:cubicBezTo>
                  <a:pt x="2014173" y="598124"/>
                  <a:pt x="2025772" y="586769"/>
                  <a:pt x="2039844" y="586769"/>
                </a:cubicBezTo>
                <a:close/>
                <a:moveTo>
                  <a:pt x="1524709" y="584046"/>
                </a:moveTo>
                <a:cubicBezTo>
                  <a:pt x="1535075" y="584046"/>
                  <a:pt x="1543468" y="592437"/>
                  <a:pt x="1543468" y="602805"/>
                </a:cubicBezTo>
                <a:cubicBezTo>
                  <a:pt x="1543468" y="613174"/>
                  <a:pt x="1535075" y="621565"/>
                  <a:pt x="1524709" y="621565"/>
                </a:cubicBezTo>
                <a:cubicBezTo>
                  <a:pt x="1514341" y="621565"/>
                  <a:pt x="1505949" y="613174"/>
                  <a:pt x="1505949" y="602805"/>
                </a:cubicBezTo>
                <a:cubicBezTo>
                  <a:pt x="1505949" y="592437"/>
                  <a:pt x="1514341" y="584046"/>
                  <a:pt x="1524709" y="584046"/>
                </a:cubicBezTo>
                <a:close/>
                <a:moveTo>
                  <a:pt x="274486" y="576882"/>
                </a:moveTo>
                <a:cubicBezTo>
                  <a:pt x="295958" y="576882"/>
                  <a:pt x="313730" y="594408"/>
                  <a:pt x="313730" y="615883"/>
                </a:cubicBezTo>
                <a:cubicBezTo>
                  <a:pt x="313730" y="637109"/>
                  <a:pt x="296204" y="654881"/>
                  <a:pt x="274486" y="654881"/>
                </a:cubicBezTo>
                <a:cubicBezTo>
                  <a:pt x="253010" y="654881"/>
                  <a:pt x="235484" y="637355"/>
                  <a:pt x="235484" y="615883"/>
                </a:cubicBezTo>
                <a:cubicBezTo>
                  <a:pt x="235484" y="594408"/>
                  <a:pt x="253010" y="576882"/>
                  <a:pt x="274486" y="576882"/>
                </a:cubicBezTo>
                <a:close/>
                <a:moveTo>
                  <a:pt x="2771705" y="574934"/>
                </a:moveTo>
                <a:cubicBezTo>
                  <a:pt x="2790711" y="574934"/>
                  <a:pt x="2806262" y="590484"/>
                  <a:pt x="2806262" y="609489"/>
                </a:cubicBezTo>
                <a:cubicBezTo>
                  <a:pt x="2806262" y="628493"/>
                  <a:pt x="2790711" y="644044"/>
                  <a:pt x="2771705" y="644044"/>
                </a:cubicBezTo>
                <a:cubicBezTo>
                  <a:pt x="2752699" y="644044"/>
                  <a:pt x="2737148" y="628493"/>
                  <a:pt x="2737148" y="609489"/>
                </a:cubicBezTo>
                <a:cubicBezTo>
                  <a:pt x="2737148" y="590484"/>
                  <a:pt x="2752699" y="574934"/>
                  <a:pt x="2771705" y="574934"/>
                </a:cubicBezTo>
                <a:close/>
                <a:moveTo>
                  <a:pt x="1083115" y="572198"/>
                </a:moveTo>
                <a:cubicBezTo>
                  <a:pt x="1105578" y="572198"/>
                  <a:pt x="1123596" y="590465"/>
                  <a:pt x="1123596" y="612678"/>
                </a:cubicBezTo>
                <a:cubicBezTo>
                  <a:pt x="1123596" y="634892"/>
                  <a:pt x="1105578" y="653159"/>
                  <a:pt x="1083115" y="653159"/>
                </a:cubicBezTo>
                <a:cubicBezTo>
                  <a:pt x="1060904" y="653159"/>
                  <a:pt x="1042637" y="634892"/>
                  <a:pt x="1042637" y="612678"/>
                </a:cubicBezTo>
                <a:cubicBezTo>
                  <a:pt x="1042637" y="590216"/>
                  <a:pt x="1060904" y="572198"/>
                  <a:pt x="1083115" y="572198"/>
                </a:cubicBezTo>
                <a:close/>
                <a:moveTo>
                  <a:pt x="3239209" y="568773"/>
                </a:moveTo>
                <a:cubicBezTo>
                  <a:pt x="3264141" y="568773"/>
                  <a:pt x="3284134" y="589012"/>
                  <a:pt x="3284134" y="613694"/>
                </a:cubicBezTo>
                <a:cubicBezTo>
                  <a:pt x="3284134" y="638375"/>
                  <a:pt x="3264141" y="658616"/>
                  <a:pt x="3239209" y="658616"/>
                </a:cubicBezTo>
                <a:cubicBezTo>
                  <a:pt x="3214525" y="658616"/>
                  <a:pt x="3194286" y="638375"/>
                  <a:pt x="3194286" y="613694"/>
                </a:cubicBezTo>
                <a:cubicBezTo>
                  <a:pt x="3194286" y="589012"/>
                  <a:pt x="3214525" y="568773"/>
                  <a:pt x="3239209" y="568773"/>
                </a:cubicBezTo>
                <a:close/>
                <a:moveTo>
                  <a:pt x="3006444" y="568027"/>
                </a:moveTo>
                <a:cubicBezTo>
                  <a:pt x="3030635" y="568027"/>
                  <a:pt x="3050382" y="587774"/>
                  <a:pt x="3050382" y="611961"/>
                </a:cubicBezTo>
                <a:cubicBezTo>
                  <a:pt x="3050382" y="636151"/>
                  <a:pt x="3030635" y="655896"/>
                  <a:pt x="3006444" y="655896"/>
                </a:cubicBezTo>
                <a:cubicBezTo>
                  <a:pt x="2982255" y="655896"/>
                  <a:pt x="2962508" y="636151"/>
                  <a:pt x="2962508" y="611961"/>
                </a:cubicBezTo>
                <a:cubicBezTo>
                  <a:pt x="2962508" y="587774"/>
                  <a:pt x="2982255" y="568027"/>
                  <a:pt x="3006444" y="568027"/>
                </a:cubicBezTo>
                <a:close/>
                <a:moveTo>
                  <a:pt x="1260594" y="546033"/>
                </a:moveTo>
                <a:cubicBezTo>
                  <a:pt x="1281079" y="546033"/>
                  <a:pt x="1297864" y="562818"/>
                  <a:pt x="1297864" y="583306"/>
                </a:cubicBezTo>
                <a:cubicBezTo>
                  <a:pt x="1297864" y="604040"/>
                  <a:pt x="1281079" y="620575"/>
                  <a:pt x="1260594" y="620575"/>
                </a:cubicBezTo>
                <a:cubicBezTo>
                  <a:pt x="1240106" y="620575"/>
                  <a:pt x="1223321" y="603791"/>
                  <a:pt x="1223321" y="583306"/>
                </a:cubicBezTo>
                <a:cubicBezTo>
                  <a:pt x="1223321" y="562818"/>
                  <a:pt x="1240106" y="546033"/>
                  <a:pt x="1260594" y="546033"/>
                </a:cubicBezTo>
                <a:close/>
                <a:moveTo>
                  <a:pt x="2189919" y="544810"/>
                </a:moveTo>
                <a:cubicBezTo>
                  <a:pt x="2201767" y="544810"/>
                  <a:pt x="2211392" y="554437"/>
                  <a:pt x="2211392" y="566286"/>
                </a:cubicBezTo>
                <a:cubicBezTo>
                  <a:pt x="2211641" y="578134"/>
                  <a:pt x="2202014" y="587761"/>
                  <a:pt x="2189919" y="587761"/>
                </a:cubicBezTo>
                <a:cubicBezTo>
                  <a:pt x="2178071" y="587761"/>
                  <a:pt x="2168444" y="578134"/>
                  <a:pt x="2168444" y="566286"/>
                </a:cubicBezTo>
                <a:cubicBezTo>
                  <a:pt x="2168444" y="554437"/>
                  <a:pt x="2178071" y="544810"/>
                  <a:pt x="2189919" y="544810"/>
                </a:cubicBezTo>
                <a:close/>
                <a:moveTo>
                  <a:pt x="3477898" y="543352"/>
                </a:moveTo>
                <a:cubicBezTo>
                  <a:pt x="3505544" y="543352"/>
                  <a:pt x="3528004" y="565816"/>
                  <a:pt x="3528004" y="593461"/>
                </a:cubicBezTo>
                <a:cubicBezTo>
                  <a:pt x="3528004" y="621105"/>
                  <a:pt x="3505544" y="643563"/>
                  <a:pt x="3477898" y="643563"/>
                </a:cubicBezTo>
                <a:cubicBezTo>
                  <a:pt x="3450253" y="643563"/>
                  <a:pt x="3427790" y="621105"/>
                  <a:pt x="3427790" y="593461"/>
                </a:cubicBezTo>
                <a:cubicBezTo>
                  <a:pt x="3427790" y="565816"/>
                  <a:pt x="3450253" y="543352"/>
                  <a:pt x="3477898" y="543352"/>
                </a:cubicBezTo>
                <a:close/>
                <a:moveTo>
                  <a:pt x="3707207" y="542124"/>
                </a:moveTo>
                <a:cubicBezTo>
                  <a:pt x="3735594" y="542124"/>
                  <a:pt x="3758795" y="565329"/>
                  <a:pt x="3758795" y="593713"/>
                </a:cubicBezTo>
                <a:cubicBezTo>
                  <a:pt x="3758795" y="622343"/>
                  <a:pt x="3735594" y="645545"/>
                  <a:pt x="3707207" y="645545"/>
                </a:cubicBezTo>
                <a:cubicBezTo>
                  <a:pt x="3678574" y="645545"/>
                  <a:pt x="3655619" y="622343"/>
                  <a:pt x="3655619" y="593713"/>
                </a:cubicBezTo>
                <a:cubicBezTo>
                  <a:pt x="3655619" y="565329"/>
                  <a:pt x="3678820" y="542124"/>
                  <a:pt x="3707207" y="542124"/>
                </a:cubicBezTo>
                <a:close/>
                <a:moveTo>
                  <a:pt x="2431076" y="541357"/>
                </a:moveTo>
                <a:cubicBezTo>
                  <a:pt x="2447368" y="541357"/>
                  <a:pt x="2460696" y="554685"/>
                  <a:pt x="2460696" y="570732"/>
                </a:cubicBezTo>
                <a:cubicBezTo>
                  <a:pt x="2460450" y="587022"/>
                  <a:pt x="2447120" y="600352"/>
                  <a:pt x="2431076" y="600352"/>
                </a:cubicBezTo>
                <a:cubicBezTo>
                  <a:pt x="2414786" y="600352"/>
                  <a:pt x="2401456" y="587022"/>
                  <a:pt x="2401456" y="570732"/>
                </a:cubicBezTo>
                <a:cubicBezTo>
                  <a:pt x="2401456" y="554439"/>
                  <a:pt x="2414786" y="541357"/>
                  <a:pt x="2431076" y="541357"/>
                </a:cubicBezTo>
                <a:close/>
                <a:moveTo>
                  <a:pt x="50360" y="540598"/>
                </a:moveTo>
                <a:cubicBezTo>
                  <a:pt x="62949" y="540598"/>
                  <a:pt x="73068" y="550717"/>
                  <a:pt x="73068" y="563307"/>
                </a:cubicBezTo>
                <a:cubicBezTo>
                  <a:pt x="73068" y="575896"/>
                  <a:pt x="62949" y="586016"/>
                  <a:pt x="50360" y="586016"/>
                </a:cubicBezTo>
                <a:cubicBezTo>
                  <a:pt x="37770" y="586016"/>
                  <a:pt x="27651" y="575896"/>
                  <a:pt x="27651" y="563307"/>
                </a:cubicBezTo>
                <a:cubicBezTo>
                  <a:pt x="27651" y="550717"/>
                  <a:pt x="37770" y="540598"/>
                  <a:pt x="50360" y="540598"/>
                </a:cubicBezTo>
                <a:close/>
                <a:moveTo>
                  <a:pt x="1946056" y="538387"/>
                </a:moveTo>
                <a:cubicBezTo>
                  <a:pt x="1956672" y="538387"/>
                  <a:pt x="1965551" y="547028"/>
                  <a:pt x="1965551" y="557889"/>
                </a:cubicBezTo>
                <a:cubicBezTo>
                  <a:pt x="1965551" y="568750"/>
                  <a:pt x="1956672" y="577387"/>
                  <a:pt x="1946056" y="577387"/>
                </a:cubicBezTo>
                <a:cubicBezTo>
                  <a:pt x="1935197" y="577387"/>
                  <a:pt x="1926558" y="568750"/>
                  <a:pt x="1926558" y="557889"/>
                </a:cubicBezTo>
                <a:cubicBezTo>
                  <a:pt x="1926558" y="547028"/>
                  <a:pt x="1935443" y="538387"/>
                  <a:pt x="1946056" y="538387"/>
                </a:cubicBezTo>
                <a:close/>
                <a:moveTo>
                  <a:pt x="381856" y="538130"/>
                </a:moveTo>
                <a:cubicBezTo>
                  <a:pt x="400862" y="538130"/>
                  <a:pt x="416413" y="553681"/>
                  <a:pt x="416413" y="572933"/>
                </a:cubicBezTo>
                <a:cubicBezTo>
                  <a:pt x="416413" y="591941"/>
                  <a:pt x="401111" y="607490"/>
                  <a:pt x="381856" y="607490"/>
                </a:cubicBezTo>
                <a:cubicBezTo>
                  <a:pt x="362605" y="607490"/>
                  <a:pt x="347053" y="591941"/>
                  <a:pt x="347053" y="572933"/>
                </a:cubicBezTo>
                <a:cubicBezTo>
                  <a:pt x="347053" y="553927"/>
                  <a:pt x="362605" y="538130"/>
                  <a:pt x="381856" y="538130"/>
                </a:cubicBezTo>
                <a:close/>
                <a:moveTo>
                  <a:pt x="598331" y="531218"/>
                </a:moveTo>
                <a:cubicBezTo>
                  <a:pt x="625485" y="531218"/>
                  <a:pt x="647698" y="553435"/>
                  <a:pt x="647698" y="580586"/>
                </a:cubicBezTo>
                <a:cubicBezTo>
                  <a:pt x="647698" y="607739"/>
                  <a:pt x="625731" y="629952"/>
                  <a:pt x="598331" y="629952"/>
                </a:cubicBezTo>
                <a:cubicBezTo>
                  <a:pt x="571178" y="629952"/>
                  <a:pt x="548965" y="607739"/>
                  <a:pt x="548965" y="580586"/>
                </a:cubicBezTo>
                <a:cubicBezTo>
                  <a:pt x="548965" y="553435"/>
                  <a:pt x="571178" y="531218"/>
                  <a:pt x="598331" y="531218"/>
                </a:cubicBezTo>
                <a:close/>
                <a:moveTo>
                  <a:pt x="1696508" y="528510"/>
                </a:moveTo>
                <a:cubicBezTo>
                  <a:pt x="1707124" y="528510"/>
                  <a:pt x="1716010" y="537150"/>
                  <a:pt x="1716010" y="548011"/>
                </a:cubicBezTo>
                <a:cubicBezTo>
                  <a:pt x="1716010" y="558626"/>
                  <a:pt x="1707369" y="567512"/>
                  <a:pt x="1696508" y="567512"/>
                </a:cubicBezTo>
                <a:cubicBezTo>
                  <a:pt x="1685894" y="567512"/>
                  <a:pt x="1677008" y="558872"/>
                  <a:pt x="1677008" y="548011"/>
                </a:cubicBezTo>
                <a:cubicBezTo>
                  <a:pt x="1677008" y="537150"/>
                  <a:pt x="1685648" y="528510"/>
                  <a:pt x="1696508" y="528510"/>
                </a:cubicBezTo>
                <a:close/>
                <a:moveTo>
                  <a:pt x="796541" y="527762"/>
                </a:moveTo>
                <a:cubicBezTo>
                  <a:pt x="822704" y="527762"/>
                  <a:pt x="843687" y="548992"/>
                  <a:pt x="843687" y="574909"/>
                </a:cubicBezTo>
                <a:cubicBezTo>
                  <a:pt x="843687" y="600826"/>
                  <a:pt x="822704" y="622055"/>
                  <a:pt x="796541" y="622055"/>
                </a:cubicBezTo>
                <a:cubicBezTo>
                  <a:pt x="770375" y="622055"/>
                  <a:pt x="749394" y="600826"/>
                  <a:pt x="749394" y="574909"/>
                </a:cubicBezTo>
                <a:cubicBezTo>
                  <a:pt x="749394" y="548743"/>
                  <a:pt x="770624" y="527762"/>
                  <a:pt x="796541" y="527762"/>
                </a:cubicBezTo>
                <a:close/>
                <a:moveTo>
                  <a:pt x="2677167" y="524575"/>
                </a:moveTo>
                <a:cubicBezTo>
                  <a:pt x="2693703" y="524575"/>
                  <a:pt x="2707280" y="538152"/>
                  <a:pt x="2707280" y="554692"/>
                </a:cubicBezTo>
                <a:cubicBezTo>
                  <a:pt x="2707280" y="571228"/>
                  <a:pt x="2693950" y="584805"/>
                  <a:pt x="2677167" y="584805"/>
                </a:cubicBezTo>
                <a:cubicBezTo>
                  <a:pt x="2660629" y="584805"/>
                  <a:pt x="2647052" y="571228"/>
                  <a:pt x="2647052" y="554692"/>
                </a:cubicBezTo>
                <a:cubicBezTo>
                  <a:pt x="2647052" y="538152"/>
                  <a:pt x="2660629" y="524575"/>
                  <a:pt x="2677167" y="524575"/>
                </a:cubicBezTo>
                <a:close/>
                <a:moveTo>
                  <a:pt x="163160" y="523810"/>
                </a:moveTo>
                <a:cubicBezTo>
                  <a:pt x="170566" y="523810"/>
                  <a:pt x="176490" y="529735"/>
                  <a:pt x="176490" y="537141"/>
                </a:cubicBezTo>
                <a:cubicBezTo>
                  <a:pt x="176490" y="544545"/>
                  <a:pt x="170566" y="550469"/>
                  <a:pt x="163160" y="550469"/>
                </a:cubicBezTo>
                <a:cubicBezTo>
                  <a:pt x="155756" y="550469"/>
                  <a:pt x="149832" y="544545"/>
                  <a:pt x="149832" y="537141"/>
                </a:cubicBezTo>
                <a:cubicBezTo>
                  <a:pt x="149832" y="529735"/>
                  <a:pt x="155756" y="523810"/>
                  <a:pt x="163160" y="523810"/>
                </a:cubicBezTo>
                <a:close/>
                <a:moveTo>
                  <a:pt x="2911415" y="520624"/>
                </a:moveTo>
                <a:cubicBezTo>
                  <a:pt x="2931900" y="520624"/>
                  <a:pt x="2948685" y="537416"/>
                  <a:pt x="2948685" y="557905"/>
                </a:cubicBezTo>
                <a:cubicBezTo>
                  <a:pt x="2948685" y="578391"/>
                  <a:pt x="2931900" y="595175"/>
                  <a:pt x="2911415" y="595175"/>
                </a:cubicBezTo>
                <a:cubicBezTo>
                  <a:pt x="2890927" y="595175"/>
                  <a:pt x="2874142" y="578391"/>
                  <a:pt x="2874142" y="557905"/>
                </a:cubicBezTo>
                <a:cubicBezTo>
                  <a:pt x="2874142" y="537416"/>
                  <a:pt x="2890927" y="520624"/>
                  <a:pt x="2911415" y="520624"/>
                </a:cubicBezTo>
                <a:close/>
                <a:moveTo>
                  <a:pt x="3143932" y="515199"/>
                </a:moveTo>
                <a:cubicBezTo>
                  <a:pt x="3168123" y="515199"/>
                  <a:pt x="3187621" y="534707"/>
                  <a:pt x="3187621" y="558897"/>
                </a:cubicBezTo>
                <a:cubicBezTo>
                  <a:pt x="3187621" y="582840"/>
                  <a:pt x="3168123" y="602585"/>
                  <a:pt x="3143932" y="602585"/>
                </a:cubicBezTo>
                <a:cubicBezTo>
                  <a:pt x="3119744" y="602585"/>
                  <a:pt x="3100243" y="583089"/>
                  <a:pt x="3100243" y="558897"/>
                </a:cubicBezTo>
                <a:cubicBezTo>
                  <a:pt x="3100243" y="534707"/>
                  <a:pt x="3119744" y="515199"/>
                  <a:pt x="3143932" y="515199"/>
                </a:cubicBezTo>
                <a:close/>
                <a:moveTo>
                  <a:pt x="984880" y="510485"/>
                </a:moveTo>
                <a:cubicBezTo>
                  <a:pt x="1010302" y="510485"/>
                  <a:pt x="1031037" y="531221"/>
                  <a:pt x="1031037" y="556399"/>
                </a:cubicBezTo>
                <a:cubicBezTo>
                  <a:pt x="1030790" y="581822"/>
                  <a:pt x="1010302" y="602556"/>
                  <a:pt x="984880" y="602556"/>
                </a:cubicBezTo>
                <a:cubicBezTo>
                  <a:pt x="959456" y="602556"/>
                  <a:pt x="938968" y="581822"/>
                  <a:pt x="938968" y="556399"/>
                </a:cubicBezTo>
                <a:cubicBezTo>
                  <a:pt x="938968" y="530974"/>
                  <a:pt x="959702" y="510485"/>
                  <a:pt x="984880" y="510485"/>
                </a:cubicBezTo>
                <a:close/>
                <a:moveTo>
                  <a:pt x="1429675" y="509008"/>
                </a:moveTo>
                <a:cubicBezTo>
                  <a:pt x="1451645" y="509008"/>
                  <a:pt x="1469417" y="526782"/>
                  <a:pt x="1469417" y="548750"/>
                </a:cubicBezTo>
                <a:cubicBezTo>
                  <a:pt x="1469417" y="570720"/>
                  <a:pt x="1451645" y="588492"/>
                  <a:pt x="1429675" y="588492"/>
                </a:cubicBezTo>
                <a:cubicBezTo>
                  <a:pt x="1407707" y="588492"/>
                  <a:pt x="1389935" y="570720"/>
                  <a:pt x="1389935" y="548750"/>
                </a:cubicBezTo>
                <a:cubicBezTo>
                  <a:pt x="1389935" y="526782"/>
                  <a:pt x="1407707" y="509008"/>
                  <a:pt x="1429675" y="509008"/>
                </a:cubicBezTo>
                <a:close/>
                <a:moveTo>
                  <a:pt x="3374722" y="508537"/>
                </a:moveTo>
                <a:cubicBezTo>
                  <a:pt x="3402860" y="508537"/>
                  <a:pt x="3425815" y="531500"/>
                  <a:pt x="3425815" y="559643"/>
                </a:cubicBezTo>
                <a:cubicBezTo>
                  <a:pt x="3425815" y="587781"/>
                  <a:pt x="3402860" y="610734"/>
                  <a:pt x="3374722" y="610734"/>
                </a:cubicBezTo>
                <a:cubicBezTo>
                  <a:pt x="3346582" y="610734"/>
                  <a:pt x="3323627" y="587781"/>
                  <a:pt x="3323627" y="559643"/>
                </a:cubicBezTo>
                <a:cubicBezTo>
                  <a:pt x="3323627" y="531500"/>
                  <a:pt x="3346582" y="508537"/>
                  <a:pt x="3374722" y="508537"/>
                </a:cubicBezTo>
                <a:close/>
                <a:moveTo>
                  <a:pt x="2336538" y="493219"/>
                </a:moveTo>
                <a:cubicBezTo>
                  <a:pt x="2349619" y="493219"/>
                  <a:pt x="2359985" y="503834"/>
                  <a:pt x="2359985" y="516669"/>
                </a:cubicBezTo>
                <a:cubicBezTo>
                  <a:pt x="2359985" y="529508"/>
                  <a:pt x="2349619" y="540121"/>
                  <a:pt x="2336538" y="540121"/>
                </a:cubicBezTo>
                <a:cubicBezTo>
                  <a:pt x="2323703" y="540121"/>
                  <a:pt x="2313088" y="529508"/>
                  <a:pt x="2313088" y="516669"/>
                </a:cubicBezTo>
                <a:cubicBezTo>
                  <a:pt x="2313088" y="503834"/>
                  <a:pt x="2323456" y="493219"/>
                  <a:pt x="2336538" y="493219"/>
                </a:cubicBezTo>
                <a:close/>
                <a:moveTo>
                  <a:pt x="273003" y="490736"/>
                </a:moveTo>
                <a:cubicBezTo>
                  <a:pt x="278432" y="490736"/>
                  <a:pt x="282627" y="495180"/>
                  <a:pt x="282627" y="500363"/>
                </a:cubicBezTo>
                <a:cubicBezTo>
                  <a:pt x="282876" y="506038"/>
                  <a:pt x="278432" y="510236"/>
                  <a:pt x="273003" y="510236"/>
                </a:cubicBezTo>
                <a:cubicBezTo>
                  <a:pt x="267571" y="510236"/>
                  <a:pt x="263376" y="505792"/>
                  <a:pt x="263376" y="500363"/>
                </a:cubicBezTo>
                <a:cubicBezTo>
                  <a:pt x="263376" y="494931"/>
                  <a:pt x="267817" y="490736"/>
                  <a:pt x="273003" y="490736"/>
                </a:cubicBezTo>
                <a:close/>
                <a:moveTo>
                  <a:pt x="485281" y="489008"/>
                </a:moveTo>
                <a:cubicBezTo>
                  <a:pt x="503053" y="489008"/>
                  <a:pt x="517368" y="503323"/>
                  <a:pt x="517368" y="521095"/>
                </a:cubicBezTo>
                <a:cubicBezTo>
                  <a:pt x="517368" y="538622"/>
                  <a:pt x="502805" y="553185"/>
                  <a:pt x="485281" y="553185"/>
                </a:cubicBezTo>
                <a:cubicBezTo>
                  <a:pt x="467509" y="553185"/>
                  <a:pt x="453191" y="538868"/>
                  <a:pt x="453191" y="521095"/>
                </a:cubicBezTo>
                <a:cubicBezTo>
                  <a:pt x="453191" y="503323"/>
                  <a:pt x="467509" y="489008"/>
                  <a:pt x="485281" y="489008"/>
                </a:cubicBezTo>
                <a:close/>
                <a:moveTo>
                  <a:pt x="1592341" y="487039"/>
                </a:moveTo>
                <a:cubicBezTo>
                  <a:pt x="1604436" y="487039"/>
                  <a:pt x="1614063" y="496912"/>
                  <a:pt x="1614063" y="508760"/>
                </a:cubicBezTo>
                <a:cubicBezTo>
                  <a:pt x="1614063" y="520608"/>
                  <a:pt x="1604189" y="530483"/>
                  <a:pt x="1592341" y="530483"/>
                </a:cubicBezTo>
                <a:cubicBezTo>
                  <a:pt x="1580247" y="530483"/>
                  <a:pt x="1570620" y="520608"/>
                  <a:pt x="1570620" y="508760"/>
                </a:cubicBezTo>
                <a:cubicBezTo>
                  <a:pt x="1570620" y="496666"/>
                  <a:pt x="1580247" y="487039"/>
                  <a:pt x="1592341" y="487039"/>
                </a:cubicBezTo>
                <a:close/>
                <a:moveTo>
                  <a:pt x="3610943" y="486575"/>
                </a:moveTo>
                <a:cubicBezTo>
                  <a:pt x="3639822" y="486575"/>
                  <a:pt x="3663026" y="510024"/>
                  <a:pt x="3663026" y="538667"/>
                </a:cubicBezTo>
                <a:cubicBezTo>
                  <a:pt x="3663026" y="567302"/>
                  <a:pt x="3639822" y="590752"/>
                  <a:pt x="3610943" y="590752"/>
                </a:cubicBezTo>
                <a:cubicBezTo>
                  <a:pt x="3582310" y="590752"/>
                  <a:pt x="3558860" y="567302"/>
                  <a:pt x="3558860" y="538667"/>
                </a:cubicBezTo>
                <a:cubicBezTo>
                  <a:pt x="3558860" y="509778"/>
                  <a:pt x="3582310" y="486575"/>
                  <a:pt x="3610943" y="486575"/>
                </a:cubicBezTo>
                <a:close/>
                <a:moveTo>
                  <a:pt x="1852511" y="485313"/>
                </a:moveTo>
                <a:cubicBezTo>
                  <a:pt x="1862383" y="485313"/>
                  <a:pt x="1870280" y="493212"/>
                  <a:pt x="1870280" y="503085"/>
                </a:cubicBezTo>
                <a:cubicBezTo>
                  <a:pt x="1870280" y="512958"/>
                  <a:pt x="1862136" y="520857"/>
                  <a:pt x="1852511" y="520857"/>
                </a:cubicBezTo>
                <a:cubicBezTo>
                  <a:pt x="1842635" y="520857"/>
                  <a:pt x="1834734" y="512958"/>
                  <a:pt x="1834734" y="503085"/>
                </a:cubicBezTo>
                <a:cubicBezTo>
                  <a:pt x="1834734" y="493212"/>
                  <a:pt x="1842635" y="485313"/>
                  <a:pt x="1852511" y="485313"/>
                </a:cubicBezTo>
                <a:close/>
                <a:moveTo>
                  <a:pt x="2573992" y="485074"/>
                </a:moveTo>
                <a:cubicBezTo>
                  <a:pt x="2593244" y="485074"/>
                  <a:pt x="2608795" y="500626"/>
                  <a:pt x="2608795" y="519877"/>
                </a:cubicBezTo>
                <a:cubicBezTo>
                  <a:pt x="2608795" y="539137"/>
                  <a:pt x="2593244" y="554935"/>
                  <a:pt x="2573992" y="554935"/>
                </a:cubicBezTo>
                <a:cubicBezTo>
                  <a:pt x="2554737" y="554935"/>
                  <a:pt x="2538940" y="539137"/>
                  <a:pt x="2538940" y="519877"/>
                </a:cubicBezTo>
                <a:cubicBezTo>
                  <a:pt x="2538940" y="500626"/>
                  <a:pt x="2554737" y="485074"/>
                  <a:pt x="2573992" y="485074"/>
                </a:cubicBezTo>
                <a:close/>
                <a:moveTo>
                  <a:pt x="1163834" y="482841"/>
                </a:moveTo>
                <a:cubicBezTo>
                  <a:pt x="1189256" y="482841"/>
                  <a:pt x="1209990" y="503575"/>
                  <a:pt x="1209990" y="529001"/>
                </a:cubicBezTo>
                <a:cubicBezTo>
                  <a:pt x="1209990" y="554423"/>
                  <a:pt x="1189256" y="575158"/>
                  <a:pt x="1163834" y="575158"/>
                </a:cubicBezTo>
                <a:cubicBezTo>
                  <a:pt x="1138409" y="575158"/>
                  <a:pt x="1117675" y="554423"/>
                  <a:pt x="1117675" y="529001"/>
                </a:cubicBezTo>
                <a:cubicBezTo>
                  <a:pt x="1117675" y="503575"/>
                  <a:pt x="1138409" y="482841"/>
                  <a:pt x="1163834" y="482841"/>
                </a:cubicBezTo>
                <a:close/>
                <a:moveTo>
                  <a:pt x="2096615" y="480874"/>
                </a:moveTo>
                <a:cubicBezTo>
                  <a:pt x="2112908" y="480874"/>
                  <a:pt x="2126236" y="494201"/>
                  <a:pt x="2126236" y="510493"/>
                </a:cubicBezTo>
                <a:cubicBezTo>
                  <a:pt x="2126236" y="527035"/>
                  <a:pt x="2112908" y="540363"/>
                  <a:pt x="2096615" y="540363"/>
                </a:cubicBezTo>
                <a:cubicBezTo>
                  <a:pt x="2080325" y="540363"/>
                  <a:pt x="2066995" y="527035"/>
                  <a:pt x="2066995" y="510493"/>
                </a:cubicBezTo>
                <a:cubicBezTo>
                  <a:pt x="2066995" y="494201"/>
                  <a:pt x="2080325" y="480874"/>
                  <a:pt x="2096615" y="480874"/>
                </a:cubicBezTo>
                <a:close/>
                <a:moveTo>
                  <a:pt x="695337" y="465559"/>
                </a:moveTo>
                <a:cubicBezTo>
                  <a:pt x="722736" y="465559"/>
                  <a:pt x="744952" y="487775"/>
                  <a:pt x="744952" y="515172"/>
                </a:cubicBezTo>
                <a:cubicBezTo>
                  <a:pt x="744952" y="542572"/>
                  <a:pt x="722736" y="564788"/>
                  <a:pt x="695337" y="564788"/>
                </a:cubicBezTo>
                <a:cubicBezTo>
                  <a:pt x="667940" y="564788"/>
                  <a:pt x="645723" y="542572"/>
                  <a:pt x="645723" y="515172"/>
                </a:cubicBezTo>
                <a:cubicBezTo>
                  <a:pt x="645723" y="487775"/>
                  <a:pt x="667940" y="465559"/>
                  <a:pt x="695337" y="465559"/>
                </a:cubicBezTo>
                <a:close/>
                <a:moveTo>
                  <a:pt x="2816628" y="458915"/>
                </a:moveTo>
                <a:cubicBezTo>
                  <a:pt x="2840570" y="458915"/>
                  <a:pt x="2860317" y="478415"/>
                  <a:pt x="2860317" y="502358"/>
                </a:cubicBezTo>
                <a:cubicBezTo>
                  <a:pt x="2860317" y="526305"/>
                  <a:pt x="2840817" y="545807"/>
                  <a:pt x="2816628" y="545807"/>
                </a:cubicBezTo>
                <a:cubicBezTo>
                  <a:pt x="2792686" y="545807"/>
                  <a:pt x="2773185" y="526305"/>
                  <a:pt x="2773185" y="502358"/>
                </a:cubicBezTo>
                <a:cubicBezTo>
                  <a:pt x="2773185" y="478415"/>
                  <a:pt x="2792686" y="458915"/>
                  <a:pt x="2816628" y="458915"/>
                </a:cubicBezTo>
                <a:close/>
                <a:moveTo>
                  <a:pt x="3048652" y="453983"/>
                </a:moveTo>
                <a:cubicBezTo>
                  <a:pt x="3076051" y="453983"/>
                  <a:pt x="3098265" y="476199"/>
                  <a:pt x="3098265" y="503595"/>
                </a:cubicBezTo>
                <a:cubicBezTo>
                  <a:pt x="3098265" y="531001"/>
                  <a:pt x="3076051" y="553219"/>
                  <a:pt x="3048652" y="553219"/>
                </a:cubicBezTo>
                <a:cubicBezTo>
                  <a:pt x="3021253" y="553219"/>
                  <a:pt x="2999039" y="531001"/>
                  <a:pt x="2999039" y="503595"/>
                </a:cubicBezTo>
                <a:cubicBezTo>
                  <a:pt x="2999039" y="476199"/>
                  <a:pt x="3021253" y="453983"/>
                  <a:pt x="3048652" y="453983"/>
                </a:cubicBezTo>
                <a:close/>
                <a:moveTo>
                  <a:pt x="3278949" y="452999"/>
                </a:moveTo>
                <a:cubicBezTo>
                  <a:pt x="3307336" y="452999"/>
                  <a:pt x="3330537" y="476202"/>
                  <a:pt x="3330537" y="504586"/>
                </a:cubicBezTo>
                <a:cubicBezTo>
                  <a:pt x="3330537" y="532981"/>
                  <a:pt x="3307336" y="556184"/>
                  <a:pt x="3278949" y="556184"/>
                </a:cubicBezTo>
                <a:cubicBezTo>
                  <a:pt x="3250565" y="556184"/>
                  <a:pt x="3227361" y="532981"/>
                  <a:pt x="3227361" y="504586"/>
                </a:cubicBezTo>
                <a:cubicBezTo>
                  <a:pt x="3227361" y="476202"/>
                  <a:pt x="3250565" y="452999"/>
                  <a:pt x="3278949" y="452999"/>
                </a:cubicBezTo>
                <a:close/>
                <a:moveTo>
                  <a:pt x="1334642" y="451493"/>
                </a:moveTo>
                <a:cubicBezTo>
                  <a:pt x="1358092" y="451493"/>
                  <a:pt x="1377098" y="470499"/>
                  <a:pt x="1377098" y="493948"/>
                </a:cubicBezTo>
                <a:cubicBezTo>
                  <a:pt x="1377098" y="517645"/>
                  <a:pt x="1358092" y="536406"/>
                  <a:pt x="1334642" y="536406"/>
                </a:cubicBezTo>
                <a:cubicBezTo>
                  <a:pt x="1311192" y="536406"/>
                  <a:pt x="1292186" y="517398"/>
                  <a:pt x="1292186" y="493948"/>
                </a:cubicBezTo>
                <a:cubicBezTo>
                  <a:pt x="1292186" y="470499"/>
                  <a:pt x="1311192" y="451493"/>
                  <a:pt x="1334642" y="451493"/>
                </a:cubicBezTo>
                <a:close/>
                <a:moveTo>
                  <a:pt x="885897" y="450504"/>
                </a:moveTo>
                <a:cubicBezTo>
                  <a:pt x="913050" y="450504"/>
                  <a:pt x="935264" y="472720"/>
                  <a:pt x="935264" y="499871"/>
                </a:cubicBezTo>
                <a:cubicBezTo>
                  <a:pt x="935264" y="527271"/>
                  <a:pt x="913296" y="549239"/>
                  <a:pt x="885897" y="549239"/>
                </a:cubicBezTo>
                <a:cubicBezTo>
                  <a:pt x="858746" y="549239"/>
                  <a:pt x="836530" y="527025"/>
                  <a:pt x="836530" y="499871"/>
                </a:cubicBezTo>
                <a:cubicBezTo>
                  <a:pt x="836530" y="472720"/>
                  <a:pt x="858746" y="450504"/>
                  <a:pt x="885897" y="450504"/>
                </a:cubicBezTo>
                <a:close/>
                <a:moveTo>
                  <a:pt x="49864" y="439394"/>
                </a:moveTo>
                <a:cubicBezTo>
                  <a:pt x="57268" y="439394"/>
                  <a:pt x="63441" y="445564"/>
                  <a:pt x="63441" y="452971"/>
                </a:cubicBezTo>
                <a:cubicBezTo>
                  <a:pt x="63441" y="460375"/>
                  <a:pt x="57517" y="466548"/>
                  <a:pt x="49864" y="466548"/>
                </a:cubicBezTo>
                <a:cubicBezTo>
                  <a:pt x="42458" y="466548"/>
                  <a:pt x="36287" y="460375"/>
                  <a:pt x="36287" y="452971"/>
                </a:cubicBezTo>
                <a:cubicBezTo>
                  <a:pt x="36287" y="445564"/>
                  <a:pt x="42458" y="439394"/>
                  <a:pt x="49864" y="439394"/>
                </a:cubicBezTo>
                <a:close/>
                <a:moveTo>
                  <a:pt x="378894" y="438654"/>
                </a:moveTo>
                <a:cubicBezTo>
                  <a:pt x="387534" y="438654"/>
                  <a:pt x="394445" y="445565"/>
                  <a:pt x="394445" y="454205"/>
                </a:cubicBezTo>
                <a:cubicBezTo>
                  <a:pt x="394691" y="462842"/>
                  <a:pt x="387534" y="469754"/>
                  <a:pt x="378894" y="469754"/>
                </a:cubicBezTo>
                <a:cubicBezTo>
                  <a:pt x="370254" y="469754"/>
                  <a:pt x="363343" y="462842"/>
                  <a:pt x="363343" y="454205"/>
                </a:cubicBezTo>
                <a:cubicBezTo>
                  <a:pt x="363343" y="445565"/>
                  <a:pt x="370254" y="438654"/>
                  <a:pt x="378894" y="438654"/>
                </a:cubicBezTo>
                <a:close/>
                <a:moveTo>
                  <a:pt x="2242249" y="436940"/>
                </a:moveTo>
                <a:cubicBezTo>
                  <a:pt x="2256318" y="436940"/>
                  <a:pt x="2267671" y="448293"/>
                  <a:pt x="2267671" y="462365"/>
                </a:cubicBezTo>
                <a:cubicBezTo>
                  <a:pt x="2267671" y="476188"/>
                  <a:pt x="2256318" y="487787"/>
                  <a:pt x="2242249" y="487787"/>
                </a:cubicBezTo>
                <a:cubicBezTo>
                  <a:pt x="2228177" y="487787"/>
                  <a:pt x="2216824" y="476434"/>
                  <a:pt x="2216824" y="462365"/>
                </a:cubicBezTo>
                <a:cubicBezTo>
                  <a:pt x="2216824" y="448293"/>
                  <a:pt x="2228177" y="436940"/>
                  <a:pt x="2242249" y="436940"/>
                </a:cubicBezTo>
                <a:close/>
                <a:moveTo>
                  <a:pt x="2002571" y="434713"/>
                </a:moveTo>
                <a:cubicBezTo>
                  <a:pt x="2014419" y="434713"/>
                  <a:pt x="2024047" y="444341"/>
                  <a:pt x="2024047" y="456189"/>
                </a:cubicBezTo>
                <a:cubicBezTo>
                  <a:pt x="2024047" y="468037"/>
                  <a:pt x="2014419" y="477664"/>
                  <a:pt x="2002571" y="477664"/>
                </a:cubicBezTo>
                <a:cubicBezTo>
                  <a:pt x="1990723" y="477664"/>
                  <a:pt x="1981096" y="468037"/>
                  <a:pt x="1981096" y="456189"/>
                </a:cubicBezTo>
                <a:cubicBezTo>
                  <a:pt x="1981096" y="444341"/>
                  <a:pt x="1990723" y="434713"/>
                  <a:pt x="2002571" y="434713"/>
                </a:cubicBezTo>
                <a:close/>
                <a:moveTo>
                  <a:pt x="3514925" y="430541"/>
                </a:moveTo>
                <a:cubicBezTo>
                  <a:pt x="3543804" y="430541"/>
                  <a:pt x="3567254" y="453991"/>
                  <a:pt x="3567254" y="482870"/>
                </a:cubicBezTo>
                <a:cubicBezTo>
                  <a:pt x="3567008" y="511748"/>
                  <a:pt x="3543558" y="535207"/>
                  <a:pt x="3514925" y="535207"/>
                </a:cubicBezTo>
                <a:cubicBezTo>
                  <a:pt x="3486046" y="535207"/>
                  <a:pt x="3462596" y="511748"/>
                  <a:pt x="3462596" y="482870"/>
                </a:cubicBezTo>
                <a:cubicBezTo>
                  <a:pt x="3462596" y="453991"/>
                  <a:pt x="3486046" y="430541"/>
                  <a:pt x="3514925" y="430541"/>
                </a:cubicBezTo>
                <a:close/>
                <a:moveTo>
                  <a:pt x="3742013" y="430052"/>
                </a:moveTo>
                <a:cubicBezTo>
                  <a:pt x="3771139" y="430052"/>
                  <a:pt x="3794835" y="453748"/>
                  <a:pt x="3794835" y="482873"/>
                </a:cubicBezTo>
                <a:cubicBezTo>
                  <a:pt x="3794835" y="512001"/>
                  <a:pt x="3771139" y="535707"/>
                  <a:pt x="3742013" y="535707"/>
                </a:cubicBezTo>
                <a:cubicBezTo>
                  <a:pt x="3712885" y="535707"/>
                  <a:pt x="3689189" y="512001"/>
                  <a:pt x="3689189" y="482873"/>
                </a:cubicBezTo>
                <a:cubicBezTo>
                  <a:pt x="3689189" y="453748"/>
                  <a:pt x="3712885" y="430052"/>
                  <a:pt x="3742013" y="430052"/>
                </a:cubicBezTo>
                <a:close/>
                <a:moveTo>
                  <a:pt x="583769" y="430016"/>
                </a:moveTo>
                <a:cubicBezTo>
                  <a:pt x="600803" y="430016"/>
                  <a:pt x="614626" y="443839"/>
                  <a:pt x="614626" y="460870"/>
                </a:cubicBezTo>
                <a:cubicBezTo>
                  <a:pt x="614872" y="477901"/>
                  <a:pt x="600803" y="491726"/>
                  <a:pt x="583769" y="491726"/>
                </a:cubicBezTo>
                <a:cubicBezTo>
                  <a:pt x="566739" y="491726"/>
                  <a:pt x="552916" y="477901"/>
                  <a:pt x="552916" y="460870"/>
                </a:cubicBezTo>
                <a:cubicBezTo>
                  <a:pt x="552916" y="443839"/>
                  <a:pt x="566739" y="430016"/>
                  <a:pt x="583769" y="430016"/>
                </a:cubicBezTo>
                <a:close/>
                <a:moveTo>
                  <a:pt x="2479454" y="428303"/>
                </a:moveTo>
                <a:cubicBezTo>
                  <a:pt x="2499693" y="428303"/>
                  <a:pt x="2516232" y="444842"/>
                  <a:pt x="2516232" y="465329"/>
                </a:cubicBezTo>
                <a:cubicBezTo>
                  <a:pt x="2516232" y="485568"/>
                  <a:pt x="2499693" y="502353"/>
                  <a:pt x="2479454" y="502353"/>
                </a:cubicBezTo>
                <a:cubicBezTo>
                  <a:pt x="2458966" y="502353"/>
                  <a:pt x="2442427" y="485814"/>
                  <a:pt x="2442427" y="465329"/>
                </a:cubicBezTo>
                <a:cubicBezTo>
                  <a:pt x="2442427" y="444842"/>
                  <a:pt x="2458966" y="428303"/>
                  <a:pt x="2479454" y="428303"/>
                </a:cubicBezTo>
                <a:close/>
                <a:moveTo>
                  <a:pt x="1066825" y="427795"/>
                </a:moveTo>
                <a:cubicBezTo>
                  <a:pt x="1092247" y="427795"/>
                  <a:pt x="1113230" y="448529"/>
                  <a:pt x="1113230" y="473954"/>
                </a:cubicBezTo>
                <a:cubicBezTo>
                  <a:pt x="1113230" y="499379"/>
                  <a:pt x="1092496" y="520113"/>
                  <a:pt x="1066825" y="520113"/>
                </a:cubicBezTo>
                <a:cubicBezTo>
                  <a:pt x="1041402" y="520113"/>
                  <a:pt x="1020668" y="499379"/>
                  <a:pt x="1020668" y="473954"/>
                </a:cubicBezTo>
                <a:cubicBezTo>
                  <a:pt x="1020668" y="448529"/>
                  <a:pt x="1041402" y="427795"/>
                  <a:pt x="1066825" y="427795"/>
                </a:cubicBezTo>
                <a:close/>
                <a:moveTo>
                  <a:pt x="1758216" y="423358"/>
                </a:moveTo>
                <a:cubicBezTo>
                  <a:pt x="1772284" y="423358"/>
                  <a:pt x="1783887" y="434960"/>
                  <a:pt x="1783887" y="449029"/>
                </a:cubicBezTo>
                <a:cubicBezTo>
                  <a:pt x="1783887" y="463098"/>
                  <a:pt x="1772532" y="474700"/>
                  <a:pt x="1758216" y="474700"/>
                </a:cubicBezTo>
                <a:cubicBezTo>
                  <a:pt x="1744144" y="474700"/>
                  <a:pt x="1732545" y="463098"/>
                  <a:pt x="1732545" y="449029"/>
                </a:cubicBezTo>
                <a:cubicBezTo>
                  <a:pt x="1732545" y="434711"/>
                  <a:pt x="1743899" y="423358"/>
                  <a:pt x="1758216" y="423358"/>
                </a:cubicBezTo>
                <a:close/>
                <a:moveTo>
                  <a:pt x="1497554" y="419653"/>
                </a:moveTo>
                <a:cubicBezTo>
                  <a:pt x="1517055" y="419653"/>
                  <a:pt x="1532853" y="435450"/>
                  <a:pt x="1532853" y="454951"/>
                </a:cubicBezTo>
                <a:cubicBezTo>
                  <a:pt x="1533099" y="474451"/>
                  <a:pt x="1517055" y="490249"/>
                  <a:pt x="1497554" y="490249"/>
                </a:cubicBezTo>
                <a:cubicBezTo>
                  <a:pt x="1478054" y="490249"/>
                  <a:pt x="1462256" y="474451"/>
                  <a:pt x="1462256" y="454951"/>
                </a:cubicBezTo>
                <a:cubicBezTo>
                  <a:pt x="1462256" y="435450"/>
                  <a:pt x="1478054" y="419653"/>
                  <a:pt x="1497554" y="419653"/>
                </a:cubicBezTo>
                <a:close/>
                <a:moveTo>
                  <a:pt x="162175" y="406070"/>
                </a:moveTo>
                <a:cubicBezTo>
                  <a:pt x="172294" y="406070"/>
                  <a:pt x="180439" y="414215"/>
                  <a:pt x="180439" y="424335"/>
                </a:cubicBezTo>
                <a:cubicBezTo>
                  <a:pt x="180685" y="434208"/>
                  <a:pt x="172294" y="442602"/>
                  <a:pt x="162175" y="442602"/>
                </a:cubicBezTo>
                <a:cubicBezTo>
                  <a:pt x="152052" y="442602"/>
                  <a:pt x="143907" y="434457"/>
                  <a:pt x="143907" y="424335"/>
                </a:cubicBezTo>
                <a:cubicBezTo>
                  <a:pt x="143907" y="414215"/>
                  <a:pt x="152052" y="406070"/>
                  <a:pt x="162175" y="406070"/>
                </a:cubicBezTo>
                <a:close/>
                <a:moveTo>
                  <a:pt x="2721846" y="404611"/>
                </a:moveTo>
                <a:cubicBezTo>
                  <a:pt x="2745296" y="404611"/>
                  <a:pt x="2764302" y="423616"/>
                  <a:pt x="2764302" y="447066"/>
                </a:cubicBezTo>
                <a:cubicBezTo>
                  <a:pt x="2764053" y="470516"/>
                  <a:pt x="2745047" y="489521"/>
                  <a:pt x="2721846" y="489521"/>
                </a:cubicBezTo>
                <a:cubicBezTo>
                  <a:pt x="2698643" y="489521"/>
                  <a:pt x="2679637" y="470516"/>
                  <a:pt x="2679637" y="447066"/>
                </a:cubicBezTo>
                <a:cubicBezTo>
                  <a:pt x="2679637" y="423616"/>
                  <a:pt x="2698643" y="404611"/>
                  <a:pt x="2721846" y="404611"/>
                </a:cubicBezTo>
                <a:close/>
                <a:moveTo>
                  <a:pt x="2953127" y="403380"/>
                </a:moveTo>
                <a:cubicBezTo>
                  <a:pt x="2978057" y="403380"/>
                  <a:pt x="2998545" y="423868"/>
                  <a:pt x="2998545" y="448798"/>
                </a:cubicBezTo>
                <a:cubicBezTo>
                  <a:pt x="2998545" y="473976"/>
                  <a:pt x="2978057" y="494215"/>
                  <a:pt x="2953127" y="494215"/>
                </a:cubicBezTo>
                <a:cubicBezTo>
                  <a:pt x="2928197" y="494215"/>
                  <a:pt x="2907709" y="473976"/>
                  <a:pt x="2907709" y="448798"/>
                </a:cubicBezTo>
                <a:cubicBezTo>
                  <a:pt x="2907709" y="423868"/>
                  <a:pt x="2927951" y="403380"/>
                  <a:pt x="2953127" y="403380"/>
                </a:cubicBezTo>
                <a:close/>
                <a:moveTo>
                  <a:pt x="3182930" y="399681"/>
                </a:moveTo>
                <a:cubicBezTo>
                  <a:pt x="3210329" y="399681"/>
                  <a:pt x="3232792" y="421897"/>
                  <a:pt x="3232792" y="449294"/>
                </a:cubicBezTo>
                <a:cubicBezTo>
                  <a:pt x="3232792" y="476693"/>
                  <a:pt x="3210575" y="499155"/>
                  <a:pt x="3182930" y="499155"/>
                </a:cubicBezTo>
                <a:cubicBezTo>
                  <a:pt x="3155531" y="499155"/>
                  <a:pt x="3133317" y="476939"/>
                  <a:pt x="3133317" y="449294"/>
                </a:cubicBezTo>
                <a:cubicBezTo>
                  <a:pt x="3133317" y="421897"/>
                  <a:pt x="3155531" y="399681"/>
                  <a:pt x="3182930" y="399681"/>
                </a:cubicBezTo>
                <a:close/>
                <a:moveTo>
                  <a:pt x="3411501" y="397464"/>
                </a:moveTo>
                <a:cubicBezTo>
                  <a:pt x="3440134" y="397464"/>
                  <a:pt x="3463581" y="420914"/>
                  <a:pt x="3463581" y="449547"/>
                </a:cubicBezTo>
                <a:cubicBezTo>
                  <a:pt x="3463581" y="478179"/>
                  <a:pt x="3440134" y="501629"/>
                  <a:pt x="3411501" y="501629"/>
                </a:cubicBezTo>
                <a:cubicBezTo>
                  <a:pt x="3382868" y="501629"/>
                  <a:pt x="3359418" y="478179"/>
                  <a:pt x="3359418" y="449547"/>
                </a:cubicBezTo>
                <a:cubicBezTo>
                  <a:pt x="3359418" y="420914"/>
                  <a:pt x="3382868" y="397464"/>
                  <a:pt x="3411501" y="397464"/>
                </a:cubicBezTo>
                <a:close/>
                <a:moveTo>
                  <a:pt x="786915" y="394473"/>
                </a:moveTo>
                <a:cubicBezTo>
                  <a:pt x="813573" y="394473"/>
                  <a:pt x="835046" y="416194"/>
                  <a:pt x="835046" y="442606"/>
                </a:cubicBezTo>
                <a:cubicBezTo>
                  <a:pt x="835046" y="469264"/>
                  <a:pt x="813327" y="490737"/>
                  <a:pt x="786915" y="490737"/>
                </a:cubicBezTo>
                <a:cubicBezTo>
                  <a:pt x="760257" y="490737"/>
                  <a:pt x="738782" y="469015"/>
                  <a:pt x="738782" y="442606"/>
                </a:cubicBezTo>
                <a:cubicBezTo>
                  <a:pt x="738782" y="415948"/>
                  <a:pt x="760503" y="394473"/>
                  <a:pt x="786915" y="394473"/>
                </a:cubicBezTo>
                <a:close/>
                <a:moveTo>
                  <a:pt x="1239118" y="393239"/>
                </a:moveTo>
                <a:cubicBezTo>
                  <a:pt x="1265035" y="393239"/>
                  <a:pt x="1286261" y="414219"/>
                  <a:pt x="1286261" y="440136"/>
                </a:cubicBezTo>
                <a:cubicBezTo>
                  <a:pt x="1286015" y="466302"/>
                  <a:pt x="1265035" y="487282"/>
                  <a:pt x="1239118" y="487282"/>
                </a:cubicBezTo>
                <a:cubicBezTo>
                  <a:pt x="1213199" y="487282"/>
                  <a:pt x="1192218" y="466056"/>
                  <a:pt x="1192218" y="440136"/>
                </a:cubicBezTo>
                <a:cubicBezTo>
                  <a:pt x="1192218" y="414219"/>
                  <a:pt x="1213199" y="393239"/>
                  <a:pt x="1239118" y="393239"/>
                </a:cubicBezTo>
                <a:close/>
                <a:moveTo>
                  <a:pt x="1654546" y="384851"/>
                </a:moveTo>
                <a:cubicBezTo>
                  <a:pt x="1668861" y="384851"/>
                  <a:pt x="1680709" y="396453"/>
                  <a:pt x="1680709" y="411014"/>
                </a:cubicBezTo>
                <a:cubicBezTo>
                  <a:pt x="1680709" y="425332"/>
                  <a:pt x="1668861" y="437180"/>
                  <a:pt x="1654546" y="437180"/>
                </a:cubicBezTo>
                <a:cubicBezTo>
                  <a:pt x="1640229" y="437180"/>
                  <a:pt x="1628380" y="425578"/>
                  <a:pt x="1628380" y="411014"/>
                </a:cubicBezTo>
                <a:cubicBezTo>
                  <a:pt x="1628380" y="396699"/>
                  <a:pt x="1639982" y="384851"/>
                  <a:pt x="1654546" y="384851"/>
                </a:cubicBezTo>
                <a:close/>
                <a:moveTo>
                  <a:pt x="2384669" y="382635"/>
                </a:moveTo>
                <a:cubicBezTo>
                  <a:pt x="2400220" y="382635"/>
                  <a:pt x="2412810" y="395224"/>
                  <a:pt x="2412810" y="410773"/>
                </a:cubicBezTo>
                <a:cubicBezTo>
                  <a:pt x="2412810" y="426324"/>
                  <a:pt x="2400220" y="438913"/>
                  <a:pt x="2384669" y="438913"/>
                </a:cubicBezTo>
                <a:cubicBezTo>
                  <a:pt x="2369120" y="438913"/>
                  <a:pt x="2356531" y="426324"/>
                  <a:pt x="2356531" y="410773"/>
                </a:cubicBezTo>
                <a:cubicBezTo>
                  <a:pt x="2356531" y="395224"/>
                  <a:pt x="2369120" y="382635"/>
                  <a:pt x="2384669" y="382635"/>
                </a:cubicBezTo>
                <a:close/>
                <a:moveTo>
                  <a:pt x="3645253" y="374265"/>
                </a:moveTo>
                <a:cubicBezTo>
                  <a:pt x="3674379" y="374265"/>
                  <a:pt x="3698321" y="398207"/>
                  <a:pt x="3698321" y="427335"/>
                </a:cubicBezTo>
                <a:cubicBezTo>
                  <a:pt x="3698321" y="456460"/>
                  <a:pt x="3674625" y="480404"/>
                  <a:pt x="3645253" y="480404"/>
                </a:cubicBezTo>
                <a:cubicBezTo>
                  <a:pt x="3615879" y="480404"/>
                  <a:pt x="3592183" y="456706"/>
                  <a:pt x="3592183" y="427335"/>
                </a:cubicBezTo>
                <a:cubicBezTo>
                  <a:pt x="3592183" y="397961"/>
                  <a:pt x="3616126" y="374265"/>
                  <a:pt x="3645253" y="374265"/>
                </a:cubicBezTo>
                <a:close/>
                <a:moveTo>
                  <a:pt x="1909035" y="373251"/>
                </a:moveTo>
                <a:cubicBezTo>
                  <a:pt x="1924337" y="373251"/>
                  <a:pt x="1936921" y="385594"/>
                  <a:pt x="1936921" y="400897"/>
                </a:cubicBezTo>
                <a:cubicBezTo>
                  <a:pt x="1936675" y="416448"/>
                  <a:pt x="1924337" y="428788"/>
                  <a:pt x="1909035" y="428788"/>
                </a:cubicBezTo>
                <a:cubicBezTo>
                  <a:pt x="1893730" y="428788"/>
                  <a:pt x="1881389" y="416448"/>
                  <a:pt x="1881389" y="400897"/>
                </a:cubicBezTo>
                <a:cubicBezTo>
                  <a:pt x="1881389" y="385594"/>
                  <a:pt x="1893730" y="373251"/>
                  <a:pt x="1909035" y="373251"/>
                </a:cubicBezTo>
                <a:close/>
                <a:moveTo>
                  <a:pt x="2148449" y="372513"/>
                </a:moveTo>
                <a:cubicBezTo>
                  <a:pt x="2167209" y="372513"/>
                  <a:pt x="2182514" y="387816"/>
                  <a:pt x="2182514" y="406575"/>
                </a:cubicBezTo>
                <a:cubicBezTo>
                  <a:pt x="2182514" y="425334"/>
                  <a:pt x="2167209" y="440639"/>
                  <a:pt x="2148449" y="440639"/>
                </a:cubicBezTo>
                <a:cubicBezTo>
                  <a:pt x="2129690" y="440639"/>
                  <a:pt x="2114387" y="425334"/>
                  <a:pt x="2114387" y="406575"/>
                </a:cubicBezTo>
                <a:cubicBezTo>
                  <a:pt x="2114387" y="387816"/>
                  <a:pt x="2129690" y="372513"/>
                  <a:pt x="2148449" y="372513"/>
                </a:cubicBezTo>
                <a:close/>
                <a:moveTo>
                  <a:pt x="969820" y="370775"/>
                </a:moveTo>
                <a:cubicBezTo>
                  <a:pt x="996478" y="370775"/>
                  <a:pt x="1017951" y="392250"/>
                  <a:pt x="1017951" y="418908"/>
                </a:cubicBezTo>
                <a:cubicBezTo>
                  <a:pt x="1017951" y="445320"/>
                  <a:pt x="996229" y="467041"/>
                  <a:pt x="969820" y="467041"/>
                </a:cubicBezTo>
                <a:cubicBezTo>
                  <a:pt x="943408" y="467041"/>
                  <a:pt x="921687" y="445566"/>
                  <a:pt x="921687" y="418908"/>
                </a:cubicBezTo>
                <a:cubicBezTo>
                  <a:pt x="921687" y="392496"/>
                  <a:pt x="943162" y="370775"/>
                  <a:pt x="969820" y="370775"/>
                </a:cubicBezTo>
                <a:close/>
                <a:moveTo>
                  <a:pt x="480344" y="368799"/>
                </a:moveTo>
                <a:cubicBezTo>
                  <a:pt x="496633" y="368799"/>
                  <a:pt x="509717" y="382129"/>
                  <a:pt x="509717" y="398173"/>
                </a:cubicBezTo>
                <a:cubicBezTo>
                  <a:pt x="509717" y="414463"/>
                  <a:pt x="496633" y="427793"/>
                  <a:pt x="480344" y="427793"/>
                </a:cubicBezTo>
                <a:cubicBezTo>
                  <a:pt x="464051" y="427793"/>
                  <a:pt x="450970" y="414463"/>
                  <a:pt x="450970" y="398173"/>
                </a:cubicBezTo>
                <a:cubicBezTo>
                  <a:pt x="450970" y="381880"/>
                  <a:pt x="464300" y="368799"/>
                  <a:pt x="480344" y="368799"/>
                </a:cubicBezTo>
                <a:close/>
                <a:moveTo>
                  <a:pt x="2618420" y="368570"/>
                </a:moveTo>
                <a:cubicBezTo>
                  <a:pt x="2643103" y="368570"/>
                  <a:pt x="2663096" y="388563"/>
                  <a:pt x="2663096" y="413247"/>
                </a:cubicBezTo>
                <a:cubicBezTo>
                  <a:pt x="2663096" y="437684"/>
                  <a:pt x="2643103" y="457677"/>
                  <a:pt x="2618420" y="457677"/>
                </a:cubicBezTo>
                <a:cubicBezTo>
                  <a:pt x="2593736" y="457677"/>
                  <a:pt x="2573743" y="437684"/>
                  <a:pt x="2573743" y="413247"/>
                </a:cubicBezTo>
                <a:cubicBezTo>
                  <a:pt x="2573743" y="388563"/>
                  <a:pt x="2593736" y="368570"/>
                  <a:pt x="2618420" y="368570"/>
                </a:cubicBezTo>
                <a:close/>
                <a:moveTo>
                  <a:pt x="677071" y="362877"/>
                </a:moveTo>
                <a:cubicBezTo>
                  <a:pt x="693610" y="362877"/>
                  <a:pt x="706938" y="376205"/>
                  <a:pt x="706938" y="392744"/>
                </a:cubicBezTo>
                <a:cubicBezTo>
                  <a:pt x="706938" y="409036"/>
                  <a:pt x="693610" y="422610"/>
                  <a:pt x="677071" y="422610"/>
                </a:cubicBezTo>
                <a:cubicBezTo>
                  <a:pt x="660535" y="422610"/>
                  <a:pt x="647205" y="409282"/>
                  <a:pt x="647205" y="392744"/>
                </a:cubicBezTo>
                <a:cubicBezTo>
                  <a:pt x="647205" y="376205"/>
                  <a:pt x="660535" y="362877"/>
                  <a:pt x="677071" y="362877"/>
                </a:cubicBezTo>
                <a:close/>
                <a:moveTo>
                  <a:pt x="271274" y="360160"/>
                </a:moveTo>
                <a:cubicBezTo>
                  <a:pt x="284604" y="360160"/>
                  <a:pt x="295465" y="371021"/>
                  <a:pt x="295465" y="384349"/>
                </a:cubicBezTo>
                <a:cubicBezTo>
                  <a:pt x="295219" y="397679"/>
                  <a:pt x="284604" y="408540"/>
                  <a:pt x="271274" y="408540"/>
                </a:cubicBezTo>
                <a:cubicBezTo>
                  <a:pt x="257946" y="408540"/>
                  <a:pt x="247085" y="397679"/>
                  <a:pt x="247085" y="384349"/>
                </a:cubicBezTo>
                <a:cubicBezTo>
                  <a:pt x="247085" y="371021"/>
                  <a:pt x="257946" y="360160"/>
                  <a:pt x="271274" y="360160"/>
                </a:cubicBezTo>
                <a:close/>
                <a:moveTo>
                  <a:pt x="1403507" y="353500"/>
                </a:moveTo>
                <a:cubicBezTo>
                  <a:pt x="1429427" y="353500"/>
                  <a:pt x="1450407" y="374481"/>
                  <a:pt x="1450407" y="400397"/>
                </a:cubicBezTo>
                <a:cubicBezTo>
                  <a:pt x="1450407" y="426317"/>
                  <a:pt x="1429180" y="447297"/>
                  <a:pt x="1403507" y="447297"/>
                </a:cubicBezTo>
                <a:cubicBezTo>
                  <a:pt x="1377590" y="447297"/>
                  <a:pt x="1356610" y="426317"/>
                  <a:pt x="1356610" y="400397"/>
                </a:cubicBezTo>
                <a:cubicBezTo>
                  <a:pt x="1356610" y="374481"/>
                  <a:pt x="1377590" y="353500"/>
                  <a:pt x="1403507" y="353500"/>
                </a:cubicBezTo>
                <a:close/>
                <a:moveTo>
                  <a:pt x="3314988" y="343160"/>
                </a:moveTo>
                <a:cubicBezTo>
                  <a:pt x="3343126" y="343160"/>
                  <a:pt x="3366083" y="366115"/>
                  <a:pt x="3366083" y="394255"/>
                </a:cubicBezTo>
                <a:cubicBezTo>
                  <a:pt x="3366329" y="422392"/>
                  <a:pt x="3343374" y="445347"/>
                  <a:pt x="3314988" y="445347"/>
                </a:cubicBezTo>
                <a:cubicBezTo>
                  <a:pt x="3286847" y="445347"/>
                  <a:pt x="3263892" y="422392"/>
                  <a:pt x="3263892" y="394255"/>
                </a:cubicBezTo>
                <a:cubicBezTo>
                  <a:pt x="3263892" y="366115"/>
                  <a:pt x="3286847" y="343160"/>
                  <a:pt x="3314988" y="343160"/>
                </a:cubicBezTo>
                <a:close/>
                <a:moveTo>
                  <a:pt x="2857850" y="342657"/>
                </a:moveTo>
                <a:cubicBezTo>
                  <a:pt x="2885744" y="342657"/>
                  <a:pt x="2908699" y="365366"/>
                  <a:pt x="2908699" y="393257"/>
                </a:cubicBezTo>
                <a:cubicBezTo>
                  <a:pt x="2908453" y="421151"/>
                  <a:pt x="2885744" y="443860"/>
                  <a:pt x="2857850" y="443860"/>
                </a:cubicBezTo>
                <a:cubicBezTo>
                  <a:pt x="2829958" y="443860"/>
                  <a:pt x="2807003" y="421151"/>
                  <a:pt x="2807003" y="393257"/>
                </a:cubicBezTo>
                <a:cubicBezTo>
                  <a:pt x="2807003" y="365366"/>
                  <a:pt x="2829712" y="342657"/>
                  <a:pt x="2857850" y="342657"/>
                </a:cubicBezTo>
                <a:close/>
                <a:moveTo>
                  <a:pt x="3087159" y="342166"/>
                </a:moveTo>
                <a:cubicBezTo>
                  <a:pt x="3115792" y="342166"/>
                  <a:pt x="3138996" y="365369"/>
                  <a:pt x="3138996" y="394002"/>
                </a:cubicBezTo>
                <a:cubicBezTo>
                  <a:pt x="3138996" y="422386"/>
                  <a:pt x="3115792" y="445836"/>
                  <a:pt x="3087159" y="445836"/>
                </a:cubicBezTo>
                <a:cubicBezTo>
                  <a:pt x="3058529" y="445836"/>
                  <a:pt x="3035325" y="422635"/>
                  <a:pt x="3035325" y="394002"/>
                </a:cubicBezTo>
                <a:cubicBezTo>
                  <a:pt x="3035325" y="365369"/>
                  <a:pt x="3058529" y="342166"/>
                  <a:pt x="3087159" y="342166"/>
                </a:cubicBezTo>
                <a:close/>
                <a:moveTo>
                  <a:pt x="1143345" y="340664"/>
                </a:moveTo>
                <a:cubicBezTo>
                  <a:pt x="1168275" y="340664"/>
                  <a:pt x="1188763" y="360905"/>
                  <a:pt x="1188763" y="386081"/>
                </a:cubicBezTo>
                <a:cubicBezTo>
                  <a:pt x="1188763" y="411011"/>
                  <a:pt x="1168275" y="431498"/>
                  <a:pt x="1143345" y="431498"/>
                </a:cubicBezTo>
                <a:cubicBezTo>
                  <a:pt x="1118415" y="431498"/>
                  <a:pt x="1097927" y="411259"/>
                  <a:pt x="1097927" y="386081"/>
                </a:cubicBezTo>
                <a:cubicBezTo>
                  <a:pt x="1097927" y="361151"/>
                  <a:pt x="1118166" y="340664"/>
                  <a:pt x="1143345" y="340664"/>
                </a:cubicBezTo>
                <a:close/>
                <a:moveTo>
                  <a:pt x="1560249" y="334988"/>
                </a:moveTo>
                <a:cubicBezTo>
                  <a:pt x="1572593" y="334988"/>
                  <a:pt x="1582712" y="345108"/>
                  <a:pt x="1582712" y="357451"/>
                </a:cubicBezTo>
                <a:cubicBezTo>
                  <a:pt x="1582712" y="369545"/>
                  <a:pt x="1572593" y="379664"/>
                  <a:pt x="1560249" y="379664"/>
                </a:cubicBezTo>
                <a:cubicBezTo>
                  <a:pt x="1547909" y="379664"/>
                  <a:pt x="1538036" y="369545"/>
                  <a:pt x="1538036" y="357451"/>
                </a:cubicBezTo>
                <a:cubicBezTo>
                  <a:pt x="1538036" y="345108"/>
                  <a:pt x="1548155" y="334988"/>
                  <a:pt x="1560249" y="334988"/>
                </a:cubicBezTo>
                <a:close/>
                <a:moveTo>
                  <a:pt x="2054408" y="328328"/>
                </a:moveTo>
                <a:cubicBezTo>
                  <a:pt x="2067243" y="328328"/>
                  <a:pt x="2077855" y="338942"/>
                  <a:pt x="2077855" y="351778"/>
                </a:cubicBezTo>
                <a:cubicBezTo>
                  <a:pt x="2077609" y="364859"/>
                  <a:pt x="2067243" y="375227"/>
                  <a:pt x="2054408" y="375227"/>
                </a:cubicBezTo>
                <a:cubicBezTo>
                  <a:pt x="2041573" y="375227"/>
                  <a:pt x="2030958" y="364613"/>
                  <a:pt x="2030958" y="351778"/>
                </a:cubicBezTo>
                <a:cubicBezTo>
                  <a:pt x="2030958" y="338942"/>
                  <a:pt x="2041573" y="328328"/>
                  <a:pt x="2054408" y="328328"/>
                </a:cubicBezTo>
                <a:close/>
                <a:moveTo>
                  <a:pt x="2289887" y="326851"/>
                </a:moveTo>
                <a:cubicBezTo>
                  <a:pt x="2306177" y="326851"/>
                  <a:pt x="2319261" y="339932"/>
                  <a:pt x="2319261" y="356224"/>
                </a:cubicBezTo>
                <a:cubicBezTo>
                  <a:pt x="2319261" y="372514"/>
                  <a:pt x="2306177" y="385598"/>
                  <a:pt x="2289887" y="385598"/>
                </a:cubicBezTo>
                <a:cubicBezTo>
                  <a:pt x="2273843" y="385598"/>
                  <a:pt x="2260513" y="372514"/>
                  <a:pt x="2260513" y="356224"/>
                </a:cubicBezTo>
                <a:cubicBezTo>
                  <a:pt x="2260513" y="339932"/>
                  <a:pt x="2273595" y="326851"/>
                  <a:pt x="2289887" y="326851"/>
                </a:cubicBezTo>
                <a:close/>
                <a:moveTo>
                  <a:pt x="3548248" y="318232"/>
                </a:moveTo>
                <a:cubicBezTo>
                  <a:pt x="3577620" y="318232"/>
                  <a:pt x="3601316" y="341928"/>
                  <a:pt x="3601316" y="371301"/>
                </a:cubicBezTo>
                <a:cubicBezTo>
                  <a:pt x="3601316" y="400426"/>
                  <a:pt x="3577620" y="424371"/>
                  <a:pt x="3548248" y="424371"/>
                </a:cubicBezTo>
                <a:cubicBezTo>
                  <a:pt x="3519121" y="424371"/>
                  <a:pt x="3495178" y="400675"/>
                  <a:pt x="3495178" y="371301"/>
                </a:cubicBezTo>
                <a:cubicBezTo>
                  <a:pt x="3495178" y="342174"/>
                  <a:pt x="3518874" y="318232"/>
                  <a:pt x="3548248" y="318232"/>
                </a:cubicBezTo>
                <a:close/>
                <a:moveTo>
                  <a:pt x="3773605" y="317495"/>
                </a:moveTo>
                <a:cubicBezTo>
                  <a:pt x="3803225" y="317495"/>
                  <a:pt x="3827168" y="341437"/>
                  <a:pt x="3827168" y="371057"/>
                </a:cubicBezTo>
                <a:cubicBezTo>
                  <a:pt x="3827416" y="400430"/>
                  <a:pt x="3803225" y="424621"/>
                  <a:pt x="3773605" y="424621"/>
                </a:cubicBezTo>
                <a:cubicBezTo>
                  <a:pt x="3743985" y="424621"/>
                  <a:pt x="3720042" y="400430"/>
                  <a:pt x="3720042" y="371057"/>
                </a:cubicBezTo>
                <a:cubicBezTo>
                  <a:pt x="3720042" y="341437"/>
                  <a:pt x="3743985" y="317495"/>
                  <a:pt x="3773605" y="317495"/>
                </a:cubicBezTo>
                <a:close/>
                <a:moveTo>
                  <a:pt x="872565" y="316225"/>
                </a:moveTo>
                <a:cubicBezTo>
                  <a:pt x="898484" y="316225"/>
                  <a:pt x="919464" y="337205"/>
                  <a:pt x="919464" y="362876"/>
                </a:cubicBezTo>
                <a:cubicBezTo>
                  <a:pt x="919216" y="388793"/>
                  <a:pt x="898235" y="409776"/>
                  <a:pt x="872565" y="409776"/>
                </a:cubicBezTo>
                <a:cubicBezTo>
                  <a:pt x="846894" y="409776"/>
                  <a:pt x="825914" y="388793"/>
                  <a:pt x="825914" y="362876"/>
                </a:cubicBezTo>
                <a:cubicBezTo>
                  <a:pt x="825914" y="337205"/>
                  <a:pt x="846894" y="316225"/>
                  <a:pt x="872565" y="316225"/>
                </a:cubicBezTo>
                <a:close/>
                <a:moveTo>
                  <a:pt x="1814739" y="314997"/>
                </a:moveTo>
                <a:cubicBezTo>
                  <a:pt x="1832264" y="314997"/>
                  <a:pt x="1846584" y="329315"/>
                  <a:pt x="1846584" y="346838"/>
                </a:cubicBezTo>
                <a:cubicBezTo>
                  <a:pt x="1846584" y="364364"/>
                  <a:pt x="1832264" y="378682"/>
                  <a:pt x="1814739" y="378682"/>
                </a:cubicBezTo>
                <a:cubicBezTo>
                  <a:pt x="1797217" y="378682"/>
                  <a:pt x="1782899" y="364364"/>
                  <a:pt x="1782899" y="346838"/>
                </a:cubicBezTo>
                <a:cubicBezTo>
                  <a:pt x="1782899" y="329315"/>
                  <a:pt x="1797217" y="314997"/>
                  <a:pt x="1814739" y="314997"/>
                </a:cubicBezTo>
                <a:close/>
                <a:moveTo>
                  <a:pt x="2523388" y="312290"/>
                </a:moveTo>
                <a:cubicBezTo>
                  <a:pt x="2548813" y="312290"/>
                  <a:pt x="2569547" y="333024"/>
                  <a:pt x="2569547" y="358202"/>
                </a:cubicBezTo>
                <a:cubicBezTo>
                  <a:pt x="2569547" y="383378"/>
                  <a:pt x="2548813" y="404111"/>
                  <a:pt x="2523388" y="404111"/>
                </a:cubicBezTo>
                <a:cubicBezTo>
                  <a:pt x="2497966" y="404111"/>
                  <a:pt x="2477478" y="383378"/>
                  <a:pt x="2477478" y="358202"/>
                </a:cubicBezTo>
                <a:cubicBezTo>
                  <a:pt x="2477478" y="332778"/>
                  <a:pt x="2498212" y="312290"/>
                  <a:pt x="2523388" y="312290"/>
                </a:cubicBezTo>
                <a:close/>
                <a:moveTo>
                  <a:pt x="375440" y="303387"/>
                </a:moveTo>
                <a:cubicBezTo>
                  <a:pt x="391976" y="303387"/>
                  <a:pt x="405552" y="316964"/>
                  <a:pt x="405552" y="333503"/>
                </a:cubicBezTo>
                <a:cubicBezTo>
                  <a:pt x="405552" y="350285"/>
                  <a:pt x="391976" y="363615"/>
                  <a:pt x="375440" y="363615"/>
                </a:cubicBezTo>
                <a:cubicBezTo>
                  <a:pt x="358901" y="363615"/>
                  <a:pt x="345324" y="350039"/>
                  <a:pt x="345324" y="333503"/>
                </a:cubicBezTo>
                <a:cubicBezTo>
                  <a:pt x="345324" y="316964"/>
                  <a:pt x="358901" y="303387"/>
                  <a:pt x="375440" y="303387"/>
                </a:cubicBezTo>
                <a:close/>
                <a:moveTo>
                  <a:pt x="1308475" y="301171"/>
                </a:moveTo>
                <a:cubicBezTo>
                  <a:pt x="1333653" y="301171"/>
                  <a:pt x="1354139" y="321658"/>
                  <a:pt x="1354139" y="346834"/>
                </a:cubicBezTo>
                <a:cubicBezTo>
                  <a:pt x="1354139" y="372259"/>
                  <a:pt x="1333653" y="392498"/>
                  <a:pt x="1308475" y="392498"/>
                </a:cubicBezTo>
                <a:cubicBezTo>
                  <a:pt x="1283299" y="392498"/>
                  <a:pt x="1262811" y="372013"/>
                  <a:pt x="1262811" y="346834"/>
                </a:cubicBezTo>
                <a:cubicBezTo>
                  <a:pt x="1262811" y="321658"/>
                  <a:pt x="1283299" y="301171"/>
                  <a:pt x="1308475" y="301171"/>
                </a:cubicBezTo>
                <a:close/>
                <a:moveTo>
                  <a:pt x="49368" y="297463"/>
                </a:moveTo>
                <a:cubicBezTo>
                  <a:pt x="74052" y="297463"/>
                  <a:pt x="94047" y="317456"/>
                  <a:pt x="94047" y="342139"/>
                </a:cubicBezTo>
                <a:cubicBezTo>
                  <a:pt x="94047" y="366577"/>
                  <a:pt x="74052" y="386818"/>
                  <a:pt x="49368" y="386818"/>
                </a:cubicBezTo>
                <a:cubicBezTo>
                  <a:pt x="24685" y="386818"/>
                  <a:pt x="4692" y="366823"/>
                  <a:pt x="4692" y="342139"/>
                </a:cubicBezTo>
                <a:cubicBezTo>
                  <a:pt x="4692" y="317456"/>
                  <a:pt x="24685" y="297463"/>
                  <a:pt x="49368" y="297463"/>
                </a:cubicBezTo>
                <a:close/>
                <a:moveTo>
                  <a:pt x="576115" y="294997"/>
                </a:moveTo>
                <a:cubicBezTo>
                  <a:pt x="597341" y="294997"/>
                  <a:pt x="614621" y="312274"/>
                  <a:pt x="614621" y="333503"/>
                </a:cubicBezTo>
                <a:cubicBezTo>
                  <a:pt x="614867" y="354730"/>
                  <a:pt x="597590" y="372009"/>
                  <a:pt x="576115" y="372009"/>
                </a:cubicBezTo>
                <a:cubicBezTo>
                  <a:pt x="554886" y="372009"/>
                  <a:pt x="537609" y="354730"/>
                  <a:pt x="537609" y="333503"/>
                </a:cubicBezTo>
                <a:cubicBezTo>
                  <a:pt x="537609" y="312274"/>
                  <a:pt x="554886" y="294997"/>
                  <a:pt x="576115" y="294997"/>
                </a:cubicBezTo>
                <a:close/>
                <a:moveTo>
                  <a:pt x="764450" y="288086"/>
                </a:moveTo>
                <a:cubicBezTo>
                  <a:pt x="780247" y="288086"/>
                  <a:pt x="793329" y="300922"/>
                  <a:pt x="793329" y="316965"/>
                </a:cubicBezTo>
                <a:cubicBezTo>
                  <a:pt x="793083" y="332763"/>
                  <a:pt x="780247" y="345844"/>
                  <a:pt x="764450" y="345844"/>
                </a:cubicBezTo>
                <a:cubicBezTo>
                  <a:pt x="748652" y="345844"/>
                  <a:pt x="735571" y="333009"/>
                  <a:pt x="735571" y="316965"/>
                </a:cubicBezTo>
                <a:cubicBezTo>
                  <a:pt x="735571" y="301168"/>
                  <a:pt x="748406" y="288086"/>
                  <a:pt x="764450" y="288086"/>
                </a:cubicBezTo>
                <a:close/>
                <a:moveTo>
                  <a:pt x="3218474" y="287618"/>
                </a:moveTo>
                <a:cubicBezTo>
                  <a:pt x="3246612" y="287618"/>
                  <a:pt x="3269570" y="310573"/>
                  <a:pt x="3269570" y="338713"/>
                </a:cubicBezTo>
                <a:cubicBezTo>
                  <a:pt x="3269570" y="366851"/>
                  <a:pt x="3246612" y="389805"/>
                  <a:pt x="3218474" y="389805"/>
                </a:cubicBezTo>
                <a:cubicBezTo>
                  <a:pt x="3190334" y="389805"/>
                  <a:pt x="3167379" y="366851"/>
                  <a:pt x="3167379" y="338713"/>
                </a:cubicBezTo>
                <a:cubicBezTo>
                  <a:pt x="3167379" y="310573"/>
                  <a:pt x="3190334" y="287618"/>
                  <a:pt x="3218474" y="287618"/>
                </a:cubicBezTo>
                <a:close/>
                <a:moveTo>
                  <a:pt x="3444821" y="286884"/>
                </a:moveTo>
                <a:cubicBezTo>
                  <a:pt x="3473208" y="286884"/>
                  <a:pt x="3496409" y="310087"/>
                  <a:pt x="3496409" y="338471"/>
                </a:cubicBezTo>
                <a:cubicBezTo>
                  <a:pt x="3496409" y="366858"/>
                  <a:pt x="3473208" y="390059"/>
                  <a:pt x="3444821" y="390059"/>
                </a:cubicBezTo>
                <a:cubicBezTo>
                  <a:pt x="3416437" y="390059"/>
                  <a:pt x="3393233" y="366858"/>
                  <a:pt x="3393233" y="338471"/>
                </a:cubicBezTo>
                <a:cubicBezTo>
                  <a:pt x="3393233" y="310087"/>
                  <a:pt x="3416437" y="286884"/>
                  <a:pt x="3444821" y="286884"/>
                </a:cubicBezTo>
                <a:close/>
                <a:moveTo>
                  <a:pt x="2990895" y="286875"/>
                </a:moveTo>
                <a:cubicBezTo>
                  <a:pt x="3019773" y="286875"/>
                  <a:pt x="3042977" y="310325"/>
                  <a:pt x="3042977" y="338958"/>
                </a:cubicBezTo>
                <a:cubicBezTo>
                  <a:pt x="3043223" y="367590"/>
                  <a:pt x="3019773" y="391040"/>
                  <a:pt x="2990895" y="391040"/>
                </a:cubicBezTo>
                <a:cubicBezTo>
                  <a:pt x="2962016" y="391040"/>
                  <a:pt x="2938812" y="367590"/>
                  <a:pt x="2938812" y="338958"/>
                </a:cubicBezTo>
                <a:cubicBezTo>
                  <a:pt x="2938812" y="310079"/>
                  <a:pt x="2962262" y="286875"/>
                  <a:pt x="2990895" y="286875"/>
                </a:cubicBezTo>
                <a:close/>
                <a:moveTo>
                  <a:pt x="1047571" y="286605"/>
                </a:moveTo>
                <a:cubicBezTo>
                  <a:pt x="1072748" y="286605"/>
                  <a:pt x="1092987" y="307093"/>
                  <a:pt x="1092987" y="332022"/>
                </a:cubicBezTo>
                <a:cubicBezTo>
                  <a:pt x="1092987" y="356952"/>
                  <a:pt x="1072500" y="377440"/>
                  <a:pt x="1047571" y="377440"/>
                </a:cubicBezTo>
                <a:cubicBezTo>
                  <a:pt x="1022395" y="377440"/>
                  <a:pt x="1002154" y="356952"/>
                  <a:pt x="1002154" y="332022"/>
                </a:cubicBezTo>
                <a:cubicBezTo>
                  <a:pt x="1002154" y="306847"/>
                  <a:pt x="1022642" y="286605"/>
                  <a:pt x="1047571" y="286605"/>
                </a:cubicBezTo>
                <a:close/>
                <a:moveTo>
                  <a:pt x="2762325" y="286377"/>
                </a:moveTo>
                <a:cubicBezTo>
                  <a:pt x="2790711" y="286377"/>
                  <a:pt x="2813666" y="309331"/>
                  <a:pt x="2813666" y="337718"/>
                </a:cubicBezTo>
                <a:cubicBezTo>
                  <a:pt x="2813666" y="366104"/>
                  <a:pt x="2790465" y="389059"/>
                  <a:pt x="2762325" y="389059"/>
                </a:cubicBezTo>
                <a:cubicBezTo>
                  <a:pt x="2733938" y="389059"/>
                  <a:pt x="2710983" y="366104"/>
                  <a:pt x="2710983" y="337718"/>
                </a:cubicBezTo>
                <a:cubicBezTo>
                  <a:pt x="2710983" y="309331"/>
                  <a:pt x="2733938" y="286377"/>
                  <a:pt x="2762325" y="286377"/>
                </a:cubicBezTo>
                <a:close/>
                <a:moveTo>
                  <a:pt x="1711564" y="275256"/>
                </a:moveTo>
                <a:cubicBezTo>
                  <a:pt x="1730818" y="275256"/>
                  <a:pt x="1746367" y="290808"/>
                  <a:pt x="1746367" y="310059"/>
                </a:cubicBezTo>
                <a:cubicBezTo>
                  <a:pt x="1746367" y="329314"/>
                  <a:pt x="1730818" y="344862"/>
                  <a:pt x="1711564" y="344862"/>
                </a:cubicBezTo>
                <a:cubicBezTo>
                  <a:pt x="1692312" y="344862"/>
                  <a:pt x="1676760" y="329314"/>
                  <a:pt x="1676760" y="310059"/>
                </a:cubicBezTo>
                <a:cubicBezTo>
                  <a:pt x="1676760" y="290808"/>
                  <a:pt x="1692312" y="275256"/>
                  <a:pt x="1711564" y="275256"/>
                </a:cubicBezTo>
                <a:close/>
                <a:moveTo>
                  <a:pt x="161186" y="266115"/>
                </a:moveTo>
                <a:cubicBezTo>
                  <a:pt x="185620" y="266115"/>
                  <a:pt x="205369" y="285861"/>
                  <a:pt x="205369" y="310299"/>
                </a:cubicBezTo>
                <a:cubicBezTo>
                  <a:pt x="205369" y="334736"/>
                  <a:pt x="185620" y="354482"/>
                  <a:pt x="161186" y="354482"/>
                </a:cubicBezTo>
                <a:cubicBezTo>
                  <a:pt x="136748" y="354482"/>
                  <a:pt x="117002" y="334736"/>
                  <a:pt x="117002" y="310299"/>
                </a:cubicBezTo>
                <a:cubicBezTo>
                  <a:pt x="117002" y="285861"/>
                  <a:pt x="136748" y="266115"/>
                  <a:pt x="161186" y="266115"/>
                </a:cubicBezTo>
                <a:close/>
                <a:moveTo>
                  <a:pt x="2428115" y="263663"/>
                </a:moveTo>
                <a:cubicBezTo>
                  <a:pt x="2449836" y="263663"/>
                  <a:pt x="2467608" y="281435"/>
                  <a:pt x="2467608" y="303156"/>
                </a:cubicBezTo>
                <a:cubicBezTo>
                  <a:pt x="2467608" y="325123"/>
                  <a:pt x="2449836" y="342649"/>
                  <a:pt x="2428115" y="342649"/>
                </a:cubicBezTo>
                <a:cubicBezTo>
                  <a:pt x="2406393" y="342649"/>
                  <a:pt x="2388621" y="324877"/>
                  <a:pt x="2388621" y="303156"/>
                </a:cubicBezTo>
                <a:cubicBezTo>
                  <a:pt x="2388621" y="281435"/>
                  <a:pt x="2406393" y="263663"/>
                  <a:pt x="2428115" y="263663"/>
                </a:cubicBezTo>
                <a:close/>
                <a:moveTo>
                  <a:pt x="3676108" y="260970"/>
                </a:moveTo>
                <a:cubicBezTo>
                  <a:pt x="3705974" y="260970"/>
                  <a:pt x="3730165" y="285158"/>
                  <a:pt x="3730165" y="315026"/>
                </a:cubicBezTo>
                <a:cubicBezTo>
                  <a:pt x="3730411" y="344646"/>
                  <a:pt x="3705974" y="369083"/>
                  <a:pt x="3676108" y="369083"/>
                </a:cubicBezTo>
                <a:cubicBezTo>
                  <a:pt x="3646241" y="369083"/>
                  <a:pt x="3622050" y="344892"/>
                  <a:pt x="3622050" y="315026"/>
                </a:cubicBezTo>
                <a:cubicBezTo>
                  <a:pt x="3622050" y="285158"/>
                  <a:pt x="3646241" y="260970"/>
                  <a:pt x="3676108" y="260970"/>
                </a:cubicBezTo>
                <a:close/>
                <a:moveTo>
                  <a:pt x="1960369" y="258721"/>
                </a:moveTo>
                <a:cubicBezTo>
                  <a:pt x="1981096" y="258721"/>
                  <a:pt x="1998130" y="275752"/>
                  <a:pt x="1998130" y="296486"/>
                </a:cubicBezTo>
                <a:cubicBezTo>
                  <a:pt x="1998130" y="317220"/>
                  <a:pt x="1981096" y="334251"/>
                  <a:pt x="1960369" y="334251"/>
                </a:cubicBezTo>
                <a:cubicBezTo>
                  <a:pt x="1939637" y="334251"/>
                  <a:pt x="1922608" y="317466"/>
                  <a:pt x="1922608" y="296486"/>
                </a:cubicBezTo>
                <a:cubicBezTo>
                  <a:pt x="1922608" y="275752"/>
                  <a:pt x="1939637" y="258721"/>
                  <a:pt x="1960369" y="258721"/>
                </a:cubicBezTo>
                <a:close/>
                <a:moveTo>
                  <a:pt x="2195843" y="258231"/>
                </a:moveTo>
                <a:cubicBezTo>
                  <a:pt x="2219045" y="258231"/>
                  <a:pt x="2238050" y="277236"/>
                  <a:pt x="2238050" y="300440"/>
                </a:cubicBezTo>
                <a:cubicBezTo>
                  <a:pt x="2238050" y="323641"/>
                  <a:pt x="2219045" y="342646"/>
                  <a:pt x="2195843" y="342646"/>
                </a:cubicBezTo>
                <a:cubicBezTo>
                  <a:pt x="2172640" y="342646"/>
                  <a:pt x="2153634" y="323641"/>
                  <a:pt x="2153634" y="300440"/>
                </a:cubicBezTo>
                <a:cubicBezTo>
                  <a:pt x="2153634" y="277236"/>
                  <a:pt x="2172640" y="258231"/>
                  <a:pt x="2195843" y="258231"/>
                </a:cubicBezTo>
                <a:close/>
                <a:moveTo>
                  <a:pt x="1466454" y="256496"/>
                </a:moveTo>
                <a:cubicBezTo>
                  <a:pt x="1492125" y="256496"/>
                  <a:pt x="1512859" y="277230"/>
                  <a:pt x="1512859" y="302900"/>
                </a:cubicBezTo>
                <a:cubicBezTo>
                  <a:pt x="1512859" y="328571"/>
                  <a:pt x="1491879" y="349551"/>
                  <a:pt x="1466454" y="349551"/>
                </a:cubicBezTo>
                <a:cubicBezTo>
                  <a:pt x="1440783" y="349551"/>
                  <a:pt x="1420049" y="328571"/>
                  <a:pt x="1420049" y="302900"/>
                </a:cubicBezTo>
                <a:cubicBezTo>
                  <a:pt x="1420049" y="277230"/>
                  <a:pt x="1440783" y="256496"/>
                  <a:pt x="1466454" y="256496"/>
                </a:cubicBezTo>
                <a:close/>
                <a:moveTo>
                  <a:pt x="2658900" y="251818"/>
                </a:moveTo>
                <a:cubicBezTo>
                  <a:pt x="2687779" y="251818"/>
                  <a:pt x="2711478" y="275514"/>
                  <a:pt x="2711478" y="304393"/>
                </a:cubicBezTo>
                <a:cubicBezTo>
                  <a:pt x="2711478" y="333271"/>
                  <a:pt x="2688028" y="356967"/>
                  <a:pt x="2658900" y="356967"/>
                </a:cubicBezTo>
                <a:cubicBezTo>
                  <a:pt x="2629775" y="356967"/>
                  <a:pt x="2606325" y="333271"/>
                  <a:pt x="2606325" y="304393"/>
                </a:cubicBezTo>
                <a:cubicBezTo>
                  <a:pt x="2606325" y="275514"/>
                  <a:pt x="2630021" y="251818"/>
                  <a:pt x="2658900" y="251818"/>
                </a:cubicBezTo>
                <a:close/>
                <a:moveTo>
                  <a:pt x="1213692" y="249829"/>
                </a:moveTo>
                <a:cubicBezTo>
                  <a:pt x="1237635" y="249829"/>
                  <a:pt x="1257136" y="269329"/>
                  <a:pt x="1257136" y="293271"/>
                </a:cubicBezTo>
                <a:cubicBezTo>
                  <a:pt x="1257136" y="317214"/>
                  <a:pt x="1237635" y="336714"/>
                  <a:pt x="1213692" y="336714"/>
                </a:cubicBezTo>
                <a:cubicBezTo>
                  <a:pt x="1189750" y="336714"/>
                  <a:pt x="1170249" y="317214"/>
                  <a:pt x="1170249" y="293271"/>
                </a:cubicBezTo>
                <a:cubicBezTo>
                  <a:pt x="1170249" y="269329"/>
                  <a:pt x="1189750" y="249829"/>
                  <a:pt x="1213692" y="249829"/>
                </a:cubicBezTo>
                <a:close/>
                <a:moveTo>
                  <a:pt x="3347570" y="234058"/>
                </a:moveTo>
                <a:cubicBezTo>
                  <a:pt x="3374428" y="234058"/>
                  <a:pt x="3396199" y="255829"/>
                  <a:pt x="3396199" y="282684"/>
                </a:cubicBezTo>
                <a:cubicBezTo>
                  <a:pt x="3396199" y="309538"/>
                  <a:pt x="3374428" y="331312"/>
                  <a:pt x="3347570" y="331312"/>
                </a:cubicBezTo>
                <a:cubicBezTo>
                  <a:pt x="3320715" y="331312"/>
                  <a:pt x="3298944" y="309538"/>
                  <a:pt x="3298944" y="282684"/>
                </a:cubicBezTo>
                <a:cubicBezTo>
                  <a:pt x="3298944" y="255829"/>
                  <a:pt x="3320715" y="234058"/>
                  <a:pt x="3347570" y="234058"/>
                </a:cubicBezTo>
                <a:close/>
                <a:moveTo>
                  <a:pt x="474173" y="232299"/>
                </a:moveTo>
                <a:cubicBezTo>
                  <a:pt x="496387" y="232299"/>
                  <a:pt x="514654" y="250318"/>
                  <a:pt x="514654" y="272780"/>
                </a:cubicBezTo>
                <a:cubicBezTo>
                  <a:pt x="514654" y="295243"/>
                  <a:pt x="496636" y="313261"/>
                  <a:pt x="474173" y="313261"/>
                </a:cubicBezTo>
                <a:cubicBezTo>
                  <a:pt x="451959" y="313261"/>
                  <a:pt x="433692" y="295243"/>
                  <a:pt x="433692" y="272780"/>
                </a:cubicBezTo>
                <a:cubicBezTo>
                  <a:pt x="433692" y="250566"/>
                  <a:pt x="451959" y="232299"/>
                  <a:pt x="474173" y="232299"/>
                </a:cubicBezTo>
                <a:close/>
                <a:moveTo>
                  <a:pt x="2894874" y="231581"/>
                </a:moveTo>
                <a:cubicBezTo>
                  <a:pt x="2923260" y="231581"/>
                  <a:pt x="2946215" y="254536"/>
                  <a:pt x="2946215" y="282922"/>
                </a:cubicBezTo>
                <a:cubicBezTo>
                  <a:pt x="2946215" y="311062"/>
                  <a:pt x="2923260" y="334263"/>
                  <a:pt x="2894874" y="334263"/>
                </a:cubicBezTo>
                <a:cubicBezTo>
                  <a:pt x="2866487" y="334263"/>
                  <a:pt x="2843532" y="311308"/>
                  <a:pt x="2843532" y="282922"/>
                </a:cubicBezTo>
                <a:cubicBezTo>
                  <a:pt x="2843532" y="254536"/>
                  <a:pt x="2866487" y="231581"/>
                  <a:pt x="2894874" y="231581"/>
                </a:cubicBezTo>
                <a:close/>
                <a:moveTo>
                  <a:pt x="951801" y="231560"/>
                </a:moveTo>
                <a:cubicBezTo>
                  <a:pt x="976731" y="231560"/>
                  <a:pt x="997218" y="251802"/>
                  <a:pt x="997218" y="276978"/>
                </a:cubicBezTo>
                <a:cubicBezTo>
                  <a:pt x="996970" y="302156"/>
                  <a:pt x="976731" y="322395"/>
                  <a:pt x="951801" y="322395"/>
                </a:cubicBezTo>
                <a:cubicBezTo>
                  <a:pt x="926869" y="322395"/>
                  <a:pt x="906630" y="302156"/>
                  <a:pt x="906630" y="276978"/>
                </a:cubicBezTo>
                <a:cubicBezTo>
                  <a:pt x="906630" y="252048"/>
                  <a:pt x="926869" y="231560"/>
                  <a:pt x="951801" y="231560"/>
                </a:cubicBezTo>
                <a:close/>
                <a:moveTo>
                  <a:pt x="3121962" y="231338"/>
                </a:moveTo>
                <a:cubicBezTo>
                  <a:pt x="3150349" y="231338"/>
                  <a:pt x="3173550" y="254541"/>
                  <a:pt x="3173550" y="282925"/>
                </a:cubicBezTo>
                <a:cubicBezTo>
                  <a:pt x="3173550" y="311312"/>
                  <a:pt x="3150349" y="334513"/>
                  <a:pt x="3121962" y="334513"/>
                </a:cubicBezTo>
                <a:cubicBezTo>
                  <a:pt x="3093578" y="334513"/>
                  <a:pt x="3070374" y="311312"/>
                  <a:pt x="3070374" y="282925"/>
                </a:cubicBezTo>
                <a:cubicBezTo>
                  <a:pt x="3070374" y="254541"/>
                  <a:pt x="3093578" y="231338"/>
                  <a:pt x="3121962" y="231338"/>
                </a:cubicBezTo>
                <a:close/>
                <a:moveTo>
                  <a:pt x="1617270" y="227615"/>
                </a:moveTo>
                <a:cubicBezTo>
                  <a:pt x="1633068" y="227615"/>
                  <a:pt x="1645904" y="240450"/>
                  <a:pt x="1645904" y="256248"/>
                </a:cubicBezTo>
                <a:cubicBezTo>
                  <a:pt x="1645904" y="272045"/>
                  <a:pt x="1633068" y="284881"/>
                  <a:pt x="1617270" y="284881"/>
                </a:cubicBezTo>
                <a:cubicBezTo>
                  <a:pt x="1601473" y="284881"/>
                  <a:pt x="1588637" y="272045"/>
                  <a:pt x="1588637" y="256248"/>
                </a:cubicBezTo>
                <a:cubicBezTo>
                  <a:pt x="1588637" y="240450"/>
                  <a:pt x="1601473" y="227615"/>
                  <a:pt x="1617270" y="227615"/>
                </a:cubicBezTo>
                <a:close/>
                <a:moveTo>
                  <a:pt x="665715" y="226130"/>
                </a:moveTo>
                <a:cubicBezTo>
                  <a:pt x="684475" y="226130"/>
                  <a:pt x="699780" y="241432"/>
                  <a:pt x="699780" y="260194"/>
                </a:cubicBezTo>
                <a:cubicBezTo>
                  <a:pt x="700026" y="278951"/>
                  <a:pt x="684723" y="294256"/>
                  <a:pt x="665715" y="294256"/>
                </a:cubicBezTo>
                <a:cubicBezTo>
                  <a:pt x="646956" y="294256"/>
                  <a:pt x="631653" y="278951"/>
                  <a:pt x="631653" y="260194"/>
                </a:cubicBezTo>
                <a:cubicBezTo>
                  <a:pt x="631653" y="241432"/>
                  <a:pt x="646956" y="226130"/>
                  <a:pt x="665715" y="226130"/>
                </a:cubicBezTo>
                <a:close/>
                <a:moveTo>
                  <a:pt x="268806" y="222672"/>
                </a:moveTo>
                <a:cubicBezTo>
                  <a:pt x="292997" y="222672"/>
                  <a:pt x="312495" y="242172"/>
                  <a:pt x="312495" y="266361"/>
                </a:cubicBezTo>
                <a:cubicBezTo>
                  <a:pt x="312495" y="290306"/>
                  <a:pt x="292748" y="310052"/>
                  <a:pt x="268806" y="310052"/>
                </a:cubicBezTo>
                <a:cubicBezTo>
                  <a:pt x="244617" y="310052"/>
                  <a:pt x="225117" y="290552"/>
                  <a:pt x="225117" y="266361"/>
                </a:cubicBezTo>
                <a:cubicBezTo>
                  <a:pt x="225117" y="242172"/>
                  <a:pt x="244617" y="222672"/>
                  <a:pt x="268806" y="222672"/>
                </a:cubicBezTo>
                <a:close/>
                <a:moveTo>
                  <a:pt x="2101059" y="210837"/>
                </a:moveTo>
                <a:cubicBezTo>
                  <a:pt x="2120065" y="210837"/>
                  <a:pt x="2135367" y="226140"/>
                  <a:pt x="2135367" y="245148"/>
                </a:cubicBezTo>
                <a:cubicBezTo>
                  <a:pt x="2135367" y="264154"/>
                  <a:pt x="2120065" y="279456"/>
                  <a:pt x="2101059" y="279456"/>
                </a:cubicBezTo>
                <a:cubicBezTo>
                  <a:pt x="2082053" y="279456"/>
                  <a:pt x="2066748" y="264154"/>
                  <a:pt x="2066748" y="245148"/>
                </a:cubicBezTo>
                <a:cubicBezTo>
                  <a:pt x="2066748" y="226140"/>
                  <a:pt x="2082053" y="210837"/>
                  <a:pt x="2101059" y="210837"/>
                </a:cubicBezTo>
                <a:close/>
                <a:moveTo>
                  <a:pt x="1371914" y="207620"/>
                </a:moveTo>
                <a:cubicBezTo>
                  <a:pt x="1394872" y="207620"/>
                  <a:pt x="1413632" y="226379"/>
                  <a:pt x="1413632" y="249334"/>
                </a:cubicBezTo>
                <a:cubicBezTo>
                  <a:pt x="1413383" y="272538"/>
                  <a:pt x="1394872" y="291051"/>
                  <a:pt x="1371914" y="291051"/>
                </a:cubicBezTo>
                <a:cubicBezTo>
                  <a:pt x="1348959" y="291051"/>
                  <a:pt x="1330200" y="272289"/>
                  <a:pt x="1330200" y="249334"/>
                </a:cubicBezTo>
                <a:cubicBezTo>
                  <a:pt x="1330200" y="226379"/>
                  <a:pt x="1348959" y="207620"/>
                  <a:pt x="1371914" y="207620"/>
                </a:cubicBezTo>
                <a:close/>
                <a:moveTo>
                  <a:pt x="845167" y="206630"/>
                </a:moveTo>
                <a:cubicBezTo>
                  <a:pt x="860470" y="206630"/>
                  <a:pt x="872813" y="218972"/>
                  <a:pt x="872813" y="234275"/>
                </a:cubicBezTo>
                <a:cubicBezTo>
                  <a:pt x="872813" y="249577"/>
                  <a:pt x="860470" y="261920"/>
                  <a:pt x="845167" y="261920"/>
                </a:cubicBezTo>
                <a:cubicBezTo>
                  <a:pt x="829865" y="261920"/>
                  <a:pt x="817522" y="249577"/>
                  <a:pt x="817522" y="234275"/>
                </a:cubicBezTo>
                <a:cubicBezTo>
                  <a:pt x="817522" y="218972"/>
                  <a:pt x="829865" y="206630"/>
                  <a:pt x="845167" y="206630"/>
                </a:cubicBezTo>
                <a:close/>
                <a:moveTo>
                  <a:pt x="2332835" y="206396"/>
                </a:moveTo>
                <a:cubicBezTo>
                  <a:pt x="2356038" y="206396"/>
                  <a:pt x="2375044" y="225156"/>
                  <a:pt x="2375044" y="248359"/>
                </a:cubicBezTo>
                <a:cubicBezTo>
                  <a:pt x="2375044" y="271561"/>
                  <a:pt x="2356285" y="290320"/>
                  <a:pt x="2332835" y="290320"/>
                </a:cubicBezTo>
                <a:cubicBezTo>
                  <a:pt x="2309634" y="290320"/>
                  <a:pt x="2290874" y="271561"/>
                  <a:pt x="2290874" y="248359"/>
                </a:cubicBezTo>
                <a:cubicBezTo>
                  <a:pt x="2290874" y="225156"/>
                  <a:pt x="2309634" y="206396"/>
                  <a:pt x="2332835" y="206396"/>
                </a:cubicBezTo>
                <a:close/>
                <a:moveTo>
                  <a:pt x="3578605" y="204689"/>
                </a:moveTo>
                <a:cubicBezTo>
                  <a:pt x="3608228" y="204689"/>
                  <a:pt x="3632416" y="228877"/>
                  <a:pt x="3632416" y="258497"/>
                </a:cubicBezTo>
                <a:cubicBezTo>
                  <a:pt x="3632170" y="288366"/>
                  <a:pt x="3608228" y="312308"/>
                  <a:pt x="3578605" y="312308"/>
                </a:cubicBezTo>
                <a:cubicBezTo>
                  <a:pt x="3548987" y="312308"/>
                  <a:pt x="3524796" y="288119"/>
                  <a:pt x="3524796" y="258497"/>
                </a:cubicBezTo>
                <a:cubicBezTo>
                  <a:pt x="3524796" y="228877"/>
                  <a:pt x="3548987" y="204689"/>
                  <a:pt x="3578605" y="204689"/>
                </a:cubicBezTo>
                <a:close/>
                <a:moveTo>
                  <a:pt x="1866081" y="204170"/>
                </a:moveTo>
                <a:cubicBezTo>
                  <a:pt x="1886816" y="204170"/>
                  <a:pt x="1903848" y="221201"/>
                  <a:pt x="1903848" y="241935"/>
                </a:cubicBezTo>
                <a:cubicBezTo>
                  <a:pt x="1903602" y="262669"/>
                  <a:pt x="1886816" y="279700"/>
                  <a:pt x="1866081" y="279700"/>
                </a:cubicBezTo>
                <a:cubicBezTo>
                  <a:pt x="1845348" y="279700"/>
                  <a:pt x="1828316" y="262669"/>
                  <a:pt x="1828316" y="241935"/>
                </a:cubicBezTo>
                <a:cubicBezTo>
                  <a:pt x="1828316" y="221201"/>
                  <a:pt x="1845102" y="204170"/>
                  <a:pt x="1866081" y="204170"/>
                </a:cubicBezTo>
                <a:close/>
                <a:moveTo>
                  <a:pt x="3802238" y="203460"/>
                </a:moveTo>
                <a:cubicBezTo>
                  <a:pt x="3832353" y="203460"/>
                  <a:pt x="3856791" y="227897"/>
                  <a:pt x="3856791" y="258009"/>
                </a:cubicBezTo>
                <a:cubicBezTo>
                  <a:pt x="3856791" y="288124"/>
                  <a:pt x="3832107" y="312559"/>
                  <a:pt x="3802238" y="312559"/>
                </a:cubicBezTo>
                <a:cubicBezTo>
                  <a:pt x="3772125" y="312559"/>
                  <a:pt x="3747688" y="288124"/>
                  <a:pt x="3747688" y="258009"/>
                </a:cubicBezTo>
                <a:cubicBezTo>
                  <a:pt x="3747688" y="227897"/>
                  <a:pt x="3772125" y="203460"/>
                  <a:pt x="3802238" y="203460"/>
                </a:cubicBezTo>
                <a:close/>
                <a:moveTo>
                  <a:pt x="2563131" y="196773"/>
                </a:moveTo>
                <a:cubicBezTo>
                  <a:pt x="2591764" y="196773"/>
                  <a:pt x="2615214" y="220223"/>
                  <a:pt x="2615214" y="248855"/>
                </a:cubicBezTo>
                <a:cubicBezTo>
                  <a:pt x="2615214" y="277734"/>
                  <a:pt x="2592010" y="300938"/>
                  <a:pt x="2563131" y="300938"/>
                </a:cubicBezTo>
                <a:cubicBezTo>
                  <a:pt x="2534498" y="300938"/>
                  <a:pt x="2511048" y="277488"/>
                  <a:pt x="2511048" y="248855"/>
                </a:cubicBezTo>
                <a:cubicBezTo>
                  <a:pt x="2511048" y="220223"/>
                  <a:pt x="2534498" y="196773"/>
                  <a:pt x="2563131" y="196773"/>
                </a:cubicBezTo>
                <a:close/>
                <a:moveTo>
                  <a:pt x="1118661" y="196511"/>
                </a:moveTo>
                <a:cubicBezTo>
                  <a:pt x="1142357" y="196511"/>
                  <a:pt x="1161609" y="215763"/>
                  <a:pt x="1161609" y="239462"/>
                </a:cubicBezTo>
                <a:cubicBezTo>
                  <a:pt x="1161609" y="263155"/>
                  <a:pt x="1142357" y="282410"/>
                  <a:pt x="1118661" y="282410"/>
                </a:cubicBezTo>
                <a:cubicBezTo>
                  <a:pt x="1094962" y="282410"/>
                  <a:pt x="1075711" y="263155"/>
                  <a:pt x="1075711" y="239462"/>
                </a:cubicBezTo>
                <a:cubicBezTo>
                  <a:pt x="1075711" y="215763"/>
                  <a:pt x="1094962" y="196511"/>
                  <a:pt x="1118661" y="196511"/>
                </a:cubicBezTo>
                <a:close/>
                <a:moveTo>
                  <a:pt x="48878" y="191571"/>
                </a:moveTo>
                <a:cubicBezTo>
                  <a:pt x="70350" y="191571"/>
                  <a:pt x="87876" y="209097"/>
                  <a:pt x="87876" y="230573"/>
                </a:cubicBezTo>
                <a:cubicBezTo>
                  <a:pt x="87876" y="252045"/>
                  <a:pt x="70350" y="269571"/>
                  <a:pt x="48878" y="269571"/>
                </a:cubicBezTo>
                <a:cubicBezTo>
                  <a:pt x="27402" y="269571"/>
                  <a:pt x="9876" y="252045"/>
                  <a:pt x="9876" y="230573"/>
                </a:cubicBezTo>
                <a:cubicBezTo>
                  <a:pt x="9876" y="209097"/>
                  <a:pt x="27402" y="191571"/>
                  <a:pt x="48878" y="191571"/>
                </a:cubicBezTo>
                <a:close/>
                <a:moveTo>
                  <a:pt x="3250316" y="180494"/>
                </a:moveTo>
                <a:cubicBezTo>
                  <a:pt x="3275741" y="180494"/>
                  <a:pt x="3296721" y="201228"/>
                  <a:pt x="3296721" y="226899"/>
                </a:cubicBezTo>
                <a:cubicBezTo>
                  <a:pt x="3296721" y="252569"/>
                  <a:pt x="3275741" y="273303"/>
                  <a:pt x="3250316" y="273303"/>
                </a:cubicBezTo>
                <a:cubicBezTo>
                  <a:pt x="3224645" y="273303"/>
                  <a:pt x="3203911" y="252569"/>
                  <a:pt x="3203911" y="226899"/>
                </a:cubicBezTo>
                <a:cubicBezTo>
                  <a:pt x="3203911" y="201474"/>
                  <a:pt x="3224645" y="180494"/>
                  <a:pt x="3250316" y="180494"/>
                </a:cubicBezTo>
                <a:close/>
                <a:moveTo>
                  <a:pt x="3024958" y="178515"/>
                </a:moveTo>
                <a:cubicBezTo>
                  <a:pt x="3051863" y="178515"/>
                  <a:pt x="3073830" y="200483"/>
                  <a:pt x="3073830" y="227636"/>
                </a:cubicBezTo>
                <a:cubicBezTo>
                  <a:pt x="3073830" y="254540"/>
                  <a:pt x="3051863" y="276507"/>
                  <a:pt x="3024958" y="276507"/>
                </a:cubicBezTo>
                <a:cubicBezTo>
                  <a:pt x="2998052" y="276507"/>
                  <a:pt x="2976084" y="254540"/>
                  <a:pt x="2976084" y="227636"/>
                </a:cubicBezTo>
                <a:cubicBezTo>
                  <a:pt x="2976084" y="200729"/>
                  <a:pt x="2998052" y="178515"/>
                  <a:pt x="3024958" y="178515"/>
                </a:cubicBezTo>
                <a:close/>
                <a:moveTo>
                  <a:pt x="2798609" y="176537"/>
                </a:moveTo>
                <a:cubicBezTo>
                  <a:pt x="2826255" y="176537"/>
                  <a:pt x="2848964" y="199000"/>
                  <a:pt x="2848964" y="226892"/>
                </a:cubicBezTo>
                <a:cubicBezTo>
                  <a:pt x="2848964" y="254783"/>
                  <a:pt x="2826255" y="277246"/>
                  <a:pt x="2798609" y="277246"/>
                </a:cubicBezTo>
                <a:cubicBezTo>
                  <a:pt x="2770964" y="277246"/>
                  <a:pt x="2748255" y="254783"/>
                  <a:pt x="2748255" y="226892"/>
                </a:cubicBezTo>
                <a:cubicBezTo>
                  <a:pt x="2748255" y="199246"/>
                  <a:pt x="2770718" y="176537"/>
                  <a:pt x="2798609" y="176537"/>
                </a:cubicBezTo>
                <a:close/>
                <a:moveTo>
                  <a:pt x="3474690" y="175067"/>
                </a:moveTo>
                <a:cubicBezTo>
                  <a:pt x="3502828" y="175067"/>
                  <a:pt x="3525786" y="198022"/>
                  <a:pt x="3525786" y="226162"/>
                </a:cubicBezTo>
                <a:cubicBezTo>
                  <a:pt x="3525786" y="254299"/>
                  <a:pt x="3502828" y="277254"/>
                  <a:pt x="3474690" y="277254"/>
                </a:cubicBezTo>
                <a:cubicBezTo>
                  <a:pt x="3446550" y="277254"/>
                  <a:pt x="3423595" y="254299"/>
                  <a:pt x="3423595" y="226162"/>
                </a:cubicBezTo>
                <a:cubicBezTo>
                  <a:pt x="3423595" y="198022"/>
                  <a:pt x="3446550" y="175067"/>
                  <a:pt x="3474690" y="175067"/>
                </a:cubicBezTo>
                <a:close/>
                <a:moveTo>
                  <a:pt x="370749" y="167629"/>
                </a:moveTo>
                <a:cubicBezTo>
                  <a:pt x="394445" y="167629"/>
                  <a:pt x="413945" y="186881"/>
                  <a:pt x="413945" y="210826"/>
                </a:cubicBezTo>
                <a:cubicBezTo>
                  <a:pt x="413945" y="234522"/>
                  <a:pt x="394691" y="254022"/>
                  <a:pt x="370749" y="254022"/>
                </a:cubicBezTo>
                <a:cubicBezTo>
                  <a:pt x="347053" y="254022"/>
                  <a:pt x="327552" y="234768"/>
                  <a:pt x="327552" y="210826"/>
                </a:cubicBezTo>
                <a:cubicBezTo>
                  <a:pt x="327552" y="187130"/>
                  <a:pt x="347053" y="167629"/>
                  <a:pt x="370749" y="167629"/>
                </a:cubicBezTo>
                <a:close/>
                <a:moveTo>
                  <a:pt x="1523228" y="162450"/>
                </a:moveTo>
                <a:cubicBezTo>
                  <a:pt x="1544950" y="162450"/>
                  <a:pt x="1562473" y="179976"/>
                  <a:pt x="1562473" y="201697"/>
                </a:cubicBezTo>
                <a:cubicBezTo>
                  <a:pt x="1562473" y="223418"/>
                  <a:pt x="1544950" y="240944"/>
                  <a:pt x="1523228" y="240944"/>
                </a:cubicBezTo>
                <a:cubicBezTo>
                  <a:pt x="1501506" y="240944"/>
                  <a:pt x="1483980" y="223418"/>
                  <a:pt x="1483980" y="201697"/>
                </a:cubicBezTo>
                <a:cubicBezTo>
                  <a:pt x="1483980" y="179976"/>
                  <a:pt x="1501506" y="162450"/>
                  <a:pt x="1523228" y="162450"/>
                </a:cubicBezTo>
                <a:close/>
                <a:moveTo>
                  <a:pt x="1762904" y="161960"/>
                </a:moveTo>
                <a:cubicBezTo>
                  <a:pt x="1787338" y="161960"/>
                  <a:pt x="1807087" y="181706"/>
                  <a:pt x="1807087" y="206143"/>
                </a:cubicBezTo>
                <a:cubicBezTo>
                  <a:pt x="1807087" y="230578"/>
                  <a:pt x="1787338" y="250325"/>
                  <a:pt x="1762904" y="250325"/>
                </a:cubicBezTo>
                <a:cubicBezTo>
                  <a:pt x="1738467" y="250325"/>
                  <a:pt x="1718720" y="230578"/>
                  <a:pt x="1718720" y="206143"/>
                </a:cubicBezTo>
                <a:cubicBezTo>
                  <a:pt x="1718720" y="181706"/>
                  <a:pt x="1738467" y="161960"/>
                  <a:pt x="1762904" y="161960"/>
                </a:cubicBezTo>
                <a:close/>
                <a:moveTo>
                  <a:pt x="748405" y="157262"/>
                </a:moveTo>
                <a:cubicBezTo>
                  <a:pt x="760502" y="157262"/>
                  <a:pt x="770372" y="167135"/>
                  <a:pt x="770372" y="179229"/>
                </a:cubicBezTo>
                <a:cubicBezTo>
                  <a:pt x="770372" y="191324"/>
                  <a:pt x="760502" y="201197"/>
                  <a:pt x="748405" y="201197"/>
                </a:cubicBezTo>
                <a:cubicBezTo>
                  <a:pt x="736311" y="201197"/>
                  <a:pt x="726437" y="191324"/>
                  <a:pt x="726437" y="179229"/>
                </a:cubicBezTo>
                <a:cubicBezTo>
                  <a:pt x="726437" y="167135"/>
                  <a:pt x="736311" y="157262"/>
                  <a:pt x="748405" y="157262"/>
                </a:cubicBezTo>
                <a:close/>
                <a:moveTo>
                  <a:pt x="1277374" y="155785"/>
                </a:moveTo>
                <a:cubicBezTo>
                  <a:pt x="1299345" y="155785"/>
                  <a:pt x="1317363" y="173803"/>
                  <a:pt x="1317363" y="195771"/>
                </a:cubicBezTo>
                <a:cubicBezTo>
                  <a:pt x="1317363" y="217987"/>
                  <a:pt x="1299591" y="235759"/>
                  <a:pt x="1277374" y="235759"/>
                </a:cubicBezTo>
                <a:cubicBezTo>
                  <a:pt x="1255407" y="235759"/>
                  <a:pt x="1237389" y="217741"/>
                  <a:pt x="1237389" y="195771"/>
                </a:cubicBezTo>
                <a:cubicBezTo>
                  <a:pt x="1237389" y="173803"/>
                  <a:pt x="1255407" y="155785"/>
                  <a:pt x="1277374" y="155785"/>
                </a:cubicBezTo>
                <a:close/>
                <a:moveTo>
                  <a:pt x="159950" y="155285"/>
                </a:moveTo>
                <a:cubicBezTo>
                  <a:pt x="181920" y="155285"/>
                  <a:pt x="199692" y="173057"/>
                  <a:pt x="199692" y="195025"/>
                </a:cubicBezTo>
                <a:cubicBezTo>
                  <a:pt x="199443" y="216995"/>
                  <a:pt x="181671" y="234767"/>
                  <a:pt x="159950" y="234767"/>
                </a:cubicBezTo>
                <a:cubicBezTo>
                  <a:pt x="138229" y="234767"/>
                  <a:pt x="120210" y="216995"/>
                  <a:pt x="120210" y="195025"/>
                </a:cubicBezTo>
                <a:cubicBezTo>
                  <a:pt x="120210" y="173057"/>
                  <a:pt x="137983" y="155285"/>
                  <a:pt x="159950" y="155285"/>
                </a:cubicBezTo>
                <a:close/>
                <a:moveTo>
                  <a:pt x="566487" y="153066"/>
                </a:moveTo>
                <a:cubicBezTo>
                  <a:pt x="593887" y="153066"/>
                  <a:pt x="616349" y="175280"/>
                  <a:pt x="616349" y="202679"/>
                </a:cubicBezTo>
                <a:cubicBezTo>
                  <a:pt x="616103" y="230078"/>
                  <a:pt x="593887" y="252541"/>
                  <a:pt x="566487" y="252541"/>
                </a:cubicBezTo>
                <a:cubicBezTo>
                  <a:pt x="539091" y="252541"/>
                  <a:pt x="516874" y="230325"/>
                  <a:pt x="516874" y="202679"/>
                </a:cubicBezTo>
                <a:cubicBezTo>
                  <a:pt x="516874" y="175280"/>
                  <a:pt x="539091" y="153066"/>
                  <a:pt x="566487" y="153066"/>
                </a:cubicBezTo>
                <a:close/>
                <a:moveTo>
                  <a:pt x="3703753" y="146686"/>
                </a:moveTo>
                <a:cubicBezTo>
                  <a:pt x="3734114" y="146686"/>
                  <a:pt x="3758798" y="171369"/>
                  <a:pt x="3758798" y="201730"/>
                </a:cubicBezTo>
                <a:cubicBezTo>
                  <a:pt x="3758798" y="232091"/>
                  <a:pt x="3734114" y="256774"/>
                  <a:pt x="3703753" y="256774"/>
                </a:cubicBezTo>
                <a:cubicBezTo>
                  <a:pt x="3673392" y="256774"/>
                  <a:pt x="3648708" y="232091"/>
                  <a:pt x="3648708" y="201730"/>
                </a:cubicBezTo>
                <a:cubicBezTo>
                  <a:pt x="3648708" y="171369"/>
                  <a:pt x="3673392" y="146686"/>
                  <a:pt x="3703753" y="146686"/>
                </a:cubicBezTo>
                <a:close/>
                <a:moveTo>
                  <a:pt x="2695185" y="144941"/>
                </a:moveTo>
                <a:cubicBezTo>
                  <a:pt x="2722336" y="144941"/>
                  <a:pt x="2744552" y="167155"/>
                  <a:pt x="2744552" y="194307"/>
                </a:cubicBezTo>
                <a:cubicBezTo>
                  <a:pt x="2744552" y="221458"/>
                  <a:pt x="2722336" y="243674"/>
                  <a:pt x="2695185" y="243674"/>
                </a:cubicBezTo>
                <a:cubicBezTo>
                  <a:pt x="2668032" y="243674"/>
                  <a:pt x="2645818" y="221458"/>
                  <a:pt x="2645818" y="194307"/>
                </a:cubicBezTo>
                <a:cubicBezTo>
                  <a:pt x="2645818" y="167155"/>
                  <a:pt x="2668032" y="144941"/>
                  <a:pt x="2695185" y="144941"/>
                </a:cubicBezTo>
                <a:close/>
                <a:moveTo>
                  <a:pt x="2467359" y="143703"/>
                </a:moveTo>
                <a:cubicBezTo>
                  <a:pt x="2495005" y="143703"/>
                  <a:pt x="2517465" y="166166"/>
                  <a:pt x="2517465" y="193811"/>
                </a:cubicBezTo>
                <a:cubicBezTo>
                  <a:pt x="2517465" y="221457"/>
                  <a:pt x="2495005" y="243917"/>
                  <a:pt x="2467359" y="243917"/>
                </a:cubicBezTo>
                <a:cubicBezTo>
                  <a:pt x="2439714" y="243917"/>
                  <a:pt x="2417251" y="221457"/>
                  <a:pt x="2417251" y="193811"/>
                </a:cubicBezTo>
                <a:cubicBezTo>
                  <a:pt x="2417251" y="166166"/>
                  <a:pt x="2439714" y="143703"/>
                  <a:pt x="2467359" y="143703"/>
                </a:cubicBezTo>
                <a:close/>
                <a:moveTo>
                  <a:pt x="2006521" y="143697"/>
                </a:moveTo>
                <a:cubicBezTo>
                  <a:pt x="2031699" y="143697"/>
                  <a:pt x="2051938" y="164185"/>
                  <a:pt x="2051938" y="189361"/>
                </a:cubicBezTo>
                <a:cubicBezTo>
                  <a:pt x="2051938" y="214539"/>
                  <a:pt x="2031699" y="234778"/>
                  <a:pt x="2006521" y="234778"/>
                </a:cubicBezTo>
                <a:cubicBezTo>
                  <a:pt x="1981342" y="234778"/>
                  <a:pt x="1961110" y="214293"/>
                  <a:pt x="1961110" y="189361"/>
                </a:cubicBezTo>
                <a:cubicBezTo>
                  <a:pt x="1961110" y="164431"/>
                  <a:pt x="1981591" y="143697"/>
                  <a:pt x="2006521" y="143697"/>
                </a:cubicBezTo>
                <a:close/>
                <a:moveTo>
                  <a:pt x="1023874" y="141220"/>
                </a:moveTo>
                <a:cubicBezTo>
                  <a:pt x="1048066" y="141220"/>
                  <a:pt x="1067812" y="160967"/>
                  <a:pt x="1067812" y="185156"/>
                </a:cubicBezTo>
                <a:cubicBezTo>
                  <a:pt x="1067812" y="209593"/>
                  <a:pt x="1048066" y="229094"/>
                  <a:pt x="1023874" y="229094"/>
                </a:cubicBezTo>
                <a:cubicBezTo>
                  <a:pt x="999686" y="229094"/>
                  <a:pt x="979939" y="209347"/>
                  <a:pt x="979939" y="185156"/>
                </a:cubicBezTo>
                <a:cubicBezTo>
                  <a:pt x="979939" y="160967"/>
                  <a:pt x="999686" y="141220"/>
                  <a:pt x="1023874" y="141220"/>
                </a:cubicBezTo>
                <a:close/>
                <a:moveTo>
                  <a:pt x="2238051" y="140984"/>
                </a:moveTo>
                <a:cubicBezTo>
                  <a:pt x="2266191" y="140984"/>
                  <a:pt x="2288900" y="163693"/>
                  <a:pt x="2288900" y="191830"/>
                </a:cubicBezTo>
                <a:cubicBezTo>
                  <a:pt x="2288900" y="219971"/>
                  <a:pt x="2266191" y="242679"/>
                  <a:pt x="2238051" y="242679"/>
                </a:cubicBezTo>
                <a:cubicBezTo>
                  <a:pt x="2209913" y="242679"/>
                  <a:pt x="2187204" y="219971"/>
                  <a:pt x="2187204" y="191830"/>
                </a:cubicBezTo>
                <a:cubicBezTo>
                  <a:pt x="2187204" y="163693"/>
                  <a:pt x="2209913" y="140984"/>
                  <a:pt x="2238051" y="140984"/>
                </a:cubicBezTo>
                <a:close/>
                <a:moveTo>
                  <a:pt x="3376698" y="124219"/>
                </a:moveTo>
                <a:cubicBezTo>
                  <a:pt x="3402120" y="124219"/>
                  <a:pt x="3422854" y="144953"/>
                  <a:pt x="3422854" y="170378"/>
                </a:cubicBezTo>
                <a:cubicBezTo>
                  <a:pt x="3422854" y="195802"/>
                  <a:pt x="3402120" y="216536"/>
                  <a:pt x="3376698" y="216536"/>
                </a:cubicBezTo>
                <a:cubicBezTo>
                  <a:pt x="3351273" y="216536"/>
                  <a:pt x="3330539" y="195802"/>
                  <a:pt x="3330539" y="170378"/>
                </a:cubicBezTo>
                <a:cubicBezTo>
                  <a:pt x="3330539" y="144953"/>
                  <a:pt x="3351273" y="124219"/>
                  <a:pt x="3376698" y="124219"/>
                </a:cubicBezTo>
                <a:close/>
                <a:moveTo>
                  <a:pt x="2927951" y="123962"/>
                </a:moveTo>
                <a:cubicBezTo>
                  <a:pt x="2953869" y="123962"/>
                  <a:pt x="2975098" y="144942"/>
                  <a:pt x="2975098" y="171108"/>
                </a:cubicBezTo>
                <a:cubicBezTo>
                  <a:pt x="2975098" y="197025"/>
                  <a:pt x="2953869" y="218254"/>
                  <a:pt x="2927951" y="218254"/>
                </a:cubicBezTo>
                <a:cubicBezTo>
                  <a:pt x="2902032" y="218254"/>
                  <a:pt x="2880805" y="197025"/>
                  <a:pt x="2880805" y="171108"/>
                </a:cubicBezTo>
                <a:cubicBezTo>
                  <a:pt x="2880805" y="145191"/>
                  <a:pt x="2902032" y="123962"/>
                  <a:pt x="2927951" y="123962"/>
                </a:cubicBezTo>
                <a:close/>
                <a:moveTo>
                  <a:pt x="3152817" y="119770"/>
                </a:moveTo>
                <a:cubicBezTo>
                  <a:pt x="3181036" y="119770"/>
                  <a:pt x="3203910" y="142647"/>
                  <a:pt x="3203910" y="170865"/>
                </a:cubicBezTo>
                <a:cubicBezTo>
                  <a:pt x="3203910" y="199082"/>
                  <a:pt x="3181036" y="221960"/>
                  <a:pt x="3152817" y="221960"/>
                </a:cubicBezTo>
                <a:cubicBezTo>
                  <a:pt x="3124597" y="221960"/>
                  <a:pt x="3101722" y="199082"/>
                  <a:pt x="3101722" y="170865"/>
                </a:cubicBezTo>
                <a:cubicBezTo>
                  <a:pt x="3101722" y="142647"/>
                  <a:pt x="3124597" y="119770"/>
                  <a:pt x="3152817" y="119770"/>
                </a:cubicBezTo>
                <a:close/>
                <a:moveTo>
                  <a:pt x="918723" y="118511"/>
                </a:moveTo>
                <a:cubicBezTo>
                  <a:pt x="933533" y="118511"/>
                  <a:pt x="945381" y="130359"/>
                  <a:pt x="945381" y="145169"/>
                </a:cubicBezTo>
                <a:cubicBezTo>
                  <a:pt x="945381" y="159979"/>
                  <a:pt x="933533" y="171827"/>
                  <a:pt x="918723" y="171827"/>
                </a:cubicBezTo>
                <a:cubicBezTo>
                  <a:pt x="904159" y="171827"/>
                  <a:pt x="892065" y="159979"/>
                  <a:pt x="892065" y="145169"/>
                </a:cubicBezTo>
                <a:cubicBezTo>
                  <a:pt x="892065" y="130359"/>
                  <a:pt x="904159" y="118511"/>
                  <a:pt x="918723" y="118511"/>
                </a:cubicBezTo>
                <a:close/>
                <a:moveTo>
                  <a:pt x="1668365" y="112346"/>
                </a:moveTo>
                <a:cubicBezTo>
                  <a:pt x="1690087" y="112346"/>
                  <a:pt x="1707859" y="130118"/>
                  <a:pt x="1707859" y="152085"/>
                </a:cubicBezTo>
                <a:cubicBezTo>
                  <a:pt x="1707859" y="173807"/>
                  <a:pt x="1690087" y="191579"/>
                  <a:pt x="1668365" y="191579"/>
                </a:cubicBezTo>
                <a:cubicBezTo>
                  <a:pt x="1646397" y="191579"/>
                  <a:pt x="1628625" y="173807"/>
                  <a:pt x="1628625" y="152085"/>
                </a:cubicBezTo>
                <a:cubicBezTo>
                  <a:pt x="1628625" y="130118"/>
                  <a:pt x="1646397" y="112346"/>
                  <a:pt x="1668365" y="112346"/>
                </a:cubicBezTo>
                <a:close/>
                <a:moveTo>
                  <a:pt x="1428688" y="111602"/>
                </a:moveTo>
                <a:cubicBezTo>
                  <a:pt x="1448930" y="111602"/>
                  <a:pt x="1465219" y="127894"/>
                  <a:pt x="1465219" y="148133"/>
                </a:cubicBezTo>
                <a:cubicBezTo>
                  <a:pt x="1465465" y="168375"/>
                  <a:pt x="1448930" y="184665"/>
                  <a:pt x="1428688" y="184665"/>
                </a:cubicBezTo>
                <a:cubicBezTo>
                  <a:pt x="1408448" y="184665"/>
                  <a:pt x="1392156" y="168375"/>
                  <a:pt x="1392156" y="148133"/>
                </a:cubicBezTo>
                <a:cubicBezTo>
                  <a:pt x="1392156" y="127894"/>
                  <a:pt x="1408694" y="111602"/>
                  <a:pt x="1428688" y="111602"/>
                </a:cubicBezTo>
                <a:close/>
                <a:moveTo>
                  <a:pt x="265595" y="106907"/>
                </a:moveTo>
                <a:cubicBezTo>
                  <a:pt x="287316" y="106907"/>
                  <a:pt x="305088" y="124679"/>
                  <a:pt x="305088" y="146400"/>
                </a:cubicBezTo>
                <a:cubicBezTo>
                  <a:pt x="305088" y="168121"/>
                  <a:pt x="287316" y="185893"/>
                  <a:pt x="265595" y="185893"/>
                </a:cubicBezTo>
                <a:cubicBezTo>
                  <a:pt x="243874" y="185893"/>
                  <a:pt x="226102" y="168121"/>
                  <a:pt x="226102" y="146400"/>
                </a:cubicBezTo>
                <a:cubicBezTo>
                  <a:pt x="226102" y="124679"/>
                  <a:pt x="243874" y="106907"/>
                  <a:pt x="265595" y="106907"/>
                </a:cubicBezTo>
                <a:close/>
                <a:moveTo>
                  <a:pt x="1183084" y="103209"/>
                </a:moveTo>
                <a:cubicBezTo>
                  <a:pt x="1204557" y="103209"/>
                  <a:pt x="1222083" y="120735"/>
                  <a:pt x="1222083" y="142210"/>
                </a:cubicBezTo>
                <a:cubicBezTo>
                  <a:pt x="1222083" y="163683"/>
                  <a:pt x="1204557" y="181209"/>
                  <a:pt x="1183084" y="181209"/>
                </a:cubicBezTo>
                <a:cubicBezTo>
                  <a:pt x="1161609" y="181209"/>
                  <a:pt x="1144083" y="163683"/>
                  <a:pt x="1144083" y="142210"/>
                </a:cubicBezTo>
                <a:cubicBezTo>
                  <a:pt x="1144083" y="120735"/>
                  <a:pt x="1161609" y="103209"/>
                  <a:pt x="1183084" y="103209"/>
                </a:cubicBezTo>
                <a:close/>
                <a:moveTo>
                  <a:pt x="466272" y="102711"/>
                </a:moveTo>
                <a:cubicBezTo>
                  <a:pt x="489229" y="102711"/>
                  <a:pt x="507989" y="121470"/>
                  <a:pt x="507989" y="144425"/>
                </a:cubicBezTo>
                <a:cubicBezTo>
                  <a:pt x="507989" y="167629"/>
                  <a:pt x="489229" y="186389"/>
                  <a:pt x="466272" y="186389"/>
                </a:cubicBezTo>
                <a:cubicBezTo>
                  <a:pt x="443317" y="186389"/>
                  <a:pt x="424311" y="167629"/>
                  <a:pt x="424311" y="144425"/>
                </a:cubicBezTo>
                <a:cubicBezTo>
                  <a:pt x="424311" y="121470"/>
                  <a:pt x="443070" y="102711"/>
                  <a:pt x="466272" y="102711"/>
                </a:cubicBezTo>
                <a:close/>
                <a:moveTo>
                  <a:pt x="1911499" y="92352"/>
                </a:moveTo>
                <a:cubicBezTo>
                  <a:pt x="1934700" y="92352"/>
                  <a:pt x="1953460" y="111112"/>
                  <a:pt x="1953460" y="134313"/>
                </a:cubicBezTo>
                <a:cubicBezTo>
                  <a:pt x="1953460" y="157516"/>
                  <a:pt x="1934700" y="176276"/>
                  <a:pt x="1911499" y="176276"/>
                </a:cubicBezTo>
                <a:cubicBezTo>
                  <a:pt x="1888543" y="176276"/>
                  <a:pt x="1869785" y="157516"/>
                  <a:pt x="1869785" y="134313"/>
                </a:cubicBezTo>
                <a:cubicBezTo>
                  <a:pt x="1869785" y="111358"/>
                  <a:pt x="1888543" y="92352"/>
                  <a:pt x="1911499" y="92352"/>
                </a:cubicBezTo>
                <a:close/>
                <a:moveTo>
                  <a:pt x="3605265" y="90654"/>
                </a:moveTo>
                <a:cubicBezTo>
                  <a:pt x="3635380" y="90654"/>
                  <a:pt x="3659815" y="115091"/>
                  <a:pt x="3659815" y="145204"/>
                </a:cubicBezTo>
                <a:cubicBezTo>
                  <a:pt x="3659815" y="175318"/>
                  <a:pt x="3635380" y="199753"/>
                  <a:pt x="3605265" y="199753"/>
                </a:cubicBezTo>
                <a:cubicBezTo>
                  <a:pt x="3575152" y="199753"/>
                  <a:pt x="3550715" y="175318"/>
                  <a:pt x="3550715" y="145204"/>
                </a:cubicBezTo>
                <a:cubicBezTo>
                  <a:pt x="3550715" y="115091"/>
                  <a:pt x="3575152" y="90654"/>
                  <a:pt x="3605265" y="90654"/>
                </a:cubicBezTo>
                <a:close/>
                <a:moveTo>
                  <a:pt x="3827416" y="89177"/>
                </a:moveTo>
                <a:cubicBezTo>
                  <a:pt x="3858024" y="89177"/>
                  <a:pt x="3882707" y="114106"/>
                  <a:pt x="3882707" y="144467"/>
                </a:cubicBezTo>
                <a:cubicBezTo>
                  <a:pt x="3882707" y="174828"/>
                  <a:pt x="3858024" y="199757"/>
                  <a:pt x="3827416" y="199757"/>
                </a:cubicBezTo>
                <a:cubicBezTo>
                  <a:pt x="3796809" y="199757"/>
                  <a:pt x="3772125" y="175074"/>
                  <a:pt x="3772125" y="144467"/>
                </a:cubicBezTo>
                <a:cubicBezTo>
                  <a:pt x="3772125" y="113860"/>
                  <a:pt x="3796809" y="89177"/>
                  <a:pt x="3827416" y="89177"/>
                </a:cubicBezTo>
                <a:close/>
                <a:moveTo>
                  <a:pt x="2598672" y="88907"/>
                </a:moveTo>
                <a:cubicBezTo>
                  <a:pt x="2626071" y="88907"/>
                  <a:pt x="2648285" y="111121"/>
                  <a:pt x="2648285" y="138520"/>
                </a:cubicBezTo>
                <a:cubicBezTo>
                  <a:pt x="2648285" y="165919"/>
                  <a:pt x="2626071" y="188135"/>
                  <a:pt x="2598672" y="188135"/>
                </a:cubicBezTo>
                <a:cubicBezTo>
                  <a:pt x="2571273" y="188135"/>
                  <a:pt x="2549059" y="165919"/>
                  <a:pt x="2549059" y="138520"/>
                </a:cubicBezTo>
                <a:cubicBezTo>
                  <a:pt x="2549059" y="111121"/>
                  <a:pt x="2571273" y="88907"/>
                  <a:pt x="2598672" y="88907"/>
                </a:cubicBezTo>
                <a:close/>
                <a:moveTo>
                  <a:pt x="2142773" y="86926"/>
                </a:moveTo>
                <a:cubicBezTo>
                  <a:pt x="2169926" y="86926"/>
                  <a:pt x="2192140" y="109142"/>
                  <a:pt x="2192140" y="136293"/>
                </a:cubicBezTo>
                <a:cubicBezTo>
                  <a:pt x="2192140" y="163446"/>
                  <a:pt x="2169926" y="185660"/>
                  <a:pt x="2142773" y="185660"/>
                </a:cubicBezTo>
                <a:cubicBezTo>
                  <a:pt x="2115620" y="185660"/>
                  <a:pt x="2093406" y="163446"/>
                  <a:pt x="2093406" y="136293"/>
                </a:cubicBezTo>
                <a:cubicBezTo>
                  <a:pt x="2093406" y="109142"/>
                  <a:pt x="2115620" y="86926"/>
                  <a:pt x="2142773" y="86926"/>
                </a:cubicBezTo>
                <a:close/>
                <a:moveTo>
                  <a:pt x="2371341" y="86434"/>
                </a:moveTo>
                <a:cubicBezTo>
                  <a:pt x="2399974" y="86434"/>
                  <a:pt x="2423424" y="109884"/>
                  <a:pt x="2423424" y="138517"/>
                </a:cubicBezTo>
                <a:cubicBezTo>
                  <a:pt x="2423424" y="167149"/>
                  <a:pt x="2399974" y="190599"/>
                  <a:pt x="2371341" y="190599"/>
                </a:cubicBezTo>
                <a:cubicBezTo>
                  <a:pt x="2342708" y="190599"/>
                  <a:pt x="2319258" y="167149"/>
                  <a:pt x="2319258" y="138517"/>
                </a:cubicBezTo>
                <a:cubicBezTo>
                  <a:pt x="2319258" y="109638"/>
                  <a:pt x="2342708" y="86434"/>
                  <a:pt x="2371341" y="86434"/>
                </a:cubicBezTo>
                <a:close/>
                <a:moveTo>
                  <a:pt x="651399" y="79261"/>
                </a:moveTo>
                <a:cubicBezTo>
                  <a:pt x="676083" y="79261"/>
                  <a:pt x="696078" y="99254"/>
                  <a:pt x="696078" y="123938"/>
                </a:cubicBezTo>
                <a:cubicBezTo>
                  <a:pt x="696078" y="148375"/>
                  <a:pt x="676083" y="168614"/>
                  <a:pt x="651399" y="168614"/>
                </a:cubicBezTo>
                <a:cubicBezTo>
                  <a:pt x="626716" y="168614"/>
                  <a:pt x="606723" y="148621"/>
                  <a:pt x="606723" y="123938"/>
                </a:cubicBezTo>
                <a:cubicBezTo>
                  <a:pt x="606723" y="99254"/>
                  <a:pt x="626716" y="79261"/>
                  <a:pt x="651399" y="79261"/>
                </a:cubicBezTo>
                <a:close/>
                <a:moveTo>
                  <a:pt x="1574074" y="75072"/>
                </a:moveTo>
                <a:cubicBezTo>
                  <a:pt x="1586169" y="75072"/>
                  <a:pt x="1596042" y="84945"/>
                  <a:pt x="1596042" y="97040"/>
                </a:cubicBezTo>
                <a:cubicBezTo>
                  <a:pt x="1595796" y="109382"/>
                  <a:pt x="1586169" y="119007"/>
                  <a:pt x="1574074" y="119007"/>
                </a:cubicBezTo>
                <a:cubicBezTo>
                  <a:pt x="1561980" y="119007"/>
                  <a:pt x="1552353" y="109136"/>
                  <a:pt x="1552353" y="97040"/>
                </a:cubicBezTo>
                <a:cubicBezTo>
                  <a:pt x="1552353" y="84945"/>
                  <a:pt x="1562226" y="75072"/>
                  <a:pt x="1574074" y="75072"/>
                </a:cubicBezTo>
                <a:close/>
                <a:moveTo>
                  <a:pt x="3278456" y="72875"/>
                </a:moveTo>
                <a:cubicBezTo>
                  <a:pt x="3301165" y="72875"/>
                  <a:pt x="3319924" y="91388"/>
                  <a:pt x="3319924" y="114343"/>
                </a:cubicBezTo>
                <a:cubicBezTo>
                  <a:pt x="3319924" y="137052"/>
                  <a:pt x="3301411" y="155811"/>
                  <a:pt x="3278456" y="155811"/>
                </a:cubicBezTo>
                <a:cubicBezTo>
                  <a:pt x="3255501" y="155811"/>
                  <a:pt x="3236988" y="137298"/>
                  <a:pt x="3236988" y="114343"/>
                </a:cubicBezTo>
                <a:cubicBezTo>
                  <a:pt x="3236988" y="91388"/>
                  <a:pt x="3255747" y="72875"/>
                  <a:pt x="3278456" y="72875"/>
                </a:cubicBezTo>
                <a:close/>
                <a:moveTo>
                  <a:pt x="3054823" y="71142"/>
                </a:moveTo>
                <a:cubicBezTo>
                  <a:pt x="3079014" y="71142"/>
                  <a:pt x="3098761" y="90889"/>
                  <a:pt x="3098761" y="115077"/>
                </a:cubicBezTo>
                <a:cubicBezTo>
                  <a:pt x="3098761" y="139268"/>
                  <a:pt x="3079260" y="159015"/>
                  <a:pt x="3054823" y="159015"/>
                </a:cubicBezTo>
                <a:cubicBezTo>
                  <a:pt x="3030634" y="159015"/>
                  <a:pt x="3010887" y="139268"/>
                  <a:pt x="3010887" y="115077"/>
                </a:cubicBezTo>
                <a:cubicBezTo>
                  <a:pt x="3010887" y="90889"/>
                  <a:pt x="3030634" y="71142"/>
                  <a:pt x="3054823" y="71142"/>
                </a:cubicBezTo>
                <a:close/>
                <a:moveTo>
                  <a:pt x="823444" y="70130"/>
                </a:moveTo>
                <a:cubicBezTo>
                  <a:pt x="834800" y="70130"/>
                  <a:pt x="843932" y="79509"/>
                  <a:pt x="843932" y="90864"/>
                </a:cubicBezTo>
                <a:cubicBezTo>
                  <a:pt x="844178" y="102466"/>
                  <a:pt x="834800" y="111599"/>
                  <a:pt x="823444" y="111599"/>
                </a:cubicBezTo>
                <a:cubicBezTo>
                  <a:pt x="812091" y="111599"/>
                  <a:pt x="802709" y="102466"/>
                  <a:pt x="802709" y="90864"/>
                </a:cubicBezTo>
                <a:cubicBezTo>
                  <a:pt x="802709" y="79509"/>
                  <a:pt x="812091" y="70130"/>
                  <a:pt x="823444" y="70130"/>
                </a:cubicBezTo>
                <a:close/>
                <a:moveTo>
                  <a:pt x="48874" y="69387"/>
                </a:moveTo>
                <a:cubicBezTo>
                  <a:pt x="75779" y="69387"/>
                  <a:pt x="97746" y="91355"/>
                  <a:pt x="97746" y="118259"/>
                </a:cubicBezTo>
                <a:cubicBezTo>
                  <a:pt x="97746" y="145166"/>
                  <a:pt x="75779" y="167134"/>
                  <a:pt x="48874" y="167134"/>
                </a:cubicBezTo>
                <a:cubicBezTo>
                  <a:pt x="21968" y="167134"/>
                  <a:pt x="0" y="145166"/>
                  <a:pt x="0" y="118259"/>
                </a:cubicBezTo>
                <a:cubicBezTo>
                  <a:pt x="0" y="91355"/>
                  <a:pt x="21968" y="69387"/>
                  <a:pt x="48874" y="69387"/>
                </a:cubicBezTo>
                <a:close/>
                <a:moveTo>
                  <a:pt x="2830700" y="69164"/>
                </a:moveTo>
                <a:cubicBezTo>
                  <a:pt x="2855629" y="69164"/>
                  <a:pt x="2876363" y="89652"/>
                  <a:pt x="2876363" y="114828"/>
                </a:cubicBezTo>
                <a:cubicBezTo>
                  <a:pt x="2876363" y="140006"/>
                  <a:pt x="2855875" y="160491"/>
                  <a:pt x="2830700" y="160491"/>
                </a:cubicBezTo>
                <a:cubicBezTo>
                  <a:pt x="2805524" y="160491"/>
                  <a:pt x="2785282" y="140006"/>
                  <a:pt x="2785282" y="114828"/>
                </a:cubicBezTo>
                <a:cubicBezTo>
                  <a:pt x="2785282" y="89652"/>
                  <a:pt x="2805770" y="69164"/>
                  <a:pt x="2830700" y="69164"/>
                </a:cubicBezTo>
                <a:close/>
                <a:moveTo>
                  <a:pt x="3501099" y="63745"/>
                </a:moveTo>
                <a:cubicBezTo>
                  <a:pt x="3528498" y="63745"/>
                  <a:pt x="3550715" y="85961"/>
                  <a:pt x="3550715" y="113358"/>
                </a:cubicBezTo>
                <a:cubicBezTo>
                  <a:pt x="3550715" y="140757"/>
                  <a:pt x="3528498" y="162973"/>
                  <a:pt x="3501099" y="162973"/>
                </a:cubicBezTo>
                <a:cubicBezTo>
                  <a:pt x="3473700" y="162973"/>
                  <a:pt x="3451486" y="140757"/>
                  <a:pt x="3451486" y="113358"/>
                </a:cubicBezTo>
                <a:cubicBezTo>
                  <a:pt x="3451486" y="85961"/>
                  <a:pt x="3473700" y="63745"/>
                  <a:pt x="3501099" y="63745"/>
                </a:cubicBezTo>
                <a:close/>
                <a:moveTo>
                  <a:pt x="1334394" y="59519"/>
                </a:moveTo>
                <a:cubicBezTo>
                  <a:pt x="1353649" y="59519"/>
                  <a:pt x="1369197" y="75070"/>
                  <a:pt x="1369197" y="94322"/>
                </a:cubicBezTo>
                <a:cubicBezTo>
                  <a:pt x="1369446" y="113576"/>
                  <a:pt x="1353649" y="129128"/>
                  <a:pt x="1334394" y="129128"/>
                </a:cubicBezTo>
                <a:cubicBezTo>
                  <a:pt x="1315142" y="129128"/>
                  <a:pt x="1299591" y="113576"/>
                  <a:pt x="1299591" y="94322"/>
                </a:cubicBezTo>
                <a:cubicBezTo>
                  <a:pt x="1299591" y="75070"/>
                  <a:pt x="1315142" y="59519"/>
                  <a:pt x="1334394" y="59519"/>
                </a:cubicBezTo>
                <a:close/>
                <a:moveTo>
                  <a:pt x="1808568" y="48416"/>
                </a:moveTo>
                <a:cubicBezTo>
                  <a:pt x="1836953" y="48416"/>
                  <a:pt x="1859909" y="71371"/>
                  <a:pt x="1859909" y="99757"/>
                </a:cubicBezTo>
                <a:cubicBezTo>
                  <a:pt x="1859909" y="128144"/>
                  <a:pt x="1836953" y="151099"/>
                  <a:pt x="1808568" y="151099"/>
                </a:cubicBezTo>
                <a:cubicBezTo>
                  <a:pt x="1780181" y="151099"/>
                  <a:pt x="1757227" y="128144"/>
                  <a:pt x="1757227" y="99757"/>
                </a:cubicBezTo>
                <a:cubicBezTo>
                  <a:pt x="1757227" y="71371"/>
                  <a:pt x="1780181" y="48416"/>
                  <a:pt x="1808568" y="48416"/>
                </a:cubicBezTo>
                <a:close/>
                <a:moveTo>
                  <a:pt x="1088791" y="46681"/>
                </a:moveTo>
                <a:cubicBezTo>
                  <a:pt x="1111746" y="46681"/>
                  <a:pt x="1130506" y="65441"/>
                  <a:pt x="1130506" y="88149"/>
                </a:cubicBezTo>
                <a:cubicBezTo>
                  <a:pt x="1130506" y="111104"/>
                  <a:pt x="1111746" y="129617"/>
                  <a:pt x="1088791" y="129617"/>
                </a:cubicBezTo>
                <a:cubicBezTo>
                  <a:pt x="1065836" y="129617"/>
                  <a:pt x="1047078" y="110858"/>
                  <a:pt x="1047078" y="88149"/>
                </a:cubicBezTo>
                <a:cubicBezTo>
                  <a:pt x="1047078" y="65195"/>
                  <a:pt x="1065836" y="46681"/>
                  <a:pt x="1088791" y="46681"/>
                </a:cubicBezTo>
                <a:close/>
                <a:moveTo>
                  <a:pt x="364578" y="45692"/>
                </a:moveTo>
                <a:cubicBezTo>
                  <a:pt x="386299" y="45692"/>
                  <a:pt x="403823" y="63217"/>
                  <a:pt x="403823" y="84939"/>
                </a:cubicBezTo>
                <a:cubicBezTo>
                  <a:pt x="403823" y="106414"/>
                  <a:pt x="386299" y="124184"/>
                  <a:pt x="364578" y="124184"/>
                </a:cubicBezTo>
                <a:cubicBezTo>
                  <a:pt x="342856" y="124184"/>
                  <a:pt x="325331" y="106660"/>
                  <a:pt x="325331" y="84939"/>
                </a:cubicBezTo>
                <a:cubicBezTo>
                  <a:pt x="325331" y="63217"/>
                  <a:pt x="342856" y="45692"/>
                  <a:pt x="364578" y="45692"/>
                </a:cubicBezTo>
                <a:close/>
                <a:moveTo>
                  <a:pt x="2727029" y="40529"/>
                </a:moveTo>
                <a:cubicBezTo>
                  <a:pt x="2750231" y="40529"/>
                  <a:pt x="2769239" y="59535"/>
                  <a:pt x="2769239" y="82739"/>
                </a:cubicBezTo>
                <a:cubicBezTo>
                  <a:pt x="2769239" y="105939"/>
                  <a:pt x="2750231" y="124948"/>
                  <a:pt x="2727029" y="124948"/>
                </a:cubicBezTo>
                <a:cubicBezTo>
                  <a:pt x="2703826" y="124948"/>
                  <a:pt x="2684820" y="105939"/>
                  <a:pt x="2684820" y="82739"/>
                </a:cubicBezTo>
                <a:cubicBezTo>
                  <a:pt x="2684820" y="59535"/>
                  <a:pt x="2703826" y="40529"/>
                  <a:pt x="2727029" y="40529"/>
                </a:cubicBezTo>
                <a:close/>
                <a:moveTo>
                  <a:pt x="2501667" y="35589"/>
                </a:moveTo>
                <a:cubicBezTo>
                  <a:pt x="2527833" y="35589"/>
                  <a:pt x="2549060" y="56818"/>
                  <a:pt x="2549060" y="82981"/>
                </a:cubicBezTo>
                <a:cubicBezTo>
                  <a:pt x="2549060" y="109147"/>
                  <a:pt x="2527833" y="130373"/>
                  <a:pt x="2501667" y="130373"/>
                </a:cubicBezTo>
                <a:cubicBezTo>
                  <a:pt x="2475502" y="130373"/>
                  <a:pt x="2454275" y="109147"/>
                  <a:pt x="2454275" y="82981"/>
                </a:cubicBezTo>
                <a:cubicBezTo>
                  <a:pt x="2454275" y="56818"/>
                  <a:pt x="2475502" y="35589"/>
                  <a:pt x="2501667" y="35589"/>
                </a:cubicBezTo>
                <a:close/>
                <a:moveTo>
                  <a:pt x="3728190" y="31909"/>
                </a:moveTo>
                <a:cubicBezTo>
                  <a:pt x="3759044" y="31909"/>
                  <a:pt x="3784223" y="57088"/>
                  <a:pt x="3784223" y="87941"/>
                </a:cubicBezTo>
                <a:cubicBezTo>
                  <a:pt x="3784223" y="118794"/>
                  <a:pt x="3759044" y="143970"/>
                  <a:pt x="3728190" y="143970"/>
                </a:cubicBezTo>
                <a:cubicBezTo>
                  <a:pt x="3697334" y="143970"/>
                  <a:pt x="3672158" y="118794"/>
                  <a:pt x="3672158" y="87941"/>
                </a:cubicBezTo>
                <a:cubicBezTo>
                  <a:pt x="3672158" y="57088"/>
                  <a:pt x="3697334" y="31909"/>
                  <a:pt x="3728190" y="31909"/>
                </a:cubicBezTo>
                <a:close/>
                <a:moveTo>
                  <a:pt x="2275323" y="30155"/>
                </a:moveTo>
                <a:cubicBezTo>
                  <a:pt x="2303710" y="30155"/>
                  <a:pt x="2326911" y="53358"/>
                  <a:pt x="2326911" y="81743"/>
                </a:cubicBezTo>
                <a:cubicBezTo>
                  <a:pt x="2326911" y="110129"/>
                  <a:pt x="2303956" y="133333"/>
                  <a:pt x="2275323" y="133333"/>
                </a:cubicBezTo>
                <a:cubicBezTo>
                  <a:pt x="2246939" y="133333"/>
                  <a:pt x="2223735" y="110129"/>
                  <a:pt x="2223735" y="81743"/>
                </a:cubicBezTo>
                <a:cubicBezTo>
                  <a:pt x="2223735" y="53358"/>
                  <a:pt x="2246939" y="30155"/>
                  <a:pt x="2275323" y="30155"/>
                </a:cubicBezTo>
                <a:close/>
                <a:moveTo>
                  <a:pt x="2047248" y="29413"/>
                </a:moveTo>
                <a:cubicBezTo>
                  <a:pt x="2075139" y="29413"/>
                  <a:pt x="2097602" y="52122"/>
                  <a:pt x="2097602" y="80013"/>
                </a:cubicBezTo>
                <a:cubicBezTo>
                  <a:pt x="2097848" y="108153"/>
                  <a:pt x="2075139" y="130616"/>
                  <a:pt x="2047248" y="130616"/>
                </a:cubicBezTo>
                <a:cubicBezTo>
                  <a:pt x="2019356" y="130616"/>
                  <a:pt x="1996893" y="107907"/>
                  <a:pt x="1996893" y="80013"/>
                </a:cubicBezTo>
                <a:cubicBezTo>
                  <a:pt x="1996893" y="52122"/>
                  <a:pt x="2019602" y="29413"/>
                  <a:pt x="2047248" y="29413"/>
                </a:cubicBezTo>
                <a:close/>
                <a:moveTo>
                  <a:pt x="553652" y="27427"/>
                </a:moveTo>
                <a:cubicBezTo>
                  <a:pt x="575866" y="27427"/>
                  <a:pt x="594133" y="45445"/>
                  <a:pt x="594133" y="67908"/>
                </a:cubicBezTo>
                <a:cubicBezTo>
                  <a:pt x="594133" y="90370"/>
                  <a:pt x="576115" y="108389"/>
                  <a:pt x="553652" y="108389"/>
                </a:cubicBezTo>
                <a:cubicBezTo>
                  <a:pt x="531438" y="108389"/>
                  <a:pt x="513171" y="90370"/>
                  <a:pt x="513171" y="67908"/>
                </a:cubicBezTo>
                <a:cubicBezTo>
                  <a:pt x="513171" y="45694"/>
                  <a:pt x="531438" y="27427"/>
                  <a:pt x="553652" y="27427"/>
                </a:cubicBezTo>
                <a:close/>
                <a:moveTo>
                  <a:pt x="158716" y="26439"/>
                </a:moveTo>
                <a:cubicBezTo>
                  <a:pt x="187349" y="26439"/>
                  <a:pt x="210304" y="49643"/>
                  <a:pt x="210304" y="78027"/>
                </a:cubicBezTo>
                <a:cubicBezTo>
                  <a:pt x="210552" y="106660"/>
                  <a:pt x="187349" y="129615"/>
                  <a:pt x="158716" y="129615"/>
                </a:cubicBezTo>
                <a:cubicBezTo>
                  <a:pt x="130332" y="129615"/>
                  <a:pt x="107128" y="106414"/>
                  <a:pt x="107128" y="78027"/>
                </a:cubicBezTo>
                <a:cubicBezTo>
                  <a:pt x="107128" y="49643"/>
                  <a:pt x="130332" y="26439"/>
                  <a:pt x="158716" y="26439"/>
                </a:cubicBezTo>
                <a:close/>
                <a:moveTo>
                  <a:pt x="984629" y="24467"/>
                </a:moveTo>
                <a:cubicBezTo>
                  <a:pt x="998698" y="24467"/>
                  <a:pt x="1010300" y="35823"/>
                  <a:pt x="1010300" y="50138"/>
                </a:cubicBezTo>
                <a:cubicBezTo>
                  <a:pt x="1010300" y="64207"/>
                  <a:pt x="998698" y="75809"/>
                  <a:pt x="984629" y="75809"/>
                </a:cubicBezTo>
                <a:cubicBezTo>
                  <a:pt x="970560" y="75809"/>
                  <a:pt x="958958" y="64207"/>
                  <a:pt x="958958" y="50138"/>
                </a:cubicBezTo>
                <a:cubicBezTo>
                  <a:pt x="958958" y="36069"/>
                  <a:pt x="970314" y="24467"/>
                  <a:pt x="984629" y="24467"/>
                </a:cubicBezTo>
                <a:close/>
                <a:moveTo>
                  <a:pt x="2957076" y="15358"/>
                </a:moveTo>
                <a:cubicBezTo>
                  <a:pt x="2980772" y="15358"/>
                  <a:pt x="3000027" y="34609"/>
                  <a:pt x="3000027" y="58305"/>
                </a:cubicBezTo>
                <a:cubicBezTo>
                  <a:pt x="2999781" y="82001"/>
                  <a:pt x="2980526" y="101255"/>
                  <a:pt x="2957076" y="101255"/>
                </a:cubicBezTo>
                <a:cubicBezTo>
                  <a:pt x="2933380" y="101255"/>
                  <a:pt x="2914128" y="82001"/>
                  <a:pt x="2914128" y="58305"/>
                </a:cubicBezTo>
                <a:cubicBezTo>
                  <a:pt x="2914128" y="34609"/>
                  <a:pt x="2933380" y="15358"/>
                  <a:pt x="2957076" y="15358"/>
                </a:cubicBezTo>
                <a:close/>
                <a:moveTo>
                  <a:pt x="3402119" y="13143"/>
                </a:moveTo>
                <a:cubicBezTo>
                  <a:pt x="3426310" y="13143"/>
                  <a:pt x="3445811" y="32644"/>
                  <a:pt x="3445811" y="56832"/>
                </a:cubicBezTo>
                <a:cubicBezTo>
                  <a:pt x="3445811" y="81023"/>
                  <a:pt x="3426061" y="100523"/>
                  <a:pt x="3402119" y="100523"/>
                </a:cubicBezTo>
                <a:cubicBezTo>
                  <a:pt x="3378177" y="100523"/>
                  <a:pt x="3358430" y="81023"/>
                  <a:pt x="3358430" y="56832"/>
                </a:cubicBezTo>
                <a:cubicBezTo>
                  <a:pt x="3358430" y="32890"/>
                  <a:pt x="3377931" y="13143"/>
                  <a:pt x="3402119" y="13143"/>
                </a:cubicBezTo>
                <a:close/>
                <a:moveTo>
                  <a:pt x="1479288" y="11881"/>
                </a:moveTo>
                <a:cubicBezTo>
                  <a:pt x="1496565" y="11881"/>
                  <a:pt x="1510637" y="25950"/>
                  <a:pt x="1510637" y="43230"/>
                </a:cubicBezTo>
                <a:cubicBezTo>
                  <a:pt x="1510637" y="60753"/>
                  <a:pt x="1496565" y="74825"/>
                  <a:pt x="1479288" y="74825"/>
                </a:cubicBezTo>
                <a:cubicBezTo>
                  <a:pt x="1462011" y="74825"/>
                  <a:pt x="1447693" y="60753"/>
                  <a:pt x="1447693" y="43230"/>
                </a:cubicBezTo>
                <a:cubicBezTo>
                  <a:pt x="1447693" y="25950"/>
                  <a:pt x="1461762" y="11881"/>
                  <a:pt x="1479288" y="11881"/>
                </a:cubicBezTo>
                <a:close/>
                <a:moveTo>
                  <a:pt x="3179968" y="7710"/>
                </a:moveTo>
                <a:cubicBezTo>
                  <a:pt x="3207614" y="7710"/>
                  <a:pt x="3230074" y="30172"/>
                  <a:pt x="3230074" y="57818"/>
                </a:cubicBezTo>
                <a:cubicBezTo>
                  <a:pt x="3230074" y="85214"/>
                  <a:pt x="3207614" y="107923"/>
                  <a:pt x="3179968" y="107923"/>
                </a:cubicBezTo>
                <a:cubicBezTo>
                  <a:pt x="3152323" y="107923"/>
                  <a:pt x="3129860" y="85463"/>
                  <a:pt x="3129860" y="57818"/>
                </a:cubicBezTo>
                <a:cubicBezTo>
                  <a:pt x="3129860" y="30172"/>
                  <a:pt x="3152323" y="7710"/>
                  <a:pt x="3179968" y="7710"/>
                </a:cubicBezTo>
                <a:close/>
                <a:moveTo>
                  <a:pt x="728165" y="6199"/>
                </a:moveTo>
                <a:cubicBezTo>
                  <a:pt x="744950" y="6199"/>
                  <a:pt x="758772" y="20021"/>
                  <a:pt x="758772" y="36806"/>
                </a:cubicBezTo>
                <a:cubicBezTo>
                  <a:pt x="758526" y="53591"/>
                  <a:pt x="744950" y="67414"/>
                  <a:pt x="728165" y="67414"/>
                </a:cubicBezTo>
                <a:cubicBezTo>
                  <a:pt x="711380" y="67414"/>
                  <a:pt x="697558" y="53837"/>
                  <a:pt x="697558" y="36806"/>
                </a:cubicBezTo>
                <a:cubicBezTo>
                  <a:pt x="697558" y="20021"/>
                  <a:pt x="711380" y="6199"/>
                  <a:pt x="728165" y="6199"/>
                </a:cubicBezTo>
                <a:close/>
                <a:moveTo>
                  <a:pt x="1240101" y="5214"/>
                </a:moveTo>
                <a:cubicBezTo>
                  <a:pt x="1259355" y="5214"/>
                  <a:pt x="1275153" y="21012"/>
                  <a:pt x="1275153" y="40263"/>
                </a:cubicBezTo>
                <a:cubicBezTo>
                  <a:pt x="1275153" y="59764"/>
                  <a:pt x="1259355" y="75315"/>
                  <a:pt x="1240101" y="75315"/>
                </a:cubicBezTo>
                <a:cubicBezTo>
                  <a:pt x="1220849" y="75315"/>
                  <a:pt x="1205052" y="59764"/>
                  <a:pt x="1205052" y="40263"/>
                </a:cubicBezTo>
                <a:cubicBezTo>
                  <a:pt x="1205052" y="21012"/>
                  <a:pt x="1220603" y="5214"/>
                  <a:pt x="1240101" y="5214"/>
                </a:cubicBezTo>
                <a:close/>
                <a:moveTo>
                  <a:pt x="3803451" y="0"/>
                </a:moveTo>
                <a:lnTo>
                  <a:pt x="3895489" y="0"/>
                </a:lnTo>
                <a:lnTo>
                  <a:pt x="3901210" y="8414"/>
                </a:lnTo>
                <a:cubicBezTo>
                  <a:pt x="3904076" y="15113"/>
                  <a:pt x="3905665" y="22472"/>
                  <a:pt x="3905665" y="30186"/>
                </a:cubicBezTo>
                <a:cubicBezTo>
                  <a:pt x="3905665" y="61039"/>
                  <a:pt x="3880486" y="86215"/>
                  <a:pt x="3849386" y="86215"/>
                </a:cubicBezTo>
                <a:cubicBezTo>
                  <a:pt x="3818530" y="86215"/>
                  <a:pt x="3793354" y="61039"/>
                  <a:pt x="3793354" y="30186"/>
                </a:cubicBezTo>
                <a:cubicBezTo>
                  <a:pt x="3793354" y="22472"/>
                  <a:pt x="3794928" y="15113"/>
                  <a:pt x="3797770" y="8414"/>
                </a:cubicBezTo>
                <a:close/>
                <a:moveTo>
                  <a:pt x="3699416" y="0"/>
                </a:moveTo>
                <a:lnTo>
                  <a:pt x="3798482" y="0"/>
                </a:lnTo>
                <a:lnTo>
                  <a:pt x="3789282" y="13677"/>
                </a:lnTo>
                <a:cubicBezTo>
                  <a:pt x="3778977" y="24013"/>
                  <a:pt x="3764722" y="30430"/>
                  <a:pt x="3748924" y="30430"/>
                </a:cubicBezTo>
                <a:cubicBezTo>
                  <a:pt x="3733250" y="30430"/>
                  <a:pt x="3718995" y="24013"/>
                  <a:pt x="3708659" y="13677"/>
                </a:cubicBezTo>
                <a:close/>
                <a:moveTo>
                  <a:pt x="3583942" y="0"/>
                </a:moveTo>
                <a:lnTo>
                  <a:pt x="3672925" y="0"/>
                </a:lnTo>
                <a:lnTo>
                  <a:pt x="3679387" y="9511"/>
                </a:lnTo>
                <a:cubicBezTo>
                  <a:pt x="3682199" y="16094"/>
                  <a:pt x="3683757" y="23330"/>
                  <a:pt x="3683757" y="30920"/>
                </a:cubicBezTo>
                <a:cubicBezTo>
                  <a:pt x="3683757" y="61527"/>
                  <a:pt x="3659074" y="86210"/>
                  <a:pt x="3628466" y="86210"/>
                </a:cubicBezTo>
                <a:cubicBezTo>
                  <a:pt x="3598105" y="86210"/>
                  <a:pt x="3573175" y="61527"/>
                  <a:pt x="3573175" y="30920"/>
                </a:cubicBezTo>
                <a:cubicBezTo>
                  <a:pt x="3573175" y="23330"/>
                  <a:pt x="3574718" y="16094"/>
                  <a:pt x="3577510" y="9511"/>
                </a:cubicBezTo>
                <a:close/>
                <a:moveTo>
                  <a:pt x="3475766" y="0"/>
                </a:moveTo>
                <a:lnTo>
                  <a:pt x="3572104" y="0"/>
                </a:lnTo>
                <a:lnTo>
                  <a:pt x="3568384" y="18234"/>
                </a:lnTo>
                <a:cubicBezTo>
                  <a:pt x="3561037" y="35486"/>
                  <a:pt x="3543866" y="47704"/>
                  <a:pt x="3524058" y="47704"/>
                </a:cubicBezTo>
                <a:cubicBezTo>
                  <a:pt x="3504064" y="47704"/>
                  <a:pt x="3486847" y="35486"/>
                  <a:pt x="3479489" y="18234"/>
                </a:cubicBezTo>
                <a:close/>
                <a:moveTo>
                  <a:pt x="3266343" y="0"/>
                </a:moveTo>
                <a:lnTo>
                  <a:pt x="3339442" y="0"/>
                </a:lnTo>
                <a:lnTo>
                  <a:pt x="3339671" y="552"/>
                </a:lnTo>
                <a:cubicBezTo>
                  <a:pt x="3339671" y="20793"/>
                  <a:pt x="3323132" y="37331"/>
                  <a:pt x="3302891" y="37331"/>
                </a:cubicBezTo>
                <a:cubicBezTo>
                  <a:pt x="3282652" y="37331"/>
                  <a:pt x="3266113" y="20793"/>
                  <a:pt x="3266113" y="552"/>
                </a:cubicBezTo>
                <a:close/>
                <a:moveTo>
                  <a:pt x="3042626" y="0"/>
                </a:moveTo>
                <a:lnTo>
                  <a:pt x="3119349" y="0"/>
                </a:lnTo>
                <a:lnTo>
                  <a:pt x="3119987" y="1537"/>
                </a:lnTo>
                <a:cubicBezTo>
                  <a:pt x="3119987" y="23255"/>
                  <a:pt x="3102461" y="40535"/>
                  <a:pt x="3080986" y="40535"/>
                </a:cubicBezTo>
                <a:cubicBezTo>
                  <a:pt x="3059513" y="40535"/>
                  <a:pt x="3041987" y="23009"/>
                  <a:pt x="3041987" y="1537"/>
                </a:cubicBezTo>
                <a:close/>
                <a:moveTo>
                  <a:pt x="2818599" y="0"/>
                </a:moveTo>
                <a:lnTo>
                  <a:pt x="2898827" y="0"/>
                </a:lnTo>
                <a:lnTo>
                  <a:pt x="2899567" y="1779"/>
                </a:lnTo>
                <a:cubicBezTo>
                  <a:pt x="2899567" y="24488"/>
                  <a:pt x="2881300" y="42506"/>
                  <a:pt x="2858591" y="42506"/>
                </a:cubicBezTo>
                <a:cubicBezTo>
                  <a:pt x="2836129" y="42506"/>
                  <a:pt x="2817864" y="24239"/>
                  <a:pt x="2817864" y="1779"/>
                </a:cubicBezTo>
                <a:close/>
                <a:moveTo>
                  <a:pt x="2745381" y="0"/>
                </a:moveTo>
                <a:lnTo>
                  <a:pt x="2763471" y="0"/>
                </a:lnTo>
                <a:lnTo>
                  <a:pt x="2754426" y="3752"/>
                </a:lnTo>
                <a:close/>
                <a:moveTo>
                  <a:pt x="2593499" y="0"/>
                </a:moveTo>
                <a:lnTo>
                  <a:pt x="2665561" y="0"/>
                </a:lnTo>
                <a:lnTo>
                  <a:pt x="2671601" y="8950"/>
                </a:lnTo>
                <a:cubicBezTo>
                  <a:pt x="2673915" y="14411"/>
                  <a:pt x="2675195" y="20412"/>
                  <a:pt x="2675195" y="26706"/>
                </a:cubicBezTo>
                <a:cubicBezTo>
                  <a:pt x="2674946" y="51884"/>
                  <a:pt x="2654458" y="72370"/>
                  <a:pt x="2629529" y="72370"/>
                </a:cubicBezTo>
                <a:cubicBezTo>
                  <a:pt x="2604353" y="72370"/>
                  <a:pt x="2583865" y="51884"/>
                  <a:pt x="2583865" y="26706"/>
                </a:cubicBezTo>
                <a:cubicBezTo>
                  <a:pt x="2583865" y="20412"/>
                  <a:pt x="2585146" y="14411"/>
                  <a:pt x="2587460" y="8950"/>
                </a:cubicBezTo>
                <a:close/>
                <a:moveTo>
                  <a:pt x="2506848" y="0"/>
                </a:moveTo>
                <a:lnTo>
                  <a:pt x="2555808" y="0"/>
                </a:lnTo>
                <a:lnTo>
                  <a:pt x="2531288" y="10165"/>
                </a:lnTo>
                <a:close/>
                <a:moveTo>
                  <a:pt x="2365758" y="0"/>
                </a:moveTo>
                <a:lnTo>
                  <a:pt x="2443571" y="0"/>
                </a:lnTo>
                <a:lnTo>
                  <a:pt x="2449234" y="8388"/>
                </a:lnTo>
                <a:cubicBezTo>
                  <a:pt x="2451687" y="14174"/>
                  <a:pt x="2453044" y="20529"/>
                  <a:pt x="2453044" y="27194"/>
                </a:cubicBezTo>
                <a:cubicBezTo>
                  <a:pt x="2453044" y="53852"/>
                  <a:pt x="2431323" y="75573"/>
                  <a:pt x="2404665" y="75573"/>
                </a:cubicBezTo>
                <a:cubicBezTo>
                  <a:pt x="2378007" y="75573"/>
                  <a:pt x="2356285" y="53852"/>
                  <a:pt x="2356285" y="27194"/>
                </a:cubicBezTo>
                <a:cubicBezTo>
                  <a:pt x="2356285" y="20529"/>
                  <a:pt x="2357643" y="14174"/>
                  <a:pt x="2360096" y="8388"/>
                </a:cubicBezTo>
                <a:close/>
                <a:moveTo>
                  <a:pt x="2270415" y="0"/>
                </a:moveTo>
                <a:lnTo>
                  <a:pt x="2344913" y="0"/>
                </a:lnTo>
                <a:lnTo>
                  <a:pt x="2342061" y="4237"/>
                </a:lnTo>
                <a:cubicBezTo>
                  <a:pt x="2333267" y="13061"/>
                  <a:pt x="2321110" y="18553"/>
                  <a:pt x="2307657" y="18553"/>
                </a:cubicBezTo>
                <a:cubicBezTo>
                  <a:pt x="2294328" y="18553"/>
                  <a:pt x="2282172" y="13123"/>
                  <a:pt x="2273348" y="4329"/>
                </a:cubicBezTo>
                <a:close/>
                <a:moveTo>
                  <a:pt x="2136168" y="0"/>
                </a:moveTo>
                <a:lnTo>
                  <a:pt x="2221947" y="0"/>
                </a:lnTo>
                <a:lnTo>
                  <a:pt x="2225917" y="5895"/>
                </a:lnTo>
                <a:cubicBezTo>
                  <a:pt x="2228486" y="11981"/>
                  <a:pt x="2229905" y="18677"/>
                  <a:pt x="2229905" y="25711"/>
                </a:cubicBezTo>
                <a:cubicBezTo>
                  <a:pt x="2229905" y="53605"/>
                  <a:pt x="2207196" y="76560"/>
                  <a:pt x="2179056" y="76560"/>
                </a:cubicBezTo>
                <a:cubicBezTo>
                  <a:pt x="2151164" y="76560"/>
                  <a:pt x="2128209" y="53851"/>
                  <a:pt x="2128209" y="25711"/>
                </a:cubicBezTo>
                <a:cubicBezTo>
                  <a:pt x="2128209" y="18677"/>
                  <a:pt x="2129629" y="11981"/>
                  <a:pt x="2132197" y="5895"/>
                </a:cubicBezTo>
                <a:close/>
                <a:moveTo>
                  <a:pt x="2041801" y="0"/>
                </a:moveTo>
                <a:lnTo>
                  <a:pt x="2123168" y="0"/>
                </a:lnTo>
                <a:lnTo>
                  <a:pt x="2119293" y="5746"/>
                </a:lnTo>
                <a:cubicBezTo>
                  <a:pt x="2109883" y="15157"/>
                  <a:pt x="2096862" y="21019"/>
                  <a:pt x="2082546" y="21019"/>
                </a:cubicBezTo>
                <a:cubicBezTo>
                  <a:pt x="2068230" y="21019"/>
                  <a:pt x="2055209" y="15218"/>
                  <a:pt x="2045767" y="5838"/>
                </a:cubicBezTo>
                <a:close/>
                <a:moveTo>
                  <a:pt x="1918044" y="0"/>
                </a:moveTo>
                <a:lnTo>
                  <a:pt x="1984879" y="0"/>
                </a:lnTo>
                <a:lnTo>
                  <a:pt x="1995165" y="24722"/>
                </a:lnTo>
                <a:cubicBezTo>
                  <a:pt x="1995165" y="48912"/>
                  <a:pt x="1975669" y="68410"/>
                  <a:pt x="1951486" y="68410"/>
                </a:cubicBezTo>
                <a:cubicBezTo>
                  <a:pt x="1927543" y="68410"/>
                  <a:pt x="1907799" y="48912"/>
                  <a:pt x="1907799" y="24722"/>
                </a:cubicBezTo>
                <a:close/>
                <a:moveTo>
                  <a:pt x="1798310" y="0"/>
                </a:moveTo>
                <a:lnTo>
                  <a:pt x="1898309" y="0"/>
                </a:lnTo>
                <a:lnTo>
                  <a:pt x="1896072" y="11083"/>
                </a:lnTo>
                <a:cubicBezTo>
                  <a:pt x="1888204" y="29687"/>
                  <a:pt x="1869782" y="42738"/>
                  <a:pt x="1848309" y="42738"/>
                </a:cubicBezTo>
                <a:cubicBezTo>
                  <a:pt x="1826834" y="42738"/>
                  <a:pt x="1808415" y="29687"/>
                  <a:pt x="1800547" y="11083"/>
                </a:cubicBezTo>
                <a:close/>
                <a:moveTo>
                  <a:pt x="1705012" y="0"/>
                </a:moveTo>
                <a:lnTo>
                  <a:pt x="1721543" y="0"/>
                </a:lnTo>
                <a:lnTo>
                  <a:pt x="1747600" y="10802"/>
                </a:lnTo>
                <a:cubicBezTo>
                  <a:pt x="1756425" y="19595"/>
                  <a:pt x="1761917" y="31752"/>
                  <a:pt x="1761917" y="45204"/>
                </a:cubicBezTo>
                <a:cubicBezTo>
                  <a:pt x="1761917" y="72111"/>
                  <a:pt x="1740193" y="93833"/>
                  <a:pt x="1713288" y="93833"/>
                </a:cubicBezTo>
                <a:cubicBezTo>
                  <a:pt x="1686384" y="93833"/>
                  <a:pt x="1664662" y="72111"/>
                  <a:pt x="1664662" y="45204"/>
                </a:cubicBezTo>
                <a:cubicBezTo>
                  <a:pt x="1664662" y="31752"/>
                  <a:pt x="1670093" y="19595"/>
                  <a:pt x="1678886" y="10802"/>
                </a:cubicBezTo>
                <a:close/>
                <a:moveTo>
                  <a:pt x="1359697" y="0"/>
                </a:moveTo>
                <a:lnTo>
                  <a:pt x="1409259" y="0"/>
                </a:lnTo>
                <a:lnTo>
                  <a:pt x="1405206" y="9721"/>
                </a:lnTo>
                <a:cubicBezTo>
                  <a:pt x="1399868" y="15028"/>
                  <a:pt x="1392525" y="18299"/>
                  <a:pt x="1384503" y="18299"/>
                </a:cubicBezTo>
                <a:cubicBezTo>
                  <a:pt x="1376357" y="18299"/>
                  <a:pt x="1369013" y="15028"/>
                  <a:pt x="1363706" y="9721"/>
                </a:cubicBezTo>
                <a:close/>
                <a:moveTo>
                  <a:pt x="1113019" y="0"/>
                </a:moveTo>
                <a:lnTo>
                  <a:pt x="1179210" y="0"/>
                </a:lnTo>
                <a:lnTo>
                  <a:pt x="1173426" y="13636"/>
                </a:lnTo>
                <a:cubicBezTo>
                  <a:pt x="1166360" y="20640"/>
                  <a:pt x="1156672" y="24960"/>
                  <a:pt x="1146057" y="24960"/>
                </a:cubicBezTo>
                <a:cubicBezTo>
                  <a:pt x="1135321" y="24960"/>
                  <a:pt x="1125633" y="20578"/>
                  <a:pt x="1118629" y="13544"/>
                </a:cubicBezTo>
                <a:close/>
                <a:moveTo>
                  <a:pt x="871753" y="0"/>
                </a:moveTo>
                <a:lnTo>
                  <a:pt x="908886" y="0"/>
                </a:lnTo>
                <a:lnTo>
                  <a:pt x="904405" y="10643"/>
                </a:lnTo>
                <a:cubicBezTo>
                  <a:pt x="900764" y="14284"/>
                  <a:pt x="895766" y="16568"/>
                  <a:pt x="890335" y="16568"/>
                </a:cubicBezTo>
                <a:cubicBezTo>
                  <a:pt x="884782" y="16568"/>
                  <a:pt x="879783" y="14347"/>
                  <a:pt x="876174" y="10736"/>
                </a:cubicBezTo>
                <a:close/>
                <a:moveTo>
                  <a:pt x="600663" y="0"/>
                </a:moveTo>
                <a:lnTo>
                  <a:pt x="664150" y="0"/>
                </a:lnTo>
                <a:lnTo>
                  <a:pt x="659947" y="10150"/>
                </a:lnTo>
                <a:cubicBezTo>
                  <a:pt x="652882" y="17185"/>
                  <a:pt x="643132" y="21504"/>
                  <a:pt x="632396" y="21504"/>
                </a:cubicBezTo>
                <a:cubicBezTo>
                  <a:pt x="621658" y="21504"/>
                  <a:pt x="611908" y="17122"/>
                  <a:pt x="604842" y="10057"/>
                </a:cubicBezTo>
                <a:close/>
                <a:moveTo>
                  <a:pt x="421101" y="0"/>
                </a:moveTo>
                <a:lnTo>
                  <a:pt x="489230" y="0"/>
                </a:lnTo>
                <a:lnTo>
                  <a:pt x="494165" y="11879"/>
                </a:lnTo>
                <a:cubicBezTo>
                  <a:pt x="494411" y="33352"/>
                  <a:pt x="476888" y="50878"/>
                  <a:pt x="455167" y="50878"/>
                </a:cubicBezTo>
                <a:cubicBezTo>
                  <a:pt x="433691" y="50878"/>
                  <a:pt x="416166" y="33352"/>
                  <a:pt x="416166" y="11879"/>
                </a:cubicBezTo>
                <a:close/>
                <a:moveTo>
                  <a:pt x="352549" y="0"/>
                </a:moveTo>
                <a:lnTo>
                  <a:pt x="359819" y="0"/>
                </a:lnTo>
                <a:lnTo>
                  <a:pt x="356184" y="1506"/>
                </a:lnTo>
                <a:close/>
                <a:moveTo>
                  <a:pt x="217955" y="0"/>
                </a:moveTo>
                <a:lnTo>
                  <a:pt x="305814" y="0"/>
                </a:lnTo>
                <a:lnTo>
                  <a:pt x="308304" y="3701"/>
                </a:lnTo>
                <a:cubicBezTo>
                  <a:pt x="310845" y="9718"/>
                  <a:pt x="312249" y="16321"/>
                  <a:pt x="312249" y="23232"/>
                </a:cubicBezTo>
                <a:cubicBezTo>
                  <a:pt x="312249" y="50877"/>
                  <a:pt x="289787" y="73586"/>
                  <a:pt x="261895" y="73586"/>
                </a:cubicBezTo>
                <a:cubicBezTo>
                  <a:pt x="234003" y="73586"/>
                  <a:pt x="211540" y="50877"/>
                  <a:pt x="211540" y="23232"/>
                </a:cubicBezTo>
                <a:cubicBezTo>
                  <a:pt x="211540" y="16259"/>
                  <a:pt x="212959" y="9625"/>
                  <a:pt x="215520" y="3597"/>
                </a:cubicBezTo>
                <a:close/>
                <a:moveTo>
                  <a:pt x="32665" y="0"/>
                </a:moveTo>
                <a:lnTo>
                  <a:pt x="67129" y="0"/>
                </a:lnTo>
                <a:lnTo>
                  <a:pt x="68918" y="4266"/>
                </a:lnTo>
                <a:cubicBezTo>
                  <a:pt x="68669" y="14634"/>
                  <a:pt x="60278" y="23271"/>
                  <a:pt x="49910" y="23271"/>
                </a:cubicBezTo>
                <a:cubicBezTo>
                  <a:pt x="39545" y="23271"/>
                  <a:pt x="30905" y="14880"/>
                  <a:pt x="30905" y="4266"/>
                </a:cubicBezTo>
                <a:close/>
              </a:path>
            </a:pathLst>
          </a:custGeom>
          <a:solidFill>
            <a:schemeClr val="tx1">
              <a:alpha val="8000"/>
            </a:schemeClr>
          </a:solidFill>
          <a:ln w="9525" cap="flat">
            <a:noFill/>
            <a:prstDash val="solid"/>
            <a:miter/>
          </a:ln>
        </p:spPr>
        <p:txBody>
          <a:bodyPr wrap="square" rtlCol="0" anchor="ctr">
            <a:noAutofit/>
          </a:bodyPr>
          <a:lstStyle/>
          <a:p>
            <a:endParaRPr lang="en-US" sz="1765"/>
          </a:p>
        </p:txBody>
      </p:sp>
    </p:spTree>
    <p:extLst>
      <p:ext uri="{BB962C8B-B14F-4D97-AF65-F5344CB8AC3E}">
        <p14:creationId xmlns:p14="http://schemas.microsoft.com/office/powerpoint/2010/main" val="42130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271656"/>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529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6854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6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082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rgbClr val="243A5E"/>
        </a:solidFill>
        <a:effectLst/>
      </p:bgPr>
    </p:bg>
    <p:spTree>
      <p:nvGrpSpPr>
        <p:cNvPr id="1" name=""/>
        <p:cNvGrpSpPr/>
        <p:nvPr/>
      </p:nvGrpSpPr>
      <p:grpSpPr>
        <a:xfrm>
          <a:off x="0" y="0"/>
          <a:ext cx="0" cy="0"/>
          <a:chOff x="0" y="0"/>
          <a:chExt cx="0" cy="0"/>
        </a:xfrm>
      </p:grpSpPr>
      <p:pic>
        <p:nvPicPr>
          <p:cNvPr id="6" name="Picture 5" descr="Photo of coworkers on a video call">
            <a:extLst>
              <a:ext uri="{FF2B5EF4-FFF2-40B4-BE49-F238E27FC236}">
                <a16:creationId xmlns:a16="http://schemas.microsoft.com/office/drawing/2014/main" id="{3557BF76-0B3B-BF4B-9523-83483DD85C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95" r="28831"/>
          <a:stretch/>
        </p:blipFill>
        <p:spPr>
          <a:xfrm>
            <a:off x="6115049" y="0"/>
            <a:ext cx="607695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a:extLst>
              <a:ext uri="{FF2B5EF4-FFF2-40B4-BE49-F238E27FC236}">
                <a16:creationId xmlns:a16="http://schemas.microsoft.com/office/drawing/2014/main" id="{84238956-D655-E04F-9B07-6099476CCCE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48455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noAutofit/>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8" name="Content Placeholder 6">
            <a:extLst>
              <a:ext uri="{FF2B5EF4-FFF2-40B4-BE49-F238E27FC236}">
                <a16:creationId xmlns:a16="http://schemas.microsoft.com/office/drawing/2014/main" id="{41373CA6-F3F2-4F62-8708-1994F2214324}"/>
              </a:ext>
            </a:extLst>
          </p:cNvPr>
          <p:cNvSpPr>
            <a:spLocks noGrp="1"/>
          </p:cNvSpPr>
          <p:nvPr>
            <p:ph sz="quarter" idx="10"/>
          </p:nvPr>
        </p:nvSpPr>
        <p:spPr>
          <a:xfrm>
            <a:off x="592356" y="963924"/>
            <a:ext cx="11025187" cy="276999"/>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tx1"/>
                </a:solidFill>
                <a:latin typeface="+mn-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accent1"/>
                </a:solidFill>
                <a:latin typeface="+mn-lt"/>
                <a:ea typeface="+mn-ea"/>
                <a:cs typeface="Segoe UI Semilight" panose="020B04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3046816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55724DA6-565C-8B48-967D-A2E8F2761AD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58076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94431580"/>
      </p:ext>
    </p:extLst>
  </p:cSld>
  <p:clrMapOvr>
    <a:masterClrMapping/>
  </p:clrMapOvr>
  <p:transition>
    <p:fade/>
  </p:transition>
  <p:extLst>
    <p:ext uri="{DCECCB84-F9BA-43D5-87BE-67443E8EF086}">
      <p15:sldGuideLst xmlns:p15="http://schemas.microsoft.com/office/powerpoint/2012/main">
        <p15:guide id="6" pos="347">
          <p15:clr>
            <a:srgbClr val="A4A3A4"/>
          </p15:clr>
        </p15:guide>
        <p15:guide id="28" orient="horz" pos="403">
          <p15:clr>
            <a:srgbClr val="5ACBF0"/>
          </p15:clr>
        </p15:guide>
        <p15:guide id="29" orient="horz" pos="565">
          <p15:clr>
            <a:srgbClr val="5ACBF0"/>
          </p15:clr>
        </p15:guide>
        <p15:guide id="30" orient="horz" pos="12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F8BA3-2F8D-42F9-9FB5-9194C93409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3B9A66-E4C6-4580-8539-846152A5CE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69290C-B737-49F2-89A3-8D892C4EC13E}"/>
              </a:ext>
            </a:extLst>
          </p:cNvPr>
          <p:cNvSpPr>
            <a:spLocks noGrp="1"/>
          </p:cNvSpPr>
          <p:nvPr>
            <p:ph type="dt" sz="half" idx="10"/>
          </p:nvPr>
        </p:nvSpPr>
        <p:spPr/>
        <p:txBody>
          <a:bodyPr/>
          <a:lstStyle/>
          <a:p>
            <a:fld id="{7B38D0FA-FDBB-41D6-A986-37E560A91C1A}" type="datetimeFigureOut">
              <a:rPr lang="en-US" smtClean="0"/>
              <a:t>8/31/2022</a:t>
            </a:fld>
            <a:endParaRPr lang="en-US"/>
          </a:p>
        </p:txBody>
      </p:sp>
      <p:sp>
        <p:nvSpPr>
          <p:cNvPr id="5" name="Footer Placeholder 4">
            <a:extLst>
              <a:ext uri="{FF2B5EF4-FFF2-40B4-BE49-F238E27FC236}">
                <a16:creationId xmlns:a16="http://schemas.microsoft.com/office/drawing/2014/main" id="{C8794322-4805-4F80-B84D-E27F83C263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3C3D4D-2085-4022-8AEF-7661B24C5794}"/>
              </a:ext>
            </a:extLst>
          </p:cNvPr>
          <p:cNvSpPr>
            <a:spLocks noGrp="1"/>
          </p:cNvSpPr>
          <p:nvPr>
            <p:ph type="sldNum" sz="quarter" idx="12"/>
          </p:nvPr>
        </p:nvSpPr>
        <p:spPr/>
        <p:txBody>
          <a:bodyPr/>
          <a:lstStyle/>
          <a:p>
            <a:fld id="{C7B90E78-FEC9-4F38-A084-C89FBF483CA8}" type="slidenum">
              <a:rPr lang="en-US" smtClean="0"/>
              <a:t>‹#›</a:t>
            </a:fld>
            <a:endParaRPr lang="en-US"/>
          </a:p>
        </p:txBody>
      </p:sp>
    </p:spTree>
    <p:extLst>
      <p:ext uri="{BB962C8B-B14F-4D97-AF65-F5344CB8AC3E}">
        <p14:creationId xmlns:p14="http://schemas.microsoft.com/office/powerpoint/2010/main" val="30372283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27876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itle 2">
    <p:bg>
      <p:bgPr>
        <a:solidFill>
          <a:schemeClr val="bg1"/>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Graphic 2">
            <a:extLst>
              <a:ext uri="{FF2B5EF4-FFF2-40B4-BE49-F238E27FC236}">
                <a16:creationId xmlns:a16="http://schemas.microsoft.com/office/drawing/2014/main" id="{07433966-AB1D-6C50-D777-F56C7A76BC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31113" y="1103350"/>
            <a:ext cx="4867200" cy="4867200"/>
          </a:xfrm>
          <a:prstGeom prst="rect">
            <a:avLst/>
          </a:prstGeom>
        </p:spPr>
      </p:pic>
      <p:sp>
        <p:nvSpPr>
          <p:cNvPr id="4" name="Rectangle 3">
            <a:extLst>
              <a:ext uri="{FF2B5EF4-FFF2-40B4-BE49-F238E27FC236}">
                <a16:creationId xmlns:a16="http://schemas.microsoft.com/office/drawing/2014/main" id="{95286F84-AF91-4174-89C4-8D044BF998C5}"/>
              </a:ext>
            </a:extLst>
          </p:cNvPr>
          <p:cNvSpPr/>
          <p:nvPr userDrawn="1"/>
        </p:nvSpPr>
        <p:spPr bwMode="auto">
          <a:xfrm>
            <a:off x="0" y="6611778"/>
            <a:ext cx="12192000" cy="246222"/>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66194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9284"/>
            <a:ext cx="11018520" cy="553998"/>
          </a:xfrm>
        </p:spPr>
        <p:txBody>
          <a:bodyPr/>
          <a:lstStyle/>
          <a:p>
            <a:r>
              <a:rPr lang="en-US"/>
              <a:t>Click to edit Master title style</a:t>
            </a:r>
          </a:p>
        </p:txBody>
      </p:sp>
    </p:spTree>
    <p:extLst>
      <p:ext uri="{BB962C8B-B14F-4D97-AF65-F5344CB8AC3E}">
        <p14:creationId xmlns:p14="http://schemas.microsoft.com/office/powerpoint/2010/main" val="1802720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494434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2000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9350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9391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58906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9173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solidFill>
                  <a:schemeClr val="bg1"/>
                </a:solidFill>
              </a:defRPr>
            </a:lvl1pPr>
          </a:lstStyle>
          <a:p>
            <a:r>
              <a:rPr lang="en-US"/>
              <a:t>quote</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name</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7715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380940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25433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1124906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2286982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18705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1D0E9342-539E-1E49-B252-DEDE7F123A10}"/>
              </a:ext>
            </a:extLst>
          </p:cNvPr>
          <p:cNvSpPr>
            <a:spLocks noGrp="1"/>
          </p:cNvSpPr>
          <p:nvPr>
            <p:ph type="title"/>
          </p:nvPr>
        </p:nvSpPr>
        <p:spPr>
          <a:xfrm>
            <a:off x="588263" y="476986"/>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2"/>
            <a:ext cx="11018520" cy="307777"/>
          </a:xfrm>
        </p:spPr>
        <p:txBody>
          <a:bodyPr wrap="square">
            <a:spAutoFit/>
          </a:bodyPr>
          <a:lstStyle>
            <a:lvl1pPr marL="0" indent="0">
              <a:buNone/>
              <a:defRPr sz="2000"/>
            </a:lvl1pPr>
            <a:lvl2pPr marL="228594" indent="0">
              <a:buNone/>
              <a:defRPr sz="2000"/>
            </a:lvl2pPr>
            <a:lvl3pPr marL="457189" indent="0">
              <a:buNone/>
              <a:defRPr sz="2000"/>
            </a:lvl3pPr>
            <a:lvl4pPr marL="685783" indent="0">
              <a:buNone/>
              <a:defRPr sz="2000"/>
            </a:lvl4pPr>
            <a:lvl5pPr marL="914377" indent="0">
              <a:buNone/>
              <a:defRPr sz="2000"/>
            </a:lvl5pPr>
          </a:lstStyle>
          <a:p>
            <a:pPr lvl="0"/>
            <a:r>
              <a:rPr lang="en-US"/>
              <a:t>Click to edit Master text styles</a:t>
            </a:r>
          </a:p>
        </p:txBody>
      </p:sp>
    </p:spTree>
    <p:extLst>
      <p:ext uri="{BB962C8B-B14F-4D97-AF65-F5344CB8AC3E}">
        <p14:creationId xmlns:p14="http://schemas.microsoft.com/office/powerpoint/2010/main" val="4156560505"/>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9284"/>
            <a:ext cx="11018520" cy="553998"/>
          </a:xfrm>
        </p:spPr>
        <p:txBody>
          <a:bodyPr/>
          <a:lstStyle/>
          <a:p>
            <a:r>
              <a:rPr lang="en-US"/>
              <a:t>Click to edit Master title style</a:t>
            </a:r>
          </a:p>
        </p:txBody>
      </p:sp>
    </p:spTree>
    <p:extLst>
      <p:ext uri="{BB962C8B-B14F-4D97-AF65-F5344CB8AC3E}">
        <p14:creationId xmlns:p14="http://schemas.microsoft.com/office/powerpoint/2010/main" val="2427708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344623-3EB2-4A7B-806E-A4688D4752CD}"/>
              </a:ext>
            </a:extLst>
          </p:cNvPr>
          <p:cNvSpPr/>
          <p:nvPr userDrawn="1"/>
        </p:nvSpPr>
        <p:spPr bwMode="auto">
          <a:xfrm>
            <a:off x="-86062" y="0"/>
            <a:ext cx="3701859"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B42FD1B4-BBB9-1A83-B707-4922D9980D47}"/>
              </a:ext>
            </a:extLst>
          </p:cNvPr>
          <p:cNvSpPr>
            <a:spLocks noGrp="1"/>
          </p:cNvSpPr>
          <p:nvPr>
            <p:ph type="title"/>
          </p:nvPr>
        </p:nvSpPr>
        <p:spPr>
          <a:xfrm>
            <a:off x="588263" y="1432340"/>
            <a:ext cx="11018520" cy="553998"/>
          </a:xfrm>
        </p:spPr>
        <p:txBody>
          <a:bodyPr/>
          <a:lstStyle/>
          <a:p>
            <a:r>
              <a:rPr lang="en-US"/>
              <a:t>Click to edit Master title style</a:t>
            </a:r>
          </a:p>
        </p:txBody>
      </p:sp>
      <p:grpSp>
        <p:nvGrpSpPr>
          <p:cNvPr id="5" name="Group 4">
            <a:extLst>
              <a:ext uri="{FF2B5EF4-FFF2-40B4-BE49-F238E27FC236}">
                <a16:creationId xmlns:a16="http://schemas.microsoft.com/office/drawing/2014/main" id="{45737254-24A5-E101-2731-2EAF960DDBBA}"/>
              </a:ext>
            </a:extLst>
          </p:cNvPr>
          <p:cNvGrpSpPr/>
          <p:nvPr userDrawn="1"/>
        </p:nvGrpSpPr>
        <p:grpSpPr>
          <a:xfrm>
            <a:off x="599251" y="4221271"/>
            <a:ext cx="2233380" cy="3086671"/>
            <a:chOff x="599251" y="4704269"/>
            <a:chExt cx="1883904" cy="2603673"/>
          </a:xfrm>
        </p:grpSpPr>
        <p:grpSp>
          <p:nvGrpSpPr>
            <p:cNvPr id="6" name="Group 5">
              <a:extLst>
                <a:ext uri="{FF2B5EF4-FFF2-40B4-BE49-F238E27FC236}">
                  <a16:creationId xmlns:a16="http://schemas.microsoft.com/office/drawing/2014/main" id="{8DC489E6-FB38-4CE7-4F83-F74F5DD9B1C7}"/>
                </a:ext>
                <a:ext uri="{C183D7F6-B498-43B3-948B-1728B52AA6E4}">
                  <adec:decorative xmlns:adec="http://schemas.microsoft.com/office/drawing/2017/decorative" val="1"/>
                </a:ext>
              </a:extLst>
            </p:cNvPr>
            <p:cNvGrpSpPr/>
            <p:nvPr userDrawn="1"/>
          </p:nvGrpSpPr>
          <p:grpSpPr>
            <a:xfrm>
              <a:off x="1932460" y="5401143"/>
              <a:ext cx="550695" cy="1735789"/>
              <a:chOff x="9579481" y="5660413"/>
              <a:chExt cx="552072" cy="1740131"/>
            </a:xfrm>
          </p:grpSpPr>
          <p:sp>
            <p:nvSpPr>
              <p:cNvPr id="13" name="Rounded Rectangle 27">
                <a:extLst>
                  <a:ext uri="{FF2B5EF4-FFF2-40B4-BE49-F238E27FC236}">
                    <a16:creationId xmlns:a16="http://schemas.microsoft.com/office/drawing/2014/main" id="{57C3057E-5B8B-917F-7A58-55C68FCC16AA}"/>
                  </a:ext>
                </a:extLst>
              </p:cNvPr>
              <p:cNvSpPr/>
              <p:nvPr/>
            </p:nvSpPr>
            <p:spPr bwMode="auto">
              <a:xfrm>
                <a:off x="9579481" y="5660413"/>
                <a:ext cx="552072" cy="1740131"/>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14" name="Oval 13">
                <a:extLst>
                  <a:ext uri="{FF2B5EF4-FFF2-40B4-BE49-F238E27FC236}">
                    <a16:creationId xmlns:a16="http://schemas.microsoft.com/office/drawing/2014/main" id="{615C02E9-FFD2-BD76-06A9-08176747C695}"/>
                  </a:ext>
                </a:extLst>
              </p:cNvPr>
              <p:cNvSpPr/>
              <p:nvPr/>
            </p:nvSpPr>
            <p:spPr bwMode="auto">
              <a:xfrm>
                <a:off x="9646340" y="5734115"/>
                <a:ext cx="418354" cy="4183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6F31303-23E4-97D9-1440-FF467E61FC88}"/>
                </a:ext>
                <a:ext uri="{C183D7F6-B498-43B3-948B-1728B52AA6E4}">
                  <adec:decorative xmlns:adec="http://schemas.microsoft.com/office/drawing/2017/decorative" val="1"/>
                </a:ext>
              </a:extLst>
            </p:cNvPr>
            <p:cNvGrpSpPr/>
            <p:nvPr userDrawn="1"/>
          </p:nvGrpSpPr>
          <p:grpSpPr>
            <a:xfrm>
              <a:off x="1265856" y="4704269"/>
              <a:ext cx="550695" cy="2603673"/>
              <a:chOff x="9579481" y="5660413"/>
              <a:chExt cx="552072" cy="2610186"/>
            </a:xfrm>
          </p:grpSpPr>
          <p:sp>
            <p:nvSpPr>
              <p:cNvPr id="11" name="Rounded Rectangle 30">
                <a:extLst>
                  <a:ext uri="{FF2B5EF4-FFF2-40B4-BE49-F238E27FC236}">
                    <a16:creationId xmlns:a16="http://schemas.microsoft.com/office/drawing/2014/main" id="{F73EE44E-E664-CE70-9251-E33416F46F8D}"/>
                  </a:ext>
                </a:extLst>
              </p:cNvPr>
              <p:cNvSpPr/>
              <p:nvPr/>
            </p:nvSpPr>
            <p:spPr bwMode="auto">
              <a:xfrm>
                <a:off x="9579481" y="5660413"/>
                <a:ext cx="552072" cy="261018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a:ln>
                    <a:noFill/>
                  </a:ln>
                  <a:solidFill>
                    <a:srgbClr val="FFFFFF"/>
                  </a:solidFill>
                  <a:effectLst/>
                  <a:uLnTx/>
                  <a:uFillTx/>
                  <a:latin typeface="Helvetica"/>
                  <a:ea typeface="Segoe UI" pitchFamily="34" charset="0"/>
                  <a:cs typeface="Segoe UI" pitchFamily="34" charset="0"/>
                </a:endParaRPr>
              </a:p>
            </p:txBody>
          </p:sp>
          <p:sp>
            <p:nvSpPr>
              <p:cNvPr id="12" name="Oval 11">
                <a:extLst>
                  <a:ext uri="{FF2B5EF4-FFF2-40B4-BE49-F238E27FC236}">
                    <a16:creationId xmlns:a16="http://schemas.microsoft.com/office/drawing/2014/main" id="{D59727DA-19C0-61E1-4370-64AE30A1A94B}"/>
                  </a:ext>
                </a:extLst>
              </p:cNvPr>
              <p:cNvSpPr/>
              <p:nvPr/>
            </p:nvSpPr>
            <p:spPr bwMode="auto">
              <a:xfrm>
                <a:off x="9646340" y="5734115"/>
                <a:ext cx="418354" cy="41835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1A537CA2-2215-5FD8-D745-A4FF36189202}"/>
                </a:ext>
                <a:ext uri="{C183D7F6-B498-43B3-948B-1728B52AA6E4}">
                  <adec:decorative xmlns:adec="http://schemas.microsoft.com/office/drawing/2017/decorative" val="1"/>
                </a:ext>
              </a:extLst>
            </p:cNvPr>
            <p:cNvGrpSpPr/>
            <p:nvPr userDrawn="1"/>
          </p:nvGrpSpPr>
          <p:grpSpPr>
            <a:xfrm>
              <a:off x="599251" y="5114807"/>
              <a:ext cx="550695" cy="2193131"/>
              <a:chOff x="9579481" y="5660413"/>
              <a:chExt cx="552072" cy="2198618"/>
            </a:xfrm>
          </p:grpSpPr>
          <p:sp>
            <p:nvSpPr>
              <p:cNvPr id="9" name="Rounded Rectangle 34">
                <a:extLst>
                  <a:ext uri="{FF2B5EF4-FFF2-40B4-BE49-F238E27FC236}">
                    <a16:creationId xmlns:a16="http://schemas.microsoft.com/office/drawing/2014/main" id="{7CFD5534-D59A-2A56-60A7-8EC6E86A69F0}"/>
                  </a:ext>
                </a:extLst>
              </p:cNvPr>
              <p:cNvSpPr/>
              <p:nvPr/>
            </p:nvSpPr>
            <p:spPr bwMode="auto">
              <a:xfrm>
                <a:off x="9579481" y="5660413"/>
                <a:ext cx="552072" cy="2198618"/>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10" name="Oval 9">
                <a:extLst>
                  <a:ext uri="{FF2B5EF4-FFF2-40B4-BE49-F238E27FC236}">
                    <a16:creationId xmlns:a16="http://schemas.microsoft.com/office/drawing/2014/main" id="{50924846-DD9D-6D95-F54C-DA5D3E7FC2B4}"/>
                  </a:ext>
                </a:extLst>
              </p:cNvPr>
              <p:cNvSpPr/>
              <p:nvPr/>
            </p:nvSpPr>
            <p:spPr bwMode="auto">
              <a:xfrm>
                <a:off x="9646340" y="5734115"/>
                <a:ext cx="418354" cy="4183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sp>
        <p:nvSpPr>
          <p:cNvPr id="15" name="Rectangle 14">
            <a:extLst>
              <a:ext uri="{FF2B5EF4-FFF2-40B4-BE49-F238E27FC236}">
                <a16:creationId xmlns:a16="http://schemas.microsoft.com/office/drawing/2014/main" id="{F020BCEC-6570-3FF9-0282-ACF7C6986D2A}"/>
              </a:ext>
            </a:extLst>
          </p:cNvPr>
          <p:cNvSpPr/>
          <p:nvPr userDrawn="1"/>
        </p:nvSpPr>
        <p:spPr bwMode="auto">
          <a:xfrm>
            <a:off x="187890" y="6858000"/>
            <a:ext cx="3225235" cy="49472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065489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74426-CC00-9F4B-1E82-861C528050A7}"/>
              </a:ext>
              <a:ext uri="{C183D7F6-B498-43B3-948B-1728B52AA6E4}">
                <adec:decorative xmlns:adec="http://schemas.microsoft.com/office/drawing/2017/decorative" val="1"/>
              </a:ext>
            </a:extLst>
          </p:cNvPr>
          <p:cNvSpPr/>
          <p:nvPr userDrawn="1"/>
        </p:nvSpPr>
        <p:spPr bwMode="auto">
          <a:xfrm>
            <a:off x="0" y="0"/>
            <a:ext cx="5299075"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nvGrpSpPr>
          <p:cNvPr id="13" name="Group 12">
            <a:extLst>
              <a:ext uri="{FF2B5EF4-FFF2-40B4-BE49-F238E27FC236}">
                <a16:creationId xmlns:a16="http://schemas.microsoft.com/office/drawing/2014/main" id="{54BD9981-5971-14C3-7CA7-C814766C07E0}"/>
              </a:ext>
            </a:extLst>
          </p:cNvPr>
          <p:cNvGrpSpPr/>
          <p:nvPr userDrawn="1"/>
        </p:nvGrpSpPr>
        <p:grpSpPr>
          <a:xfrm>
            <a:off x="599251" y="4221271"/>
            <a:ext cx="2233380" cy="3086671"/>
            <a:chOff x="599251" y="4704269"/>
            <a:chExt cx="1883904" cy="2603673"/>
          </a:xfrm>
        </p:grpSpPr>
        <p:grpSp>
          <p:nvGrpSpPr>
            <p:cNvPr id="4" name="Group 3">
              <a:extLst>
                <a:ext uri="{FF2B5EF4-FFF2-40B4-BE49-F238E27FC236}">
                  <a16:creationId xmlns:a16="http://schemas.microsoft.com/office/drawing/2014/main" id="{D8FCCAAD-4D6E-60EE-35DD-41D61DD7969E}"/>
                </a:ext>
                <a:ext uri="{C183D7F6-B498-43B3-948B-1728B52AA6E4}">
                  <adec:decorative xmlns:adec="http://schemas.microsoft.com/office/drawing/2017/decorative" val="1"/>
                </a:ext>
              </a:extLst>
            </p:cNvPr>
            <p:cNvGrpSpPr/>
            <p:nvPr userDrawn="1"/>
          </p:nvGrpSpPr>
          <p:grpSpPr>
            <a:xfrm>
              <a:off x="1932460" y="5401143"/>
              <a:ext cx="550695" cy="1735789"/>
              <a:chOff x="9579481" y="5660413"/>
              <a:chExt cx="552072" cy="1740131"/>
            </a:xfrm>
          </p:grpSpPr>
          <p:sp>
            <p:nvSpPr>
              <p:cNvPr id="5" name="Rounded Rectangle 27">
                <a:extLst>
                  <a:ext uri="{FF2B5EF4-FFF2-40B4-BE49-F238E27FC236}">
                    <a16:creationId xmlns:a16="http://schemas.microsoft.com/office/drawing/2014/main" id="{C685D6E3-3D65-1CF7-BDED-BBB3788B152B}"/>
                  </a:ext>
                </a:extLst>
              </p:cNvPr>
              <p:cNvSpPr/>
              <p:nvPr/>
            </p:nvSpPr>
            <p:spPr bwMode="auto">
              <a:xfrm>
                <a:off x="9579481" y="5660413"/>
                <a:ext cx="552072" cy="1740131"/>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6" name="Oval 5">
                <a:extLst>
                  <a:ext uri="{FF2B5EF4-FFF2-40B4-BE49-F238E27FC236}">
                    <a16:creationId xmlns:a16="http://schemas.microsoft.com/office/drawing/2014/main" id="{8869DEEF-E569-3B14-B3D7-9A05D8BE9C19}"/>
                  </a:ext>
                </a:extLst>
              </p:cNvPr>
              <p:cNvSpPr/>
              <p:nvPr/>
            </p:nvSpPr>
            <p:spPr bwMode="auto">
              <a:xfrm>
                <a:off x="9646340" y="5734115"/>
                <a:ext cx="418354" cy="4183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ABC7649-B087-147C-E51F-4D686958C616}"/>
                </a:ext>
                <a:ext uri="{C183D7F6-B498-43B3-948B-1728B52AA6E4}">
                  <adec:decorative xmlns:adec="http://schemas.microsoft.com/office/drawing/2017/decorative" val="1"/>
                </a:ext>
              </a:extLst>
            </p:cNvPr>
            <p:cNvGrpSpPr/>
            <p:nvPr userDrawn="1"/>
          </p:nvGrpSpPr>
          <p:grpSpPr>
            <a:xfrm>
              <a:off x="1265856" y="4704269"/>
              <a:ext cx="550695" cy="2603673"/>
              <a:chOff x="9579481" y="5660413"/>
              <a:chExt cx="552072" cy="2610186"/>
            </a:xfrm>
          </p:grpSpPr>
          <p:sp>
            <p:nvSpPr>
              <p:cNvPr id="8" name="Rounded Rectangle 30">
                <a:extLst>
                  <a:ext uri="{FF2B5EF4-FFF2-40B4-BE49-F238E27FC236}">
                    <a16:creationId xmlns:a16="http://schemas.microsoft.com/office/drawing/2014/main" id="{F25908E7-DB4D-7F3F-42C9-F2EF519959B9}"/>
                  </a:ext>
                </a:extLst>
              </p:cNvPr>
              <p:cNvSpPr/>
              <p:nvPr/>
            </p:nvSpPr>
            <p:spPr bwMode="auto">
              <a:xfrm>
                <a:off x="9579481" y="5660413"/>
                <a:ext cx="552072" cy="261018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a:ln>
                    <a:noFill/>
                  </a:ln>
                  <a:solidFill>
                    <a:srgbClr val="FFFFFF"/>
                  </a:solidFill>
                  <a:effectLst/>
                  <a:uLnTx/>
                  <a:uFillTx/>
                  <a:latin typeface="Helvetica"/>
                  <a:ea typeface="Segoe UI" pitchFamily="34" charset="0"/>
                  <a:cs typeface="Segoe UI" pitchFamily="34" charset="0"/>
                </a:endParaRPr>
              </a:p>
            </p:txBody>
          </p:sp>
          <p:sp>
            <p:nvSpPr>
              <p:cNvPr id="9" name="Oval 8">
                <a:extLst>
                  <a:ext uri="{FF2B5EF4-FFF2-40B4-BE49-F238E27FC236}">
                    <a16:creationId xmlns:a16="http://schemas.microsoft.com/office/drawing/2014/main" id="{81A06828-7337-3EBF-3174-ADDC7C4F0F98}"/>
                  </a:ext>
                </a:extLst>
              </p:cNvPr>
              <p:cNvSpPr/>
              <p:nvPr/>
            </p:nvSpPr>
            <p:spPr bwMode="auto">
              <a:xfrm>
                <a:off x="9646340" y="5734115"/>
                <a:ext cx="418354" cy="41835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36334ED1-C6A5-59B3-0C4D-A93A33E138F1}"/>
                </a:ext>
                <a:ext uri="{C183D7F6-B498-43B3-948B-1728B52AA6E4}">
                  <adec:decorative xmlns:adec="http://schemas.microsoft.com/office/drawing/2017/decorative" val="1"/>
                </a:ext>
              </a:extLst>
            </p:cNvPr>
            <p:cNvGrpSpPr/>
            <p:nvPr userDrawn="1"/>
          </p:nvGrpSpPr>
          <p:grpSpPr>
            <a:xfrm>
              <a:off x="599251" y="5114807"/>
              <a:ext cx="550695" cy="2193131"/>
              <a:chOff x="9579481" y="5660413"/>
              <a:chExt cx="552072" cy="2198618"/>
            </a:xfrm>
          </p:grpSpPr>
          <p:sp>
            <p:nvSpPr>
              <p:cNvPr id="11" name="Rounded Rectangle 34">
                <a:extLst>
                  <a:ext uri="{FF2B5EF4-FFF2-40B4-BE49-F238E27FC236}">
                    <a16:creationId xmlns:a16="http://schemas.microsoft.com/office/drawing/2014/main" id="{C73C59BB-6B03-570D-58A7-3D6B5D2BAE27}"/>
                  </a:ext>
                </a:extLst>
              </p:cNvPr>
              <p:cNvSpPr/>
              <p:nvPr/>
            </p:nvSpPr>
            <p:spPr bwMode="auto">
              <a:xfrm>
                <a:off x="9579481" y="5660413"/>
                <a:ext cx="552072" cy="2198618"/>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12" name="Oval 11">
                <a:extLst>
                  <a:ext uri="{FF2B5EF4-FFF2-40B4-BE49-F238E27FC236}">
                    <a16:creationId xmlns:a16="http://schemas.microsoft.com/office/drawing/2014/main" id="{C25DC23C-9D87-4525-E2B9-9277FFB717CB}"/>
                  </a:ext>
                </a:extLst>
              </p:cNvPr>
              <p:cNvSpPr/>
              <p:nvPr/>
            </p:nvSpPr>
            <p:spPr bwMode="auto">
              <a:xfrm>
                <a:off x="9646340" y="5734115"/>
                <a:ext cx="418354" cy="4183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432340"/>
            <a:ext cx="11018520" cy="553998"/>
          </a:xfrm>
        </p:spPr>
        <p:txBody>
          <a:bodyPr/>
          <a:lstStyle/>
          <a:p>
            <a:r>
              <a:rPr lang="en-US"/>
              <a:t>Click to edit Master title style</a:t>
            </a:r>
          </a:p>
        </p:txBody>
      </p:sp>
      <p:sp>
        <p:nvSpPr>
          <p:cNvPr id="14" name="Rectangle 13">
            <a:extLst>
              <a:ext uri="{FF2B5EF4-FFF2-40B4-BE49-F238E27FC236}">
                <a16:creationId xmlns:a16="http://schemas.microsoft.com/office/drawing/2014/main" id="{E93C265E-2BDD-31E2-E860-E084B2B64104}"/>
              </a:ext>
            </a:extLst>
          </p:cNvPr>
          <p:cNvSpPr/>
          <p:nvPr userDrawn="1"/>
        </p:nvSpPr>
        <p:spPr bwMode="auto">
          <a:xfrm>
            <a:off x="187890" y="6858000"/>
            <a:ext cx="3225235" cy="49472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088765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74426-CC00-9F4B-1E82-861C528050A7}"/>
              </a:ext>
              <a:ext uri="{C183D7F6-B498-43B3-948B-1728B52AA6E4}">
                <adec:decorative xmlns:adec="http://schemas.microsoft.com/office/drawing/2017/decorative" val="1"/>
              </a:ext>
            </a:extLst>
          </p:cNvPr>
          <p:cNvSpPr/>
          <p:nvPr userDrawn="1"/>
        </p:nvSpPr>
        <p:spPr bwMode="auto">
          <a:xfrm>
            <a:off x="0" y="0"/>
            <a:ext cx="5299075"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432340"/>
            <a:ext cx="11018520" cy="553998"/>
          </a:xfrm>
        </p:spPr>
        <p:txBody>
          <a:bodyPr/>
          <a:lstStyle/>
          <a:p>
            <a:r>
              <a:rPr lang="en-US"/>
              <a:t>Click to edit Master title style</a:t>
            </a:r>
          </a:p>
        </p:txBody>
      </p:sp>
      <p:sp>
        <p:nvSpPr>
          <p:cNvPr id="14" name="Rectangle 13">
            <a:extLst>
              <a:ext uri="{FF2B5EF4-FFF2-40B4-BE49-F238E27FC236}">
                <a16:creationId xmlns:a16="http://schemas.microsoft.com/office/drawing/2014/main" id="{E93C265E-2BDD-31E2-E860-E084B2B64104}"/>
              </a:ext>
            </a:extLst>
          </p:cNvPr>
          <p:cNvSpPr/>
          <p:nvPr userDrawn="1"/>
        </p:nvSpPr>
        <p:spPr bwMode="auto">
          <a:xfrm>
            <a:off x="187890" y="6858000"/>
            <a:ext cx="3225235" cy="49472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FDFA05D9-C57F-8FEC-D066-DA32E5D242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7650" y="2202320"/>
            <a:ext cx="5138831" cy="6340526"/>
          </a:xfrm>
          <a:prstGeom prst="rect">
            <a:avLst/>
          </a:prstGeom>
        </p:spPr>
      </p:pic>
    </p:spTree>
    <p:extLst>
      <p:ext uri="{BB962C8B-B14F-4D97-AF65-F5344CB8AC3E}">
        <p14:creationId xmlns:p14="http://schemas.microsoft.com/office/powerpoint/2010/main" val="10561630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5"/>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657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8761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656332057"/>
      </p:ext>
    </p:extLst>
  </p:cSld>
  <p:clrMapOvr>
    <a:masterClrMapping/>
  </p:clrMapOvr>
  <p:transition>
    <p:fade/>
  </p:transition>
  <p:extLst>
    <p:ext uri="{DCECCB84-F9BA-43D5-87BE-67443E8EF086}">
      <p15:sldGuideLst xmlns:p15="http://schemas.microsoft.com/office/powerpoint/2012/main">
        <p15:guide id="6" pos="347">
          <p15:clr>
            <a:srgbClr val="A4A3A4"/>
          </p15:clr>
        </p15:guide>
        <p15:guide id="28" orient="horz" pos="403">
          <p15:clr>
            <a:srgbClr val="5ACBF0"/>
          </p15:clr>
        </p15:guide>
        <p15:guide id="29" orient="horz" pos="565">
          <p15:clr>
            <a:srgbClr val="5ACBF0"/>
          </p15:clr>
        </p15:guide>
        <p15:guide id="30" orient="horz" pos="12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42999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216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49663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719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71128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7311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660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0369432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88780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98672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59526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20465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99404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23320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048271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62186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592096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46803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1330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04639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7360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93135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88310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91094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8383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73052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19705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46602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24391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4417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6895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159427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33930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2630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930165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8796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56501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68065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6576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3011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72250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3194178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243755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1600495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62122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2219684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878306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21929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715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0556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385251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9601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422521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045826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4654701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53228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3"/>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016"/>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5"/>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38923454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516569"/>
          </a:xfrm>
        </p:spPr>
        <p:txBody>
          <a:bodyPr wrap="square" lIns="0" tIns="0" rIns="0" bIns="0">
            <a:spAutoFit/>
          </a:bodyPr>
          <a:lstStyle>
            <a:lvl1pPr marL="0" indent="0">
              <a:lnSpc>
                <a:spcPct val="100000"/>
              </a:lnSpc>
              <a:spcBef>
                <a:spcPts val="1961"/>
              </a:spcBef>
              <a:spcAft>
                <a:spcPts val="0"/>
              </a:spcAft>
              <a:buNone/>
              <a:defRPr sz="2600" b="0" i="0">
                <a:solidFill>
                  <a:srgbClr val="000000"/>
                </a:solidFill>
                <a:latin typeface="+mn-lt"/>
              </a:defRPr>
            </a:lvl1pPr>
            <a:lvl2pPr marL="224097" indent="0">
              <a:lnSpc>
                <a:spcPct val="100000"/>
              </a:lnSpc>
              <a:spcBef>
                <a:spcPts val="1961"/>
              </a:spcBef>
              <a:spcAft>
                <a:spcPts val="0"/>
              </a:spcAft>
              <a:buNone/>
              <a:defRPr sz="2000">
                <a:solidFill>
                  <a:srgbClr val="000000"/>
                </a:solidFill>
              </a:defRPr>
            </a:lvl2pPr>
            <a:lvl3pPr marL="448193" indent="0">
              <a:lnSpc>
                <a:spcPct val="100000"/>
              </a:lnSpc>
              <a:spcBef>
                <a:spcPts val="1961"/>
              </a:spcBef>
              <a:spcAft>
                <a:spcPts val="0"/>
              </a:spcAft>
              <a:buNone/>
              <a:defRPr sz="20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304133782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8252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7844990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1430881463"/>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84176103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173100959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icrosoft 36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hasCustomPrompt="1"/>
          </p:nvPr>
        </p:nvSpPr>
        <p:spPr>
          <a:xfrm>
            <a:off x="3268758" y="3460224"/>
            <a:ext cx="8643841" cy="830262"/>
          </a:xfrm>
          <a:prstGeom prst="rect">
            <a:avLst/>
          </a:prstGeom>
        </p:spPr>
        <p:txBody>
          <a:bodyPr lIns="0" tIns="0" rIns="0" bIns="0" anchor="b" anchorCtr="0">
            <a:noAutofit/>
          </a:bodyPr>
          <a:lstStyle>
            <a:lvl1pPr marL="0" indent="0">
              <a:lnSpc>
                <a:spcPct val="100000"/>
              </a:lnSpc>
              <a:buNone/>
              <a:defRPr sz="1800" b="0" i="0">
                <a:solidFill>
                  <a:schemeClr val="tx1"/>
                </a:solidFill>
                <a:latin typeface="+mn-lt"/>
                <a:cs typeface="Segoe UI" panose="020B0502040204020203" pitchFamily="34" charset="0"/>
              </a:defRPr>
            </a:lvl1pPr>
          </a:lstStyle>
          <a:p>
            <a:pPr lvl="0"/>
            <a:r>
              <a:rPr lang="en-US"/>
              <a:t>Click to add quote</a:t>
            </a:r>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hasCustomPrompt="1"/>
          </p:nvPr>
        </p:nvSpPr>
        <p:spPr>
          <a:xfrm>
            <a:off x="3268757" y="5193186"/>
            <a:ext cx="2515818" cy="1414956"/>
          </a:xfrm>
          <a:prstGeom prst="rect">
            <a:avLst/>
          </a:prstGeom>
        </p:spPr>
        <p:txBody>
          <a:bodyPr lIns="0" tIns="0" rIns="0" bIns="0">
            <a:noAutofit/>
          </a:bodyPr>
          <a:lstStyle>
            <a:lvl1pPr marL="0" indent="0">
              <a:lnSpc>
                <a:spcPct val="100000"/>
              </a:lnSpc>
              <a:spcBef>
                <a:spcPts val="1000"/>
              </a:spcBef>
              <a:buNone/>
              <a:defRPr sz="1100" b="0" i="0">
                <a:solidFill>
                  <a:schemeClr val="tx1"/>
                </a:solidFill>
                <a:latin typeface="+mn-lt"/>
                <a:cs typeface="Segoe UI Semilight" panose="020B0402040204020203" pitchFamily="34" charset="0"/>
              </a:defRPr>
            </a:lvl1pPr>
          </a:lstStyle>
          <a:p>
            <a:pPr lvl="0"/>
            <a:r>
              <a:rPr lang="en-US"/>
              <a:t>Click to add situation</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hasCustomPrompt="1"/>
          </p:nvPr>
        </p:nvSpPr>
        <p:spPr>
          <a:xfrm>
            <a:off x="3268757" y="4423180"/>
            <a:ext cx="8643841" cy="158979"/>
          </a:xfrm>
          <a:prstGeom prst="rect">
            <a:avLst/>
          </a:prstGeom>
        </p:spPr>
        <p:txBody>
          <a:bodyPr lIns="0" tIns="0" rIns="0" bIns="0">
            <a:noAutofit/>
          </a:bodyPr>
          <a:lstStyle>
            <a:lvl1pPr marL="0" indent="0">
              <a:buNone/>
              <a:defRPr sz="1000" b="0" i="0">
                <a:solidFill>
                  <a:schemeClr val="tx1"/>
                </a:solidFill>
                <a:latin typeface="+mn-lt"/>
                <a:cs typeface="Segoe UI Semilight" panose="020B0402040204020203" pitchFamily="34" charset="0"/>
              </a:defRPr>
            </a:lvl1pPr>
          </a:lstStyle>
          <a:p>
            <a:pPr lvl="0"/>
            <a:r>
              <a:rPr lang="en-US"/>
              <a:t>Click to add attribute</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310297" y="313371"/>
            <a:ext cx="2286000" cy="1210629"/>
          </a:xfrm>
          <a:prstGeom prst="rect">
            <a:avLst/>
          </a:prstGeom>
        </p:spPr>
        <p:txBody>
          <a:bodyPr/>
          <a:lstStyle>
            <a:lvl1pPr marL="0" indent="0" algn="ctr">
              <a:buNone/>
              <a:defRPr sz="2000" b="0">
                <a:latin typeface="Segoe UI" panose="020B0502040204020203" pitchFamily="34" charset="0"/>
                <a:cs typeface="Segoe UI" panose="020B0502040204020203" pitchFamily="34" charset="0"/>
              </a:defRPr>
            </a:lvl1pPr>
          </a:lstStyle>
          <a:p>
            <a:r>
              <a:rPr lang="en-US"/>
              <a:t>Customer 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079560" y="0"/>
            <a:ext cx="9116567" cy="3292475"/>
          </a:xfrm>
          <a:prstGeom prst="rect">
            <a:avLst/>
          </a:prstGeom>
        </p:spPr>
        <p:txBody>
          <a:bodyPr tIns="457200" anchor="t"/>
          <a:lstStyle>
            <a:lvl1pPr marL="0" indent="0" algn="ctr">
              <a:buNone/>
              <a:defRPr sz="2000" b="0">
                <a:latin typeface="Segoe UI" panose="020B0502040204020203" pitchFamily="34" charset="0"/>
                <a:cs typeface="Segoe UI" panose="020B0502040204020203" pitchFamily="34" charset="0"/>
              </a:defRPr>
            </a:lvl1pPr>
          </a:lstStyle>
          <a:p>
            <a:r>
              <a:rPr lang="en-US"/>
              <a:t>Horizontal banner image</a:t>
            </a:r>
          </a:p>
        </p:txBody>
      </p:sp>
      <p:sp>
        <p:nvSpPr>
          <p:cNvPr id="20" name="Text Placeholder 44">
            <a:extLst>
              <a:ext uri="{FF2B5EF4-FFF2-40B4-BE49-F238E27FC236}">
                <a16:creationId xmlns:a16="http://schemas.microsoft.com/office/drawing/2014/main" id="{EB01BB71-B42A-DF45-A55E-767B724A166F}"/>
              </a:ext>
            </a:extLst>
          </p:cNvPr>
          <p:cNvSpPr>
            <a:spLocks noGrp="1"/>
          </p:cNvSpPr>
          <p:nvPr>
            <p:ph type="body" sz="quarter" idx="25" hasCustomPrompt="1"/>
          </p:nvPr>
        </p:nvSpPr>
        <p:spPr>
          <a:xfrm>
            <a:off x="310297" y="5825560"/>
            <a:ext cx="2286000" cy="270440"/>
          </a:xfrm>
          <a:prstGeom prst="rect">
            <a:avLst/>
          </a:prstGeom>
        </p:spPr>
        <p:txBody>
          <a:bodyPr lIns="0" tIns="0" rIns="0" bIns="0" anchor="b" anchorCtr="0"/>
          <a:lstStyle>
            <a:lvl1pPr marL="0" indent="0">
              <a:lnSpc>
                <a:spcPct val="100000"/>
              </a:lnSpc>
              <a:buFont typeface="Arial" panose="020B0604020202020204" pitchFamily="34" charset="0"/>
              <a:buNone/>
              <a:defRPr sz="1300" b="1" i="0" u="sng" cap="all" baseline="0">
                <a:solidFill>
                  <a:srgbClr val="0078D4"/>
                </a:solidFill>
                <a:latin typeface="+mn-lt"/>
                <a:cs typeface="Segoe UI" panose="020B0502040204020203" pitchFamily="34" charset="0"/>
              </a:defRPr>
            </a:lvl1pPr>
            <a:lvl2pPr marL="457200">
              <a:spcBef>
                <a:spcPts val="400"/>
              </a:spcBef>
              <a:buFont typeface="Arial" panose="020B0604020202020204" pitchFamily="34" charset="0"/>
              <a:buChar char="•"/>
              <a:defRPr sz="1000" b="1" i="0">
                <a:solidFill>
                  <a:srgbClr val="0078D4"/>
                </a:solidFill>
                <a:latin typeface="Segoe UI" panose="020B0502040204020203" pitchFamily="34" charset="0"/>
                <a:cs typeface="Segoe UI" panose="020B0502040204020203" pitchFamily="34" charset="0"/>
              </a:defRPr>
            </a:lvl2pPr>
          </a:lstStyle>
          <a:p>
            <a:pPr lvl="0"/>
            <a:r>
              <a:rPr lang="en-US"/>
              <a:t>CTA to customer story</a:t>
            </a:r>
          </a:p>
        </p:txBody>
      </p:sp>
      <p:sp>
        <p:nvSpPr>
          <p:cNvPr id="4" name="Text Placeholder 3">
            <a:extLst>
              <a:ext uri="{FF2B5EF4-FFF2-40B4-BE49-F238E27FC236}">
                <a16:creationId xmlns:a16="http://schemas.microsoft.com/office/drawing/2014/main" id="{917E1FFB-C70E-0745-B9D7-06CEACB4CE66}"/>
              </a:ext>
            </a:extLst>
          </p:cNvPr>
          <p:cNvSpPr>
            <a:spLocks noGrp="1"/>
          </p:cNvSpPr>
          <p:nvPr>
            <p:ph type="body" sz="quarter" idx="26"/>
          </p:nvPr>
        </p:nvSpPr>
        <p:spPr>
          <a:xfrm>
            <a:off x="309562" y="1701800"/>
            <a:ext cx="2372445" cy="4013200"/>
          </a:xfrm>
        </p:spPr>
        <p:txBody>
          <a:bodyPr anchor="b">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8F8FD9B9-601D-CF45-8B7F-327B3AFDD1C5}"/>
              </a:ext>
            </a:extLst>
          </p:cNvPr>
          <p:cNvSpPr txBox="1"/>
          <p:nvPr userDrawn="1"/>
        </p:nvSpPr>
        <p:spPr>
          <a:xfrm>
            <a:off x="3268758"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ituation:</a:t>
            </a:r>
            <a:endParaRPr lang="en-US" sz="1400">
              <a:solidFill>
                <a:schemeClr val="tx1"/>
              </a:solidFill>
            </a:endParaRPr>
          </a:p>
        </p:txBody>
      </p:sp>
      <p:sp>
        <p:nvSpPr>
          <p:cNvPr id="12" name="TextBox 11">
            <a:extLst>
              <a:ext uri="{FF2B5EF4-FFF2-40B4-BE49-F238E27FC236}">
                <a16:creationId xmlns:a16="http://schemas.microsoft.com/office/drawing/2014/main" id="{65D8FD4E-7829-B047-ABEB-28AA5BDC3F73}"/>
              </a:ext>
            </a:extLst>
          </p:cNvPr>
          <p:cNvSpPr txBox="1"/>
          <p:nvPr userDrawn="1"/>
        </p:nvSpPr>
        <p:spPr>
          <a:xfrm>
            <a:off x="6327759"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olution:</a:t>
            </a:r>
            <a:endParaRPr lang="en-US" sz="1400">
              <a:solidFill>
                <a:schemeClr val="tx1"/>
              </a:solidFill>
            </a:endParaRPr>
          </a:p>
        </p:txBody>
      </p:sp>
      <p:sp>
        <p:nvSpPr>
          <p:cNvPr id="13" name="TextBox 12">
            <a:extLst>
              <a:ext uri="{FF2B5EF4-FFF2-40B4-BE49-F238E27FC236}">
                <a16:creationId xmlns:a16="http://schemas.microsoft.com/office/drawing/2014/main" id="{74372333-573F-DD4E-AC09-3E29FA6303B6}"/>
              </a:ext>
            </a:extLst>
          </p:cNvPr>
          <p:cNvSpPr txBox="1"/>
          <p:nvPr userDrawn="1"/>
        </p:nvSpPr>
        <p:spPr>
          <a:xfrm>
            <a:off x="9379802"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Impact:</a:t>
            </a:r>
            <a:endParaRPr lang="en-US" sz="1400">
              <a:solidFill>
                <a:schemeClr val="tx1"/>
              </a:solidFill>
            </a:endParaRPr>
          </a:p>
        </p:txBody>
      </p:sp>
      <p:sp>
        <p:nvSpPr>
          <p:cNvPr id="6" name="Text Placeholder 5">
            <a:extLst>
              <a:ext uri="{FF2B5EF4-FFF2-40B4-BE49-F238E27FC236}">
                <a16:creationId xmlns:a16="http://schemas.microsoft.com/office/drawing/2014/main" id="{95044A2F-0FEE-6040-A0E1-A54AE0ED02C1}"/>
              </a:ext>
            </a:extLst>
          </p:cNvPr>
          <p:cNvSpPr>
            <a:spLocks noGrp="1"/>
          </p:cNvSpPr>
          <p:nvPr>
            <p:ph type="body" sz="quarter" idx="27" hasCustomPrompt="1"/>
          </p:nvPr>
        </p:nvSpPr>
        <p:spPr>
          <a:xfrm>
            <a:off x="6334717" y="5192763"/>
            <a:ext cx="2501900" cy="1410253"/>
          </a:xfrm>
        </p:spPr>
        <p:txBody>
          <a:bodyPr lIns="0" tIns="0" rIns="0" bIns="0">
            <a:noAutofit/>
          </a:bodyPr>
          <a:lstStyle>
            <a:lvl1pPr>
              <a:lnSpc>
                <a:spcPct val="100000"/>
              </a:lnSpc>
              <a:spcBef>
                <a:spcPts val="1000"/>
              </a:spcBef>
              <a:defRPr sz="1100" b="0"/>
            </a:lvl1pPr>
            <a:lvl2pPr>
              <a:defRPr sz="1300"/>
            </a:lvl2pPr>
            <a:lvl3pPr>
              <a:defRPr sz="1300"/>
            </a:lvl3pPr>
            <a:lvl4pPr>
              <a:defRPr sz="1300"/>
            </a:lvl4pPr>
            <a:lvl5pPr>
              <a:defRPr sz="1300"/>
            </a:lvl5pPr>
          </a:lstStyle>
          <a:p>
            <a:pPr lvl="0"/>
            <a:r>
              <a:rPr lang="en-US"/>
              <a:t>Click to add solution</a:t>
            </a:r>
          </a:p>
        </p:txBody>
      </p:sp>
      <p:sp>
        <p:nvSpPr>
          <p:cNvPr id="8" name="Text Placeholder 7">
            <a:extLst>
              <a:ext uri="{FF2B5EF4-FFF2-40B4-BE49-F238E27FC236}">
                <a16:creationId xmlns:a16="http://schemas.microsoft.com/office/drawing/2014/main" id="{813691F5-9761-D143-9450-E404D7FF3C61}"/>
              </a:ext>
            </a:extLst>
          </p:cNvPr>
          <p:cNvSpPr>
            <a:spLocks noGrp="1"/>
          </p:cNvSpPr>
          <p:nvPr>
            <p:ph type="body" sz="quarter" idx="28" hasCustomPrompt="1"/>
          </p:nvPr>
        </p:nvSpPr>
        <p:spPr>
          <a:xfrm>
            <a:off x="9379802" y="5191458"/>
            <a:ext cx="2501901" cy="1395684"/>
          </a:xfrm>
        </p:spPr>
        <p:txBody>
          <a:bodyPr lIns="0" tIns="0" rIns="0" bIns="0">
            <a:noAutofit/>
          </a:bodyPr>
          <a:lstStyle>
            <a:lvl1pPr>
              <a:lnSpc>
                <a:spcPct val="100000"/>
              </a:lnSpc>
              <a:spcBef>
                <a:spcPts val="1000"/>
              </a:spcBef>
              <a:defRPr sz="1100" b="0"/>
            </a:lvl1pPr>
          </a:lstStyle>
          <a:p>
            <a:pPr lvl="0"/>
            <a:r>
              <a:rPr lang="en-US"/>
              <a:t>Click to add impact</a:t>
            </a:r>
          </a:p>
        </p:txBody>
      </p:sp>
      <p:sp>
        <p:nvSpPr>
          <p:cNvPr id="2" name="Rectangle 1">
            <a:extLst>
              <a:ext uri="{FF2B5EF4-FFF2-40B4-BE49-F238E27FC236}">
                <a16:creationId xmlns:a16="http://schemas.microsoft.com/office/drawing/2014/main" id="{1D48B4EF-5E0F-492E-99E6-BD40129B5E00}"/>
              </a:ext>
            </a:extLst>
          </p:cNvPr>
          <p:cNvSpPr/>
          <p:nvPr userDrawn="1"/>
        </p:nvSpPr>
        <p:spPr>
          <a:xfrm>
            <a:off x="2960688" y="0"/>
            <a:ext cx="118872"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117C6B9A-2DB8-4CCA-9E82-23F70EF8BC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Tree>
    <p:extLst>
      <p:ext uri="{BB962C8B-B14F-4D97-AF65-F5344CB8AC3E}">
        <p14:creationId xmlns:p14="http://schemas.microsoft.com/office/powerpoint/2010/main" val="54333775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icrosoft Team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hasCustomPrompt="1"/>
          </p:nvPr>
        </p:nvSpPr>
        <p:spPr>
          <a:xfrm>
            <a:off x="3268758" y="3460224"/>
            <a:ext cx="8643841" cy="830262"/>
          </a:xfrm>
          <a:prstGeom prst="rect">
            <a:avLst/>
          </a:prstGeom>
        </p:spPr>
        <p:txBody>
          <a:bodyPr lIns="0" tIns="0" rIns="0" bIns="0" anchor="b" anchorCtr="0"/>
          <a:lstStyle>
            <a:lvl1pPr marL="0" indent="0">
              <a:lnSpc>
                <a:spcPct val="100000"/>
              </a:lnSpc>
              <a:buNone/>
              <a:defRPr sz="1800" b="0" i="0">
                <a:solidFill>
                  <a:schemeClr val="tx1"/>
                </a:solidFill>
                <a:latin typeface="+mn-lt"/>
                <a:cs typeface="Segoe UI" panose="020B0502040204020203" pitchFamily="34" charset="0"/>
              </a:defRPr>
            </a:lvl1pPr>
          </a:lstStyle>
          <a:p>
            <a:pPr lvl="0"/>
            <a:r>
              <a:rPr lang="en-US"/>
              <a:t>Click to add quote</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hasCustomPrompt="1"/>
          </p:nvPr>
        </p:nvSpPr>
        <p:spPr>
          <a:xfrm>
            <a:off x="3268757" y="4423180"/>
            <a:ext cx="8643841" cy="158979"/>
          </a:xfrm>
          <a:prstGeom prst="rect">
            <a:avLst/>
          </a:prstGeom>
        </p:spPr>
        <p:txBody>
          <a:bodyPr lIns="0" tIns="0" rIns="0" bIns="0"/>
          <a:lstStyle>
            <a:lvl1pPr marL="0" indent="0">
              <a:buNone/>
              <a:defRPr sz="1000" b="0" i="0">
                <a:solidFill>
                  <a:schemeClr val="tx1"/>
                </a:solidFill>
                <a:latin typeface="+mn-lt"/>
                <a:cs typeface="Segoe UI Semilight" panose="020B0402040204020203" pitchFamily="34" charset="0"/>
              </a:defRPr>
            </a:lvl1pPr>
          </a:lstStyle>
          <a:p>
            <a:pPr lvl="0"/>
            <a:r>
              <a:rPr lang="en-US"/>
              <a:t>Click to add attribute</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310297" y="313371"/>
            <a:ext cx="2286000" cy="1210629"/>
          </a:xfrm>
          <a:prstGeom prst="rect">
            <a:avLst/>
          </a:prstGeom>
        </p:spPr>
        <p:txBody>
          <a:bodyPr/>
          <a:lstStyle>
            <a:lvl1pPr marL="0" indent="0" algn="ctr">
              <a:buNone/>
              <a:defRPr sz="2000" b="0">
                <a:latin typeface="Segoe UI" panose="020B0502040204020203" pitchFamily="34" charset="0"/>
                <a:cs typeface="Segoe UI" panose="020B0502040204020203" pitchFamily="34" charset="0"/>
              </a:defRPr>
            </a:lvl1pPr>
          </a:lstStyle>
          <a:p>
            <a:r>
              <a:rPr lang="en-US"/>
              <a:t>Customer 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079560" y="0"/>
            <a:ext cx="9116567" cy="3292475"/>
          </a:xfrm>
          <a:prstGeom prst="rect">
            <a:avLst/>
          </a:prstGeom>
        </p:spPr>
        <p:txBody>
          <a:bodyPr tIns="457200" anchor="t"/>
          <a:lstStyle>
            <a:lvl1pPr marL="0" indent="0" algn="ctr">
              <a:buNone/>
              <a:defRPr sz="2000" b="0">
                <a:latin typeface="Segoe UI" panose="020B0502040204020203" pitchFamily="34" charset="0"/>
                <a:cs typeface="Segoe UI" panose="020B0502040204020203" pitchFamily="34" charset="0"/>
              </a:defRPr>
            </a:lvl1pPr>
          </a:lstStyle>
          <a:p>
            <a:r>
              <a:rPr lang="en-US"/>
              <a:t>Horizontal banner image</a:t>
            </a:r>
          </a:p>
        </p:txBody>
      </p:sp>
      <p:sp>
        <p:nvSpPr>
          <p:cNvPr id="20" name="Text Placeholder 44">
            <a:extLst>
              <a:ext uri="{FF2B5EF4-FFF2-40B4-BE49-F238E27FC236}">
                <a16:creationId xmlns:a16="http://schemas.microsoft.com/office/drawing/2014/main" id="{EB01BB71-B42A-DF45-A55E-767B724A166F}"/>
              </a:ext>
            </a:extLst>
          </p:cNvPr>
          <p:cNvSpPr>
            <a:spLocks noGrp="1"/>
          </p:cNvSpPr>
          <p:nvPr>
            <p:ph type="body" sz="quarter" idx="25" hasCustomPrompt="1"/>
          </p:nvPr>
        </p:nvSpPr>
        <p:spPr>
          <a:xfrm>
            <a:off x="310297" y="5825560"/>
            <a:ext cx="2286000" cy="270440"/>
          </a:xfrm>
          <a:prstGeom prst="rect">
            <a:avLst/>
          </a:prstGeom>
        </p:spPr>
        <p:txBody>
          <a:bodyPr lIns="0" tIns="0" rIns="0" bIns="0" anchor="b" anchorCtr="0"/>
          <a:lstStyle>
            <a:lvl1pPr marL="0" indent="0">
              <a:lnSpc>
                <a:spcPct val="100000"/>
              </a:lnSpc>
              <a:buFont typeface="Arial" panose="020B0604020202020204" pitchFamily="34" charset="0"/>
              <a:buNone/>
              <a:defRPr sz="1300" b="1" i="0" u="sng" cap="all" baseline="0">
                <a:solidFill>
                  <a:srgbClr val="0078D4"/>
                </a:solidFill>
                <a:latin typeface="+mn-lt"/>
                <a:cs typeface="Segoe UI" panose="020B0502040204020203" pitchFamily="34" charset="0"/>
              </a:defRPr>
            </a:lvl1pPr>
            <a:lvl2pPr marL="457200">
              <a:spcBef>
                <a:spcPts val="400"/>
              </a:spcBef>
              <a:buFont typeface="Arial" panose="020B0604020202020204" pitchFamily="34" charset="0"/>
              <a:buChar char="•"/>
              <a:defRPr sz="1000" b="1" i="0">
                <a:solidFill>
                  <a:srgbClr val="0078D4"/>
                </a:solidFill>
                <a:latin typeface="Segoe UI" panose="020B0502040204020203" pitchFamily="34" charset="0"/>
                <a:cs typeface="Segoe UI" panose="020B0502040204020203" pitchFamily="34" charset="0"/>
              </a:defRPr>
            </a:lvl2pPr>
          </a:lstStyle>
          <a:p>
            <a:pPr lvl="0"/>
            <a:r>
              <a:rPr lang="en-US"/>
              <a:t>CTA to customer story</a:t>
            </a:r>
          </a:p>
        </p:txBody>
      </p:sp>
      <p:sp>
        <p:nvSpPr>
          <p:cNvPr id="4" name="Text Placeholder 3">
            <a:extLst>
              <a:ext uri="{FF2B5EF4-FFF2-40B4-BE49-F238E27FC236}">
                <a16:creationId xmlns:a16="http://schemas.microsoft.com/office/drawing/2014/main" id="{917E1FFB-C70E-0745-B9D7-06CEACB4CE66}"/>
              </a:ext>
            </a:extLst>
          </p:cNvPr>
          <p:cNvSpPr>
            <a:spLocks noGrp="1"/>
          </p:cNvSpPr>
          <p:nvPr>
            <p:ph type="body" sz="quarter" idx="26"/>
          </p:nvPr>
        </p:nvSpPr>
        <p:spPr>
          <a:xfrm>
            <a:off x="309562" y="1701800"/>
            <a:ext cx="2372445" cy="4013200"/>
          </a:xfrm>
        </p:spPr>
        <p:txBody>
          <a:bodyPr anchor="b"/>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A27DB80B-9C5E-6A43-B723-DC862BC74F7D}"/>
              </a:ext>
            </a:extLst>
          </p:cNvPr>
          <p:cNvPicPr>
            <a:picLocks noChangeAspect="1"/>
          </p:cNvPicPr>
          <p:nvPr userDrawn="1"/>
        </p:nvPicPr>
        <p:blipFill rotWithShape="1">
          <a:blip r:embed="rId2"/>
          <a:srcRect l="19640" t="20555" r="20093" b="20295"/>
          <a:stretch/>
        </p:blipFill>
        <p:spPr>
          <a:xfrm>
            <a:off x="1166648" y="6180083"/>
            <a:ext cx="567560" cy="557048"/>
          </a:xfrm>
          <a:prstGeom prst="rect">
            <a:avLst/>
          </a:prstGeom>
        </p:spPr>
      </p:pic>
      <p:sp>
        <p:nvSpPr>
          <p:cNvPr id="31" name="Text Placeholder 28">
            <a:extLst>
              <a:ext uri="{FF2B5EF4-FFF2-40B4-BE49-F238E27FC236}">
                <a16:creationId xmlns:a16="http://schemas.microsoft.com/office/drawing/2014/main" id="{5211775D-21B4-414F-9CED-D20F2D9A504B}"/>
              </a:ext>
            </a:extLst>
          </p:cNvPr>
          <p:cNvSpPr>
            <a:spLocks noGrp="1"/>
          </p:cNvSpPr>
          <p:nvPr>
            <p:ph type="body" sz="quarter" idx="12" hasCustomPrompt="1"/>
          </p:nvPr>
        </p:nvSpPr>
        <p:spPr>
          <a:xfrm>
            <a:off x="3268757" y="5193186"/>
            <a:ext cx="2515818" cy="1414956"/>
          </a:xfrm>
          <a:prstGeom prst="rect">
            <a:avLst/>
          </a:prstGeom>
        </p:spPr>
        <p:txBody>
          <a:bodyPr lIns="0" tIns="0" rIns="0" bIns="0">
            <a:noAutofit/>
          </a:bodyPr>
          <a:lstStyle>
            <a:lvl1pPr marL="0" indent="0">
              <a:lnSpc>
                <a:spcPct val="100000"/>
              </a:lnSpc>
              <a:spcBef>
                <a:spcPts val="1000"/>
              </a:spcBef>
              <a:buNone/>
              <a:defRPr sz="1100" b="0" i="0">
                <a:solidFill>
                  <a:schemeClr val="tx1"/>
                </a:solidFill>
                <a:latin typeface="+mn-lt"/>
                <a:cs typeface="Segoe UI Semilight" panose="020B0402040204020203" pitchFamily="34" charset="0"/>
              </a:defRPr>
            </a:lvl1pPr>
          </a:lstStyle>
          <a:p>
            <a:pPr lvl="0"/>
            <a:r>
              <a:rPr lang="en-US"/>
              <a:t>Click to add situation</a:t>
            </a:r>
          </a:p>
        </p:txBody>
      </p:sp>
      <p:sp>
        <p:nvSpPr>
          <p:cNvPr id="32" name="TextBox 31">
            <a:extLst>
              <a:ext uri="{FF2B5EF4-FFF2-40B4-BE49-F238E27FC236}">
                <a16:creationId xmlns:a16="http://schemas.microsoft.com/office/drawing/2014/main" id="{550306CD-EEF4-974C-B95E-548500A2BCD4}"/>
              </a:ext>
            </a:extLst>
          </p:cNvPr>
          <p:cNvSpPr txBox="1"/>
          <p:nvPr userDrawn="1"/>
        </p:nvSpPr>
        <p:spPr>
          <a:xfrm>
            <a:off x="3268758"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ituation:</a:t>
            </a:r>
            <a:endParaRPr lang="en-US" sz="1400">
              <a:solidFill>
                <a:schemeClr val="tx1"/>
              </a:solidFill>
            </a:endParaRPr>
          </a:p>
        </p:txBody>
      </p:sp>
      <p:sp>
        <p:nvSpPr>
          <p:cNvPr id="33" name="TextBox 32">
            <a:extLst>
              <a:ext uri="{FF2B5EF4-FFF2-40B4-BE49-F238E27FC236}">
                <a16:creationId xmlns:a16="http://schemas.microsoft.com/office/drawing/2014/main" id="{7D12E4DC-D874-5641-B672-FC40140CE837}"/>
              </a:ext>
            </a:extLst>
          </p:cNvPr>
          <p:cNvSpPr txBox="1"/>
          <p:nvPr userDrawn="1"/>
        </p:nvSpPr>
        <p:spPr>
          <a:xfrm>
            <a:off x="6327759"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olution:</a:t>
            </a:r>
            <a:endParaRPr lang="en-US" sz="1400">
              <a:solidFill>
                <a:schemeClr val="tx1"/>
              </a:solidFill>
            </a:endParaRPr>
          </a:p>
        </p:txBody>
      </p:sp>
      <p:sp>
        <p:nvSpPr>
          <p:cNvPr id="34" name="TextBox 33">
            <a:extLst>
              <a:ext uri="{FF2B5EF4-FFF2-40B4-BE49-F238E27FC236}">
                <a16:creationId xmlns:a16="http://schemas.microsoft.com/office/drawing/2014/main" id="{BCFAA161-2837-FB4A-99E7-2BB7A2F57441}"/>
              </a:ext>
            </a:extLst>
          </p:cNvPr>
          <p:cNvSpPr txBox="1"/>
          <p:nvPr userDrawn="1"/>
        </p:nvSpPr>
        <p:spPr>
          <a:xfrm>
            <a:off x="9379802"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Impact:</a:t>
            </a:r>
            <a:endParaRPr lang="en-US" sz="1400">
              <a:solidFill>
                <a:schemeClr val="tx1"/>
              </a:solidFill>
            </a:endParaRPr>
          </a:p>
        </p:txBody>
      </p:sp>
      <p:sp>
        <p:nvSpPr>
          <p:cNvPr id="35" name="Text Placeholder 5">
            <a:extLst>
              <a:ext uri="{FF2B5EF4-FFF2-40B4-BE49-F238E27FC236}">
                <a16:creationId xmlns:a16="http://schemas.microsoft.com/office/drawing/2014/main" id="{E6E2927A-E441-8C4F-B1C0-6C7D5EBF2F5F}"/>
              </a:ext>
            </a:extLst>
          </p:cNvPr>
          <p:cNvSpPr>
            <a:spLocks noGrp="1"/>
          </p:cNvSpPr>
          <p:nvPr>
            <p:ph type="body" sz="quarter" idx="27" hasCustomPrompt="1"/>
          </p:nvPr>
        </p:nvSpPr>
        <p:spPr>
          <a:xfrm>
            <a:off x="6334717" y="5192763"/>
            <a:ext cx="2501900" cy="1410253"/>
          </a:xfrm>
        </p:spPr>
        <p:txBody>
          <a:bodyPr lIns="0" tIns="0" rIns="0" bIns="0">
            <a:noAutofit/>
          </a:bodyPr>
          <a:lstStyle>
            <a:lvl1pPr>
              <a:lnSpc>
                <a:spcPct val="100000"/>
              </a:lnSpc>
              <a:spcBef>
                <a:spcPts val="1000"/>
              </a:spcBef>
              <a:defRPr sz="1100" b="0"/>
            </a:lvl1pPr>
            <a:lvl2pPr>
              <a:defRPr sz="1300"/>
            </a:lvl2pPr>
            <a:lvl3pPr>
              <a:defRPr sz="1300"/>
            </a:lvl3pPr>
            <a:lvl4pPr>
              <a:defRPr sz="1300"/>
            </a:lvl4pPr>
            <a:lvl5pPr>
              <a:defRPr sz="1300"/>
            </a:lvl5pPr>
          </a:lstStyle>
          <a:p>
            <a:pPr lvl="0"/>
            <a:r>
              <a:rPr lang="en-US"/>
              <a:t>Click to add solution</a:t>
            </a:r>
          </a:p>
        </p:txBody>
      </p:sp>
      <p:sp>
        <p:nvSpPr>
          <p:cNvPr id="36" name="Text Placeholder 7">
            <a:extLst>
              <a:ext uri="{FF2B5EF4-FFF2-40B4-BE49-F238E27FC236}">
                <a16:creationId xmlns:a16="http://schemas.microsoft.com/office/drawing/2014/main" id="{2AF95DBF-906F-6B40-A697-9BC136E7F33E}"/>
              </a:ext>
            </a:extLst>
          </p:cNvPr>
          <p:cNvSpPr>
            <a:spLocks noGrp="1"/>
          </p:cNvSpPr>
          <p:nvPr>
            <p:ph type="body" sz="quarter" idx="28" hasCustomPrompt="1"/>
          </p:nvPr>
        </p:nvSpPr>
        <p:spPr>
          <a:xfrm>
            <a:off x="9379802" y="5191458"/>
            <a:ext cx="2501901" cy="1395684"/>
          </a:xfrm>
        </p:spPr>
        <p:txBody>
          <a:bodyPr lIns="0" tIns="0" rIns="0" bIns="0">
            <a:noAutofit/>
          </a:bodyPr>
          <a:lstStyle>
            <a:lvl1pPr>
              <a:lnSpc>
                <a:spcPct val="100000"/>
              </a:lnSpc>
              <a:spcBef>
                <a:spcPts val="1000"/>
              </a:spcBef>
              <a:defRPr sz="1100" b="0"/>
            </a:lvl1pPr>
          </a:lstStyle>
          <a:p>
            <a:pPr lvl="0"/>
            <a:r>
              <a:rPr lang="en-US"/>
              <a:t>Click to add impact</a:t>
            </a:r>
          </a:p>
        </p:txBody>
      </p:sp>
      <p:sp>
        <p:nvSpPr>
          <p:cNvPr id="2" name="Rectangle 1">
            <a:extLst>
              <a:ext uri="{FF2B5EF4-FFF2-40B4-BE49-F238E27FC236}">
                <a16:creationId xmlns:a16="http://schemas.microsoft.com/office/drawing/2014/main" id="{7BE407B8-46EE-4CF4-B717-F984DE804449}"/>
              </a:ext>
            </a:extLst>
          </p:cNvPr>
          <p:cNvSpPr/>
          <p:nvPr userDrawn="1"/>
        </p:nvSpPr>
        <p:spPr>
          <a:xfrm>
            <a:off x="2960688" y="0"/>
            <a:ext cx="118872" cy="6858000"/>
          </a:xfrm>
          <a:prstGeom prst="rect">
            <a:avLst/>
          </a:prstGeom>
          <a:solidFill>
            <a:srgbClr val="6264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4968109"/>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76761078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715184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8937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37271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9927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92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7777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5445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77890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612506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520160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38737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2174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1811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15" name="Table Placeholder 14">
            <a:extLst>
              <a:ext uri="{FF2B5EF4-FFF2-40B4-BE49-F238E27FC236}">
                <a16:creationId xmlns:a16="http://schemas.microsoft.com/office/drawing/2014/main" id="{6A88BFD2-8BE7-614A-8111-0D88A1027ED5}"/>
              </a:ext>
            </a:extLst>
          </p:cNvPr>
          <p:cNvSpPr>
            <a:spLocks noGrp="1"/>
          </p:cNvSpPr>
          <p:nvPr>
            <p:ph type="tbl" sz="quarter" idx="10"/>
          </p:nvPr>
        </p:nvSpPr>
        <p:spPr>
          <a:xfrm>
            <a:off x="588963" y="1239368"/>
            <a:ext cx="11268075" cy="4572000"/>
          </a:xfrm>
        </p:spPr>
        <p:txBody>
          <a:bodyPr/>
          <a:lstStyle/>
          <a:p>
            <a:endParaRPr lang="en-US"/>
          </a:p>
        </p:txBody>
      </p:sp>
    </p:spTree>
    <p:extLst>
      <p:ext uri="{BB962C8B-B14F-4D97-AF65-F5344CB8AC3E}">
        <p14:creationId xmlns:p14="http://schemas.microsoft.com/office/powerpoint/2010/main" val="6451507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1433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2745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6072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6988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38120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2291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69426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30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36153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94244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127378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51075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43570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0699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66983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98912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979811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892240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235705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51659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822358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19779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63161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90000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08738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7148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13239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96245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04163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48572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94018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682620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987059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0422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043940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582170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9192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88613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866655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07274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584932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835275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49970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60248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59712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36377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5704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01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89009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064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1287795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614981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3265575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296507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07061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156996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382875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749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00561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4292187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6764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06608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983920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1786468"/>
            <a:ext cx="9230589" cy="2829034"/>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1"/>
            <a:ext cx="9235440" cy="1786467"/>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3" name="Content Placeholder 2">
            <a:extLst>
              <a:ext uri="{FF2B5EF4-FFF2-40B4-BE49-F238E27FC236}">
                <a16:creationId xmlns:a16="http://schemas.microsoft.com/office/drawing/2014/main" id="{295B60F9-A211-D54D-957B-D3C09013A995}"/>
              </a:ext>
            </a:extLst>
          </p:cNvPr>
          <p:cNvSpPr>
            <a:spLocks noGrp="1"/>
          </p:cNvSpPr>
          <p:nvPr>
            <p:ph sz="quarter" idx="25"/>
          </p:nvPr>
        </p:nvSpPr>
        <p:spPr>
          <a:xfrm>
            <a:off x="4694238" y="3597275"/>
            <a:ext cx="914400" cy="91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01182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Tree>
    <p:extLst>
      <p:ext uri="{BB962C8B-B14F-4D97-AF65-F5344CB8AC3E}">
        <p14:creationId xmlns:p14="http://schemas.microsoft.com/office/powerpoint/2010/main" val="2290349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28747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7130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5547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843960464"/>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Microsoft 36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hasCustomPrompt="1"/>
          </p:nvPr>
        </p:nvSpPr>
        <p:spPr>
          <a:xfrm>
            <a:off x="3268758" y="3460224"/>
            <a:ext cx="8643841" cy="830262"/>
          </a:xfrm>
          <a:prstGeom prst="rect">
            <a:avLst/>
          </a:prstGeom>
        </p:spPr>
        <p:txBody>
          <a:bodyPr lIns="0" tIns="0" rIns="0" bIns="0" anchor="b" anchorCtr="0">
            <a:noAutofit/>
          </a:bodyPr>
          <a:lstStyle>
            <a:lvl1pPr marL="0" indent="0">
              <a:lnSpc>
                <a:spcPct val="100000"/>
              </a:lnSpc>
              <a:buNone/>
              <a:defRPr sz="1800" b="0" i="0">
                <a:solidFill>
                  <a:schemeClr val="tx1"/>
                </a:solidFill>
                <a:latin typeface="+mn-lt"/>
                <a:cs typeface="Segoe UI" panose="020B0502040204020203" pitchFamily="34" charset="0"/>
              </a:defRPr>
            </a:lvl1pPr>
          </a:lstStyle>
          <a:p>
            <a:pPr lvl="0"/>
            <a:r>
              <a:rPr lang="en-US"/>
              <a:t>Click to add quote</a:t>
            </a:r>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hasCustomPrompt="1"/>
          </p:nvPr>
        </p:nvSpPr>
        <p:spPr>
          <a:xfrm>
            <a:off x="3268757" y="5193186"/>
            <a:ext cx="2515818" cy="1414956"/>
          </a:xfrm>
          <a:prstGeom prst="rect">
            <a:avLst/>
          </a:prstGeom>
        </p:spPr>
        <p:txBody>
          <a:bodyPr lIns="0" tIns="0" rIns="0" bIns="0">
            <a:noAutofit/>
          </a:bodyPr>
          <a:lstStyle>
            <a:lvl1pPr marL="0" indent="0">
              <a:lnSpc>
                <a:spcPct val="100000"/>
              </a:lnSpc>
              <a:spcBef>
                <a:spcPts val="1000"/>
              </a:spcBef>
              <a:buNone/>
              <a:defRPr sz="1100" b="0" i="0">
                <a:solidFill>
                  <a:schemeClr val="tx1"/>
                </a:solidFill>
                <a:latin typeface="+mn-lt"/>
                <a:cs typeface="Segoe UI Semilight" panose="020B0402040204020203" pitchFamily="34" charset="0"/>
              </a:defRPr>
            </a:lvl1pPr>
          </a:lstStyle>
          <a:p>
            <a:pPr lvl="0"/>
            <a:r>
              <a:rPr lang="en-US"/>
              <a:t>Click to add situation</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hasCustomPrompt="1"/>
          </p:nvPr>
        </p:nvSpPr>
        <p:spPr>
          <a:xfrm>
            <a:off x="3268757" y="4423180"/>
            <a:ext cx="8643841" cy="158979"/>
          </a:xfrm>
          <a:prstGeom prst="rect">
            <a:avLst/>
          </a:prstGeom>
        </p:spPr>
        <p:txBody>
          <a:bodyPr lIns="0" tIns="0" rIns="0" bIns="0">
            <a:noAutofit/>
          </a:bodyPr>
          <a:lstStyle>
            <a:lvl1pPr marL="0" indent="0">
              <a:buNone/>
              <a:defRPr sz="1000" b="0" i="0">
                <a:solidFill>
                  <a:schemeClr val="tx1"/>
                </a:solidFill>
                <a:latin typeface="+mn-lt"/>
                <a:cs typeface="Segoe UI Semilight" panose="020B0402040204020203" pitchFamily="34" charset="0"/>
              </a:defRPr>
            </a:lvl1pPr>
          </a:lstStyle>
          <a:p>
            <a:pPr lvl="0"/>
            <a:r>
              <a:rPr lang="en-US"/>
              <a:t>Click to add attribute</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310297" y="313371"/>
            <a:ext cx="2286000" cy="1210629"/>
          </a:xfrm>
          <a:prstGeom prst="rect">
            <a:avLst/>
          </a:prstGeom>
        </p:spPr>
        <p:txBody>
          <a:bodyPr/>
          <a:lstStyle>
            <a:lvl1pPr marL="0" indent="0" algn="ctr">
              <a:buNone/>
              <a:defRPr sz="2000" b="0">
                <a:latin typeface="Segoe UI" panose="020B0502040204020203" pitchFamily="34" charset="0"/>
                <a:cs typeface="Segoe UI" panose="020B0502040204020203" pitchFamily="34" charset="0"/>
              </a:defRPr>
            </a:lvl1pPr>
          </a:lstStyle>
          <a:p>
            <a:r>
              <a:rPr lang="en-US"/>
              <a:t>Customer 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079560" y="0"/>
            <a:ext cx="9116567" cy="3292475"/>
          </a:xfrm>
          <a:prstGeom prst="rect">
            <a:avLst/>
          </a:prstGeom>
        </p:spPr>
        <p:txBody>
          <a:bodyPr tIns="457200" anchor="t"/>
          <a:lstStyle>
            <a:lvl1pPr marL="0" indent="0" algn="ctr">
              <a:buNone/>
              <a:defRPr sz="2000" b="0">
                <a:latin typeface="Segoe UI" panose="020B0502040204020203" pitchFamily="34" charset="0"/>
                <a:cs typeface="Segoe UI" panose="020B0502040204020203" pitchFamily="34" charset="0"/>
              </a:defRPr>
            </a:lvl1pPr>
          </a:lstStyle>
          <a:p>
            <a:r>
              <a:rPr lang="en-US"/>
              <a:t>Horizontal banner image</a:t>
            </a:r>
          </a:p>
        </p:txBody>
      </p:sp>
      <p:pic>
        <p:nvPicPr>
          <p:cNvPr id="3" name="Picture 2">
            <a:extLst>
              <a:ext uri="{FF2B5EF4-FFF2-40B4-BE49-F238E27FC236}">
                <a16:creationId xmlns:a16="http://schemas.microsoft.com/office/drawing/2014/main" id="{335CE0F1-A724-AC45-B21E-01507FEF95D5}"/>
              </a:ext>
            </a:extLst>
          </p:cNvPr>
          <p:cNvPicPr>
            <a:picLocks noChangeAspect="1"/>
          </p:cNvPicPr>
          <p:nvPr userDrawn="1"/>
        </p:nvPicPr>
        <p:blipFill rotWithShape="1">
          <a:blip r:embed="rId2"/>
          <a:srcRect l="10270" t="27134" r="8898" b="28452"/>
          <a:stretch/>
        </p:blipFill>
        <p:spPr>
          <a:xfrm>
            <a:off x="310297" y="6281172"/>
            <a:ext cx="1745482" cy="351277"/>
          </a:xfrm>
          <a:prstGeom prst="rect">
            <a:avLst/>
          </a:prstGeom>
        </p:spPr>
      </p:pic>
      <p:sp>
        <p:nvSpPr>
          <p:cNvPr id="20" name="Text Placeholder 44">
            <a:extLst>
              <a:ext uri="{FF2B5EF4-FFF2-40B4-BE49-F238E27FC236}">
                <a16:creationId xmlns:a16="http://schemas.microsoft.com/office/drawing/2014/main" id="{EB01BB71-B42A-DF45-A55E-767B724A166F}"/>
              </a:ext>
            </a:extLst>
          </p:cNvPr>
          <p:cNvSpPr>
            <a:spLocks noGrp="1"/>
          </p:cNvSpPr>
          <p:nvPr>
            <p:ph type="body" sz="quarter" idx="25" hasCustomPrompt="1"/>
          </p:nvPr>
        </p:nvSpPr>
        <p:spPr>
          <a:xfrm>
            <a:off x="310297" y="5825560"/>
            <a:ext cx="2286000" cy="270440"/>
          </a:xfrm>
          <a:prstGeom prst="rect">
            <a:avLst/>
          </a:prstGeom>
        </p:spPr>
        <p:txBody>
          <a:bodyPr lIns="0" tIns="0" rIns="0" bIns="0" anchor="b" anchorCtr="0"/>
          <a:lstStyle>
            <a:lvl1pPr marL="0" indent="0">
              <a:lnSpc>
                <a:spcPct val="100000"/>
              </a:lnSpc>
              <a:buFont typeface="Arial" panose="020B0604020202020204" pitchFamily="34" charset="0"/>
              <a:buNone/>
              <a:defRPr sz="1300" b="1" i="0" u="sng" cap="all" baseline="0">
                <a:solidFill>
                  <a:srgbClr val="0078D4"/>
                </a:solidFill>
                <a:latin typeface="+mn-lt"/>
                <a:cs typeface="Segoe UI" panose="020B0502040204020203" pitchFamily="34" charset="0"/>
              </a:defRPr>
            </a:lvl1pPr>
            <a:lvl2pPr marL="457200">
              <a:spcBef>
                <a:spcPts val="400"/>
              </a:spcBef>
              <a:buFont typeface="Arial" panose="020B0604020202020204" pitchFamily="34" charset="0"/>
              <a:buChar char="•"/>
              <a:defRPr sz="1000" b="1" i="0">
                <a:solidFill>
                  <a:srgbClr val="0078D4"/>
                </a:solidFill>
                <a:latin typeface="Segoe UI" panose="020B0502040204020203" pitchFamily="34" charset="0"/>
                <a:cs typeface="Segoe UI" panose="020B0502040204020203" pitchFamily="34" charset="0"/>
              </a:defRPr>
            </a:lvl2pPr>
          </a:lstStyle>
          <a:p>
            <a:pPr lvl="0"/>
            <a:r>
              <a:rPr lang="en-US"/>
              <a:t>CTA to customer story</a:t>
            </a:r>
          </a:p>
        </p:txBody>
      </p:sp>
      <p:sp>
        <p:nvSpPr>
          <p:cNvPr id="4" name="Text Placeholder 3">
            <a:extLst>
              <a:ext uri="{FF2B5EF4-FFF2-40B4-BE49-F238E27FC236}">
                <a16:creationId xmlns:a16="http://schemas.microsoft.com/office/drawing/2014/main" id="{917E1FFB-C70E-0745-B9D7-06CEACB4CE66}"/>
              </a:ext>
            </a:extLst>
          </p:cNvPr>
          <p:cNvSpPr>
            <a:spLocks noGrp="1"/>
          </p:cNvSpPr>
          <p:nvPr>
            <p:ph type="body" sz="quarter" idx="26"/>
          </p:nvPr>
        </p:nvSpPr>
        <p:spPr>
          <a:xfrm>
            <a:off x="309562" y="1701800"/>
            <a:ext cx="2372445" cy="4013200"/>
          </a:xfrm>
        </p:spPr>
        <p:txBody>
          <a:bodyPr anchor="b">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8F8FD9B9-601D-CF45-8B7F-327B3AFDD1C5}"/>
              </a:ext>
            </a:extLst>
          </p:cNvPr>
          <p:cNvSpPr txBox="1"/>
          <p:nvPr userDrawn="1"/>
        </p:nvSpPr>
        <p:spPr>
          <a:xfrm>
            <a:off x="3268758"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ituation:</a:t>
            </a:r>
            <a:endParaRPr lang="en-US" sz="1400">
              <a:solidFill>
                <a:schemeClr val="tx1"/>
              </a:solidFill>
            </a:endParaRPr>
          </a:p>
        </p:txBody>
      </p:sp>
      <p:sp>
        <p:nvSpPr>
          <p:cNvPr id="12" name="TextBox 11">
            <a:extLst>
              <a:ext uri="{FF2B5EF4-FFF2-40B4-BE49-F238E27FC236}">
                <a16:creationId xmlns:a16="http://schemas.microsoft.com/office/drawing/2014/main" id="{65D8FD4E-7829-B047-ABEB-28AA5BDC3F73}"/>
              </a:ext>
            </a:extLst>
          </p:cNvPr>
          <p:cNvSpPr txBox="1"/>
          <p:nvPr userDrawn="1"/>
        </p:nvSpPr>
        <p:spPr>
          <a:xfrm>
            <a:off x="6327759"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olution:</a:t>
            </a:r>
            <a:endParaRPr lang="en-US" sz="1400">
              <a:solidFill>
                <a:schemeClr val="tx1"/>
              </a:solidFill>
            </a:endParaRPr>
          </a:p>
        </p:txBody>
      </p:sp>
      <p:sp>
        <p:nvSpPr>
          <p:cNvPr id="13" name="TextBox 12">
            <a:extLst>
              <a:ext uri="{FF2B5EF4-FFF2-40B4-BE49-F238E27FC236}">
                <a16:creationId xmlns:a16="http://schemas.microsoft.com/office/drawing/2014/main" id="{74372333-573F-DD4E-AC09-3E29FA6303B6}"/>
              </a:ext>
            </a:extLst>
          </p:cNvPr>
          <p:cNvSpPr txBox="1"/>
          <p:nvPr userDrawn="1"/>
        </p:nvSpPr>
        <p:spPr>
          <a:xfrm>
            <a:off x="9379802"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Impact:</a:t>
            </a:r>
            <a:endParaRPr lang="en-US" sz="1400">
              <a:solidFill>
                <a:schemeClr val="tx1"/>
              </a:solidFill>
            </a:endParaRPr>
          </a:p>
        </p:txBody>
      </p:sp>
      <p:sp>
        <p:nvSpPr>
          <p:cNvPr id="6" name="Text Placeholder 5">
            <a:extLst>
              <a:ext uri="{FF2B5EF4-FFF2-40B4-BE49-F238E27FC236}">
                <a16:creationId xmlns:a16="http://schemas.microsoft.com/office/drawing/2014/main" id="{95044A2F-0FEE-6040-A0E1-A54AE0ED02C1}"/>
              </a:ext>
            </a:extLst>
          </p:cNvPr>
          <p:cNvSpPr>
            <a:spLocks noGrp="1"/>
          </p:cNvSpPr>
          <p:nvPr>
            <p:ph type="body" sz="quarter" idx="27" hasCustomPrompt="1"/>
          </p:nvPr>
        </p:nvSpPr>
        <p:spPr>
          <a:xfrm>
            <a:off x="6334717" y="5192763"/>
            <a:ext cx="2501900" cy="1410253"/>
          </a:xfrm>
        </p:spPr>
        <p:txBody>
          <a:bodyPr lIns="0" tIns="0" rIns="0" bIns="0">
            <a:noAutofit/>
          </a:bodyPr>
          <a:lstStyle>
            <a:lvl1pPr>
              <a:lnSpc>
                <a:spcPct val="100000"/>
              </a:lnSpc>
              <a:spcBef>
                <a:spcPts val="1000"/>
              </a:spcBef>
              <a:defRPr sz="1100" b="0"/>
            </a:lvl1pPr>
            <a:lvl2pPr>
              <a:defRPr sz="1300"/>
            </a:lvl2pPr>
            <a:lvl3pPr>
              <a:defRPr sz="1300"/>
            </a:lvl3pPr>
            <a:lvl4pPr>
              <a:defRPr sz="1300"/>
            </a:lvl4pPr>
            <a:lvl5pPr>
              <a:defRPr sz="1300"/>
            </a:lvl5pPr>
          </a:lstStyle>
          <a:p>
            <a:pPr lvl="0"/>
            <a:r>
              <a:rPr lang="en-US"/>
              <a:t>Click to add solution</a:t>
            </a:r>
          </a:p>
        </p:txBody>
      </p:sp>
      <p:sp>
        <p:nvSpPr>
          <p:cNvPr id="8" name="Text Placeholder 7">
            <a:extLst>
              <a:ext uri="{FF2B5EF4-FFF2-40B4-BE49-F238E27FC236}">
                <a16:creationId xmlns:a16="http://schemas.microsoft.com/office/drawing/2014/main" id="{813691F5-9761-D143-9450-E404D7FF3C61}"/>
              </a:ext>
            </a:extLst>
          </p:cNvPr>
          <p:cNvSpPr>
            <a:spLocks noGrp="1"/>
          </p:cNvSpPr>
          <p:nvPr>
            <p:ph type="body" sz="quarter" idx="28" hasCustomPrompt="1"/>
          </p:nvPr>
        </p:nvSpPr>
        <p:spPr>
          <a:xfrm>
            <a:off x="9379802" y="5191458"/>
            <a:ext cx="2501901" cy="1395684"/>
          </a:xfrm>
        </p:spPr>
        <p:txBody>
          <a:bodyPr lIns="0" tIns="0" rIns="0" bIns="0">
            <a:noAutofit/>
          </a:bodyPr>
          <a:lstStyle>
            <a:lvl1pPr>
              <a:lnSpc>
                <a:spcPct val="100000"/>
              </a:lnSpc>
              <a:spcBef>
                <a:spcPts val="1000"/>
              </a:spcBef>
              <a:defRPr sz="1100" b="0"/>
            </a:lvl1pPr>
          </a:lstStyle>
          <a:p>
            <a:pPr lvl="0"/>
            <a:r>
              <a:rPr lang="en-US"/>
              <a:t>Click to add impact</a:t>
            </a:r>
          </a:p>
        </p:txBody>
      </p:sp>
      <p:sp>
        <p:nvSpPr>
          <p:cNvPr id="2" name="Rectangle 1">
            <a:extLst>
              <a:ext uri="{FF2B5EF4-FFF2-40B4-BE49-F238E27FC236}">
                <a16:creationId xmlns:a16="http://schemas.microsoft.com/office/drawing/2014/main" id="{1D48B4EF-5E0F-492E-99E6-BD40129B5E00}"/>
              </a:ext>
            </a:extLst>
          </p:cNvPr>
          <p:cNvSpPr/>
          <p:nvPr userDrawn="1"/>
        </p:nvSpPr>
        <p:spPr>
          <a:xfrm>
            <a:off x="2960688" y="0"/>
            <a:ext cx="118872"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902964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46508149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8" name="Graphic 2">
            <a:extLst>
              <a:ext uri="{FF2B5EF4-FFF2-40B4-BE49-F238E27FC236}">
                <a16:creationId xmlns:a16="http://schemas.microsoft.com/office/drawing/2014/main" id="{C03FC165-ED07-4A84-AFC1-35D9FAE3A071}"/>
              </a:ext>
            </a:extLst>
          </p:cNvPr>
          <p:cNvPicPr>
            <a:picLocks noChangeAspect="1"/>
          </p:cNvPicPr>
          <p:nvPr userDrawn="1"/>
        </p:nvPicPr>
        <p:blipFill>
          <a:blip r:embed="rId2"/>
          <a:stretch>
            <a:fillRect/>
          </a:stretch>
        </p:blipFill>
        <p:spPr>
          <a:xfrm>
            <a:off x="355601" y="6299201"/>
            <a:ext cx="1555750" cy="333375"/>
          </a:xfrm>
          <a:prstGeom prst="rect">
            <a:avLst/>
          </a:prstGeom>
        </p:spPr>
      </p:pic>
      <p:sp>
        <p:nvSpPr>
          <p:cNvPr id="9" name="TextBox 3">
            <a:extLst>
              <a:ext uri="{FF2B5EF4-FFF2-40B4-BE49-F238E27FC236}">
                <a16:creationId xmlns:a16="http://schemas.microsoft.com/office/drawing/2014/main" id="{89C82E95-D4B5-4ED3-875F-4B7171173CAA}"/>
              </a:ext>
            </a:extLst>
          </p:cNvPr>
          <p:cNvSpPr txBox="1">
            <a:spLocks noChangeArrowheads="1"/>
          </p:cNvSpPr>
          <p:nvPr userDrawn="1"/>
        </p:nvSpPr>
        <p:spPr bwMode="auto">
          <a:xfrm>
            <a:off x="3380268" y="4877604"/>
            <a:ext cx="1905000"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Situation:</a:t>
            </a:r>
          </a:p>
        </p:txBody>
      </p:sp>
      <p:sp>
        <p:nvSpPr>
          <p:cNvPr id="10" name="TextBox 4">
            <a:extLst>
              <a:ext uri="{FF2B5EF4-FFF2-40B4-BE49-F238E27FC236}">
                <a16:creationId xmlns:a16="http://schemas.microsoft.com/office/drawing/2014/main" id="{868720E5-09D6-4D4F-A04D-7F3C57C6CCD0}"/>
              </a:ext>
            </a:extLst>
          </p:cNvPr>
          <p:cNvSpPr txBox="1">
            <a:spLocks noChangeArrowheads="1"/>
          </p:cNvSpPr>
          <p:nvPr userDrawn="1"/>
        </p:nvSpPr>
        <p:spPr bwMode="auto">
          <a:xfrm>
            <a:off x="6216700" y="4872129"/>
            <a:ext cx="1905000"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Solution:</a:t>
            </a:r>
          </a:p>
        </p:txBody>
      </p:sp>
      <p:sp>
        <p:nvSpPr>
          <p:cNvPr id="11" name="TextBox 5">
            <a:extLst>
              <a:ext uri="{FF2B5EF4-FFF2-40B4-BE49-F238E27FC236}">
                <a16:creationId xmlns:a16="http://schemas.microsoft.com/office/drawing/2014/main" id="{D82AEEC4-DB27-4A14-8797-2BBD0801B2FA}"/>
              </a:ext>
            </a:extLst>
          </p:cNvPr>
          <p:cNvSpPr txBox="1">
            <a:spLocks noChangeArrowheads="1"/>
          </p:cNvSpPr>
          <p:nvPr userDrawn="1"/>
        </p:nvSpPr>
        <p:spPr bwMode="auto">
          <a:xfrm>
            <a:off x="9141954" y="4877604"/>
            <a:ext cx="1906588"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Impact:</a:t>
            </a:r>
          </a:p>
        </p:txBody>
      </p:sp>
      <p:sp>
        <p:nvSpPr>
          <p:cNvPr id="17" name="Picture Placeholder 4">
            <a:extLst>
              <a:ext uri="{FF2B5EF4-FFF2-40B4-BE49-F238E27FC236}">
                <a16:creationId xmlns:a16="http://schemas.microsoft.com/office/drawing/2014/main" id="{9CEA4D7D-0A3C-44B6-8E8F-CACF31513163}"/>
              </a:ext>
            </a:extLst>
          </p:cNvPr>
          <p:cNvSpPr>
            <a:spLocks noGrp="1" noChangeAspect="1"/>
          </p:cNvSpPr>
          <p:nvPr>
            <p:ph type="pic" sz="quarter" idx="23" hasCustomPrompt="1"/>
          </p:nvPr>
        </p:nvSpPr>
        <p:spPr>
          <a:xfrm>
            <a:off x="401737" y="436245"/>
            <a:ext cx="1919853" cy="1299472"/>
          </a:xfrm>
          <a:prstGeom prst="rect">
            <a:avLst/>
          </a:prstGeom>
        </p:spPr>
        <p:txBody>
          <a:bodyPr/>
          <a:lstStyle>
            <a:lvl1pPr marL="0" indent="0">
              <a:buNone/>
              <a:defRPr/>
            </a:lvl1pPr>
          </a:lstStyle>
          <a:p>
            <a:pPr lvl="0"/>
            <a:r>
              <a:rPr lang="en-US" noProof="0"/>
              <a:t>Logo</a:t>
            </a:r>
          </a:p>
        </p:txBody>
      </p:sp>
      <p:sp>
        <p:nvSpPr>
          <p:cNvPr id="18" name="Picture Placeholder 6">
            <a:extLst>
              <a:ext uri="{FF2B5EF4-FFF2-40B4-BE49-F238E27FC236}">
                <a16:creationId xmlns:a16="http://schemas.microsoft.com/office/drawing/2014/main" id="{508881ED-0454-4AE2-8549-FB9BF0DC59D4}"/>
              </a:ext>
            </a:extLst>
          </p:cNvPr>
          <p:cNvSpPr>
            <a:spLocks noGrp="1" noChangeAspect="1"/>
          </p:cNvSpPr>
          <p:nvPr>
            <p:ph type="pic" sz="quarter" idx="24"/>
          </p:nvPr>
        </p:nvSpPr>
        <p:spPr>
          <a:xfrm>
            <a:off x="2869251" y="0"/>
            <a:ext cx="9322749" cy="2533520"/>
          </a:xfrm>
          <a:prstGeom prst="rect">
            <a:avLst/>
          </a:prstGeom>
        </p:spPr>
        <p:txBody>
          <a:bodyPr/>
          <a:lstStyle>
            <a:lvl1pPr marL="0" indent="0">
              <a:buNone/>
              <a:defRPr/>
            </a:lvl1pPr>
          </a:lstStyle>
          <a:p>
            <a:pPr lvl="0"/>
            <a:r>
              <a:rPr lang="en-US" noProof="0"/>
              <a:t>Click icon to add picture</a:t>
            </a:r>
          </a:p>
        </p:txBody>
      </p:sp>
      <p:sp>
        <p:nvSpPr>
          <p:cNvPr id="19" name="Text Placeholder 44">
            <a:extLst>
              <a:ext uri="{FF2B5EF4-FFF2-40B4-BE49-F238E27FC236}">
                <a16:creationId xmlns:a16="http://schemas.microsoft.com/office/drawing/2014/main" id="{A17C1AD2-6080-47D7-8C66-A0F1669C9A87}"/>
              </a:ext>
            </a:extLst>
          </p:cNvPr>
          <p:cNvSpPr>
            <a:spLocks noGrp="1"/>
          </p:cNvSpPr>
          <p:nvPr>
            <p:ph type="body" sz="quarter" idx="18" hasCustomPrompt="1"/>
          </p:nvPr>
        </p:nvSpPr>
        <p:spPr>
          <a:xfrm>
            <a:off x="310298" y="2533520"/>
            <a:ext cx="2285999" cy="3460882"/>
          </a:xfrm>
          <a:prstGeom prst="rect">
            <a:avLst/>
          </a:prstGeom>
        </p:spPr>
        <p:txBody>
          <a:bodyPr lIns="0" tIns="0" rIns="0" bIns="0" anchor="t"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r>
              <a:rPr lang="en-US"/>
              <a:t>Customer facts</a:t>
            </a:r>
          </a:p>
        </p:txBody>
      </p:sp>
      <p:sp>
        <p:nvSpPr>
          <p:cNvPr id="20" name="Rectangle 19">
            <a:extLst>
              <a:ext uri="{FF2B5EF4-FFF2-40B4-BE49-F238E27FC236}">
                <a16:creationId xmlns:a16="http://schemas.microsoft.com/office/drawing/2014/main" id="{6E30D908-928D-4617-9649-B74D9A420399}"/>
              </a:ext>
            </a:extLst>
          </p:cNvPr>
          <p:cNvSpPr/>
          <p:nvPr userDrawn="1"/>
        </p:nvSpPr>
        <p:spPr>
          <a:xfrm>
            <a:off x="2834563" y="0"/>
            <a:ext cx="54000" cy="68580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 Placeholder 11">
            <a:extLst>
              <a:ext uri="{FF2B5EF4-FFF2-40B4-BE49-F238E27FC236}">
                <a16:creationId xmlns:a16="http://schemas.microsoft.com/office/drawing/2014/main" id="{81DAE9E0-E367-4E54-BEDF-140EE7FFF822}"/>
              </a:ext>
            </a:extLst>
          </p:cNvPr>
          <p:cNvSpPr>
            <a:spLocks noGrp="1"/>
          </p:cNvSpPr>
          <p:nvPr>
            <p:ph type="body" sz="quarter" idx="12"/>
          </p:nvPr>
        </p:nvSpPr>
        <p:spPr>
          <a:xfrm>
            <a:off x="3268665" y="5177775"/>
            <a:ext cx="2537401" cy="1470009"/>
          </a:xfrm>
        </p:spPr>
        <p:txBody>
          <a:bodyPr>
            <a:noAutofit/>
          </a:bodyPr>
          <a:lstStyle>
            <a:lvl1pPr marL="0" indent="0">
              <a:buNone/>
              <a:defRPr/>
            </a:lvl1pPr>
          </a:lstStyle>
          <a:p>
            <a:endParaRPr lang="en-CA" sz="1400"/>
          </a:p>
        </p:txBody>
      </p:sp>
      <p:sp>
        <p:nvSpPr>
          <p:cNvPr id="24" name="Text Placeholder 13">
            <a:extLst>
              <a:ext uri="{FF2B5EF4-FFF2-40B4-BE49-F238E27FC236}">
                <a16:creationId xmlns:a16="http://schemas.microsoft.com/office/drawing/2014/main" id="{550A497C-A39C-4C3D-B172-AED3E0E50B44}"/>
              </a:ext>
            </a:extLst>
          </p:cNvPr>
          <p:cNvSpPr>
            <a:spLocks noGrp="1"/>
          </p:cNvSpPr>
          <p:nvPr>
            <p:ph type="body" sz="quarter" idx="21"/>
          </p:nvPr>
        </p:nvSpPr>
        <p:spPr>
          <a:xfrm>
            <a:off x="6135771" y="5177775"/>
            <a:ext cx="2537401" cy="1470009"/>
          </a:xfrm>
        </p:spPr>
        <p:txBody>
          <a:bodyPr>
            <a:noAutofit/>
          </a:bodyPr>
          <a:lstStyle>
            <a:lvl1pPr marL="0" indent="0">
              <a:buNone/>
              <a:defRPr/>
            </a:lvl1pPr>
          </a:lstStyle>
          <a:p>
            <a:endParaRPr lang="en-CA" sz="1400">
              <a:latin typeface="Segoe UI" panose="020B0502040204020203" pitchFamily="34" charset="0"/>
              <a:cs typeface="Segoe UI" panose="020B0502040204020203" pitchFamily="34" charset="0"/>
            </a:endParaRPr>
          </a:p>
        </p:txBody>
      </p:sp>
      <p:cxnSp>
        <p:nvCxnSpPr>
          <p:cNvPr id="25" name="Straight Connector 24">
            <a:extLst>
              <a:ext uri="{FF2B5EF4-FFF2-40B4-BE49-F238E27FC236}">
                <a16:creationId xmlns:a16="http://schemas.microsoft.com/office/drawing/2014/main" id="{A3B4F029-5DC8-4763-9544-26A7C49C7763}"/>
              </a:ext>
            </a:extLst>
          </p:cNvPr>
          <p:cNvCxnSpPr>
            <a:cxnSpLocks/>
          </p:cNvCxnSpPr>
          <p:nvPr userDrawn="1"/>
        </p:nvCxnSpPr>
        <p:spPr>
          <a:xfrm>
            <a:off x="5974192" y="4894790"/>
            <a:ext cx="0" cy="18119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65D6195-6171-4072-A9B3-FF4087779E14}"/>
              </a:ext>
            </a:extLst>
          </p:cNvPr>
          <p:cNvCxnSpPr>
            <a:cxnSpLocks/>
          </p:cNvCxnSpPr>
          <p:nvPr userDrawn="1"/>
        </p:nvCxnSpPr>
        <p:spPr>
          <a:xfrm>
            <a:off x="8862604" y="4894790"/>
            <a:ext cx="0" cy="18119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F4B8D4F3-8F04-48AF-B15A-965D7ACC4E8F}"/>
              </a:ext>
            </a:extLst>
          </p:cNvPr>
          <p:cNvSpPr>
            <a:spLocks noGrp="1"/>
          </p:cNvSpPr>
          <p:nvPr>
            <p:ph type="body" sz="quarter" idx="25"/>
          </p:nvPr>
        </p:nvSpPr>
        <p:spPr>
          <a:xfrm>
            <a:off x="9048872" y="5177775"/>
            <a:ext cx="2537401" cy="1470009"/>
          </a:xfrm>
        </p:spPr>
        <p:txBody>
          <a:bodyPr>
            <a:noAutofit/>
          </a:bodyPr>
          <a:lstStyle>
            <a:lvl1pPr marL="0" indent="0">
              <a:buNone/>
              <a:defRPr/>
            </a:lvl1pPr>
          </a:lstStyle>
          <a:p>
            <a:endParaRPr lang="en-CA" sz="1400">
              <a:latin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A01478B8-F690-4668-8BBF-182FE48D908C}"/>
              </a:ext>
            </a:extLst>
          </p:cNvPr>
          <p:cNvSpPr/>
          <p:nvPr userDrawn="1"/>
        </p:nvSpPr>
        <p:spPr>
          <a:xfrm>
            <a:off x="2861563" y="2535418"/>
            <a:ext cx="9330437" cy="1961824"/>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24">
            <a:extLst>
              <a:ext uri="{FF2B5EF4-FFF2-40B4-BE49-F238E27FC236}">
                <a16:creationId xmlns:a16="http://schemas.microsoft.com/office/drawing/2014/main" id="{14169DEF-3376-4ED1-9358-8A4765ADF0DD}"/>
              </a:ext>
            </a:extLst>
          </p:cNvPr>
          <p:cNvSpPr>
            <a:spLocks noGrp="1"/>
          </p:cNvSpPr>
          <p:nvPr>
            <p:ph type="body" sz="quarter" idx="10" hasCustomPrompt="1"/>
          </p:nvPr>
        </p:nvSpPr>
        <p:spPr>
          <a:xfrm>
            <a:off x="3268760" y="3013869"/>
            <a:ext cx="8477410" cy="830262"/>
          </a:xfrm>
          <a:prstGeom prst="rect">
            <a:avLst/>
          </a:prstGeom>
        </p:spPr>
        <p:txBody>
          <a:bodyPr lIns="0" tIns="0" rIns="0" bIns="0" anchor="ctr" anchorCtr="0"/>
          <a:lstStyle>
            <a:lvl1pPr marL="0" indent="0">
              <a:lnSpc>
                <a:spcPct val="100000"/>
              </a:lnSpc>
              <a:buNone/>
              <a:defRPr sz="1799" b="0" i="0">
                <a:solidFill>
                  <a:schemeClr val="bg1"/>
                </a:solidFill>
                <a:latin typeface="Segoe UI" panose="020B0502040204020203" pitchFamily="34" charset="0"/>
                <a:cs typeface="Segoe UI" panose="020B0502040204020203" pitchFamily="34" charset="0"/>
              </a:defRPr>
            </a:lvl1pPr>
          </a:lstStyle>
          <a:p>
            <a:pPr lvl="0"/>
            <a:r>
              <a:rPr lang="en-US" err="1"/>
              <a:t>kfhdkjghkd</a:t>
            </a:r>
            <a:endParaRPr lang="en-US"/>
          </a:p>
        </p:txBody>
      </p:sp>
      <p:sp>
        <p:nvSpPr>
          <p:cNvPr id="14" name="Text Placeholder 24">
            <a:extLst>
              <a:ext uri="{FF2B5EF4-FFF2-40B4-BE49-F238E27FC236}">
                <a16:creationId xmlns:a16="http://schemas.microsoft.com/office/drawing/2014/main" id="{D4816AA6-9321-41D5-AC4F-C3D1C7BADB0D}"/>
              </a:ext>
            </a:extLst>
          </p:cNvPr>
          <p:cNvSpPr>
            <a:spLocks noGrp="1"/>
          </p:cNvSpPr>
          <p:nvPr>
            <p:ph type="body" sz="quarter" idx="11" hasCustomPrompt="1"/>
          </p:nvPr>
        </p:nvSpPr>
        <p:spPr>
          <a:xfrm>
            <a:off x="3268760" y="4042203"/>
            <a:ext cx="8477410" cy="123235"/>
          </a:xfrm>
          <a:prstGeom prst="rect">
            <a:avLst/>
          </a:prstGeom>
        </p:spPr>
        <p:txBody>
          <a:bodyPr lIns="0" tIns="0" rIns="0" bIns="0"/>
          <a:lstStyle>
            <a:lvl1pPr marL="0" indent="0">
              <a:buNone/>
              <a:defRPr sz="1000" b="0" i="0">
                <a:solidFill>
                  <a:srgbClr val="50E6FF"/>
                </a:solidFill>
                <a:latin typeface="Segoe UI Semilight" panose="020B0402040204020203" pitchFamily="34" charset="0"/>
                <a:cs typeface="Segoe UI Semilight" panose="020B0402040204020203" pitchFamily="34" charset="0"/>
              </a:defRPr>
            </a:lvl1pPr>
          </a:lstStyle>
          <a:p>
            <a:pPr lvl="0"/>
            <a:r>
              <a:rPr lang="en-US" err="1"/>
              <a:t>ththt</a:t>
            </a:r>
            <a:endParaRPr lang="en-US"/>
          </a:p>
        </p:txBody>
      </p:sp>
    </p:spTree>
    <p:extLst>
      <p:ext uri="{BB962C8B-B14F-4D97-AF65-F5344CB8AC3E}">
        <p14:creationId xmlns:p14="http://schemas.microsoft.com/office/powerpoint/2010/main" val="1178975398"/>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02984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35073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9586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0150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259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408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4106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89128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87892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736374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608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65637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15" name="Table Placeholder 14">
            <a:extLst>
              <a:ext uri="{FF2B5EF4-FFF2-40B4-BE49-F238E27FC236}">
                <a16:creationId xmlns:a16="http://schemas.microsoft.com/office/drawing/2014/main" id="{6A88BFD2-8BE7-614A-8111-0D88A1027ED5}"/>
              </a:ext>
            </a:extLst>
          </p:cNvPr>
          <p:cNvSpPr>
            <a:spLocks noGrp="1"/>
          </p:cNvSpPr>
          <p:nvPr>
            <p:ph type="tbl" sz="quarter" idx="10"/>
          </p:nvPr>
        </p:nvSpPr>
        <p:spPr>
          <a:xfrm>
            <a:off x="588963" y="1239368"/>
            <a:ext cx="11268075" cy="4572000"/>
          </a:xfrm>
        </p:spPr>
        <p:txBody>
          <a:bodyPr/>
          <a:lstStyle/>
          <a:p>
            <a:endParaRPr lang="en-US"/>
          </a:p>
        </p:txBody>
      </p:sp>
    </p:spTree>
    <p:extLst>
      <p:ext uri="{BB962C8B-B14F-4D97-AF65-F5344CB8AC3E}">
        <p14:creationId xmlns:p14="http://schemas.microsoft.com/office/powerpoint/2010/main" val="3489807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52062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413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8827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212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9923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280843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57356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255439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180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177271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32600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94503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37246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53039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835858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24532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78519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68133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195107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50804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0943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22518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76240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09420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59993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5793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601654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60615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25659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393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62237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4417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8694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531807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674667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97648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471809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18565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792000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03712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8016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80285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195634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13502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40216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189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63634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2583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795446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6349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762934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334432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141525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4431837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4117782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401109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51832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3562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481928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33511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643290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91941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352667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33658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1786468"/>
            <a:ext cx="9230589" cy="2829034"/>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1"/>
            <a:ext cx="9235440" cy="1786467"/>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3" name="Content Placeholder 2">
            <a:extLst>
              <a:ext uri="{FF2B5EF4-FFF2-40B4-BE49-F238E27FC236}">
                <a16:creationId xmlns:a16="http://schemas.microsoft.com/office/drawing/2014/main" id="{295B60F9-A211-D54D-957B-D3C09013A995}"/>
              </a:ext>
            </a:extLst>
          </p:cNvPr>
          <p:cNvSpPr>
            <a:spLocks noGrp="1"/>
          </p:cNvSpPr>
          <p:nvPr>
            <p:ph sz="quarter" idx="25"/>
          </p:nvPr>
        </p:nvSpPr>
        <p:spPr>
          <a:xfrm>
            <a:off x="4694238" y="3597275"/>
            <a:ext cx="914400" cy="91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32956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Tree>
    <p:extLst>
      <p:ext uri="{BB962C8B-B14F-4D97-AF65-F5344CB8AC3E}">
        <p14:creationId xmlns:p14="http://schemas.microsoft.com/office/powerpoint/2010/main" val="339159074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85393853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Microsoft 36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hasCustomPrompt="1"/>
          </p:nvPr>
        </p:nvSpPr>
        <p:spPr>
          <a:xfrm>
            <a:off x="3268758" y="3460224"/>
            <a:ext cx="8643841" cy="830262"/>
          </a:xfrm>
          <a:prstGeom prst="rect">
            <a:avLst/>
          </a:prstGeom>
        </p:spPr>
        <p:txBody>
          <a:bodyPr lIns="0" tIns="0" rIns="0" bIns="0" anchor="b" anchorCtr="0">
            <a:noAutofit/>
          </a:bodyPr>
          <a:lstStyle>
            <a:lvl1pPr marL="0" indent="0">
              <a:lnSpc>
                <a:spcPct val="100000"/>
              </a:lnSpc>
              <a:buNone/>
              <a:defRPr sz="1800" b="0" i="0">
                <a:solidFill>
                  <a:schemeClr val="tx1"/>
                </a:solidFill>
                <a:latin typeface="+mn-lt"/>
                <a:cs typeface="Segoe UI" panose="020B0502040204020203" pitchFamily="34" charset="0"/>
              </a:defRPr>
            </a:lvl1pPr>
          </a:lstStyle>
          <a:p>
            <a:pPr lvl="0"/>
            <a:r>
              <a:rPr lang="en-US"/>
              <a:t>Click to add quote</a:t>
            </a:r>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hasCustomPrompt="1"/>
          </p:nvPr>
        </p:nvSpPr>
        <p:spPr>
          <a:xfrm>
            <a:off x="3268757" y="5193186"/>
            <a:ext cx="2515818" cy="1414956"/>
          </a:xfrm>
          <a:prstGeom prst="rect">
            <a:avLst/>
          </a:prstGeom>
        </p:spPr>
        <p:txBody>
          <a:bodyPr lIns="0" tIns="0" rIns="0" bIns="0">
            <a:noAutofit/>
          </a:bodyPr>
          <a:lstStyle>
            <a:lvl1pPr marL="0" indent="0">
              <a:lnSpc>
                <a:spcPct val="100000"/>
              </a:lnSpc>
              <a:spcBef>
                <a:spcPts val="1000"/>
              </a:spcBef>
              <a:buNone/>
              <a:defRPr sz="1100" b="0" i="0">
                <a:solidFill>
                  <a:schemeClr val="tx1"/>
                </a:solidFill>
                <a:latin typeface="+mn-lt"/>
                <a:cs typeface="Segoe UI Semilight" panose="020B0402040204020203" pitchFamily="34" charset="0"/>
              </a:defRPr>
            </a:lvl1pPr>
          </a:lstStyle>
          <a:p>
            <a:pPr lvl="0"/>
            <a:r>
              <a:rPr lang="en-US"/>
              <a:t>Click to add situation</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hasCustomPrompt="1"/>
          </p:nvPr>
        </p:nvSpPr>
        <p:spPr>
          <a:xfrm>
            <a:off x="3268757" y="4423180"/>
            <a:ext cx="8643841" cy="158979"/>
          </a:xfrm>
          <a:prstGeom prst="rect">
            <a:avLst/>
          </a:prstGeom>
        </p:spPr>
        <p:txBody>
          <a:bodyPr lIns="0" tIns="0" rIns="0" bIns="0">
            <a:noAutofit/>
          </a:bodyPr>
          <a:lstStyle>
            <a:lvl1pPr marL="0" indent="0">
              <a:buNone/>
              <a:defRPr sz="1000" b="0" i="0">
                <a:solidFill>
                  <a:schemeClr val="tx1"/>
                </a:solidFill>
                <a:latin typeface="+mn-lt"/>
                <a:cs typeface="Segoe UI Semilight" panose="020B0402040204020203" pitchFamily="34" charset="0"/>
              </a:defRPr>
            </a:lvl1pPr>
          </a:lstStyle>
          <a:p>
            <a:pPr lvl="0"/>
            <a:r>
              <a:rPr lang="en-US"/>
              <a:t>Click to add attribute</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310297" y="313371"/>
            <a:ext cx="2286000" cy="1210629"/>
          </a:xfrm>
          <a:prstGeom prst="rect">
            <a:avLst/>
          </a:prstGeom>
        </p:spPr>
        <p:txBody>
          <a:bodyPr/>
          <a:lstStyle>
            <a:lvl1pPr marL="0" indent="0" algn="ctr">
              <a:buNone/>
              <a:defRPr sz="2000" b="0">
                <a:latin typeface="Segoe UI" panose="020B0502040204020203" pitchFamily="34" charset="0"/>
                <a:cs typeface="Segoe UI" panose="020B0502040204020203" pitchFamily="34" charset="0"/>
              </a:defRPr>
            </a:lvl1pPr>
          </a:lstStyle>
          <a:p>
            <a:r>
              <a:rPr lang="en-US"/>
              <a:t>Customer 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079560" y="0"/>
            <a:ext cx="9116567" cy="3292475"/>
          </a:xfrm>
          <a:prstGeom prst="rect">
            <a:avLst/>
          </a:prstGeom>
        </p:spPr>
        <p:txBody>
          <a:bodyPr tIns="457200" anchor="t"/>
          <a:lstStyle>
            <a:lvl1pPr marL="0" indent="0" algn="ctr">
              <a:buNone/>
              <a:defRPr sz="2000" b="0">
                <a:latin typeface="Segoe UI" panose="020B0502040204020203" pitchFamily="34" charset="0"/>
                <a:cs typeface="Segoe UI" panose="020B0502040204020203" pitchFamily="34" charset="0"/>
              </a:defRPr>
            </a:lvl1pPr>
          </a:lstStyle>
          <a:p>
            <a:r>
              <a:rPr lang="en-US"/>
              <a:t>Horizontal banner image</a:t>
            </a:r>
          </a:p>
        </p:txBody>
      </p:sp>
      <p:pic>
        <p:nvPicPr>
          <p:cNvPr id="3" name="Picture 2">
            <a:extLst>
              <a:ext uri="{FF2B5EF4-FFF2-40B4-BE49-F238E27FC236}">
                <a16:creationId xmlns:a16="http://schemas.microsoft.com/office/drawing/2014/main" id="{335CE0F1-A724-AC45-B21E-01507FEF95D5}"/>
              </a:ext>
            </a:extLst>
          </p:cNvPr>
          <p:cNvPicPr>
            <a:picLocks noChangeAspect="1"/>
          </p:cNvPicPr>
          <p:nvPr userDrawn="1"/>
        </p:nvPicPr>
        <p:blipFill rotWithShape="1">
          <a:blip r:embed="rId2"/>
          <a:srcRect l="10270" t="27134" r="8898" b="28452"/>
          <a:stretch/>
        </p:blipFill>
        <p:spPr>
          <a:xfrm>
            <a:off x="310297" y="6281172"/>
            <a:ext cx="1745482" cy="351277"/>
          </a:xfrm>
          <a:prstGeom prst="rect">
            <a:avLst/>
          </a:prstGeom>
        </p:spPr>
      </p:pic>
      <p:sp>
        <p:nvSpPr>
          <p:cNvPr id="20" name="Text Placeholder 44">
            <a:extLst>
              <a:ext uri="{FF2B5EF4-FFF2-40B4-BE49-F238E27FC236}">
                <a16:creationId xmlns:a16="http://schemas.microsoft.com/office/drawing/2014/main" id="{EB01BB71-B42A-DF45-A55E-767B724A166F}"/>
              </a:ext>
            </a:extLst>
          </p:cNvPr>
          <p:cNvSpPr>
            <a:spLocks noGrp="1"/>
          </p:cNvSpPr>
          <p:nvPr>
            <p:ph type="body" sz="quarter" idx="25" hasCustomPrompt="1"/>
          </p:nvPr>
        </p:nvSpPr>
        <p:spPr>
          <a:xfrm>
            <a:off x="310297" y="5825560"/>
            <a:ext cx="2286000" cy="270440"/>
          </a:xfrm>
          <a:prstGeom prst="rect">
            <a:avLst/>
          </a:prstGeom>
        </p:spPr>
        <p:txBody>
          <a:bodyPr lIns="0" tIns="0" rIns="0" bIns="0" anchor="b" anchorCtr="0"/>
          <a:lstStyle>
            <a:lvl1pPr marL="0" indent="0">
              <a:lnSpc>
                <a:spcPct val="100000"/>
              </a:lnSpc>
              <a:buFont typeface="Arial" panose="020B0604020202020204" pitchFamily="34" charset="0"/>
              <a:buNone/>
              <a:defRPr sz="1300" b="1" i="0" u="sng" cap="all" baseline="0">
                <a:solidFill>
                  <a:srgbClr val="0078D4"/>
                </a:solidFill>
                <a:latin typeface="+mn-lt"/>
                <a:cs typeface="Segoe UI" panose="020B0502040204020203" pitchFamily="34" charset="0"/>
              </a:defRPr>
            </a:lvl1pPr>
            <a:lvl2pPr marL="457200">
              <a:spcBef>
                <a:spcPts val="400"/>
              </a:spcBef>
              <a:buFont typeface="Arial" panose="020B0604020202020204" pitchFamily="34" charset="0"/>
              <a:buChar char="•"/>
              <a:defRPr sz="1000" b="1" i="0">
                <a:solidFill>
                  <a:srgbClr val="0078D4"/>
                </a:solidFill>
                <a:latin typeface="Segoe UI" panose="020B0502040204020203" pitchFamily="34" charset="0"/>
                <a:cs typeface="Segoe UI" panose="020B0502040204020203" pitchFamily="34" charset="0"/>
              </a:defRPr>
            </a:lvl2pPr>
          </a:lstStyle>
          <a:p>
            <a:pPr lvl="0"/>
            <a:r>
              <a:rPr lang="en-US"/>
              <a:t>CTA to customer story</a:t>
            </a:r>
          </a:p>
        </p:txBody>
      </p:sp>
      <p:sp>
        <p:nvSpPr>
          <p:cNvPr id="4" name="Text Placeholder 3">
            <a:extLst>
              <a:ext uri="{FF2B5EF4-FFF2-40B4-BE49-F238E27FC236}">
                <a16:creationId xmlns:a16="http://schemas.microsoft.com/office/drawing/2014/main" id="{917E1FFB-C70E-0745-B9D7-06CEACB4CE66}"/>
              </a:ext>
            </a:extLst>
          </p:cNvPr>
          <p:cNvSpPr>
            <a:spLocks noGrp="1"/>
          </p:cNvSpPr>
          <p:nvPr>
            <p:ph type="body" sz="quarter" idx="26"/>
          </p:nvPr>
        </p:nvSpPr>
        <p:spPr>
          <a:xfrm>
            <a:off x="309562" y="1701800"/>
            <a:ext cx="2372445" cy="4013200"/>
          </a:xfrm>
        </p:spPr>
        <p:txBody>
          <a:bodyPr anchor="b">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8F8FD9B9-601D-CF45-8B7F-327B3AFDD1C5}"/>
              </a:ext>
            </a:extLst>
          </p:cNvPr>
          <p:cNvSpPr txBox="1"/>
          <p:nvPr userDrawn="1"/>
        </p:nvSpPr>
        <p:spPr>
          <a:xfrm>
            <a:off x="3268758"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ituation:</a:t>
            </a:r>
            <a:endParaRPr lang="en-US" sz="1400">
              <a:solidFill>
                <a:schemeClr val="tx1"/>
              </a:solidFill>
            </a:endParaRPr>
          </a:p>
        </p:txBody>
      </p:sp>
      <p:sp>
        <p:nvSpPr>
          <p:cNvPr id="12" name="TextBox 11">
            <a:extLst>
              <a:ext uri="{FF2B5EF4-FFF2-40B4-BE49-F238E27FC236}">
                <a16:creationId xmlns:a16="http://schemas.microsoft.com/office/drawing/2014/main" id="{65D8FD4E-7829-B047-ABEB-28AA5BDC3F73}"/>
              </a:ext>
            </a:extLst>
          </p:cNvPr>
          <p:cNvSpPr txBox="1"/>
          <p:nvPr userDrawn="1"/>
        </p:nvSpPr>
        <p:spPr>
          <a:xfrm>
            <a:off x="6327759"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olution:</a:t>
            </a:r>
            <a:endParaRPr lang="en-US" sz="1400">
              <a:solidFill>
                <a:schemeClr val="tx1"/>
              </a:solidFill>
            </a:endParaRPr>
          </a:p>
        </p:txBody>
      </p:sp>
      <p:sp>
        <p:nvSpPr>
          <p:cNvPr id="13" name="TextBox 12">
            <a:extLst>
              <a:ext uri="{FF2B5EF4-FFF2-40B4-BE49-F238E27FC236}">
                <a16:creationId xmlns:a16="http://schemas.microsoft.com/office/drawing/2014/main" id="{74372333-573F-DD4E-AC09-3E29FA6303B6}"/>
              </a:ext>
            </a:extLst>
          </p:cNvPr>
          <p:cNvSpPr txBox="1"/>
          <p:nvPr userDrawn="1"/>
        </p:nvSpPr>
        <p:spPr>
          <a:xfrm>
            <a:off x="9379802"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Impact:</a:t>
            </a:r>
            <a:endParaRPr lang="en-US" sz="1400">
              <a:solidFill>
                <a:schemeClr val="tx1"/>
              </a:solidFill>
            </a:endParaRPr>
          </a:p>
        </p:txBody>
      </p:sp>
      <p:sp>
        <p:nvSpPr>
          <p:cNvPr id="6" name="Text Placeholder 5">
            <a:extLst>
              <a:ext uri="{FF2B5EF4-FFF2-40B4-BE49-F238E27FC236}">
                <a16:creationId xmlns:a16="http://schemas.microsoft.com/office/drawing/2014/main" id="{95044A2F-0FEE-6040-A0E1-A54AE0ED02C1}"/>
              </a:ext>
            </a:extLst>
          </p:cNvPr>
          <p:cNvSpPr>
            <a:spLocks noGrp="1"/>
          </p:cNvSpPr>
          <p:nvPr>
            <p:ph type="body" sz="quarter" idx="27" hasCustomPrompt="1"/>
          </p:nvPr>
        </p:nvSpPr>
        <p:spPr>
          <a:xfrm>
            <a:off x="6334717" y="5192763"/>
            <a:ext cx="2501900" cy="1410253"/>
          </a:xfrm>
        </p:spPr>
        <p:txBody>
          <a:bodyPr lIns="0" tIns="0" rIns="0" bIns="0">
            <a:noAutofit/>
          </a:bodyPr>
          <a:lstStyle>
            <a:lvl1pPr>
              <a:lnSpc>
                <a:spcPct val="100000"/>
              </a:lnSpc>
              <a:spcBef>
                <a:spcPts val="1000"/>
              </a:spcBef>
              <a:defRPr sz="1100" b="0"/>
            </a:lvl1pPr>
            <a:lvl2pPr>
              <a:defRPr sz="1300"/>
            </a:lvl2pPr>
            <a:lvl3pPr>
              <a:defRPr sz="1300"/>
            </a:lvl3pPr>
            <a:lvl4pPr>
              <a:defRPr sz="1300"/>
            </a:lvl4pPr>
            <a:lvl5pPr>
              <a:defRPr sz="1300"/>
            </a:lvl5pPr>
          </a:lstStyle>
          <a:p>
            <a:pPr lvl="0"/>
            <a:r>
              <a:rPr lang="en-US"/>
              <a:t>Click to add solution</a:t>
            </a:r>
          </a:p>
        </p:txBody>
      </p:sp>
      <p:sp>
        <p:nvSpPr>
          <p:cNvPr id="8" name="Text Placeholder 7">
            <a:extLst>
              <a:ext uri="{FF2B5EF4-FFF2-40B4-BE49-F238E27FC236}">
                <a16:creationId xmlns:a16="http://schemas.microsoft.com/office/drawing/2014/main" id="{813691F5-9761-D143-9450-E404D7FF3C61}"/>
              </a:ext>
            </a:extLst>
          </p:cNvPr>
          <p:cNvSpPr>
            <a:spLocks noGrp="1"/>
          </p:cNvSpPr>
          <p:nvPr>
            <p:ph type="body" sz="quarter" idx="28" hasCustomPrompt="1"/>
          </p:nvPr>
        </p:nvSpPr>
        <p:spPr>
          <a:xfrm>
            <a:off x="9379802" y="5191458"/>
            <a:ext cx="2501901" cy="1395684"/>
          </a:xfrm>
        </p:spPr>
        <p:txBody>
          <a:bodyPr lIns="0" tIns="0" rIns="0" bIns="0">
            <a:noAutofit/>
          </a:bodyPr>
          <a:lstStyle>
            <a:lvl1pPr>
              <a:lnSpc>
                <a:spcPct val="100000"/>
              </a:lnSpc>
              <a:spcBef>
                <a:spcPts val="1000"/>
              </a:spcBef>
              <a:defRPr sz="1100" b="0"/>
            </a:lvl1pPr>
          </a:lstStyle>
          <a:p>
            <a:pPr lvl="0"/>
            <a:r>
              <a:rPr lang="en-US"/>
              <a:t>Click to add impact</a:t>
            </a:r>
          </a:p>
        </p:txBody>
      </p:sp>
      <p:sp>
        <p:nvSpPr>
          <p:cNvPr id="2" name="Rectangle 1">
            <a:extLst>
              <a:ext uri="{FF2B5EF4-FFF2-40B4-BE49-F238E27FC236}">
                <a16:creationId xmlns:a16="http://schemas.microsoft.com/office/drawing/2014/main" id="{1D48B4EF-5E0F-492E-99E6-BD40129B5E00}"/>
              </a:ext>
            </a:extLst>
          </p:cNvPr>
          <p:cNvSpPr/>
          <p:nvPr userDrawn="1"/>
        </p:nvSpPr>
        <p:spPr>
          <a:xfrm>
            <a:off x="2960688" y="0"/>
            <a:ext cx="118872"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8976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1213273632"/>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8" name="Graphic 2">
            <a:extLst>
              <a:ext uri="{FF2B5EF4-FFF2-40B4-BE49-F238E27FC236}">
                <a16:creationId xmlns:a16="http://schemas.microsoft.com/office/drawing/2014/main" id="{C03FC165-ED07-4A84-AFC1-35D9FAE3A071}"/>
              </a:ext>
            </a:extLst>
          </p:cNvPr>
          <p:cNvPicPr>
            <a:picLocks noChangeAspect="1"/>
          </p:cNvPicPr>
          <p:nvPr userDrawn="1"/>
        </p:nvPicPr>
        <p:blipFill>
          <a:blip r:embed="rId2"/>
          <a:stretch>
            <a:fillRect/>
          </a:stretch>
        </p:blipFill>
        <p:spPr>
          <a:xfrm>
            <a:off x="355601" y="6299201"/>
            <a:ext cx="1555750" cy="333375"/>
          </a:xfrm>
          <a:prstGeom prst="rect">
            <a:avLst/>
          </a:prstGeom>
        </p:spPr>
      </p:pic>
      <p:sp>
        <p:nvSpPr>
          <p:cNvPr id="9" name="TextBox 3">
            <a:extLst>
              <a:ext uri="{FF2B5EF4-FFF2-40B4-BE49-F238E27FC236}">
                <a16:creationId xmlns:a16="http://schemas.microsoft.com/office/drawing/2014/main" id="{89C82E95-D4B5-4ED3-875F-4B7171173CAA}"/>
              </a:ext>
            </a:extLst>
          </p:cNvPr>
          <p:cNvSpPr txBox="1">
            <a:spLocks noChangeArrowheads="1"/>
          </p:cNvSpPr>
          <p:nvPr userDrawn="1"/>
        </p:nvSpPr>
        <p:spPr bwMode="auto">
          <a:xfrm>
            <a:off x="3380268" y="4877604"/>
            <a:ext cx="1905000"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Situation:</a:t>
            </a:r>
          </a:p>
        </p:txBody>
      </p:sp>
      <p:sp>
        <p:nvSpPr>
          <p:cNvPr id="10" name="TextBox 4">
            <a:extLst>
              <a:ext uri="{FF2B5EF4-FFF2-40B4-BE49-F238E27FC236}">
                <a16:creationId xmlns:a16="http://schemas.microsoft.com/office/drawing/2014/main" id="{868720E5-09D6-4D4F-A04D-7F3C57C6CCD0}"/>
              </a:ext>
            </a:extLst>
          </p:cNvPr>
          <p:cNvSpPr txBox="1">
            <a:spLocks noChangeArrowheads="1"/>
          </p:cNvSpPr>
          <p:nvPr userDrawn="1"/>
        </p:nvSpPr>
        <p:spPr bwMode="auto">
          <a:xfrm>
            <a:off x="6216700" y="4872129"/>
            <a:ext cx="1905000"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Solution:</a:t>
            </a:r>
          </a:p>
        </p:txBody>
      </p:sp>
      <p:sp>
        <p:nvSpPr>
          <p:cNvPr id="11" name="TextBox 5">
            <a:extLst>
              <a:ext uri="{FF2B5EF4-FFF2-40B4-BE49-F238E27FC236}">
                <a16:creationId xmlns:a16="http://schemas.microsoft.com/office/drawing/2014/main" id="{D82AEEC4-DB27-4A14-8797-2BBD0801B2FA}"/>
              </a:ext>
            </a:extLst>
          </p:cNvPr>
          <p:cNvSpPr txBox="1">
            <a:spLocks noChangeArrowheads="1"/>
          </p:cNvSpPr>
          <p:nvPr userDrawn="1"/>
        </p:nvSpPr>
        <p:spPr bwMode="auto">
          <a:xfrm>
            <a:off x="9141954" y="4877604"/>
            <a:ext cx="1906588"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401">
                <a:solidFill>
                  <a:srgbClr val="243A5E"/>
                </a:solidFill>
                <a:latin typeface="Segoe UI Semibold" panose="020B0702040204020203" pitchFamily="34" charset="0"/>
                <a:cs typeface="Segoe UI Semibold" panose="020B0702040204020203" pitchFamily="34" charset="0"/>
              </a:rPr>
              <a:t>Impact:</a:t>
            </a:r>
          </a:p>
        </p:txBody>
      </p:sp>
      <p:sp>
        <p:nvSpPr>
          <p:cNvPr id="17" name="Picture Placeholder 4">
            <a:extLst>
              <a:ext uri="{FF2B5EF4-FFF2-40B4-BE49-F238E27FC236}">
                <a16:creationId xmlns:a16="http://schemas.microsoft.com/office/drawing/2014/main" id="{9CEA4D7D-0A3C-44B6-8E8F-CACF31513163}"/>
              </a:ext>
            </a:extLst>
          </p:cNvPr>
          <p:cNvSpPr>
            <a:spLocks noGrp="1" noChangeAspect="1"/>
          </p:cNvSpPr>
          <p:nvPr>
            <p:ph type="pic" sz="quarter" idx="23" hasCustomPrompt="1"/>
          </p:nvPr>
        </p:nvSpPr>
        <p:spPr>
          <a:xfrm>
            <a:off x="401737" y="436245"/>
            <a:ext cx="1919853" cy="1299472"/>
          </a:xfrm>
          <a:prstGeom prst="rect">
            <a:avLst/>
          </a:prstGeom>
        </p:spPr>
        <p:txBody>
          <a:bodyPr/>
          <a:lstStyle>
            <a:lvl1pPr marL="0" indent="0">
              <a:buNone/>
              <a:defRPr/>
            </a:lvl1pPr>
          </a:lstStyle>
          <a:p>
            <a:pPr lvl="0"/>
            <a:r>
              <a:rPr lang="en-US" noProof="0"/>
              <a:t>Logo</a:t>
            </a:r>
          </a:p>
        </p:txBody>
      </p:sp>
      <p:sp>
        <p:nvSpPr>
          <p:cNvPr id="18" name="Picture Placeholder 6">
            <a:extLst>
              <a:ext uri="{FF2B5EF4-FFF2-40B4-BE49-F238E27FC236}">
                <a16:creationId xmlns:a16="http://schemas.microsoft.com/office/drawing/2014/main" id="{508881ED-0454-4AE2-8549-FB9BF0DC59D4}"/>
              </a:ext>
            </a:extLst>
          </p:cNvPr>
          <p:cNvSpPr>
            <a:spLocks noGrp="1" noChangeAspect="1"/>
          </p:cNvSpPr>
          <p:nvPr>
            <p:ph type="pic" sz="quarter" idx="24"/>
          </p:nvPr>
        </p:nvSpPr>
        <p:spPr>
          <a:xfrm>
            <a:off x="2869251" y="0"/>
            <a:ext cx="9322749" cy="2533520"/>
          </a:xfrm>
          <a:prstGeom prst="rect">
            <a:avLst/>
          </a:prstGeom>
        </p:spPr>
        <p:txBody>
          <a:bodyPr/>
          <a:lstStyle>
            <a:lvl1pPr marL="0" indent="0">
              <a:buNone/>
              <a:defRPr/>
            </a:lvl1pPr>
          </a:lstStyle>
          <a:p>
            <a:pPr lvl="0"/>
            <a:r>
              <a:rPr lang="en-US" noProof="0"/>
              <a:t>Click icon to add picture</a:t>
            </a:r>
          </a:p>
        </p:txBody>
      </p:sp>
      <p:sp>
        <p:nvSpPr>
          <p:cNvPr id="19" name="Text Placeholder 44">
            <a:extLst>
              <a:ext uri="{FF2B5EF4-FFF2-40B4-BE49-F238E27FC236}">
                <a16:creationId xmlns:a16="http://schemas.microsoft.com/office/drawing/2014/main" id="{A17C1AD2-6080-47D7-8C66-A0F1669C9A87}"/>
              </a:ext>
            </a:extLst>
          </p:cNvPr>
          <p:cNvSpPr>
            <a:spLocks noGrp="1"/>
          </p:cNvSpPr>
          <p:nvPr>
            <p:ph type="body" sz="quarter" idx="18" hasCustomPrompt="1"/>
          </p:nvPr>
        </p:nvSpPr>
        <p:spPr>
          <a:xfrm>
            <a:off x="310298" y="2533520"/>
            <a:ext cx="2285999" cy="3460882"/>
          </a:xfrm>
          <a:prstGeom prst="rect">
            <a:avLst/>
          </a:prstGeom>
        </p:spPr>
        <p:txBody>
          <a:bodyPr lIns="0" tIns="0" rIns="0" bIns="0" anchor="t"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r>
              <a:rPr lang="en-US"/>
              <a:t>Customer facts</a:t>
            </a:r>
          </a:p>
        </p:txBody>
      </p:sp>
      <p:sp>
        <p:nvSpPr>
          <p:cNvPr id="20" name="Rectangle 19">
            <a:extLst>
              <a:ext uri="{FF2B5EF4-FFF2-40B4-BE49-F238E27FC236}">
                <a16:creationId xmlns:a16="http://schemas.microsoft.com/office/drawing/2014/main" id="{6E30D908-928D-4617-9649-B74D9A420399}"/>
              </a:ext>
            </a:extLst>
          </p:cNvPr>
          <p:cNvSpPr/>
          <p:nvPr userDrawn="1"/>
        </p:nvSpPr>
        <p:spPr>
          <a:xfrm>
            <a:off x="2834563" y="0"/>
            <a:ext cx="54000" cy="68580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 Placeholder 11">
            <a:extLst>
              <a:ext uri="{FF2B5EF4-FFF2-40B4-BE49-F238E27FC236}">
                <a16:creationId xmlns:a16="http://schemas.microsoft.com/office/drawing/2014/main" id="{81DAE9E0-E367-4E54-BEDF-140EE7FFF822}"/>
              </a:ext>
            </a:extLst>
          </p:cNvPr>
          <p:cNvSpPr>
            <a:spLocks noGrp="1"/>
          </p:cNvSpPr>
          <p:nvPr>
            <p:ph type="body" sz="quarter" idx="12"/>
          </p:nvPr>
        </p:nvSpPr>
        <p:spPr>
          <a:xfrm>
            <a:off x="3268665" y="5177775"/>
            <a:ext cx="2537401" cy="1470009"/>
          </a:xfrm>
        </p:spPr>
        <p:txBody>
          <a:bodyPr>
            <a:noAutofit/>
          </a:bodyPr>
          <a:lstStyle>
            <a:lvl1pPr marL="0" indent="0">
              <a:buNone/>
              <a:defRPr/>
            </a:lvl1pPr>
          </a:lstStyle>
          <a:p>
            <a:endParaRPr lang="en-CA" sz="1400"/>
          </a:p>
        </p:txBody>
      </p:sp>
      <p:sp>
        <p:nvSpPr>
          <p:cNvPr id="24" name="Text Placeholder 13">
            <a:extLst>
              <a:ext uri="{FF2B5EF4-FFF2-40B4-BE49-F238E27FC236}">
                <a16:creationId xmlns:a16="http://schemas.microsoft.com/office/drawing/2014/main" id="{550A497C-A39C-4C3D-B172-AED3E0E50B44}"/>
              </a:ext>
            </a:extLst>
          </p:cNvPr>
          <p:cNvSpPr>
            <a:spLocks noGrp="1"/>
          </p:cNvSpPr>
          <p:nvPr>
            <p:ph type="body" sz="quarter" idx="21"/>
          </p:nvPr>
        </p:nvSpPr>
        <p:spPr>
          <a:xfrm>
            <a:off x="6135771" y="5177775"/>
            <a:ext cx="2537401" cy="1470009"/>
          </a:xfrm>
        </p:spPr>
        <p:txBody>
          <a:bodyPr>
            <a:noAutofit/>
          </a:bodyPr>
          <a:lstStyle>
            <a:lvl1pPr marL="0" indent="0">
              <a:buNone/>
              <a:defRPr/>
            </a:lvl1pPr>
          </a:lstStyle>
          <a:p>
            <a:endParaRPr lang="en-CA" sz="1400">
              <a:latin typeface="Segoe UI" panose="020B0502040204020203" pitchFamily="34" charset="0"/>
              <a:cs typeface="Segoe UI" panose="020B0502040204020203" pitchFamily="34" charset="0"/>
            </a:endParaRPr>
          </a:p>
        </p:txBody>
      </p:sp>
      <p:cxnSp>
        <p:nvCxnSpPr>
          <p:cNvPr id="25" name="Straight Connector 24">
            <a:extLst>
              <a:ext uri="{FF2B5EF4-FFF2-40B4-BE49-F238E27FC236}">
                <a16:creationId xmlns:a16="http://schemas.microsoft.com/office/drawing/2014/main" id="{A3B4F029-5DC8-4763-9544-26A7C49C7763}"/>
              </a:ext>
            </a:extLst>
          </p:cNvPr>
          <p:cNvCxnSpPr>
            <a:cxnSpLocks/>
          </p:cNvCxnSpPr>
          <p:nvPr userDrawn="1"/>
        </p:nvCxnSpPr>
        <p:spPr>
          <a:xfrm>
            <a:off x="5974192" y="4894790"/>
            <a:ext cx="0" cy="18119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65D6195-6171-4072-A9B3-FF4087779E14}"/>
              </a:ext>
            </a:extLst>
          </p:cNvPr>
          <p:cNvCxnSpPr>
            <a:cxnSpLocks/>
          </p:cNvCxnSpPr>
          <p:nvPr userDrawn="1"/>
        </p:nvCxnSpPr>
        <p:spPr>
          <a:xfrm>
            <a:off x="8862604" y="4894790"/>
            <a:ext cx="0" cy="18119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F4B8D4F3-8F04-48AF-B15A-965D7ACC4E8F}"/>
              </a:ext>
            </a:extLst>
          </p:cNvPr>
          <p:cNvSpPr>
            <a:spLocks noGrp="1"/>
          </p:cNvSpPr>
          <p:nvPr>
            <p:ph type="body" sz="quarter" idx="25"/>
          </p:nvPr>
        </p:nvSpPr>
        <p:spPr>
          <a:xfrm>
            <a:off x="9048872" y="5177775"/>
            <a:ext cx="2537401" cy="1470009"/>
          </a:xfrm>
        </p:spPr>
        <p:txBody>
          <a:bodyPr>
            <a:noAutofit/>
          </a:bodyPr>
          <a:lstStyle>
            <a:lvl1pPr marL="0" indent="0">
              <a:buNone/>
              <a:defRPr/>
            </a:lvl1pPr>
          </a:lstStyle>
          <a:p>
            <a:endParaRPr lang="en-CA" sz="1400">
              <a:latin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A01478B8-F690-4668-8BBF-182FE48D908C}"/>
              </a:ext>
            </a:extLst>
          </p:cNvPr>
          <p:cNvSpPr/>
          <p:nvPr userDrawn="1"/>
        </p:nvSpPr>
        <p:spPr>
          <a:xfrm>
            <a:off x="2861563" y="2535418"/>
            <a:ext cx="9330437" cy="1961824"/>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24">
            <a:extLst>
              <a:ext uri="{FF2B5EF4-FFF2-40B4-BE49-F238E27FC236}">
                <a16:creationId xmlns:a16="http://schemas.microsoft.com/office/drawing/2014/main" id="{14169DEF-3376-4ED1-9358-8A4765ADF0DD}"/>
              </a:ext>
            </a:extLst>
          </p:cNvPr>
          <p:cNvSpPr>
            <a:spLocks noGrp="1"/>
          </p:cNvSpPr>
          <p:nvPr>
            <p:ph type="body" sz="quarter" idx="10" hasCustomPrompt="1"/>
          </p:nvPr>
        </p:nvSpPr>
        <p:spPr>
          <a:xfrm>
            <a:off x="3268760" y="3013869"/>
            <a:ext cx="8477410" cy="830262"/>
          </a:xfrm>
          <a:prstGeom prst="rect">
            <a:avLst/>
          </a:prstGeom>
        </p:spPr>
        <p:txBody>
          <a:bodyPr lIns="0" tIns="0" rIns="0" bIns="0" anchor="ctr" anchorCtr="0"/>
          <a:lstStyle>
            <a:lvl1pPr marL="0" indent="0">
              <a:lnSpc>
                <a:spcPct val="100000"/>
              </a:lnSpc>
              <a:buNone/>
              <a:defRPr sz="1799" b="0" i="0">
                <a:solidFill>
                  <a:schemeClr val="bg1"/>
                </a:solidFill>
                <a:latin typeface="Segoe UI" panose="020B0502040204020203" pitchFamily="34" charset="0"/>
                <a:cs typeface="Segoe UI" panose="020B0502040204020203" pitchFamily="34" charset="0"/>
              </a:defRPr>
            </a:lvl1pPr>
          </a:lstStyle>
          <a:p>
            <a:pPr lvl="0"/>
            <a:r>
              <a:rPr lang="en-US" err="1"/>
              <a:t>kfhdkjghkd</a:t>
            </a:r>
            <a:endParaRPr lang="en-US"/>
          </a:p>
        </p:txBody>
      </p:sp>
      <p:sp>
        <p:nvSpPr>
          <p:cNvPr id="14" name="Text Placeholder 24">
            <a:extLst>
              <a:ext uri="{FF2B5EF4-FFF2-40B4-BE49-F238E27FC236}">
                <a16:creationId xmlns:a16="http://schemas.microsoft.com/office/drawing/2014/main" id="{D4816AA6-9321-41D5-AC4F-C3D1C7BADB0D}"/>
              </a:ext>
            </a:extLst>
          </p:cNvPr>
          <p:cNvSpPr>
            <a:spLocks noGrp="1"/>
          </p:cNvSpPr>
          <p:nvPr>
            <p:ph type="body" sz="quarter" idx="11" hasCustomPrompt="1"/>
          </p:nvPr>
        </p:nvSpPr>
        <p:spPr>
          <a:xfrm>
            <a:off x="3268760" y="4042203"/>
            <a:ext cx="8477410" cy="123235"/>
          </a:xfrm>
          <a:prstGeom prst="rect">
            <a:avLst/>
          </a:prstGeom>
        </p:spPr>
        <p:txBody>
          <a:bodyPr lIns="0" tIns="0" rIns="0" bIns="0"/>
          <a:lstStyle>
            <a:lvl1pPr marL="0" indent="0">
              <a:buNone/>
              <a:defRPr sz="1000" b="0" i="0">
                <a:solidFill>
                  <a:srgbClr val="50E6FF"/>
                </a:solidFill>
                <a:latin typeface="Segoe UI Semilight" panose="020B0402040204020203" pitchFamily="34" charset="0"/>
                <a:cs typeface="Segoe UI Semilight" panose="020B0402040204020203" pitchFamily="34" charset="0"/>
              </a:defRPr>
            </a:lvl1pPr>
          </a:lstStyle>
          <a:p>
            <a:pPr lvl="0"/>
            <a:r>
              <a:rPr lang="en-US" err="1"/>
              <a:t>ththt</a:t>
            </a:r>
            <a:endParaRPr lang="en-US"/>
          </a:p>
        </p:txBody>
      </p:sp>
    </p:spTree>
    <p:extLst>
      <p:ext uri="{BB962C8B-B14F-4D97-AF65-F5344CB8AC3E}">
        <p14:creationId xmlns:p14="http://schemas.microsoft.com/office/powerpoint/2010/main" val="4267816475"/>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0D428-BA9D-4054-AE64-22A92252B8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A0FC481-7394-448F-B3EC-3D03F9D081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B881EB8-23D0-4450-A03D-EF214B661946}"/>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5" name="Footer Placeholder 4">
            <a:extLst>
              <a:ext uri="{FF2B5EF4-FFF2-40B4-BE49-F238E27FC236}">
                <a16:creationId xmlns:a16="http://schemas.microsoft.com/office/drawing/2014/main" id="{11BC8BBE-7847-4993-A122-5FC912F454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64441E-4EA7-4EEC-9F84-9217E38A7EDC}"/>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5556500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646975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1341-BA40-48BE-9B61-6952ACB7CD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36FD68-4E66-4999-8462-431B3DE6DAE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DEE9F8-A590-4832-884C-C9B135FFE9EE}"/>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5" name="Footer Placeholder 4">
            <a:extLst>
              <a:ext uri="{FF2B5EF4-FFF2-40B4-BE49-F238E27FC236}">
                <a16:creationId xmlns:a16="http://schemas.microsoft.com/office/drawing/2014/main" id="{62CB7F94-CE9E-456F-9C27-ECA44D97E9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86C280-4133-4F51-974D-C86E1FB6688E}"/>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251131436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64FA5-EBB8-4864-B781-4A734483F7D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E91A2C7-04E9-48BA-8996-F073204C95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D0DAAC-AF64-4E82-A275-1AB43608B4D6}"/>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5" name="Footer Placeholder 4">
            <a:extLst>
              <a:ext uri="{FF2B5EF4-FFF2-40B4-BE49-F238E27FC236}">
                <a16:creationId xmlns:a16="http://schemas.microsoft.com/office/drawing/2014/main" id="{1CFBA28F-CB43-4A44-AC50-70B275D61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58BEE8-8D91-48B3-AEDB-51FA207BB38B}"/>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395191554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4F67C-B5F8-4843-B77D-366735A2CB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AEE087-384B-4359-AAD8-C32F9160059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AA6750-591B-44CC-B60B-B01D2D47A8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23AEB4-3740-48D7-85F4-026C867077E5}"/>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6" name="Footer Placeholder 5">
            <a:extLst>
              <a:ext uri="{FF2B5EF4-FFF2-40B4-BE49-F238E27FC236}">
                <a16:creationId xmlns:a16="http://schemas.microsoft.com/office/drawing/2014/main" id="{23D749B1-134F-40F9-B06D-52F413E199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72F63C-842E-40DC-964D-0B433B783F1D}"/>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409497084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1FBA6-4D92-488E-AF77-63FD7A2AEC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C35108-8EF9-402A-A0CE-2FE0878796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A40E4B-C7BD-4CBB-9092-66F0276453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5016D6-6098-4D44-AA2F-69283B22120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4EE1DC-7B14-434B-AAC0-71862C92DD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BE93CA1-6670-4189-AD22-DAF2B05B9115}"/>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8" name="Footer Placeholder 7">
            <a:extLst>
              <a:ext uri="{FF2B5EF4-FFF2-40B4-BE49-F238E27FC236}">
                <a16:creationId xmlns:a16="http://schemas.microsoft.com/office/drawing/2014/main" id="{AFD1AF46-29D1-4821-A7B3-A504ED5FB20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8F03FA9-FF10-43FB-A5DC-8CEAD601430D}"/>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341911354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C6B8F-D22D-406D-9862-B8CD31CAB5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4FCE90-D2C1-47D0-8772-869B7B297B13}"/>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4" name="Footer Placeholder 3">
            <a:extLst>
              <a:ext uri="{FF2B5EF4-FFF2-40B4-BE49-F238E27FC236}">
                <a16:creationId xmlns:a16="http://schemas.microsoft.com/office/drawing/2014/main" id="{950C734D-B116-4404-B7CA-810BDC7FA5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AA5F671-24E7-4E25-83D0-32BBA3D3DC0D}"/>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413367526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A48F49-6D4A-4C3F-AEE6-08A316118CFC}"/>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3" name="Footer Placeholder 2">
            <a:extLst>
              <a:ext uri="{FF2B5EF4-FFF2-40B4-BE49-F238E27FC236}">
                <a16:creationId xmlns:a16="http://schemas.microsoft.com/office/drawing/2014/main" id="{A79C444C-DACF-4E4F-9693-4A1E7ABFD48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3F7CFD-0033-4295-8E3D-526F8CD5024F}"/>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69228167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40B1D-AC5B-4F8C-A7EB-F7C0C0B66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23015DA-1CB6-482C-ACDC-326F475840C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95E7331-9583-4713-BB9B-7E42B3CB94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A44479-0B26-4D44-9881-010CA149B946}"/>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6" name="Footer Placeholder 5">
            <a:extLst>
              <a:ext uri="{FF2B5EF4-FFF2-40B4-BE49-F238E27FC236}">
                <a16:creationId xmlns:a16="http://schemas.microsoft.com/office/drawing/2014/main" id="{D9173D8D-DDBE-4E01-842A-5A3663247E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586EFE-2A2A-4689-A568-2CCDBAAE0E8D}"/>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2928526056"/>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0CC95-5C29-496A-92A6-EF75E968ED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332596-FF08-4F6A-9623-6F7F02D6B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E32835-4307-4A12-991B-6EF6ED4CE0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F917AA-A08E-44FD-8B9E-E3AA82D855A9}"/>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6" name="Footer Placeholder 5">
            <a:extLst>
              <a:ext uri="{FF2B5EF4-FFF2-40B4-BE49-F238E27FC236}">
                <a16:creationId xmlns:a16="http://schemas.microsoft.com/office/drawing/2014/main" id="{75A36355-279A-449C-8EA5-B3FEC91593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B4EB76-5158-408E-87AE-DA65FE4751EB}"/>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229845408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3246C-6D42-40F8-A558-CFEDF3B9ED7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D70D99-68B2-4C2A-8D5C-EA79CBBF32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D97CF-30C6-4E4E-B829-ACB14233CAF2}"/>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5" name="Footer Placeholder 4">
            <a:extLst>
              <a:ext uri="{FF2B5EF4-FFF2-40B4-BE49-F238E27FC236}">
                <a16:creationId xmlns:a16="http://schemas.microsoft.com/office/drawing/2014/main" id="{5B69BEC2-BA05-4795-AB3B-B043589B12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A0D045-CC5F-4192-BED8-F2101552787E}"/>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39087670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C74D11-365D-4513-9B8B-12D55749077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D310C82-C7A4-4024-A986-6C34482341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F6E1D8-D27A-452D-8B46-44673CE84B37}"/>
              </a:ext>
            </a:extLst>
          </p:cNvPr>
          <p:cNvSpPr>
            <a:spLocks noGrp="1"/>
          </p:cNvSpPr>
          <p:nvPr>
            <p:ph type="dt" sz="half" idx="10"/>
          </p:nvPr>
        </p:nvSpPr>
        <p:spPr/>
        <p:txBody>
          <a:bodyPr/>
          <a:lstStyle/>
          <a:p>
            <a:fld id="{6E27F914-E7AC-4E9B-AF68-B4EDD6B580E7}" type="datetimeFigureOut">
              <a:rPr lang="en-US" smtClean="0"/>
              <a:t>8/31/2022</a:t>
            </a:fld>
            <a:endParaRPr lang="en-US"/>
          </a:p>
        </p:txBody>
      </p:sp>
      <p:sp>
        <p:nvSpPr>
          <p:cNvPr id="5" name="Footer Placeholder 4">
            <a:extLst>
              <a:ext uri="{FF2B5EF4-FFF2-40B4-BE49-F238E27FC236}">
                <a16:creationId xmlns:a16="http://schemas.microsoft.com/office/drawing/2014/main" id="{768DE6F5-C834-4501-BAEF-B12352C7AA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9AC55C-51FE-4EF4-8165-B295AFD364A6}"/>
              </a:ext>
            </a:extLst>
          </p:cNvPr>
          <p:cNvSpPr>
            <a:spLocks noGrp="1"/>
          </p:cNvSpPr>
          <p:nvPr>
            <p:ph type="sldNum" sz="quarter" idx="12"/>
          </p:nvPr>
        </p:nvSpPr>
        <p:spPr/>
        <p:txBody>
          <a:bodyPr/>
          <a:lstStyle/>
          <a:p>
            <a:fld id="{D3E6729E-7583-467C-BFF9-4B750B0B9557}" type="slidenum">
              <a:rPr lang="en-US" smtClean="0"/>
              <a:t>‹#›</a:t>
            </a:fld>
            <a:endParaRPr lang="en-US"/>
          </a:p>
        </p:txBody>
      </p:sp>
    </p:spTree>
    <p:extLst>
      <p:ext uri="{BB962C8B-B14F-4D97-AF65-F5344CB8AC3E}">
        <p14:creationId xmlns:p14="http://schemas.microsoft.com/office/powerpoint/2010/main" val="24882193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97895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Tree>
    <p:extLst>
      <p:ext uri="{BB962C8B-B14F-4D97-AF65-F5344CB8AC3E}">
        <p14:creationId xmlns:p14="http://schemas.microsoft.com/office/powerpoint/2010/main" val="81641449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518312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83588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5403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0606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8477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640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102897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548557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5939517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6252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94454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329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4916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1700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761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9144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32306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57299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74691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73799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57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944479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6377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71602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36536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99135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502293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31238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30948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41249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57486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524866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4291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62375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58506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78529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48018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9787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61908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29785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84288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334285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2130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1591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69561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841336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938051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16675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537003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314199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737925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462205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467351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6393856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767231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29919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36420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03883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3462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5513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496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79299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1243737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4030970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320959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788878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702306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4119760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465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42125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884911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97406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948626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83066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39433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231475978"/>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301"/>
          </a:xfrm>
        </p:spPr>
        <p:txBody>
          <a:bodyPr wrap="square">
            <a:spAutoFit/>
          </a:bodyPr>
          <a:lstStyle>
            <a:lvl1pPr marL="0" indent="0">
              <a:buNone/>
              <a:defRPr kumimoji="0" lang="en-US" sz="1958"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300" indent="0">
              <a:buNone/>
              <a:defRPr sz="1997"/>
            </a:lvl2pPr>
            <a:lvl3pPr marL="456601" indent="0">
              <a:buNone/>
              <a:defRPr sz="1997"/>
            </a:lvl3pPr>
            <a:lvl4pPr marL="684901" indent="0">
              <a:buNone/>
              <a:defRPr sz="1997"/>
            </a:lvl4pPr>
            <a:lvl5pPr marL="913200" indent="0">
              <a:buNone/>
              <a:defRPr sz="1997"/>
            </a:lvl5pPr>
          </a:lstStyle>
          <a:p>
            <a:pPr marL="0" marR="0" lvl="0" indent="0" algn="l" defTabSz="93154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2959715"/>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2688139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8_Title Slide 2">
    <p:bg>
      <p:bgPr>
        <a:solidFill>
          <a:schemeClr val="bg1"/>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2BC64979-D97F-2FFE-A8C1-5B6CBB8352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1113" y="1103350"/>
            <a:ext cx="4867200" cy="4867200"/>
          </a:xfrm>
          <a:prstGeom prst="rect">
            <a:avLst/>
          </a:prstGeom>
        </p:spPr>
      </p:pic>
      <p:sp>
        <p:nvSpPr>
          <p:cNvPr id="9" name="Title 1"/>
          <p:cNvSpPr>
            <a:spLocks noGrp="1"/>
          </p:cNvSpPr>
          <p:nvPr>
            <p:ph type="title" hasCustomPrompt="1"/>
          </p:nvPr>
        </p:nvSpPr>
        <p:spPr>
          <a:xfrm>
            <a:off x="584200" y="2982952"/>
            <a:ext cx="5964881" cy="553998"/>
          </a:xfrm>
          <a:noFill/>
        </p:spPr>
        <p:txBody>
          <a:bodyPr wrap="square" lIns="0" tIns="0" rIns="0" bIns="0" anchor="b" anchorCtr="0">
            <a:spAutoFit/>
          </a:bodyPr>
          <a:lstStyle>
            <a:lvl1pPr>
              <a:defRPr sz="3600" spc="-50" baseline="0">
                <a:solidFill>
                  <a:srgbClr val="107C10"/>
                </a:solidFill>
                <a:latin typeface="Segoe UI Semibold" panose="020B0702040204020203" pitchFamily="34" charset="0"/>
                <a:cs typeface="Segoe UI Semibold" panose="020B0702040204020203" pitchFamily="34" charset="0"/>
              </a:defRPr>
            </a:lvl1pPr>
          </a:lstStyle>
          <a:p>
            <a:r>
              <a:rPr lang="en-US"/>
              <a:t>Title goes here</a:t>
            </a:r>
          </a:p>
        </p:txBody>
      </p:sp>
      <p:sp>
        <p:nvSpPr>
          <p:cNvPr id="5" name="Text Placeholder 4"/>
          <p:cNvSpPr>
            <a:spLocks noGrp="1"/>
          </p:cNvSpPr>
          <p:nvPr>
            <p:ph type="body" sz="quarter" idx="12" hasCustomPrompt="1"/>
          </p:nvPr>
        </p:nvSpPr>
        <p:spPr>
          <a:xfrm>
            <a:off x="584200" y="3771900"/>
            <a:ext cx="5964881" cy="246221"/>
          </a:xfrm>
          <a:noFill/>
        </p:spPr>
        <p:txBody>
          <a:bodyPr wrap="square" lIns="0" tIns="0" rIns="0" bIns="0">
            <a:spAutoFit/>
          </a:bodyPr>
          <a:lstStyle>
            <a:lvl1pPr marL="0" indent="0">
              <a:spcBef>
                <a:spcPts val="0"/>
              </a:spcBef>
              <a:buNone/>
              <a:defRPr sz="1600" spc="0" baseline="0">
                <a:solidFill>
                  <a:srgbClr val="000000"/>
                </a:solidFill>
                <a:latin typeface="Segoe UI" panose="020B0502040204020203" pitchFamily="34" charset="0"/>
                <a:cs typeface="Segoe UI" panose="020B0502040204020203" pitchFamily="34" charset="0"/>
              </a:defRPr>
            </a:lvl1pPr>
          </a:lstStyle>
          <a:p>
            <a:pPr lvl="0"/>
            <a:r>
              <a:rPr lang="en-US"/>
              <a:t>Speaker name or subtitle text</a:t>
            </a:r>
          </a:p>
        </p:txBody>
      </p:sp>
      <p:sp>
        <p:nvSpPr>
          <p:cNvPr id="13" name="Rectangle 12">
            <a:extLst>
              <a:ext uri="{FF2B5EF4-FFF2-40B4-BE49-F238E27FC236}">
                <a16:creationId xmlns:a16="http://schemas.microsoft.com/office/drawing/2014/main" id="{1E496E0B-D426-DA9A-1C40-E5216B9B7551}"/>
              </a:ext>
            </a:extLst>
          </p:cNvPr>
          <p:cNvSpPr/>
          <p:nvPr userDrawn="1"/>
        </p:nvSpPr>
        <p:spPr bwMode="auto">
          <a:xfrm>
            <a:off x="0" y="6611778"/>
            <a:ext cx="12192000" cy="24622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4522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10_Title Slide 2">
    <p:bg>
      <p:bgPr>
        <a:solidFill>
          <a:schemeClr val="bg1"/>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2BC64979-D97F-2FFE-A8C1-5B6CBB8352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1113" y="1103350"/>
            <a:ext cx="4867200" cy="4867200"/>
          </a:xfrm>
          <a:prstGeom prst="rect">
            <a:avLst/>
          </a:prstGeom>
        </p:spPr>
      </p:pic>
      <p:sp>
        <p:nvSpPr>
          <p:cNvPr id="9" name="Title 1"/>
          <p:cNvSpPr>
            <a:spLocks noGrp="1"/>
          </p:cNvSpPr>
          <p:nvPr>
            <p:ph type="title" hasCustomPrompt="1"/>
          </p:nvPr>
        </p:nvSpPr>
        <p:spPr>
          <a:xfrm>
            <a:off x="584200" y="2982952"/>
            <a:ext cx="5964881" cy="553998"/>
          </a:xfrm>
          <a:noFill/>
        </p:spPr>
        <p:txBody>
          <a:bodyPr wrap="square" lIns="0" tIns="0" rIns="0" bIns="0" anchor="b" anchorCtr="0">
            <a:spAutoFit/>
          </a:bodyPr>
          <a:lstStyle>
            <a:lvl1pPr>
              <a:defRPr sz="3600" spc="-50" baseline="0">
                <a:solidFill>
                  <a:srgbClr val="0078D4"/>
                </a:solidFill>
                <a:latin typeface="Segoe UI Semibold" panose="020B0702040204020203" pitchFamily="34" charset="0"/>
                <a:cs typeface="Segoe UI Semibold" panose="020B0702040204020203" pitchFamily="34" charset="0"/>
              </a:defRPr>
            </a:lvl1pPr>
          </a:lstStyle>
          <a:p>
            <a:r>
              <a:rPr lang="en-US"/>
              <a:t>Title goes here</a:t>
            </a:r>
          </a:p>
        </p:txBody>
      </p:sp>
      <p:sp>
        <p:nvSpPr>
          <p:cNvPr id="5" name="Text Placeholder 4"/>
          <p:cNvSpPr>
            <a:spLocks noGrp="1"/>
          </p:cNvSpPr>
          <p:nvPr>
            <p:ph type="body" sz="quarter" idx="12" hasCustomPrompt="1"/>
          </p:nvPr>
        </p:nvSpPr>
        <p:spPr>
          <a:xfrm>
            <a:off x="584200" y="3771900"/>
            <a:ext cx="5964881" cy="246221"/>
          </a:xfrm>
          <a:noFill/>
        </p:spPr>
        <p:txBody>
          <a:bodyPr wrap="square" lIns="0" tIns="0" rIns="0" bIns="0">
            <a:spAutoFit/>
          </a:bodyPr>
          <a:lstStyle>
            <a:lvl1pPr marL="0" indent="0">
              <a:spcBef>
                <a:spcPts val="0"/>
              </a:spcBef>
              <a:buNone/>
              <a:defRPr sz="1600" spc="0" baseline="0">
                <a:solidFill>
                  <a:srgbClr val="000000"/>
                </a:solidFill>
                <a:latin typeface="Segoe UI" panose="020B0502040204020203" pitchFamily="34" charset="0"/>
                <a:cs typeface="Segoe UI" panose="020B0502040204020203" pitchFamily="34" charset="0"/>
              </a:defRPr>
            </a:lvl1pPr>
          </a:lstStyle>
          <a:p>
            <a:pPr lvl="0"/>
            <a:r>
              <a:rPr lang="en-US"/>
              <a:t>Speaker name or subtitle text</a:t>
            </a:r>
          </a:p>
        </p:txBody>
      </p:sp>
      <p:sp>
        <p:nvSpPr>
          <p:cNvPr id="13" name="Rectangle 12">
            <a:extLst>
              <a:ext uri="{FF2B5EF4-FFF2-40B4-BE49-F238E27FC236}">
                <a16:creationId xmlns:a16="http://schemas.microsoft.com/office/drawing/2014/main" id="{1E496E0B-D426-DA9A-1C40-E5216B9B7551}"/>
              </a:ext>
            </a:extLst>
          </p:cNvPr>
          <p:cNvSpPr/>
          <p:nvPr userDrawn="1"/>
        </p:nvSpPr>
        <p:spPr bwMode="auto">
          <a:xfrm>
            <a:off x="0" y="6611778"/>
            <a:ext cx="12192000" cy="246222"/>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9895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9_Title Slide 2">
    <p:bg>
      <p:bgPr>
        <a:solidFill>
          <a:schemeClr val="bg1"/>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2BC64979-D97F-2FFE-A8C1-5B6CBB8352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1113" y="1103350"/>
            <a:ext cx="4867200" cy="4867200"/>
          </a:xfrm>
          <a:prstGeom prst="rect">
            <a:avLst/>
          </a:prstGeom>
        </p:spPr>
      </p:pic>
      <p:sp>
        <p:nvSpPr>
          <p:cNvPr id="9" name="Title 1"/>
          <p:cNvSpPr>
            <a:spLocks noGrp="1"/>
          </p:cNvSpPr>
          <p:nvPr>
            <p:ph type="title" hasCustomPrompt="1"/>
          </p:nvPr>
        </p:nvSpPr>
        <p:spPr>
          <a:xfrm>
            <a:off x="584200" y="2982952"/>
            <a:ext cx="5964881" cy="553998"/>
          </a:xfrm>
          <a:noFill/>
        </p:spPr>
        <p:txBody>
          <a:bodyPr wrap="square" lIns="0" tIns="0" rIns="0" bIns="0" anchor="b" anchorCtr="0">
            <a:spAutoFit/>
          </a:bodyPr>
          <a:lstStyle>
            <a:lvl1pPr>
              <a:defRPr sz="3600" spc="-50" baseline="0">
                <a:solidFill>
                  <a:schemeClr val="tx1"/>
                </a:solidFill>
                <a:latin typeface="Segoe UI Semibold" panose="020B0702040204020203" pitchFamily="34" charset="0"/>
                <a:cs typeface="Segoe UI Semibold" panose="020B0702040204020203" pitchFamily="34" charset="0"/>
              </a:defRPr>
            </a:lvl1pPr>
          </a:lstStyle>
          <a:p>
            <a:r>
              <a:rPr lang="en-US"/>
              <a:t>Title goes here</a:t>
            </a:r>
          </a:p>
        </p:txBody>
      </p:sp>
      <p:sp>
        <p:nvSpPr>
          <p:cNvPr id="5" name="Text Placeholder 4"/>
          <p:cNvSpPr>
            <a:spLocks noGrp="1"/>
          </p:cNvSpPr>
          <p:nvPr>
            <p:ph type="body" sz="quarter" idx="12" hasCustomPrompt="1"/>
          </p:nvPr>
        </p:nvSpPr>
        <p:spPr>
          <a:xfrm>
            <a:off x="584200" y="3771900"/>
            <a:ext cx="5964881" cy="246221"/>
          </a:xfrm>
          <a:noFill/>
        </p:spPr>
        <p:txBody>
          <a:bodyPr wrap="square" lIns="0" tIns="0" rIns="0" bIns="0">
            <a:spAutoFit/>
          </a:bodyPr>
          <a:lstStyle>
            <a:lvl1pPr marL="0" indent="0">
              <a:spcBef>
                <a:spcPts val="0"/>
              </a:spcBef>
              <a:buNone/>
              <a:defRPr sz="1600" spc="0" baseline="0">
                <a:solidFill>
                  <a:srgbClr val="000000"/>
                </a:solidFill>
                <a:latin typeface="Segoe UI" panose="020B0502040204020203" pitchFamily="34" charset="0"/>
                <a:cs typeface="Segoe UI" panose="020B0502040204020203" pitchFamily="34" charset="0"/>
              </a:defRPr>
            </a:lvl1pPr>
          </a:lstStyle>
          <a:p>
            <a:pPr lvl="0"/>
            <a:r>
              <a:rPr lang="en-US"/>
              <a:t>Speaker name or subtitle text</a:t>
            </a:r>
          </a:p>
        </p:txBody>
      </p:sp>
      <p:sp>
        <p:nvSpPr>
          <p:cNvPr id="13" name="Rectangle 12">
            <a:extLst>
              <a:ext uri="{FF2B5EF4-FFF2-40B4-BE49-F238E27FC236}">
                <a16:creationId xmlns:a16="http://schemas.microsoft.com/office/drawing/2014/main" id="{1E496E0B-D426-DA9A-1C40-E5216B9B7551}"/>
              </a:ext>
            </a:extLst>
          </p:cNvPr>
          <p:cNvSpPr/>
          <p:nvPr userDrawn="1"/>
        </p:nvSpPr>
        <p:spPr bwMode="auto">
          <a:xfrm>
            <a:off x="0" y="6611778"/>
            <a:ext cx="12192000" cy="246222"/>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330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7_Title Slide 2">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82952"/>
            <a:ext cx="5964881" cy="553998"/>
          </a:xfrm>
          <a:noFill/>
        </p:spPr>
        <p:txBody>
          <a:bodyPr wrap="square" lIns="0" tIns="0" rIns="0" bIns="0" anchor="b" anchorCtr="0">
            <a:spAutoFit/>
          </a:bodyPr>
          <a:lstStyle>
            <a:lvl1pPr>
              <a:defRPr sz="3600" spc="-50" baseline="0">
                <a:solidFill>
                  <a:srgbClr val="000000"/>
                </a:solidFill>
                <a:latin typeface="Segoe UI Semibold" panose="020B0702040204020203" pitchFamily="34" charset="0"/>
                <a:cs typeface="Segoe UI Semibold" panose="020B0702040204020203" pitchFamily="34" charset="0"/>
              </a:defRPr>
            </a:lvl1pPr>
          </a:lstStyle>
          <a:p>
            <a:r>
              <a:rPr lang="en-US"/>
              <a:t>Title goes here</a:t>
            </a:r>
          </a:p>
        </p:txBody>
      </p:sp>
      <p:sp>
        <p:nvSpPr>
          <p:cNvPr id="5" name="Text Placeholder 4"/>
          <p:cNvSpPr>
            <a:spLocks noGrp="1"/>
          </p:cNvSpPr>
          <p:nvPr>
            <p:ph type="body" sz="quarter" idx="12" hasCustomPrompt="1"/>
          </p:nvPr>
        </p:nvSpPr>
        <p:spPr>
          <a:xfrm>
            <a:off x="584200" y="3962400"/>
            <a:ext cx="5964881" cy="246221"/>
          </a:xfrm>
          <a:noFill/>
        </p:spPr>
        <p:txBody>
          <a:bodyPr wrap="square" lIns="0" tIns="0" rIns="0" bIns="0">
            <a:spAutoFit/>
          </a:bodyPr>
          <a:lstStyle>
            <a:lvl1pPr marL="0" indent="0">
              <a:spcBef>
                <a:spcPts val="0"/>
              </a:spcBef>
              <a:buNone/>
              <a:defRPr sz="1600" spc="0" baseline="0">
                <a:solidFill>
                  <a:srgbClr val="000000"/>
                </a:solidFill>
                <a:latin typeface="Segoe UI" panose="020B0502040204020203" pitchFamily="34" charset="0"/>
                <a:cs typeface="Segoe UI" panose="020B0502040204020203" pitchFamily="34" charset="0"/>
              </a:defRPr>
            </a:lvl1pPr>
          </a:lstStyle>
          <a:p>
            <a:pPr lvl="0"/>
            <a:r>
              <a:rPr lang="en-US"/>
              <a:t>Speaker name or subtitle text</a:t>
            </a:r>
          </a:p>
        </p:txBody>
      </p:sp>
      <p:pic>
        <p:nvPicPr>
          <p:cNvPr id="4" name="Graphic 3">
            <a:extLst>
              <a:ext uri="{FF2B5EF4-FFF2-40B4-BE49-F238E27FC236}">
                <a16:creationId xmlns:a16="http://schemas.microsoft.com/office/drawing/2014/main" id="{9233C245-454E-EB5E-A7F6-F5F088FB0F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1652" y="1129473"/>
            <a:ext cx="4866661" cy="4866661"/>
          </a:xfrm>
          <a:prstGeom prst="rect">
            <a:avLst/>
          </a:prstGeom>
        </p:spPr>
      </p:pic>
    </p:spTree>
    <p:extLst>
      <p:ext uri="{BB962C8B-B14F-4D97-AF65-F5344CB8AC3E}">
        <p14:creationId xmlns:p14="http://schemas.microsoft.com/office/powerpoint/2010/main" val="2885129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Title Slide 2">
    <p:bg>
      <p:bgPr>
        <a:solidFill>
          <a:srgbClr val="00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82952"/>
            <a:ext cx="5964881" cy="553998"/>
          </a:xfrm>
          <a:noFill/>
        </p:spPr>
        <p:txBody>
          <a:bodyPr wrap="square" lIns="0" tIns="0" rIns="0" bIns="0" anchor="b" anchorCtr="0">
            <a:spAutoFit/>
          </a:bodyPr>
          <a:lstStyle>
            <a:lvl1pPr>
              <a:defRPr sz="3600" spc="-50" baseline="0">
                <a:solidFill>
                  <a:schemeClr val="bg1"/>
                </a:solidFill>
                <a:latin typeface="Segoe UI Semibold" panose="020B0702040204020203" pitchFamily="34" charset="0"/>
                <a:cs typeface="Segoe UI Semibold" panose="020B0702040204020203" pitchFamily="34" charset="0"/>
              </a:defRPr>
            </a:lvl1pPr>
          </a:lstStyle>
          <a:p>
            <a:r>
              <a:rPr lang="en-US"/>
              <a:t>Title goes here</a:t>
            </a:r>
          </a:p>
        </p:txBody>
      </p:sp>
      <p:sp>
        <p:nvSpPr>
          <p:cNvPr id="5" name="Text Placeholder 4"/>
          <p:cNvSpPr>
            <a:spLocks noGrp="1"/>
          </p:cNvSpPr>
          <p:nvPr>
            <p:ph type="body" sz="quarter" idx="12" hasCustomPrompt="1"/>
          </p:nvPr>
        </p:nvSpPr>
        <p:spPr>
          <a:xfrm>
            <a:off x="584200" y="3962400"/>
            <a:ext cx="5964881" cy="246221"/>
          </a:xfrm>
          <a:noFill/>
        </p:spPr>
        <p:txBody>
          <a:bodyPr wrap="square" lIns="0" tIns="0" rIns="0" bIns="0">
            <a:spAutoFit/>
          </a:bodyPr>
          <a:lstStyle>
            <a:lvl1pPr marL="0" indent="0">
              <a:spcBef>
                <a:spcPts val="0"/>
              </a:spcBef>
              <a:buNone/>
              <a:defRPr sz="1600" spc="0" baseline="0">
                <a:solidFill>
                  <a:schemeClr val="bg1"/>
                </a:solidFill>
                <a:latin typeface="Segoe UI" panose="020B0502040204020203" pitchFamily="34" charset="0"/>
                <a:cs typeface="Segoe UI" panose="020B0502040204020203" pitchFamily="34" charset="0"/>
              </a:defRPr>
            </a:lvl1pPr>
          </a:lstStyle>
          <a:p>
            <a:pPr lvl="0"/>
            <a:r>
              <a:rPr lang="en-US"/>
              <a:t>Speaker name or subtitle text</a:t>
            </a:r>
          </a:p>
        </p:txBody>
      </p:sp>
      <p:pic>
        <p:nvPicPr>
          <p:cNvPr id="4" name="Graphic 3">
            <a:extLst>
              <a:ext uri="{FF2B5EF4-FFF2-40B4-BE49-F238E27FC236}">
                <a16:creationId xmlns:a16="http://schemas.microsoft.com/office/drawing/2014/main" id="{9233C245-454E-EB5E-A7F6-F5F088FB0F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1652" y="1129473"/>
            <a:ext cx="4866661" cy="4866661"/>
          </a:xfrm>
          <a:prstGeom prst="rect">
            <a:avLst/>
          </a:prstGeom>
        </p:spPr>
      </p:pic>
    </p:spTree>
    <p:extLst>
      <p:ext uri="{BB962C8B-B14F-4D97-AF65-F5344CB8AC3E}">
        <p14:creationId xmlns:p14="http://schemas.microsoft.com/office/powerpoint/2010/main" val="38362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6_Title Slide 2">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82952"/>
            <a:ext cx="5964881" cy="553998"/>
          </a:xfrm>
          <a:noFill/>
        </p:spPr>
        <p:txBody>
          <a:bodyPr wrap="square" lIns="0" tIns="0" rIns="0" bIns="0" anchor="b" anchorCtr="0">
            <a:spAutoFit/>
          </a:bodyPr>
          <a:lstStyle>
            <a:lvl1pPr>
              <a:defRPr sz="3600" spc="-50" baseline="0">
                <a:solidFill>
                  <a:schemeClr val="bg1"/>
                </a:solidFill>
                <a:latin typeface="Segoe UI Semibold" panose="020B0702040204020203" pitchFamily="34" charset="0"/>
                <a:cs typeface="Segoe UI Semibold" panose="020B0702040204020203" pitchFamily="34" charset="0"/>
              </a:defRPr>
            </a:lvl1pPr>
          </a:lstStyle>
          <a:p>
            <a:r>
              <a:rPr lang="en-US"/>
              <a:t>Title goes here</a:t>
            </a:r>
          </a:p>
        </p:txBody>
      </p:sp>
      <p:sp>
        <p:nvSpPr>
          <p:cNvPr id="5" name="Text Placeholder 4"/>
          <p:cNvSpPr>
            <a:spLocks noGrp="1"/>
          </p:cNvSpPr>
          <p:nvPr>
            <p:ph type="body" sz="quarter" idx="12" hasCustomPrompt="1"/>
          </p:nvPr>
        </p:nvSpPr>
        <p:spPr>
          <a:xfrm>
            <a:off x="584200" y="3962400"/>
            <a:ext cx="5964881" cy="246221"/>
          </a:xfrm>
          <a:noFill/>
        </p:spPr>
        <p:txBody>
          <a:bodyPr wrap="square" lIns="0" tIns="0" rIns="0" bIns="0">
            <a:spAutoFit/>
          </a:bodyPr>
          <a:lstStyle>
            <a:lvl1pPr marL="0" indent="0">
              <a:spcBef>
                <a:spcPts val="0"/>
              </a:spcBef>
              <a:buNone/>
              <a:defRPr sz="1600" spc="0" baseline="0">
                <a:solidFill>
                  <a:schemeClr val="bg1"/>
                </a:solidFill>
                <a:latin typeface="Segoe UI" panose="020B0502040204020203" pitchFamily="34" charset="0"/>
                <a:cs typeface="Segoe UI" panose="020B0502040204020203" pitchFamily="34" charset="0"/>
              </a:defRPr>
            </a:lvl1pPr>
          </a:lstStyle>
          <a:p>
            <a:pPr lvl="0"/>
            <a:r>
              <a:rPr lang="en-US"/>
              <a:t>Speaker name or subtitle text</a:t>
            </a:r>
          </a:p>
        </p:txBody>
      </p:sp>
      <p:pic>
        <p:nvPicPr>
          <p:cNvPr id="4" name="Graphic 3">
            <a:extLst>
              <a:ext uri="{FF2B5EF4-FFF2-40B4-BE49-F238E27FC236}">
                <a16:creationId xmlns:a16="http://schemas.microsoft.com/office/drawing/2014/main" id="{9233C245-454E-EB5E-A7F6-F5F088FB0F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1652" y="1129473"/>
            <a:ext cx="4866661" cy="4866661"/>
          </a:xfrm>
          <a:prstGeom prst="rect">
            <a:avLst/>
          </a:prstGeom>
        </p:spPr>
      </p:pic>
    </p:spTree>
    <p:extLst>
      <p:ext uri="{BB962C8B-B14F-4D97-AF65-F5344CB8AC3E}">
        <p14:creationId xmlns:p14="http://schemas.microsoft.com/office/powerpoint/2010/main" val="412925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11_Section Titl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58986C-C55D-4A8C-AAAF-1FEA4E9C56A2}"/>
              </a:ext>
            </a:extLst>
          </p:cNvPr>
          <p:cNvSpPr/>
          <p:nvPr userDrawn="1"/>
        </p:nvSpPr>
        <p:spPr>
          <a:xfrm>
            <a:off x="6099142" y="0"/>
            <a:ext cx="609285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4">
            <a:extLst>
              <a:ext uri="{FF2B5EF4-FFF2-40B4-BE49-F238E27FC236}">
                <a16:creationId xmlns:a16="http://schemas.microsoft.com/office/drawing/2014/main" id="{6E1CF619-8ECC-83DE-8460-A33C6E634AAF}"/>
              </a:ext>
            </a:extLst>
          </p:cNvPr>
          <p:cNvSpPr>
            <a:spLocks noGrp="1"/>
          </p:cNvSpPr>
          <p:nvPr>
            <p:ph type="pic" sz="quarter" idx="11"/>
          </p:nvPr>
        </p:nvSpPr>
        <p:spPr>
          <a:xfrm>
            <a:off x="7183438" y="1216818"/>
            <a:ext cx="4424362" cy="4424363"/>
          </a:xfrm>
        </p:spPr>
        <p:txBody>
          <a:bodyPr/>
          <a:lstStyle/>
          <a:p>
            <a:endParaRPr lang="en-US"/>
          </a:p>
        </p:txBody>
      </p:sp>
      <p:grpSp>
        <p:nvGrpSpPr>
          <p:cNvPr id="5" name="Group 4">
            <a:extLst>
              <a:ext uri="{FF2B5EF4-FFF2-40B4-BE49-F238E27FC236}">
                <a16:creationId xmlns:a16="http://schemas.microsoft.com/office/drawing/2014/main" id="{BFB207B0-D0D0-0339-A7C3-4985252CAB30}"/>
              </a:ext>
            </a:extLst>
          </p:cNvPr>
          <p:cNvGrpSpPr/>
          <p:nvPr userDrawn="1"/>
        </p:nvGrpSpPr>
        <p:grpSpPr>
          <a:xfrm>
            <a:off x="8211425" y="2600549"/>
            <a:ext cx="2065446" cy="2176416"/>
            <a:chOff x="8211425" y="2600549"/>
            <a:chExt cx="2065446" cy="2176416"/>
          </a:xfrm>
        </p:grpSpPr>
        <p:grpSp>
          <p:nvGrpSpPr>
            <p:cNvPr id="7" name="Group 6">
              <a:extLst>
                <a:ext uri="{FF2B5EF4-FFF2-40B4-BE49-F238E27FC236}">
                  <a16:creationId xmlns:a16="http://schemas.microsoft.com/office/drawing/2014/main" id="{C5F82759-7E0F-44A5-D926-B922EBAD7967}"/>
                </a:ext>
              </a:extLst>
            </p:cNvPr>
            <p:cNvGrpSpPr/>
            <p:nvPr/>
          </p:nvGrpSpPr>
          <p:grpSpPr>
            <a:xfrm>
              <a:off x="8211425" y="2600549"/>
              <a:ext cx="2065446" cy="1584676"/>
              <a:chOff x="7839340" y="2336579"/>
              <a:chExt cx="2815960" cy="2160494"/>
            </a:xfrm>
          </p:grpSpPr>
          <p:sp>
            <p:nvSpPr>
              <p:cNvPr id="9" name="Rectangle 8">
                <a:extLst>
                  <a:ext uri="{FF2B5EF4-FFF2-40B4-BE49-F238E27FC236}">
                    <a16:creationId xmlns:a16="http://schemas.microsoft.com/office/drawing/2014/main" id="{2E5E06E0-8E2F-8CAA-031A-CC51EA796EB3}"/>
                  </a:ext>
                </a:extLst>
              </p:cNvPr>
              <p:cNvSpPr/>
              <p:nvPr/>
            </p:nvSpPr>
            <p:spPr>
              <a:xfrm>
                <a:off x="7839340" y="2336579"/>
                <a:ext cx="2809616" cy="215335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64FDAD7-409D-E788-51F5-08CF601A7AB1}"/>
                  </a:ext>
                </a:extLst>
              </p:cNvPr>
              <p:cNvSpPr/>
              <p:nvPr/>
            </p:nvSpPr>
            <p:spPr>
              <a:xfrm>
                <a:off x="9569962" y="2581139"/>
                <a:ext cx="661851" cy="6618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30">
                <a:extLst>
                  <a:ext uri="{FF2B5EF4-FFF2-40B4-BE49-F238E27FC236}">
                    <a16:creationId xmlns:a16="http://schemas.microsoft.com/office/drawing/2014/main" id="{CEACFD07-3359-33D7-57FA-04D94E758865}"/>
                  </a:ext>
                </a:extLst>
              </p:cNvPr>
              <p:cNvSpPr/>
              <p:nvPr/>
            </p:nvSpPr>
            <p:spPr>
              <a:xfrm>
                <a:off x="7848600" y="3165603"/>
                <a:ext cx="1965961" cy="1331470"/>
              </a:xfrm>
              <a:custGeom>
                <a:avLst/>
                <a:gdLst>
                  <a:gd name="connsiteX0" fmla="*/ 0 w 2290355"/>
                  <a:gd name="connsiteY0" fmla="*/ 1331470 h 1331470"/>
                  <a:gd name="connsiteX1" fmla="*/ 1145178 w 2290355"/>
                  <a:gd name="connsiteY1" fmla="*/ 0 h 1331470"/>
                  <a:gd name="connsiteX2" fmla="*/ 2290355 w 2290355"/>
                  <a:gd name="connsiteY2" fmla="*/ 1331470 h 1331470"/>
                  <a:gd name="connsiteX3" fmla="*/ 0 w 2290355"/>
                  <a:gd name="connsiteY3"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0 w 2290355"/>
                  <a:gd name="connsiteY4"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330744 w 2290355"/>
                  <a:gd name="connsiteY4" fmla="*/ 1330197 h 1331470"/>
                  <a:gd name="connsiteX5" fmla="*/ 0 w 2290355"/>
                  <a:gd name="connsiteY5" fmla="*/ 1331470 h 1331470"/>
                  <a:gd name="connsiteX0" fmla="*/ 5806 w 1965961"/>
                  <a:gd name="connsiteY0" fmla="*/ 1318770 h 1331470"/>
                  <a:gd name="connsiteX1" fmla="*/ 0 w 1965961"/>
                  <a:gd name="connsiteY1" fmla="*/ 949197 h 1331470"/>
                  <a:gd name="connsiteX2" fmla="*/ 820784 w 1965961"/>
                  <a:gd name="connsiteY2" fmla="*/ 0 h 1331470"/>
                  <a:gd name="connsiteX3" fmla="*/ 1965961 w 1965961"/>
                  <a:gd name="connsiteY3" fmla="*/ 1331470 h 1331470"/>
                  <a:gd name="connsiteX4" fmla="*/ 6350 w 1965961"/>
                  <a:gd name="connsiteY4" fmla="*/ 1330197 h 1331470"/>
                  <a:gd name="connsiteX5" fmla="*/ 5806 w 1965961"/>
                  <a:gd name="connsiteY5" fmla="*/ 1318770 h 1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961" h="1331470">
                    <a:moveTo>
                      <a:pt x="5806" y="1318770"/>
                    </a:moveTo>
                    <a:cubicBezTo>
                      <a:pt x="3871" y="1195579"/>
                      <a:pt x="1935" y="1072388"/>
                      <a:pt x="0" y="949197"/>
                    </a:cubicBezTo>
                    <a:lnTo>
                      <a:pt x="820784" y="0"/>
                    </a:lnTo>
                    <a:lnTo>
                      <a:pt x="1965961" y="1331470"/>
                    </a:lnTo>
                    <a:lnTo>
                      <a:pt x="6350" y="1330197"/>
                    </a:lnTo>
                    <a:cubicBezTo>
                      <a:pt x="6169" y="1326388"/>
                      <a:pt x="5987" y="1322579"/>
                      <a:pt x="5806" y="1318770"/>
                    </a:cubicBez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31">
                <a:extLst>
                  <a:ext uri="{FF2B5EF4-FFF2-40B4-BE49-F238E27FC236}">
                    <a16:creationId xmlns:a16="http://schemas.microsoft.com/office/drawing/2014/main" id="{3697F093-D1A0-7277-CC6E-7EBE79D2306B}"/>
                  </a:ext>
                </a:extLst>
              </p:cNvPr>
              <p:cNvSpPr/>
              <p:nvPr/>
            </p:nvSpPr>
            <p:spPr>
              <a:xfrm>
                <a:off x="8890358" y="3494691"/>
                <a:ext cx="1764942" cy="1002382"/>
              </a:xfrm>
              <a:custGeom>
                <a:avLst/>
                <a:gdLst>
                  <a:gd name="connsiteX0" fmla="*/ 0 w 2037808"/>
                  <a:gd name="connsiteY0" fmla="*/ 1002382 h 1002382"/>
                  <a:gd name="connsiteX1" fmla="*/ 1018904 w 2037808"/>
                  <a:gd name="connsiteY1" fmla="*/ 0 h 1002382"/>
                  <a:gd name="connsiteX2" fmla="*/ 2037808 w 2037808"/>
                  <a:gd name="connsiteY2" fmla="*/ 1002382 h 1002382"/>
                  <a:gd name="connsiteX3" fmla="*/ 0 w 2037808"/>
                  <a:gd name="connsiteY3"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0 w 2037808"/>
                  <a:gd name="connsiteY4"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1752242 w 2037808"/>
                  <a:gd name="connsiteY4" fmla="*/ 1001109 h 1002382"/>
                  <a:gd name="connsiteX5" fmla="*/ 0 w 2037808"/>
                  <a:gd name="connsiteY5" fmla="*/ 1002382 h 1002382"/>
                  <a:gd name="connsiteX0" fmla="*/ 0 w 1764942"/>
                  <a:gd name="connsiteY0" fmla="*/ 1002382 h 1002382"/>
                  <a:gd name="connsiteX1" fmla="*/ 1018904 w 1764942"/>
                  <a:gd name="connsiteY1" fmla="*/ 0 h 1002382"/>
                  <a:gd name="connsiteX2" fmla="*/ 1764942 w 1764942"/>
                  <a:gd name="connsiteY2" fmla="*/ 734409 h 1002382"/>
                  <a:gd name="connsiteX3" fmla="*/ 1752058 w 1764942"/>
                  <a:gd name="connsiteY3" fmla="*/ 989682 h 1002382"/>
                  <a:gd name="connsiteX4" fmla="*/ 1752242 w 1764942"/>
                  <a:gd name="connsiteY4" fmla="*/ 1001109 h 1002382"/>
                  <a:gd name="connsiteX5" fmla="*/ 0 w 1764942"/>
                  <a:gd name="connsiteY5" fmla="*/ 1002382 h 100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942" h="1002382">
                    <a:moveTo>
                      <a:pt x="0" y="1002382"/>
                    </a:moveTo>
                    <a:lnTo>
                      <a:pt x="1018904" y="0"/>
                    </a:lnTo>
                    <a:lnTo>
                      <a:pt x="1764942" y="734409"/>
                    </a:lnTo>
                    <a:lnTo>
                      <a:pt x="1752058" y="989682"/>
                    </a:lnTo>
                    <a:cubicBezTo>
                      <a:pt x="1752119" y="993491"/>
                      <a:pt x="1752181" y="997300"/>
                      <a:pt x="1752242" y="1001109"/>
                    </a:cubicBezTo>
                    <a:lnTo>
                      <a:pt x="0" y="1002382"/>
                    </a:ln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9B1850AF-6B81-DC71-5398-92FAE808E2A2}"/>
                </a:ext>
              </a:extLst>
            </p:cNvPr>
            <p:cNvSpPr txBox="1"/>
            <p:nvPr/>
          </p:nvSpPr>
          <p:spPr>
            <a:xfrm>
              <a:off x="8211425" y="4376855"/>
              <a:ext cx="2060793" cy="400110"/>
            </a:xfrm>
            <a:prstGeom prst="rect">
              <a:avLst/>
            </a:prstGeom>
            <a:noFill/>
          </p:spPr>
          <p:txBody>
            <a:bodyPr wrap="square" rtlCol="0">
              <a:spAutoFit/>
            </a:bodyPr>
            <a:lstStyle/>
            <a:p>
              <a:pPr algn="ctr"/>
              <a:r>
                <a:rPr lang="en-US" sz="2000" b="1">
                  <a:solidFill>
                    <a:schemeClr val="bg1"/>
                  </a:solidFill>
                  <a:latin typeface="Segoe UI" panose="020B0502040204020203" pitchFamily="34" charset="0"/>
                  <a:cs typeface="Segoe UI" panose="020B0502040204020203" pitchFamily="34" charset="0"/>
                </a:rPr>
                <a:t>ADD IMAGE</a:t>
              </a:r>
            </a:p>
          </p:txBody>
        </p:sp>
      </p:grpSp>
      <p:sp>
        <p:nvSpPr>
          <p:cNvPr id="2" name="Title 1"/>
          <p:cNvSpPr>
            <a:spLocks noGrp="1"/>
          </p:cNvSpPr>
          <p:nvPr>
            <p:ph type="title" hasCustomPrompt="1"/>
          </p:nvPr>
        </p:nvSpPr>
        <p:spPr>
          <a:xfrm>
            <a:off x="582613" y="3178683"/>
            <a:ext cx="52104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31060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369F613-ED04-2EF4-1637-5D2FE4E8192C}"/>
              </a:ext>
            </a:extLst>
          </p:cNvPr>
          <p:cNvGrpSpPr/>
          <p:nvPr userDrawn="1"/>
        </p:nvGrpSpPr>
        <p:grpSpPr>
          <a:xfrm>
            <a:off x="7075507" y="1670304"/>
            <a:ext cx="3467968" cy="4541759"/>
            <a:chOff x="7072556" y="1708404"/>
            <a:chExt cx="3467968" cy="4541759"/>
          </a:xfrm>
        </p:grpSpPr>
        <p:sp>
          <p:nvSpPr>
            <p:cNvPr id="4" name="Rectangle 3">
              <a:extLst>
                <a:ext uri="{FF2B5EF4-FFF2-40B4-BE49-F238E27FC236}">
                  <a16:creationId xmlns:a16="http://schemas.microsoft.com/office/drawing/2014/main" id="{D52523FE-3FFB-A345-32B3-F8B199989A22}"/>
                </a:ext>
              </a:extLst>
            </p:cNvPr>
            <p:cNvSpPr/>
            <p:nvPr/>
          </p:nvSpPr>
          <p:spPr bwMode="auto">
            <a:xfrm>
              <a:off x="7131049" y="1708404"/>
              <a:ext cx="3122931" cy="41367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D535E3BC-3E15-1353-64B5-655970F3789B}"/>
                </a:ext>
              </a:extLst>
            </p:cNvPr>
            <p:cNvGrpSpPr/>
            <p:nvPr/>
          </p:nvGrpSpPr>
          <p:grpSpPr>
            <a:xfrm>
              <a:off x="7072556" y="5831671"/>
              <a:ext cx="3467968" cy="418492"/>
              <a:chOff x="6597266" y="5038071"/>
              <a:chExt cx="3888817" cy="469277"/>
            </a:xfrm>
          </p:grpSpPr>
          <p:sp>
            <p:nvSpPr>
              <p:cNvPr id="6" name="Graphic 99">
                <a:extLst>
                  <a:ext uri="{FF2B5EF4-FFF2-40B4-BE49-F238E27FC236}">
                    <a16:creationId xmlns:a16="http://schemas.microsoft.com/office/drawing/2014/main" id="{DE15981D-A150-1896-FC71-E50F7056BDEF}"/>
                  </a:ext>
                </a:extLst>
              </p:cNvPr>
              <p:cNvSpPr/>
              <p:nvPr/>
            </p:nvSpPr>
            <p:spPr>
              <a:xfrm>
                <a:off x="6597266" y="5038071"/>
                <a:ext cx="3888817" cy="469277"/>
              </a:xfrm>
              <a:custGeom>
                <a:avLst/>
                <a:gdLst>
                  <a:gd name="connsiteX0" fmla="*/ 3654179 w 3888817"/>
                  <a:gd name="connsiteY0" fmla="*/ 469278 h 469277"/>
                  <a:gd name="connsiteX1" fmla="*/ 0 w 3888817"/>
                  <a:gd name="connsiteY1" fmla="*/ 469278 h 469277"/>
                  <a:gd name="connsiteX2" fmla="*/ 0 w 3888817"/>
                  <a:gd name="connsiteY2" fmla="*/ 0 h 469277"/>
                  <a:gd name="connsiteX3" fmla="*/ 3654179 w 3888817"/>
                  <a:gd name="connsiteY3" fmla="*/ 0 h 469277"/>
                  <a:gd name="connsiteX4" fmla="*/ 3888818 w 3888817"/>
                  <a:gd name="connsiteY4" fmla="*/ 234639 h 469277"/>
                  <a:gd name="connsiteX5" fmla="*/ 3888818 w 3888817"/>
                  <a:gd name="connsiteY5" fmla="*/ 234639 h 469277"/>
                  <a:gd name="connsiteX6" fmla="*/ 3654179 w 3888817"/>
                  <a:gd name="connsiteY6" fmla="*/ 469278 h 46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8817" h="469277">
                    <a:moveTo>
                      <a:pt x="3654179" y="469278"/>
                    </a:moveTo>
                    <a:lnTo>
                      <a:pt x="0" y="469278"/>
                    </a:lnTo>
                    <a:lnTo>
                      <a:pt x="0" y="0"/>
                    </a:lnTo>
                    <a:lnTo>
                      <a:pt x="3654179" y="0"/>
                    </a:lnTo>
                    <a:cubicBezTo>
                      <a:pt x="3783785" y="0"/>
                      <a:pt x="3888818" y="105070"/>
                      <a:pt x="3888818" y="234639"/>
                    </a:cubicBezTo>
                    <a:lnTo>
                      <a:pt x="3888818" y="234639"/>
                    </a:lnTo>
                    <a:cubicBezTo>
                      <a:pt x="3888818" y="364245"/>
                      <a:pt x="3783748" y="469278"/>
                      <a:pt x="3654179" y="469278"/>
                    </a:cubicBezTo>
                    <a:close/>
                  </a:path>
                </a:pathLst>
              </a:custGeom>
              <a:solidFill>
                <a:srgbClr val="0078D4"/>
              </a:solidFill>
              <a:ln w="3722" cap="flat">
                <a:noFill/>
                <a:prstDash val="solid"/>
                <a:miter/>
              </a:ln>
            </p:spPr>
            <p:txBody>
              <a:bodyPr rtlCol="0" anchor="ctr"/>
              <a:lstStyle/>
              <a:p>
                <a:endParaRPr lang="en-US"/>
              </a:p>
            </p:txBody>
          </p:sp>
          <p:sp>
            <p:nvSpPr>
              <p:cNvPr id="7" name="Graphic 99">
                <a:extLst>
                  <a:ext uri="{FF2B5EF4-FFF2-40B4-BE49-F238E27FC236}">
                    <a16:creationId xmlns:a16="http://schemas.microsoft.com/office/drawing/2014/main" id="{FB993722-1319-3FBF-D134-4647675CB705}"/>
                  </a:ext>
                </a:extLst>
              </p:cNvPr>
              <p:cNvSpPr/>
              <p:nvPr/>
            </p:nvSpPr>
            <p:spPr>
              <a:xfrm>
                <a:off x="10068000" y="5095895"/>
                <a:ext cx="356612" cy="356613"/>
              </a:xfrm>
              <a:custGeom>
                <a:avLst/>
                <a:gdLst>
                  <a:gd name="connsiteX0" fmla="*/ 356612 w 356612"/>
                  <a:gd name="connsiteY0" fmla="*/ 178306 h 356612"/>
                  <a:gd name="connsiteX1" fmla="*/ 178306 w 356612"/>
                  <a:gd name="connsiteY1" fmla="*/ 356613 h 356612"/>
                  <a:gd name="connsiteX2" fmla="*/ 0 w 356612"/>
                  <a:gd name="connsiteY2" fmla="*/ 178306 h 356612"/>
                  <a:gd name="connsiteX3" fmla="*/ 178306 w 356612"/>
                  <a:gd name="connsiteY3" fmla="*/ 0 h 356612"/>
                  <a:gd name="connsiteX4" fmla="*/ 356612 w 356612"/>
                  <a:gd name="connsiteY4" fmla="*/ 178306 h 356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612" h="356612">
                    <a:moveTo>
                      <a:pt x="356612" y="178306"/>
                    </a:moveTo>
                    <a:cubicBezTo>
                      <a:pt x="356612" y="276782"/>
                      <a:pt x="276782" y="356613"/>
                      <a:pt x="178306" y="356613"/>
                    </a:cubicBezTo>
                    <a:cubicBezTo>
                      <a:pt x="79830" y="356613"/>
                      <a:pt x="0" y="276782"/>
                      <a:pt x="0" y="178306"/>
                    </a:cubicBezTo>
                    <a:cubicBezTo>
                      <a:pt x="0" y="79830"/>
                      <a:pt x="79830" y="0"/>
                      <a:pt x="178306" y="0"/>
                    </a:cubicBezTo>
                    <a:cubicBezTo>
                      <a:pt x="276782" y="0"/>
                      <a:pt x="356612" y="79830"/>
                      <a:pt x="356612" y="178306"/>
                    </a:cubicBezTo>
                    <a:close/>
                  </a:path>
                </a:pathLst>
              </a:custGeom>
              <a:solidFill>
                <a:srgbClr val="FFFFFF"/>
              </a:solidFill>
              <a:ln w="3722"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01B82EA0-9E94-94F6-5615-3B0771CF9B22}"/>
              </a:ext>
            </a:extLst>
          </p:cNvPr>
          <p:cNvGrpSpPr/>
          <p:nvPr userDrawn="1"/>
        </p:nvGrpSpPr>
        <p:grpSpPr>
          <a:xfrm>
            <a:off x="3835397" y="1645920"/>
            <a:ext cx="3467965" cy="4566137"/>
            <a:chOff x="3832446" y="1684020"/>
            <a:chExt cx="3467965" cy="4566137"/>
          </a:xfrm>
        </p:grpSpPr>
        <p:sp>
          <p:nvSpPr>
            <p:cNvPr id="9" name="Rectangle 8">
              <a:extLst>
                <a:ext uri="{FF2B5EF4-FFF2-40B4-BE49-F238E27FC236}">
                  <a16:creationId xmlns:a16="http://schemas.microsoft.com/office/drawing/2014/main" id="{E9E45D1C-BDC0-AC13-7756-6FC52059B08A}"/>
                </a:ext>
              </a:extLst>
            </p:cNvPr>
            <p:cNvSpPr/>
            <p:nvPr/>
          </p:nvSpPr>
          <p:spPr bwMode="auto">
            <a:xfrm>
              <a:off x="3864493" y="1684020"/>
              <a:ext cx="3122295" cy="41738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C8DD1E27-39CA-F9A1-1805-D734B2C39BDB}"/>
                </a:ext>
              </a:extLst>
            </p:cNvPr>
            <p:cNvGrpSpPr/>
            <p:nvPr/>
          </p:nvGrpSpPr>
          <p:grpSpPr>
            <a:xfrm>
              <a:off x="3832446" y="5831665"/>
              <a:ext cx="3467965" cy="418492"/>
              <a:chOff x="2898804" y="6244476"/>
              <a:chExt cx="3455378" cy="416973"/>
            </a:xfrm>
          </p:grpSpPr>
          <p:sp>
            <p:nvSpPr>
              <p:cNvPr id="11" name="Graphic 98">
                <a:extLst>
                  <a:ext uri="{FF2B5EF4-FFF2-40B4-BE49-F238E27FC236}">
                    <a16:creationId xmlns:a16="http://schemas.microsoft.com/office/drawing/2014/main" id="{5125370F-7608-D342-046B-CE996AD8AAD4}"/>
                  </a:ext>
                </a:extLst>
              </p:cNvPr>
              <p:cNvSpPr/>
              <p:nvPr/>
            </p:nvSpPr>
            <p:spPr>
              <a:xfrm>
                <a:off x="2898804" y="6244476"/>
                <a:ext cx="3455378" cy="416973"/>
              </a:xfrm>
              <a:custGeom>
                <a:avLst/>
                <a:gdLst>
                  <a:gd name="connsiteX0" fmla="*/ 3246892 w 3455378"/>
                  <a:gd name="connsiteY0" fmla="*/ 416973 h 416973"/>
                  <a:gd name="connsiteX1" fmla="*/ 0 w 3455378"/>
                  <a:gd name="connsiteY1" fmla="*/ 416973 h 416973"/>
                  <a:gd name="connsiteX2" fmla="*/ 0 w 3455378"/>
                  <a:gd name="connsiteY2" fmla="*/ 0 h 416973"/>
                  <a:gd name="connsiteX3" fmla="*/ 3246892 w 3455378"/>
                  <a:gd name="connsiteY3" fmla="*/ 0 h 416973"/>
                  <a:gd name="connsiteX4" fmla="*/ 3455379 w 3455378"/>
                  <a:gd name="connsiteY4" fmla="*/ 208487 h 416973"/>
                  <a:gd name="connsiteX5" fmla="*/ 3455379 w 3455378"/>
                  <a:gd name="connsiteY5" fmla="*/ 208487 h 416973"/>
                  <a:gd name="connsiteX6" fmla="*/ 3246892 w 3455378"/>
                  <a:gd name="connsiteY6" fmla="*/ 416973 h 4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378" h="416973">
                    <a:moveTo>
                      <a:pt x="3246892" y="416973"/>
                    </a:moveTo>
                    <a:lnTo>
                      <a:pt x="0" y="416973"/>
                    </a:lnTo>
                    <a:lnTo>
                      <a:pt x="0" y="0"/>
                    </a:lnTo>
                    <a:lnTo>
                      <a:pt x="3246892" y="0"/>
                    </a:lnTo>
                    <a:cubicBezTo>
                      <a:pt x="3362053" y="0"/>
                      <a:pt x="3455379" y="93359"/>
                      <a:pt x="3455379" y="208487"/>
                    </a:cubicBezTo>
                    <a:lnTo>
                      <a:pt x="3455379" y="208487"/>
                    </a:lnTo>
                    <a:cubicBezTo>
                      <a:pt x="3455379" y="323647"/>
                      <a:pt x="3362020" y="416973"/>
                      <a:pt x="3246892" y="416973"/>
                    </a:cubicBezTo>
                    <a:close/>
                  </a:path>
                </a:pathLst>
              </a:custGeom>
              <a:solidFill>
                <a:srgbClr val="107C10"/>
              </a:solidFill>
              <a:ln w="3303" cap="flat">
                <a:noFill/>
                <a:prstDash val="solid"/>
                <a:miter/>
              </a:ln>
            </p:spPr>
            <p:txBody>
              <a:bodyPr rtlCol="0" anchor="ctr"/>
              <a:lstStyle/>
              <a:p>
                <a:endParaRPr lang="en-US"/>
              </a:p>
            </p:txBody>
          </p:sp>
          <p:sp>
            <p:nvSpPr>
              <p:cNvPr id="12" name="Graphic 98">
                <a:extLst>
                  <a:ext uri="{FF2B5EF4-FFF2-40B4-BE49-F238E27FC236}">
                    <a16:creationId xmlns:a16="http://schemas.microsoft.com/office/drawing/2014/main" id="{86937DDE-8D3E-C060-DC61-99E285BD9CC4}"/>
                  </a:ext>
                </a:extLst>
              </p:cNvPr>
              <p:cNvSpPr/>
              <p:nvPr/>
            </p:nvSpPr>
            <p:spPr>
              <a:xfrm>
                <a:off x="5982699" y="6295845"/>
                <a:ext cx="316865" cy="316865"/>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grpSp>
      <p:grpSp>
        <p:nvGrpSpPr>
          <p:cNvPr id="47" name="Group 46">
            <a:extLst>
              <a:ext uri="{FF2B5EF4-FFF2-40B4-BE49-F238E27FC236}">
                <a16:creationId xmlns:a16="http://schemas.microsoft.com/office/drawing/2014/main" id="{00ABE2CF-02A6-4EAC-3526-693309A80531}"/>
              </a:ext>
            </a:extLst>
          </p:cNvPr>
          <p:cNvGrpSpPr/>
          <p:nvPr userDrawn="1"/>
        </p:nvGrpSpPr>
        <p:grpSpPr>
          <a:xfrm>
            <a:off x="588263" y="1645920"/>
            <a:ext cx="3471170" cy="4566134"/>
            <a:chOff x="588263" y="1645920"/>
            <a:chExt cx="3471170" cy="4566134"/>
          </a:xfrm>
        </p:grpSpPr>
        <p:sp>
          <p:nvSpPr>
            <p:cNvPr id="14" name="Rectangle 13">
              <a:extLst>
                <a:ext uri="{FF2B5EF4-FFF2-40B4-BE49-F238E27FC236}">
                  <a16:creationId xmlns:a16="http://schemas.microsoft.com/office/drawing/2014/main" id="{AAAB528E-FF18-8875-A5B4-623597DBB41C}"/>
                </a:ext>
              </a:extLst>
            </p:cNvPr>
            <p:cNvSpPr/>
            <p:nvPr/>
          </p:nvSpPr>
          <p:spPr bwMode="auto">
            <a:xfrm>
              <a:off x="588263" y="1645920"/>
              <a:ext cx="3119437" cy="41738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F016D853-1B3B-9700-A913-67B647A76247}"/>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3025" y="5793694"/>
              <a:ext cx="3466408" cy="418360"/>
            </a:xfrm>
            <a:prstGeom prst="rect">
              <a:avLst/>
            </a:prstGeom>
          </p:spPr>
        </p:pic>
      </p:grpSp>
      <p:sp>
        <p:nvSpPr>
          <p:cNvPr id="35" name="Picture Placeholder 33">
            <a:extLst>
              <a:ext uri="{FF2B5EF4-FFF2-40B4-BE49-F238E27FC236}">
                <a16:creationId xmlns:a16="http://schemas.microsoft.com/office/drawing/2014/main" id="{7A61179F-15E4-5CA0-7C30-04C2C36AEFE7}"/>
              </a:ext>
            </a:extLst>
          </p:cNvPr>
          <p:cNvSpPr>
            <a:spLocks noGrp="1"/>
          </p:cNvSpPr>
          <p:nvPr userDrawn="1">
            <p:ph type="pic" sz="quarter" idx="24"/>
          </p:nvPr>
        </p:nvSpPr>
        <p:spPr>
          <a:xfrm>
            <a:off x="1500698" y="1646779"/>
            <a:ext cx="2204341" cy="2405270"/>
          </a:xfrm>
        </p:spPr>
        <p:txBody>
          <a:bodyPr/>
          <a:lstStyle/>
          <a:p>
            <a:endParaRPr lang="es-MX"/>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588263" y="483326"/>
            <a:ext cx="11018520" cy="553998"/>
          </a:xfrm>
        </p:spPr>
        <p:txBody>
          <a:bodyPr/>
          <a:lstStyle/>
          <a:p>
            <a:r>
              <a:rPr lang="en-US"/>
              <a:t>Click to edit Master title style</a:t>
            </a:r>
          </a:p>
        </p:txBody>
      </p:sp>
      <p:sp>
        <p:nvSpPr>
          <p:cNvPr id="25" name="Text Placeholder 15">
            <a:extLst>
              <a:ext uri="{FF2B5EF4-FFF2-40B4-BE49-F238E27FC236}">
                <a16:creationId xmlns:a16="http://schemas.microsoft.com/office/drawing/2014/main" id="{07629366-A116-D425-F8FA-280A80422257}"/>
              </a:ext>
            </a:extLst>
          </p:cNvPr>
          <p:cNvSpPr>
            <a:spLocks noGrp="1"/>
          </p:cNvSpPr>
          <p:nvPr userDrawn="1">
            <p:ph type="body" sz="quarter" idx="20" hasCustomPrompt="1"/>
          </p:nvPr>
        </p:nvSpPr>
        <p:spPr>
          <a:xfrm>
            <a:off x="803189" y="4055670"/>
            <a:ext cx="2816859" cy="1538883"/>
          </a:xfrm>
        </p:spPr>
        <p:txBody>
          <a:bodyPr/>
          <a:lstStyle>
            <a:lvl1pPr>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26" name="Text Placeholder 15">
            <a:extLst>
              <a:ext uri="{FF2B5EF4-FFF2-40B4-BE49-F238E27FC236}">
                <a16:creationId xmlns:a16="http://schemas.microsoft.com/office/drawing/2014/main" id="{6850E4FC-A4B4-E572-0975-A1ADFCA87863}"/>
              </a:ext>
            </a:extLst>
          </p:cNvPr>
          <p:cNvSpPr>
            <a:spLocks noGrp="1"/>
          </p:cNvSpPr>
          <p:nvPr userDrawn="1">
            <p:ph type="body" sz="quarter" idx="21" hasCustomPrompt="1"/>
          </p:nvPr>
        </p:nvSpPr>
        <p:spPr>
          <a:xfrm>
            <a:off x="4079269" y="4055670"/>
            <a:ext cx="2816859" cy="1538883"/>
          </a:xfrm>
        </p:spPr>
        <p:txBody>
          <a:bodyPr/>
          <a:lstStyle>
            <a:lvl1pPr>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27" name="Text Placeholder 15">
            <a:extLst>
              <a:ext uri="{FF2B5EF4-FFF2-40B4-BE49-F238E27FC236}">
                <a16:creationId xmlns:a16="http://schemas.microsoft.com/office/drawing/2014/main" id="{DB603C21-F889-272F-30BC-A4DC99375E0C}"/>
              </a:ext>
            </a:extLst>
          </p:cNvPr>
          <p:cNvSpPr>
            <a:spLocks noGrp="1"/>
          </p:cNvSpPr>
          <p:nvPr userDrawn="1">
            <p:ph type="body" sz="quarter" idx="22" hasCustomPrompt="1"/>
          </p:nvPr>
        </p:nvSpPr>
        <p:spPr>
          <a:xfrm>
            <a:off x="7365108" y="4055670"/>
            <a:ext cx="2816859" cy="1538883"/>
          </a:xfrm>
        </p:spPr>
        <p:txBody>
          <a:bodyPr/>
          <a:lstStyle>
            <a:lvl1pPr>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pic>
        <p:nvPicPr>
          <p:cNvPr id="42" name="Graphic 41">
            <a:extLst>
              <a:ext uri="{FF2B5EF4-FFF2-40B4-BE49-F238E27FC236}">
                <a16:creationId xmlns:a16="http://schemas.microsoft.com/office/drawing/2014/main" id="{9F713A67-9ABE-CAA6-DD4A-7F8C265976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86014" y="1647258"/>
            <a:ext cx="2321865" cy="2430138"/>
          </a:xfrm>
          <a:prstGeom prst="rect">
            <a:avLst/>
          </a:prstGeom>
        </p:spPr>
      </p:pic>
      <p:sp>
        <p:nvSpPr>
          <p:cNvPr id="43" name="Picture Placeholder 33">
            <a:extLst>
              <a:ext uri="{FF2B5EF4-FFF2-40B4-BE49-F238E27FC236}">
                <a16:creationId xmlns:a16="http://schemas.microsoft.com/office/drawing/2014/main" id="{ABF054FE-A6E9-0FDE-BC21-48DBA464C003}"/>
              </a:ext>
            </a:extLst>
          </p:cNvPr>
          <p:cNvSpPr>
            <a:spLocks noGrp="1"/>
          </p:cNvSpPr>
          <p:nvPr>
            <p:ph type="pic" sz="quarter" idx="25"/>
          </p:nvPr>
        </p:nvSpPr>
        <p:spPr>
          <a:xfrm>
            <a:off x="4811265" y="1646779"/>
            <a:ext cx="2204341" cy="2405270"/>
          </a:xfrm>
        </p:spPr>
        <p:txBody>
          <a:bodyPr/>
          <a:lstStyle/>
          <a:p>
            <a:endParaRPr lang="es-MX"/>
          </a:p>
        </p:txBody>
      </p:sp>
      <p:pic>
        <p:nvPicPr>
          <p:cNvPr id="44" name="Graphic 43">
            <a:extLst>
              <a:ext uri="{FF2B5EF4-FFF2-40B4-BE49-F238E27FC236}">
                <a16:creationId xmlns:a16="http://schemas.microsoft.com/office/drawing/2014/main" id="{8E5F48FA-83FC-BC19-E2E7-328FBD6798B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96581" y="1647258"/>
            <a:ext cx="2321865" cy="2430138"/>
          </a:xfrm>
          <a:prstGeom prst="rect">
            <a:avLst/>
          </a:prstGeom>
        </p:spPr>
      </p:pic>
      <p:sp>
        <p:nvSpPr>
          <p:cNvPr id="45" name="Picture Placeholder 33">
            <a:extLst>
              <a:ext uri="{FF2B5EF4-FFF2-40B4-BE49-F238E27FC236}">
                <a16:creationId xmlns:a16="http://schemas.microsoft.com/office/drawing/2014/main" id="{9F0B71F6-3DC8-F29F-C66E-5DDA30CA07F2}"/>
              </a:ext>
            </a:extLst>
          </p:cNvPr>
          <p:cNvSpPr>
            <a:spLocks noGrp="1"/>
          </p:cNvSpPr>
          <p:nvPr>
            <p:ph type="pic" sz="quarter" idx="26"/>
          </p:nvPr>
        </p:nvSpPr>
        <p:spPr>
          <a:xfrm>
            <a:off x="8048244" y="1646779"/>
            <a:ext cx="2204341" cy="2405270"/>
          </a:xfrm>
        </p:spPr>
        <p:txBody>
          <a:bodyPr/>
          <a:lstStyle/>
          <a:p>
            <a:endParaRPr lang="es-MX"/>
          </a:p>
        </p:txBody>
      </p:sp>
      <p:pic>
        <p:nvPicPr>
          <p:cNvPr id="46" name="Graphic 45">
            <a:extLst>
              <a:ext uri="{FF2B5EF4-FFF2-40B4-BE49-F238E27FC236}">
                <a16:creationId xmlns:a16="http://schemas.microsoft.com/office/drawing/2014/main" id="{37DBD19A-0F64-F18C-8056-BA62BA1586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933560" y="1647258"/>
            <a:ext cx="2321865" cy="2430138"/>
          </a:xfrm>
          <a:prstGeom prst="rect">
            <a:avLst/>
          </a:prstGeom>
        </p:spPr>
      </p:pic>
      <p:pic>
        <p:nvPicPr>
          <p:cNvPr id="48" name="Graphic 47">
            <a:extLst>
              <a:ext uri="{FF2B5EF4-FFF2-40B4-BE49-F238E27FC236}">
                <a16:creationId xmlns:a16="http://schemas.microsoft.com/office/drawing/2014/main" id="{E2490DB4-4AE4-6837-5AA9-FE768247972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930720" y="1634345"/>
            <a:ext cx="2321865" cy="2430138"/>
          </a:xfrm>
          <a:prstGeom prst="rect">
            <a:avLst/>
          </a:prstGeom>
        </p:spPr>
      </p:pic>
    </p:spTree>
    <p:extLst>
      <p:ext uri="{BB962C8B-B14F-4D97-AF65-F5344CB8AC3E}">
        <p14:creationId xmlns:p14="http://schemas.microsoft.com/office/powerpoint/2010/main" val="1741828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98">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2203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037167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6_Title Only">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2523FE-3FFB-A345-32B3-F8B199989A22}"/>
              </a:ext>
            </a:extLst>
          </p:cNvPr>
          <p:cNvSpPr/>
          <p:nvPr/>
        </p:nvSpPr>
        <p:spPr bwMode="auto">
          <a:xfrm>
            <a:off x="8194839" y="1670304"/>
            <a:ext cx="3122931" cy="41367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9E45D1C-BDC0-AC13-7756-6FC52059B08A}"/>
              </a:ext>
            </a:extLst>
          </p:cNvPr>
          <p:cNvSpPr/>
          <p:nvPr/>
        </p:nvSpPr>
        <p:spPr bwMode="auto">
          <a:xfrm>
            <a:off x="4383695" y="1645920"/>
            <a:ext cx="3122295" cy="41738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AAB528E-FF18-8875-A5B4-623597DBB41C}"/>
              </a:ext>
            </a:extLst>
          </p:cNvPr>
          <p:cNvSpPr/>
          <p:nvPr/>
        </p:nvSpPr>
        <p:spPr bwMode="auto">
          <a:xfrm>
            <a:off x="575409" y="1645920"/>
            <a:ext cx="3119437" cy="41738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Picture Placeholder 33">
            <a:extLst>
              <a:ext uri="{FF2B5EF4-FFF2-40B4-BE49-F238E27FC236}">
                <a16:creationId xmlns:a16="http://schemas.microsoft.com/office/drawing/2014/main" id="{7A61179F-15E4-5CA0-7C30-04C2C36AEFE7}"/>
              </a:ext>
            </a:extLst>
          </p:cNvPr>
          <p:cNvSpPr>
            <a:spLocks noGrp="1"/>
          </p:cNvSpPr>
          <p:nvPr>
            <p:ph type="pic" sz="quarter" idx="24"/>
          </p:nvPr>
        </p:nvSpPr>
        <p:spPr>
          <a:xfrm>
            <a:off x="588263" y="1646779"/>
            <a:ext cx="3103922" cy="2209750"/>
          </a:xfrm>
        </p:spPr>
        <p:txBody>
          <a:bodyPr/>
          <a:lstStyle/>
          <a:p>
            <a:endParaRPr lang="es-MX"/>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11018520" cy="553998"/>
          </a:xfrm>
        </p:spPr>
        <p:txBody>
          <a:bodyPr/>
          <a:lstStyle/>
          <a:p>
            <a:r>
              <a:rPr lang="en-US"/>
              <a:t>Click to edit Master title style</a:t>
            </a:r>
          </a:p>
        </p:txBody>
      </p:sp>
      <p:sp>
        <p:nvSpPr>
          <p:cNvPr id="25" name="Text Placeholder 15">
            <a:extLst>
              <a:ext uri="{FF2B5EF4-FFF2-40B4-BE49-F238E27FC236}">
                <a16:creationId xmlns:a16="http://schemas.microsoft.com/office/drawing/2014/main" id="{07629366-A116-D425-F8FA-280A80422257}"/>
              </a:ext>
            </a:extLst>
          </p:cNvPr>
          <p:cNvSpPr>
            <a:spLocks noGrp="1"/>
          </p:cNvSpPr>
          <p:nvPr>
            <p:ph type="body" sz="quarter" idx="20" hasCustomPrompt="1"/>
          </p:nvPr>
        </p:nvSpPr>
        <p:spPr>
          <a:xfrm>
            <a:off x="790335" y="4055670"/>
            <a:ext cx="2816859" cy="1538883"/>
          </a:xfrm>
        </p:spPr>
        <p:txBody>
          <a:bodyPr/>
          <a:lstStyle>
            <a:lvl1pPr algn="l">
              <a:defRPr sz="160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26" name="Text Placeholder 15">
            <a:extLst>
              <a:ext uri="{FF2B5EF4-FFF2-40B4-BE49-F238E27FC236}">
                <a16:creationId xmlns:a16="http://schemas.microsoft.com/office/drawing/2014/main" id="{6850E4FC-A4B4-E572-0975-A1ADFCA87863}"/>
              </a:ext>
            </a:extLst>
          </p:cNvPr>
          <p:cNvSpPr>
            <a:spLocks noGrp="1"/>
          </p:cNvSpPr>
          <p:nvPr>
            <p:ph type="body" sz="quarter" idx="21" hasCustomPrompt="1"/>
          </p:nvPr>
        </p:nvSpPr>
        <p:spPr>
          <a:xfrm>
            <a:off x="4592784" y="4055670"/>
            <a:ext cx="2816859" cy="1538883"/>
          </a:xfrm>
        </p:spPr>
        <p:txBody>
          <a:bodyPr/>
          <a:lstStyle>
            <a:lvl1pPr algn="l">
              <a:defRPr sz="160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27" name="Text Placeholder 15">
            <a:extLst>
              <a:ext uri="{FF2B5EF4-FFF2-40B4-BE49-F238E27FC236}">
                <a16:creationId xmlns:a16="http://schemas.microsoft.com/office/drawing/2014/main" id="{DB603C21-F889-272F-30BC-A4DC99375E0C}"/>
              </a:ext>
            </a:extLst>
          </p:cNvPr>
          <p:cNvSpPr>
            <a:spLocks noGrp="1"/>
          </p:cNvSpPr>
          <p:nvPr>
            <p:ph type="body" sz="quarter" idx="22" hasCustomPrompt="1"/>
          </p:nvPr>
        </p:nvSpPr>
        <p:spPr>
          <a:xfrm>
            <a:off x="8425947" y="4055670"/>
            <a:ext cx="2816859" cy="1538883"/>
          </a:xfrm>
        </p:spPr>
        <p:txBody>
          <a:bodyPr/>
          <a:lstStyle>
            <a:lvl1pPr algn="l">
              <a:defRPr sz="160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22" name="Picture Placeholder 33">
            <a:extLst>
              <a:ext uri="{FF2B5EF4-FFF2-40B4-BE49-F238E27FC236}">
                <a16:creationId xmlns:a16="http://schemas.microsoft.com/office/drawing/2014/main" id="{70F23738-8FCA-AF52-6765-E0E7093ADF01}"/>
              </a:ext>
            </a:extLst>
          </p:cNvPr>
          <p:cNvSpPr>
            <a:spLocks noGrp="1"/>
          </p:cNvSpPr>
          <p:nvPr>
            <p:ph type="pic" sz="quarter" idx="25"/>
          </p:nvPr>
        </p:nvSpPr>
        <p:spPr>
          <a:xfrm>
            <a:off x="4378298" y="1646779"/>
            <a:ext cx="3122989" cy="2209750"/>
          </a:xfrm>
        </p:spPr>
        <p:txBody>
          <a:bodyPr/>
          <a:lstStyle/>
          <a:p>
            <a:endParaRPr lang="es-MX"/>
          </a:p>
        </p:txBody>
      </p:sp>
      <p:sp>
        <p:nvSpPr>
          <p:cNvPr id="23" name="Picture Placeholder 33">
            <a:extLst>
              <a:ext uri="{FF2B5EF4-FFF2-40B4-BE49-F238E27FC236}">
                <a16:creationId xmlns:a16="http://schemas.microsoft.com/office/drawing/2014/main" id="{358545C0-8B10-D520-AB25-31F57340B8E2}"/>
              </a:ext>
            </a:extLst>
          </p:cNvPr>
          <p:cNvSpPr>
            <a:spLocks noGrp="1"/>
          </p:cNvSpPr>
          <p:nvPr>
            <p:ph type="pic" sz="quarter" idx="26"/>
          </p:nvPr>
        </p:nvSpPr>
        <p:spPr>
          <a:xfrm>
            <a:off x="8192872" y="1646779"/>
            <a:ext cx="3122989" cy="2209750"/>
          </a:xfrm>
        </p:spPr>
        <p:txBody>
          <a:bodyPr/>
          <a:lstStyle/>
          <a:p>
            <a:endParaRPr lang="es-MX"/>
          </a:p>
        </p:txBody>
      </p:sp>
      <p:grpSp>
        <p:nvGrpSpPr>
          <p:cNvPr id="18" name="Group 17">
            <a:extLst>
              <a:ext uri="{FF2B5EF4-FFF2-40B4-BE49-F238E27FC236}">
                <a16:creationId xmlns:a16="http://schemas.microsoft.com/office/drawing/2014/main" id="{707005E2-7EC8-38E2-A2F4-BCD94A19AC01}"/>
              </a:ext>
            </a:extLst>
          </p:cNvPr>
          <p:cNvGrpSpPr/>
          <p:nvPr/>
        </p:nvGrpSpPr>
        <p:grpSpPr>
          <a:xfrm>
            <a:off x="1618765" y="1998880"/>
            <a:ext cx="1032723" cy="1088208"/>
            <a:chOff x="1618765" y="1998880"/>
            <a:chExt cx="1032723" cy="1088208"/>
          </a:xfrm>
        </p:grpSpPr>
        <p:grpSp>
          <p:nvGrpSpPr>
            <p:cNvPr id="30" name="Group 29">
              <a:extLst>
                <a:ext uri="{FF2B5EF4-FFF2-40B4-BE49-F238E27FC236}">
                  <a16:creationId xmlns:a16="http://schemas.microsoft.com/office/drawing/2014/main" id="{F12F7882-2941-994D-802D-8411E3894D19}"/>
                </a:ext>
              </a:extLst>
            </p:cNvPr>
            <p:cNvGrpSpPr/>
            <p:nvPr/>
          </p:nvGrpSpPr>
          <p:grpSpPr>
            <a:xfrm>
              <a:off x="1618765" y="1998880"/>
              <a:ext cx="1032723" cy="792338"/>
              <a:chOff x="7839340" y="2336579"/>
              <a:chExt cx="2815960" cy="2160494"/>
            </a:xfrm>
          </p:grpSpPr>
          <p:sp>
            <p:nvSpPr>
              <p:cNvPr id="32" name="Rectangle 31">
                <a:extLst>
                  <a:ext uri="{FF2B5EF4-FFF2-40B4-BE49-F238E27FC236}">
                    <a16:creationId xmlns:a16="http://schemas.microsoft.com/office/drawing/2014/main" id="{877AA9C2-1022-ED54-5A94-8D8598CAAA9D}"/>
                  </a:ext>
                </a:extLst>
              </p:cNvPr>
              <p:cNvSpPr/>
              <p:nvPr/>
            </p:nvSpPr>
            <p:spPr>
              <a:xfrm>
                <a:off x="7839340" y="2336579"/>
                <a:ext cx="2809616" cy="215335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8550554D-5511-0318-19DD-2C8092D1B178}"/>
                  </a:ext>
                </a:extLst>
              </p:cNvPr>
              <p:cNvSpPr/>
              <p:nvPr/>
            </p:nvSpPr>
            <p:spPr>
              <a:xfrm>
                <a:off x="9569962" y="2581139"/>
                <a:ext cx="661851" cy="6618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Isosceles Triangle 30">
                <a:extLst>
                  <a:ext uri="{FF2B5EF4-FFF2-40B4-BE49-F238E27FC236}">
                    <a16:creationId xmlns:a16="http://schemas.microsoft.com/office/drawing/2014/main" id="{0FFAFB93-1BB0-DA26-E0E8-070F7CCB75B8}"/>
                  </a:ext>
                </a:extLst>
              </p:cNvPr>
              <p:cNvSpPr/>
              <p:nvPr/>
            </p:nvSpPr>
            <p:spPr>
              <a:xfrm>
                <a:off x="7848600" y="3165603"/>
                <a:ext cx="1965961" cy="1331470"/>
              </a:xfrm>
              <a:custGeom>
                <a:avLst/>
                <a:gdLst>
                  <a:gd name="connsiteX0" fmla="*/ 0 w 2290355"/>
                  <a:gd name="connsiteY0" fmla="*/ 1331470 h 1331470"/>
                  <a:gd name="connsiteX1" fmla="*/ 1145178 w 2290355"/>
                  <a:gd name="connsiteY1" fmla="*/ 0 h 1331470"/>
                  <a:gd name="connsiteX2" fmla="*/ 2290355 w 2290355"/>
                  <a:gd name="connsiteY2" fmla="*/ 1331470 h 1331470"/>
                  <a:gd name="connsiteX3" fmla="*/ 0 w 2290355"/>
                  <a:gd name="connsiteY3"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0 w 2290355"/>
                  <a:gd name="connsiteY4"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330744 w 2290355"/>
                  <a:gd name="connsiteY4" fmla="*/ 1330197 h 1331470"/>
                  <a:gd name="connsiteX5" fmla="*/ 0 w 2290355"/>
                  <a:gd name="connsiteY5" fmla="*/ 1331470 h 1331470"/>
                  <a:gd name="connsiteX0" fmla="*/ 5806 w 1965961"/>
                  <a:gd name="connsiteY0" fmla="*/ 1318770 h 1331470"/>
                  <a:gd name="connsiteX1" fmla="*/ 0 w 1965961"/>
                  <a:gd name="connsiteY1" fmla="*/ 949197 h 1331470"/>
                  <a:gd name="connsiteX2" fmla="*/ 820784 w 1965961"/>
                  <a:gd name="connsiteY2" fmla="*/ 0 h 1331470"/>
                  <a:gd name="connsiteX3" fmla="*/ 1965961 w 1965961"/>
                  <a:gd name="connsiteY3" fmla="*/ 1331470 h 1331470"/>
                  <a:gd name="connsiteX4" fmla="*/ 6350 w 1965961"/>
                  <a:gd name="connsiteY4" fmla="*/ 1330197 h 1331470"/>
                  <a:gd name="connsiteX5" fmla="*/ 5806 w 1965961"/>
                  <a:gd name="connsiteY5" fmla="*/ 1318770 h 1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961" h="1331470">
                    <a:moveTo>
                      <a:pt x="5806" y="1318770"/>
                    </a:moveTo>
                    <a:cubicBezTo>
                      <a:pt x="3871" y="1195579"/>
                      <a:pt x="1935" y="1072388"/>
                      <a:pt x="0" y="949197"/>
                    </a:cubicBezTo>
                    <a:lnTo>
                      <a:pt x="820784" y="0"/>
                    </a:lnTo>
                    <a:lnTo>
                      <a:pt x="1965961" y="1331470"/>
                    </a:lnTo>
                    <a:lnTo>
                      <a:pt x="6350" y="1330197"/>
                    </a:lnTo>
                    <a:cubicBezTo>
                      <a:pt x="6169" y="1326388"/>
                      <a:pt x="5987" y="1322579"/>
                      <a:pt x="5806" y="1318770"/>
                    </a:cubicBez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Isosceles Triangle 31">
                <a:extLst>
                  <a:ext uri="{FF2B5EF4-FFF2-40B4-BE49-F238E27FC236}">
                    <a16:creationId xmlns:a16="http://schemas.microsoft.com/office/drawing/2014/main" id="{1E272991-53AB-2CFB-9966-DDCCF34A5739}"/>
                  </a:ext>
                </a:extLst>
              </p:cNvPr>
              <p:cNvSpPr/>
              <p:nvPr/>
            </p:nvSpPr>
            <p:spPr>
              <a:xfrm>
                <a:off x="8890358" y="3494691"/>
                <a:ext cx="1764942" cy="1002382"/>
              </a:xfrm>
              <a:custGeom>
                <a:avLst/>
                <a:gdLst>
                  <a:gd name="connsiteX0" fmla="*/ 0 w 2037808"/>
                  <a:gd name="connsiteY0" fmla="*/ 1002382 h 1002382"/>
                  <a:gd name="connsiteX1" fmla="*/ 1018904 w 2037808"/>
                  <a:gd name="connsiteY1" fmla="*/ 0 h 1002382"/>
                  <a:gd name="connsiteX2" fmla="*/ 2037808 w 2037808"/>
                  <a:gd name="connsiteY2" fmla="*/ 1002382 h 1002382"/>
                  <a:gd name="connsiteX3" fmla="*/ 0 w 2037808"/>
                  <a:gd name="connsiteY3"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0 w 2037808"/>
                  <a:gd name="connsiteY4"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1752242 w 2037808"/>
                  <a:gd name="connsiteY4" fmla="*/ 1001109 h 1002382"/>
                  <a:gd name="connsiteX5" fmla="*/ 0 w 2037808"/>
                  <a:gd name="connsiteY5" fmla="*/ 1002382 h 1002382"/>
                  <a:gd name="connsiteX0" fmla="*/ 0 w 1764942"/>
                  <a:gd name="connsiteY0" fmla="*/ 1002382 h 1002382"/>
                  <a:gd name="connsiteX1" fmla="*/ 1018904 w 1764942"/>
                  <a:gd name="connsiteY1" fmla="*/ 0 h 1002382"/>
                  <a:gd name="connsiteX2" fmla="*/ 1764942 w 1764942"/>
                  <a:gd name="connsiteY2" fmla="*/ 734409 h 1002382"/>
                  <a:gd name="connsiteX3" fmla="*/ 1752058 w 1764942"/>
                  <a:gd name="connsiteY3" fmla="*/ 989682 h 1002382"/>
                  <a:gd name="connsiteX4" fmla="*/ 1752242 w 1764942"/>
                  <a:gd name="connsiteY4" fmla="*/ 1001109 h 1002382"/>
                  <a:gd name="connsiteX5" fmla="*/ 0 w 1764942"/>
                  <a:gd name="connsiteY5" fmla="*/ 1002382 h 100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942" h="1002382">
                    <a:moveTo>
                      <a:pt x="0" y="1002382"/>
                    </a:moveTo>
                    <a:lnTo>
                      <a:pt x="1018904" y="0"/>
                    </a:lnTo>
                    <a:lnTo>
                      <a:pt x="1764942" y="734409"/>
                    </a:lnTo>
                    <a:lnTo>
                      <a:pt x="1752058" y="989682"/>
                    </a:lnTo>
                    <a:cubicBezTo>
                      <a:pt x="1752119" y="993491"/>
                      <a:pt x="1752181" y="997300"/>
                      <a:pt x="1752242" y="1001109"/>
                    </a:cubicBezTo>
                    <a:lnTo>
                      <a:pt x="0" y="1002382"/>
                    </a:ln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30">
              <a:extLst>
                <a:ext uri="{FF2B5EF4-FFF2-40B4-BE49-F238E27FC236}">
                  <a16:creationId xmlns:a16="http://schemas.microsoft.com/office/drawing/2014/main" id="{B56F305F-4897-6FC1-6D82-0CBE767712E9}"/>
                </a:ext>
              </a:extLst>
            </p:cNvPr>
            <p:cNvSpPr txBox="1"/>
            <p:nvPr/>
          </p:nvSpPr>
          <p:spPr>
            <a:xfrm>
              <a:off x="1618765" y="2887033"/>
              <a:ext cx="1030397" cy="200055"/>
            </a:xfrm>
            <a:prstGeom prst="rect">
              <a:avLst/>
            </a:prstGeom>
            <a:noFill/>
          </p:spPr>
          <p:txBody>
            <a:bodyPr wrap="square" rtlCol="0">
              <a:spAutoFit/>
            </a:bodyPr>
            <a:lstStyle/>
            <a:p>
              <a:pPr algn="ctr"/>
              <a:r>
                <a:rPr lang="en-US" sz="2000" b="1">
                  <a:solidFill>
                    <a:schemeClr val="bg1"/>
                  </a:solidFill>
                  <a:latin typeface="Segoe UI" panose="020B0502040204020203" pitchFamily="34" charset="0"/>
                  <a:cs typeface="Segoe UI" panose="020B0502040204020203" pitchFamily="34" charset="0"/>
                </a:rPr>
                <a:t>ADD IMAGE</a:t>
              </a:r>
            </a:p>
          </p:txBody>
        </p:sp>
      </p:grpSp>
      <p:grpSp>
        <p:nvGrpSpPr>
          <p:cNvPr id="8" name="Group 7">
            <a:extLst>
              <a:ext uri="{FF2B5EF4-FFF2-40B4-BE49-F238E27FC236}">
                <a16:creationId xmlns:a16="http://schemas.microsoft.com/office/drawing/2014/main" id="{D48A858B-C8A2-C0B0-AE01-B9845BEE5645}"/>
              </a:ext>
            </a:extLst>
          </p:cNvPr>
          <p:cNvGrpSpPr/>
          <p:nvPr/>
        </p:nvGrpSpPr>
        <p:grpSpPr>
          <a:xfrm>
            <a:off x="5423430" y="1998880"/>
            <a:ext cx="1032723" cy="1088208"/>
            <a:chOff x="4897061" y="1998880"/>
            <a:chExt cx="1032723" cy="1088208"/>
          </a:xfrm>
        </p:grpSpPr>
        <p:grpSp>
          <p:nvGrpSpPr>
            <p:cNvPr id="39" name="Group 38">
              <a:extLst>
                <a:ext uri="{FF2B5EF4-FFF2-40B4-BE49-F238E27FC236}">
                  <a16:creationId xmlns:a16="http://schemas.microsoft.com/office/drawing/2014/main" id="{A0DD4956-0FB2-1C40-8A6B-70E1BD98B872}"/>
                </a:ext>
              </a:extLst>
            </p:cNvPr>
            <p:cNvGrpSpPr/>
            <p:nvPr/>
          </p:nvGrpSpPr>
          <p:grpSpPr>
            <a:xfrm>
              <a:off x="4897061" y="1998880"/>
              <a:ext cx="1032723" cy="792338"/>
              <a:chOff x="7839340" y="2336579"/>
              <a:chExt cx="2815960" cy="2160494"/>
            </a:xfrm>
          </p:grpSpPr>
          <p:sp>
            <p:nvSpPr>
              <p:cNvPr id="41" name="Rectangle 40">
                <a:extLst>
                  <a:ext uri="{FF2B5EF4-FFF2-40B4-BE49-F238E27FC236}">
                    <a16:creationId xmlns:a16="http://schemas.microsoft.com/office/drawing/2014/main" id="{33FB88A9-FAB5-85B7-43DB-94AEF45DCAEE}"/>
                  </a:ext>
                </a:extLst>
              </p:cNvPr>
              <p:cNvSpPr/>
              <p:nvPr/>
            </p:nvSpPr>
            <p:spPr>
              <a:xfrm>
                <a:off x="7839340" y="2336579"/>
                <a:ext cx="2809616" cy="215335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59016918-099D-01A3-1886-A92991B6C787}"/>
                  </a:ext>
                </a:extLst>
              </p:cNvPr>
              <p:cNvSpPr/>
              <p:nvPr/>
            </p:nvSpPr>
            <p:spPr>
              <a:xfrm>
                <a:off x="9569962" y="2581139"/>
                <a:ext cx="661851" cy="6618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30">
                <a:extLst>
                  <a:ext uri="{FF2B5EF4-FFF2-40B4-BE49-F238E27FC236}">
                    <a16:creationId xmlns:a16="http://schemas.microsoft.com/office/drawing/2014/main" id="{59B10BF5-2A0F-58FF-87C1-902C6010AB0E}"/>
                  </a:ext>
                </a:extLst>
              </p:cNvPr>
              <p:cNvSpPr/>
              <p:nvPr/>
            </p:nvSpPr>
            <p:spPr>
              <a:xfrm>
                <a:off x="7848600" y="3165603"/>
                <a:ext cx="1965961" cy="1331470"/>
              </a:xfrm>
              <a:custGeom>
                <a:avLst/>
                <a:gdLst>
                  <a:gd name="connsiteX0" fmla="*/ 0 w 2290355"/>
                  <a:gd name="connsiteY0" fmla="*/ 1331470 h 1331470"/>
                  <a:gd name="connsiteX1" fmla="*/ 1145178 w 2290355"/>
                  <a:gd name="connsiteY1" fmla="*/ 0 h 1331470"/>
                  <a:gd name="connsiteX2" fmla="*/ 2290355 w 2290355"/>
                  <a:gd name="connsiteY2" fmla="*/ 1331470 h 1331470"/>
                  <a:gd name="connsiteX3" fmla="*/ 0 w 2290355"/>
                  <a:gd name="connsiteY3"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0 w 2290355"/>
                  <a:gd name="connsiteY4"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330744 w 2290355"/>
                  <a:gd name="connsiteY4" fmla="*/ 1330197 h 1331470"/>
                  <a:gd name="connsiteX5" fmla="*/ 0 w 2290355"/>
                  <a:gd name="connsiteY5" fmla="*/ 1331470 h 1331470"/>
                  <a:gd name="connsiteX0" fmla="*/ 5806 w 1965961"/>
                  <a:gd name="connsiteY0" fmla="*/ 1318770 h 1331470"/>
                  <a:gd name="connsiteX1" fmla="*/ 0 w 1965961"/>
                  <a:gd name="connsiteY1" fmla="*/ 949197 h 1331470"/>
                  <a:gd name="connsiteX2" fmla="*/ 820784 w 1965961"/>
                  <a:gd name="connsiteY2" fmla="*/ 0 h 1331470"/>
                  <a:gd name="connsiteX3" fmla="*/ 1965961 w 1965961"/>
                  <a:gd name="connsiteY3" fmla="*/ 1331470 h 1331470"/>
                  <a:gd name="connsiteX4" fmla="*/ 6350 w 1965961"/>
                  <a:gd name="connsiteY4" fmla="*/ 1330197 h 1331470"/>
                  <a:gd name="connsiteX5" fmla="*/ 5806 w 1965961"/>
                  <a:gd name="connsiteY5" fmla="*/ 1318770 h 1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961" h="1331470">
                    <a:moveTo>
                      <a:pt x="5806" y="1318770"/>
                    </a:moveTo>
                    <a:cubicBezTo>
                      <a:pt x="3871" y="1195579"/>
                      <a:pt x="1935" y="1072388"/>
                      <a:pt x="0" y="949197"/>
                    </a:cubicBezTo>
                    <a:lnTo>
                      <a:pt x="820784" y="0"/>
                    </a:lnTo>
                    <a:lnTo>
                      <a:pt x="1965961" y="1331470"/>
                    </a:lnTo>
                    <a:lnTo>
                      <a:pt x="6350" y="1330197"/>
                    </a:lnTo>
                    <a:cubicBezTo>
                      <a:pt x="6169" y="1326388"/>
                      <a:pt x="5987" y="1322579"/>
                      <a:pt x="5806" y="1318770"/>
                    </a:cubicBez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Isosceles Triangle 31">
                <a:extLst>
                  <a:ext uri="{FF2B5EF4-FFF2-40B4-BE49-F238E27FC236}">
                    <a16:creationId xmlns:a16="http://schemas.microsoft.com/office/drawing/2014/main" id="{2691AA07-E468-6CEB-D6CF-8D973722E28A}"/>
                  </a:ext>
                </a:extLst>
              </p:cNvPr>
              <p:cNvSpPr/>
              <p:nvPr/>
            </p:nvSpPr>
            <p:spPr>
              <a:xfrm>
                <a:off x="8890358" y="3494691"/>
                <a:ext cx="1764942" cy="1002382"/>
              </a:xfrm>
              <a:custGeom>
                <a:avLst/>
                <a:gdLst>
                  <a:gd name="connsiteX0" fmla="*/ 0 w 2037808"/>
                  <a:gd name="connsiteY0" fmla="*/ 1002382 h 1002382"/>
                  <a:gd name="connsiteX1" fmla="*/ 1018904 w 2037808"/>
                  <a:gd name="connsiteY1" fmla="*/ 0 h 1002382"/>
                  <a:gd name="connsiteX2" fmla="*/ 2037808 w 2037808"/>
                  <a:gd name="connsiteY2" fmla="*/ 1002382 h 1002382"/>
                  <a:gd name="connsiteX3" fmla="*/ 0 w 2037808"/>
                  <a:gd name="connsiteY3"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0 w 2037808"/>
                  <a:gd name="connsiteY4"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1752242 w 2037808"/>
                  <a:gd name="connsiteY4" fmla="*/ 1001109 h 1002382"/>
                  <a:gd name="connsiteX5" fmla="*/ 0 w 2037808"/>
                  <a:gd name="connsiteY5" fmla="*/ 1002382 h 1002382"/>
                  <a:gd name="connsiteX0" fmla="*/ 0 w 1764942"/>
                  <a:gd name="connsiteY0" fmla="*/ 1002382 h 1002382"/>
                  <a:gd name="connsiteX1" fmla="*/ 1018904 w 1764942"/>
                  <a:gd name="connsiteY1" fmla="*/ 0 h 1002382"/>
                  <a:gd name="connsiteX2" fmla="*/ 1764942 w 1764942"/>
                  <a:gd name="connsiteY2" fmla="*/ 734409 h 1002382"/>
                  <a:gd name="connsiteX3" fmla="*/ 1752058 w 1764942"/>
                  <a:gd name="connsiteY3" fmla="*/ 989682 h 1002382"/>
                  <a:gd name="connsiteX4" fmla="*/ 1752242 w 1764942"/>
                  <a:gd name="connsiteY4" fmla="*/ 1001109 h 1002382"/>
                  <a:gd name="connsiteX5" fmla="*/ 0 w 1764942"/>
                  <a:gd name="connsiteY5" fmla="*/ 1002382 h 100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942" h="1002382">
                    <a:moveTo>
                      <a:pt x="0" y="1002382"/>
                    </a:moveTo>
                    <a:lnTo>
                      <a:pt x="1018904" y="0"/>
                    </a:lnTo>
                    <a:lnTo>
                      <a:pt x="1764942" y="734409"/>
                    </a:lnTo>
                    <a:lnTo>
                      <a:pt x="1752058" y="989682"/>
                    </a:lnTo>
                    <a:cubicBezTo>
                      <a:pt x="1752119" y="993491"/>
                      <a:pt x="1752181" y="997300"/>
                      <a:pt x="1752242" y="1001109"/>
                    </a:cubicBezTo>
                    <a:lnTo>
                      <a:pt x="0" y="1002382"/>
                    </a:ln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a:extLst>
                <a:ext uri="{FF2B5EF4-FFF2-40B4-BE49-F238E27FC236}">
                  <a16:creationId xmlns:a16="http://schemas.microsoft.com/office/drawing/2014/main" id="{34094C38-19FF-E606-F381-D072F5AF474E}"/>
                </a:ext>
              </a:extLst>
            </p:cNvPr>
            <p:cNvSpPr txBox="1"/>
            <p:nvPr/>
          </p:nvSpPr>
          <p:spPr>
            <a:xfrm>
              <a:off x="4897061" y="2887033"/>
              <a:ext cx="1030397" cy="200055"/>
            </a:xfrm>
            <a:prstGeom prst="rect">
              <a:avLst/>
            </a:prstGeom>
            <a:noFill/>
          </p:spPr>
          <p:txBody>
            <a:bodyPr wrap="square" rtlCol="0">
              <a:spAutoFit/>
            </a:bodyPr>
            <a:lstStyle/>
            <a:p>
              <a:pPr algn="ctr"/>
              <a:r>
                <a:rPr lang="en-US" sz="2000" b="1">
                  <a:solidFill>
                    <a:schemeClr val="bg1"/>
                  </a:solidFill>
                  <a:latin typeface="Segoe UI" panose="020B0502040204020203" pitchFamily="34" charset="0"/>
                  <a:cs typeface="Segoe UI" panose="020B0502040204020203" pitchFamily="34" charset="0"/>
                </a:rPr>
                <a:t>ADD IMAGE</a:t>
              </a:r>
            </a:p>
          </p:txBody>
        </p:sp>
      </p:grpSp>
      <p:grpSp>
        <p:nvGrpSpPr>
          <p:cNvPr id="19" name="Group 18">
            <a:extLst>
              <a:ext uri="{FF2B5EF4-FFF2-40B4-BE49-F238E27FC236}">
                <a16:creationId xmlns:a16="http://schemas.microsoft.com/office/drawing/2014/main" id="{CDEB9241-DEF5-D8B4-7275-6206FD0B1850}"/>
              </a:ext>
            </a:extLst>
          </p:cNvPr>
          <p:cNvGrpSpPr/>
          <p:nvPr/>
        </p:nvGrpSpPr>
        <p:grpSpPr>
          <a:xfrm>
            <a:off x="9238004" y="1998880"/>
            <a:ext cx="1032723" cy="1088208"/>
            <a:chOff x="9238004" y="1998880"/>
            <a:chExt cx="1032723" cy="1088208"/>
          </a:xfrm>
        </p:grpSpPr>
        <p:grpSp>
          <p:nvGrpSpPr>
            <p:cNvPr id="47" name="Group 46">
              <a:extLst>
                <a:ext uri="{FF2B5EF4-FFF2-40B4-BE49-F238E27FC236}">
                  <a16:creationId xmlns:a16="http://schemas.microsoft.com/office/drawing/2014/main" id="{793DC9CA-0D4F-0DA6-E592-9D14DDF5E5CD}"/>
                </a:ext>
              </a:extLst>
            </p:cNvPr>
            <p:cNvGrpSpPr/>
            <p:nvPr/>
          </p:nvGrpSpPr>
          <p:grpSpPr>
            <a:xfrm>
              <a:off x="9238004" y="1998880"/>
              <a:ext cx="1032723" cy="792338"/>
              <a:chOff x="7839340" y="2336579"/>
              <a:chExt cx="2815960" cy="2160494"/>
            </a:xfrm>
          </p:grpSpPr>
          <p:sp>
            <p:nvSpPr>
              <p:cNvPr id="49" name="Rectangle 48">
                <a:extLst>
                  <a:ext uri="{FF2B5EF4-FFF2-40B4-BE49-F238E27FC236}">
                    <a16:creationId xmlns:a16="http://schemas.microsoft.com/office/drawing/2014/main" id="{5006A389-22A9-88D5-6575-0750EB0CD147}"/>
                  </a:ext>
                </a:extLst>
              </p:cNvPr>
              <p:cNvSpPr/>
              <p:nvPr/>
            </p:nvSpPr>
            <p:spPr>
              <a:xfrm>
                <a:off x="7839340" y="2336579"/>
                <a:ext cx="2809616" cy="215335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3BFC9531-308F-4F25-7C7A-314B039725E1}"/>
                  </a:ext>
                </a:extLst>
              </p:cNvPr>
              <p:cNvSpPr/>
              <p:nvPr/>
            </p:nvSpPr>
            <p:spPr>
              <a:xfrm>
                <a:off x="9569962" y="2581139"/>
                <a:ext cx="661851" cy="6618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Isosceles Triangle 30">
                <a:extLst>
                  <a:ext uri="{FF2B5EF4-FFF2-40B4-BE49-F238E27FC236}">
                    <a16:creationId xmlns:a16="http://schemas.microsoft.com/office/drawing/2014/main" id="{C1813DC4-682E-456B-E654-EE45B1837656}"/>
                  </a:ext>
                </a:extLst>
              </p:cNvPr>
              <p:cNvSpPr/>
              <p:nvPr/>
            </p:nvSpPr>
            <p:spPr>
              <a:xfrm>
                <a:off x="7848600" y="3165603"/>
                <a:ext cx="1965961" cy="1331470"/>
              </a:xfrm>
              <a:custGeom>
                <a:avLst/>
                <a:gdLst>
                  <a:gd name="connsiteX0" fmla="*/ 0 w 2290355"/>
                  <a:gd name="connsiteY0" fmla="*/ 1331470 h 1331470"/>
                  <a:gd name="connsiteX1" fmla="*/ 1145178 w 2290355"/>
                  <a:gd name="connsiteY1" fmla="*/ 0 h 1331470"/>
                  <a:gd name="connsiteX2" fmla="*/ 2290355 w 2290355"/>
                  <a:gd name="connsiteY2" fmla="*/ 1331470 h 1331470"/>
                  <a:gd name="connsiteX3" fmla="*/ 0 w 2290355"/>
                  <a:gd name="connsiteY3"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0 w 2290355"/>
                  <a:gd name="connsiteY4"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330744 w 2290355"/>
                  <a:gd name="connsiteY4" fmla="*/ 1330197 h 1331470"/>
                  <a:gd name="connsiteX5" fmla="*/ 0 w 2290355"/>
                  <a:gd name="connsiteY5" fmla="*/ 1331470 h 1331470"/>
                  <a:gd name="connsiteX0" fmla="*/ 5806 w 1965961"/>
                  <a:gd name="connsiteY0" fmla="*/ 1318770 h 1331470"/>
                  <a:gd name="connsiteX1" fmla="*/ 0 w 1965961"/>
                  <a:gd name="connsiteY1" fmla="*/ 949197 h 1331470"/>
                  <a:gd name="connsiteX2" fmla="*/ 820784 w 1965961"/>
                  <a:gd name="connsiteY2" fmla="*/ 0 h 1331470"/>
                  <a:gd name="connsiteX3" fmla="*/ 1965961 w 1965961"/>
                  <a:gd name="connsiteY3" fmla="*/ 1331470 h 1331470"/>
                  <a:gd name="connsiteX4" fmla="*/ 6350 w 1965961"/>
                  <a:gd name="connsiteY4" fmla="*/ 1330197 h 1331470"/>
                  <a:gd name="connsiteX5" fmla="*/ 5806 w 1965961"/>
                  <a:gd name="connsiteY5" fmla="*/ 1318770 h 1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961" h="1331470">
                    <a:moveTo>
                      <a:pt x="5806" y="1318770"/>
                    </a:moveTo>
                    <a:cubicBezTo>
                      <a:pt x="3871" y="1195579"/>
                      <a:pt x="1935" y="1072388"/>
                      <a:pt x="0" y="949197"/>
                    </a:cubicBezTo>
                    <a:lnTo>
                      <a:pt x="820784" y="0"/>
                    </a:lnTo>
                    <a:lnTo>
                      <a:pt x="1965961" y="1331470"/>
                    </a:lnTo>
                    <a:lnTo>
                      <a:pt x="6350" y="1330197"/>
                    </a:lnTo>
                    <a:cubicBezTo>
                      <a:pt x="6169" y="1326388"/>
                      <a:pt x="5987" y="1322579"/>
                      <a:pt x="5806" y="1318770"/>
                    </a:cubicBez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31">
                <a:extLst>
                  <a:ext uri="{FF2B5EF4-FFF2-40B4-BE49-F238E27FC236}">
                    <a16:creationId xmlns:a16="http://schemas.microsoft.com/office/drawing/2014/main" id="{527E4126-507C-B3F3-D8CA-F6666C99D56F}"/>
                  </a:ext>
                </a:extLst>
              </p:cNvPr>
              <p:cNvSpPr/>
              <p:nvPr/>
            </p:nvSpPr>
            <p:spPr>
              <a:xfrm>
                <a:off x="8890358" y="3494691"/>
                <a:ext cx="1764942" cy="1002382"/>
              </a:xfrm>
              <a:custGeom>
                <a:avLst/>
                <a:gdLst>
                  <a:gd name="connsiteX0" fmla="*/ 0 w 2037808"/>
                  <a:gd name="connsiteY0" fmla="*/ 1002382 h 1002382"/>
                  <a:gd name="connsiteX1" fmla="*/ 1018904 w 2037808"/>
                  <a:gd name="connsiteY1" fmla="*/ 0 h 1002382"/>
                  <a:gd name="connsiteX2" fmla="*/ 2037808 w 2037808"/>
                  <a:gd name="connsiteY2" fmla="*/ 1002382 h 1002382"/>
                  <a:gd name="connsiteX3" fmla="*/ 0 w 2037808"/>
                  <a:gd name="connsiteY3"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0 w 2037808"/>
                  <a:gd name="connsiteY4"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1752242 w 2037808"/>
                  <a:gd name="connsiteY4" fmla="*/ 1001109 h 1002382"/>
                  <a:gd name="connsiteX5" fmla="*/ 0 w 2037808"/>
                  <a:gd name="connsiteY5" fmla="*/ 1002382 h 1002382"/>
                  <a:gd name="connsiteX0" fmla="*/ 0 w 1764942"/>
                  <a:gd name="connsiteY0" fmla="*/ 1002382 h 1002382"/>
                  <a:gd name="connsiteX1" fmla="*/ 1018904 w 1764942"/>
                  <a:gd name="connsiteY1" fmla="*/ 0 h 1002382"/>
                  <a:gd name="connsiteX2" fmla="*/ 1764942 w 1764942"/>
                  <a:gd name="connsiteY2" fmla="*/ 734409 h 1002382"/>
                  <a:gd name="connsiteX3" fmla="*/ 1752058 w 1764942"/>
                  <a:gd name="connsiteY3" fmla="*/ 989682 h 1002382"/>
                  <a:gd name="connsiteX4" fmla="*/ 1752242 w 1764942"/>
                  <a:gd name="connsiteY4" fmla="*/ 1001109 h 1002382"/>
                  <a:gd name="connsiteX5" fmla="*/ 0 w 1764942"/>
                  <a:gd name="connsiteY5" fmla="*/ 1002382 h 100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942" h="1002382">
                    <a:moveTo>
                      <a:pt x="0" y="1002382"/>
                    </a:moveTo>
                    <a:lnTo>
                      <a:pt x="1018904" y="0"/>
                    </a:lnTo>
                    <a:lnTo>
                      <a:pt x="1764942" y="734409"/>
                    </a:lnTo>
                    <a:lnTo>
                      <a:pt x="1752058" y="989682"/>
                    </a:lnTo>
                    <a:cubicBezTo>
                      <a:pt x="1752119" y="993491"/>
                      <a:pt x="1752181" y="997300"/>
                      <a:pt x="1752242" y="1001109"/>
                    </a:cubicBezTo>
                    <a:lnTo>
                      <a:pt x="0" y="1002382"/>
                    </a:ln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TextBox 47">
              <a:extLst>
                <a:ext uri="{FF2B5EF4-FFF2-40B4-BE49-F238E27FC236}">
                  <a16:creationId xmlns:a16="http://schemas.microsoft.com/office/drawing/2014/main" id="{D98D190A-447F-8B26-E680-4E9EE7C09204}"/>
                </a:ext>
              </a:extLst>
            </p:cNvPr>
            <p:cNvSpPr txBox="1"/>
            <p:nvPr/>
          </p:nvSpPr>
          <p:spPr>
            <a:xfrm>
              <a:off x="9238004" y="2887033"/>
              <a:ext cx="1030397" cy="200055"/>
            </a:xfrm>
            <a:prstGeom prst="rect">
              <a:avLst/>
            </a:prstGeom>
            <a:noFill/>
          </p:spPr>
          <p:txBody>
            <a:bodyPr wrap="square" rtlCol="0">
              <a:spAutoFit/>
            </a:bodyPr>
            <a:lstStyle/>
            <a:p>
              <a:pPr algn="ctr"/>
              <a:r>
                <a:rPr lang="en-US" sz="2000" b="1">
                  <a:solidFill>
                    <a:schemeClr val="bg1"/>
                  </a:solidFill>
                  <a:latin typeface="Segoe UI" panose="020B0502040204020203" pitchFamily="34" charset="0"/>
                  <a:cs typeface="Segoe UI" panose="020B0502040204020203" pitchFamily="34" charset="0"/>
                </a:rPr>
                <a:t>ADD IMAGE</a:t>
              </a:r>
            </a:p>
          </p:txBody>
        </p:sp>
      </p:grpSp>
      <p:grpSp>
        <p:nvGrpSpPr>
          <p:cNvPr id="28" name="Group 27">
            <a:extLst>
              <a:ext uri="{FF2B5EF4-FFF2-40B4-BE49-F238E27FC236}">
                <a16:creationId xmlns:a16="http://schemas.microsoft.com/office/drawing/2014/main" id="{D6A6C3DC-F4D6-D9E3-C702-DC354A3564A0}"/>
              </a:ext>
            </a:extLst>
          </p:cNvPr>
          <p:cNvGrpSpPr/>
          <p:nvPr userDrawn="1"/>
        </p:nvGrpSpPr>
        <p:grpSpPr>
          <a:xfrm>
            <a:off x="7260104" y="5793059"/>
            <a:ext cx="4548149" cy="425181"/>
            <a:chOff x="7062304" y="5793565"/>
            <a:chExt cx="4548149" cy="425181"/>
          </a:xfrm>
        </p:grpSpPr>
        <p:pic>
          <p:nvPicPr>
            <p:cNvPr id="55" name="Graphic 54">
              <a:extLst>
                <a:ext uri="{FF2B5EF4-FFF2-40B4-BE49-F238E27FC236}">
                  <a16:creationId xmlns:a16="http://schemas.microsoft.com/office/drawing/2014/main" id="{3642F6A8-85D2-1F33-660E-750E09693A0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5779" r="1"/>
            <a:stretch/>
          </p:blipFill>
          <p:spPr>
            <a:xfrm>
              <a:off x="7062304" y="5793565"/>
              <a:ext cx="4548149" cy="425181"/>
            </a:xfrm>
            <a:prstGeom prst="rect">
              <a:avLst/>
            </a:prstGeom>
          </p:spPr>
        </p:pic>
        <p:sp>
          <p:nvSpPr>
            <p:cNvPr id="56" name="Graphic 98">
              <a:extLst>
                <a:ext uri="{FF2B5EF4-FFF2-40B4-BE49-F238E27FC236}">
                  <a16:creationId xmlns:a16="http://schemas.microsoft.com/office/drawing/2014/main" id="{ECD2D92D-8F51-45AC-BB7B-919C25E69710}"/>
                </a:ext>
              </a:extLst>
            </p:cNvPr>
            <p:cNvSpPr/>
            <p:nvPr userDrawn="1"/>
          </p:nvSpPr>
          <p:spPr>
            <a:xfrm>
              <a:off x="11243369"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sp>
        <p:nvSpPr>
          <p:cNvPr id="46" name="Rectangle 45">
            <a:extLst>
              <a:ext uri="{FF2B5EF4-FFF2-40B4-BE49-F238E27FC236}">
                <a16:creationId xmlns:a16="http://schemas.microsoft.com/office/drawing/2014/main" id="{7FEF4406-AE97-58C0-D78A-D033BC01A8C4}"/>
              </a:ext>
            </a:extLst>
          </p:cNvPr>
          <p:cNvSpPr/>
          <p:nvPr userDrawn="1"/>
        </p:nvSpPr>
        <p:spPr bwMode="auto">
          <a:xfrm>
            <a:off x="7584737" y="5793059"/>
            <a:ext cx="1642082" cy="42518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1" name="Graphic 60">
            <a:extLst>
              <a:ext uri="{FF2B5EF4-FFF2-40B4-BE49-F238E27FC236}">
                <a16:creationId xmlns:a16="http://schemas.microsoft.com/office/drawing/2014/main" id="{B511B27C-3EDC-82E8-ECE6-F9FFCCEE4DE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5779" r="1"/>
          <a:stretch/>
        </p:blipFill>
        <p:spPr>
          <a:xfrm>
            <a:off x="3451837" y="5793059"/>
            <a:ext cx="4548149" cy="425181"/>
          </a:xfrm>
          <a:prstGeom prst="rect">
            <a:avLst/>
          </a:prstGeom>
        </p:spPr>
      </p:pic>
      <p:sp>
        <p:nvSpPr>
          <p:cNvPr id="3" name="Rectangle 2">
            <a:extLst>
              <a:ext uri="{FF2B5EF4-FFF2-40B4-BE49-F238E27FC236}">
                <a16:creationId xmlns:a16="http://schemas.microsoft.com/office/drawing/2014/main" id="{E76D7C63-B6EF-5BCD-B436-59743EDB37F4}"/>
              </a:ext>
            </a:extLst>
          </p:cNvPr>
          <p:cNvSpPr/>
          <p:nvPr userDrawn="1"/>
        </p:nvSpPr>
        <p:spPr bwMode="auto">
          <a:xfrm>
            <a:off x="3893212" y="5793059"/>
            <a:ext cx="1230346" cy="42518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2" name="Graphic 98">
            <a:extLst>
              <a:ext uri="{FF2B5EF4-FFF2-40B4-BE49-F238E27FC236}">
                <a16:creationId xmlns:a16="http://schemas.microsoft.com/office/drawing/2014/main" id="{656B2D7B-1055-B091-C5F6-A11C6114D6AF}"/>
              </a:ext>
            </a:extLst>
          </p:cNvPr>
          <p:cNvSpPr/>
          <p:nvPr userDrawn="1"/>
        </p:nvSpPr>
        <p:spPr>
          <a:xfrm>
            <a:off x="7632902" y="5846640"/>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nvGrpSpPr>
          <p:cNvPr id="63" name="Group 62">
            <a:extLst>
              <a:ext uri="{FF2B5EF4-FFF2-40B4-BE49-F238E27FC236}">
                <a16:creationId xmlns:a16="http://schemas.microsoft.com/office/drawing/2014/main" id="{77D082BE-8798-1B1D-76B6-64DA11B6AD39}"/>
              </a:ext>
            </a:extLst>
          </p:cNvPr>
          <p:cNvGrpSpPr/>
          <p:nvPr userDrawn="1"/>
        </p:nvGrpSpPr>
        <p:grpSpPr>
          <a:xfrm>
            <a:off x="-355530" y="5793059"/>
            <a:ext cx="4548149" cy="425181"/>
            <a:chOff x="7062304" y="5793565"/>
            <a:chExt cx="4548149" cy="425181"/>
          </a:xfrm>
        </p:grpSpPr>
        <p:pic>
          <p:nvPicPr>
            <p:cNvPr id="64" name="Graphic 63">
              <a:extLst>
                <a:ext uri="{FF2B5EF4-FFF2-40B4-BE49-F238E27FC236}">
                  <a16:creationId xmlns:a16="http://schemas.microsoft.com/office/drawing/2014/main" id="{1D39151F-904F-BA62-10B3-F36B5AC0C40D}"/>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25779" r="1"/>
            <a:stretch/>
          </p:blipFill>
          <p:spPr>
            <a:xfrm>
              <a:off x="7062304" y="5793565"/>
              <a:ext cx="4548149" cy="425181"/>
            </a:xfrm>
            <a:prstGeom prst="rect">
              <a:avLst/>
            </a:prstGeom>
          </p:spPr>
        </p:pic>
        <p:sp>
          <p:nvSpPr>
            <p:cNvPr id="65" name="Graphic 98">
              <a:extLst>
                <a:ext uri="{FF2B5EF4-FFF2-40B4-BE49-F238E27FC236}">
                  <a16:creationId xmlns:a16="http://schemas.microsoft.com/office/drawing/2014/main" id="{05A50C39-A387-80F5-C73D-5A226AB0775C}"/>
                </a:ext>
              </a:extLst>
            </p:cNvPr>
            <p:cNvSpPr/>
            <p:nvPr userDrawn="1"/>
          </p:nvSpPr>
          <p:spPr>
            <a:xfrm>
              <a:off x="11243369"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spTree>
    <p:extLst>
      <p:ext uri="{BB962C8B-B14F-4D97-AF65-F5344CB8AC3E}">
        <p14:creationId xmlns:p14="http://schemas.microsoft.com/office/powerpoint/2010/main" val="4610489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53">
          <p15:clr>
            <a:srgbClr val="A4A3A4"/>
          </p15:clr>
        </p15:guide>
        <p15:guide id="18" pos="4343">
          <p15:clr>
            <a:srgbClr val="A4A3A4"/>
          </p15:clr>
        </p15:guide>
        <p15:guide id="19" pos="4526">
          <p15:clr>
            <a:srgbClr val="A4A3A4"/>
          </p15:clr>
        </p15:guide>
        <p15:guide id="20" pos="4929">
          <p15:clr>
            <a:srgbClr val="A4A3A4"/>
          </p15:clr>
        </p15:guide>
        <p15:guide id="21" pos="511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7" pos="6900">
          <p15:clr>
            <a:srgbClr val="A4A3A4"/>
          </p15:clr>
        </p15:guide>
        <p15:guide id="28" orient="horz" pos="890">
          <p15:clr>
            <a:srgbClr val="5ACBF0"/>
          </p15:clr>
        </p15:guide>
        <p15:guide id="29" orient="horz" pos="1298">
          <p15:clr>
            <a:srgbClr val="5ACBF0"/>
          </p15:clr>
        </p15:guide>
        <p15:guide id="30" orient="horz" pos="288">
          <p15:clr>
            <a:srgbClr val="5ACBF0"/>
          </p15:clr>
        </p15:guide>
        <p15:guide id="31" pos="6720">
          <p15:clr>
            <a:srgbClr val="A4A3A4"/>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AAEB37A-7909-B897-F090-949DA8F00A30}"/>
              </a:ext>
            </a:extLst>
          </p:cNvPr>
          <p:cNvSpPr/>
          <p:nvPr userDrawn="1"/>
        </p:nvSpPr>
        <p:spPr bwMode="auto">
          <a:xfrm>
            <a:off x="8194839" y="1670304"/>
            <a:ext cx="3122931" cy="41367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DD30C53D-F6C4-0670-1790-639472337FBC}"/>
              </a:ext>
            </a:extLst>
          </p:cNvPr>
          <p:cNvSpPr/>
          <p:nvPr userDrawn="1"/>
        </p:nvSpPr>
        <p:spPr bwMode="auto">
          <a:xfrm>
            <a:off x="4383695" y="1645920"/>
            <a:ext cx="3122295" cy="41738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904997AC-81E4-0D99-B162-511DF5F1F179}"/>
              </a:ext>
            </a:extLst>
          </p:cNvPr>
          <p:cNvSpPr/>
          <p:nvPr userDrawn="1"/>
        </p:nvSpPr>
        <p:spPr bwMode="auto">
          <a:xfrm>
            <a:off x="575409" y="1645920"/>
            <a:ext cx="3119437" cy="41738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588263" y="483326"/>
            <a:ext cx="11018520" cy="553998"/>
          </a:xfrm>
        </p:spPr>
        <p:txBody>
          <a:bodyPr/>
          <a:lstStyle/>
          <a:p>
            <a:r>
              <a:rPr lang="en-US"/>
              <a:t>Click to edit Master title style</a:t>
            </a:r>
          </a:p>
        </p:txBody>
      </p:sp>
      <p:sp>
        <p:nvSpPr>
          <p:cNvPr id="21" name="Text Placeholder 15">
            <a:extLst>
              <a:ext uri="{FF2B5EF4-FFF2-40B4-BE49-F238E27FC236}">
                <a16:creationId xmlns:a16="http://schemas.microsoft.com/office/drawing/2014/main" id="{788C2DAD-2830-76BD-0425-3DB07C23F424}"/>
              </a:ext>
            </a:extLst>
          </p:cNvPr>
          <p:cNvSpPr>
            <a:spLocks noGrp="1"/>
          </p:cNvSpPr>
          <p:nvPr>
            <p:ph type="body" sz="quarter" idx="20" hasCustomPrompt="1"/>
          </p:nvPr>
        </p:nvSpPr>
        <p:spPr>
          <a:xfrm>
            <a:off x="728795" y="3428999"/>
            <a:ext cx="2812663" cy="1969770"/>
          </a:xfrm>
        </p:spPr>
        <p:txBody>
          <a:bodyPr/>
          <a:lstStyle>
            <a:lvl1pPr marL="0" indent="0" algn="ctr">
              <a:buFontTx/>
              <a:buNone/>
              <a:defRPr sz="20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4" name="Text Placeholder 15">
            <a:extLst>
              <a:ext uri="{FF2B5EF4-FFF2-40B4-BE49-F238E27FC236}">
                <a16:creationId xmlns:a16="http://schemas.microsoft.com/office/drawing/2014/main" id="{8C92794E-58BE-07B8-0CA8-52FE4439A363}"/>
              </a:ext>
            </a:extLst>
          </p:cNvPr>
          <p:cNvSpPr>
            <a:spLocks noGrp="1"/>
          </p:cNvSpPr>
          <p:nvPr>
            <p:ph type="body" sz="quarter" idx="23" hasCustomPrompt="1"/>
          </p:nvPr>
        </p:nvSpPr>
        <p:spPr>
          <a:xfrm>
            <a:off x="4539384" y="3428999"/>
            <a:ext cx="2812663" cy="1969770"/>
          </a:xfrm>
        </p:spPr>
        <p:txBody>
          <a:bodyPr/>
          <a:lstStyle>
            <a:lvl1pPr marL="0" indent="0" algn="ctr">
              <a:buFontTx/>
              <a:buNone/>
              <a:defRPr sz="18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8" name="Text Placeholder 15">
            <a:extLst>
              <a:ext uri="{FF2B5EF4-FFF2-40B4-BE49-F238E27FC236}">
                <a16:creationId xmlns:a16="http://schemas.microsoft.com/office/drawing/2014/main" id="{B3B163F8-7634-3DD1-1A29-D6017A1D4746}"/>
              </a:ext>
            </a:extLst>
          </p:cNvPr>
          <p:cNvSpPr>
            <a:spLocks noGrp="1"/>
          </p:cNvSpPr>
          <p:nvPr>
            <p:ph type="body" sz="quarter" idx="24" hasCustomPrompt="1"/>
          </p:nvPr>
        </p:nvSpPr>
        <p:spPr>
          <a:xfrm>
            <a:off x="8349972" y="3428999"/>
            <a:ext cx="2812663" cy="1969770"/>
          </a:xfrm>
        </p:spPr>
        <p:txBody>
          <a:bodyPr/>
          <a:lstStyle>
            <a:lvl1pPr marL="0" indent="0" algn="ctr">
              <a:buFontTx/>
              <a:buNone/>
              <a:defRPr sz="18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1" name="Graphic 98">
            <a:extLst>
              <a:ext uri="{FF2B5EF4-FFF2-40B4-BE49-F238E27FC236}">
                <a16:creationId xmlns:a16="http://schemas.microsoft.com/office/drawing/2014/main" id="{A2F3B2F3-3120-467F-1015-8E5C55A1388F}"/>
              </a:ext>
            </a:extLst>
          </p:cNvPr>
          <p:cNvSpPr/>
          <p:nvPr userDrawn="1"/>
        </p:nvSpPr>
        <p:spPr>
          <a:xfrm>
            <a:off x="7874005"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sp>
        <p:nvSpPr>
          <p:cNvPr id="42" name="Graphic 98">
            <a:extLst>
              <a:ext uri="{FF2B5EF4-FFF2-40B4-BE49-F238E27FC236}">
                <a16:creationId xmlns:a16="http://schemas.microsoft.com/office/drawing/2014/main" id="{0905554C-F24B-5DB2-927F-AC2E27FB3BF1}"/>
              </a:ext>
            </a:extLst>
          </p:cNvPr>
          <p:cNvSpPr/>
          <p:nvPr userDrawn="1"/>
        </p:nvSpPr>
        <p:spPr>
          <a:xfrm>
            <a:off x="11243369"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sp>
        <p:nvSpPr>
          <p:cNvPr id="44" name="Graphic 98">
            <a:extLst>
              <a:ext uri="{FF2B5EF4-FFF2-40B4-BE49-F238E27FC236}">
                <a16:creationId xmlns:a16="http://schemas.microsoft.com/office/drawing/2014/main" id="{32B612D6-9F36-94D6-EAF7-A2D9D0F94121}"/>
              </a:ext>
            </a:extLst>
          </p:cNvPr>
          <p:cNvSpPr/>
          <p:nvPr userDrawn="1"/>
        </p:nvSpPr>
        <p:spPr>
          <a:xfrm>
            <a:off x="4009077"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nvGrpSpPr>
          <p:cNvPr id="67" name="Group 66">
            <a:extLst>
              <a:ext uri="{FF2B5EF4-FFF2-40B4-BE49-F238E27FC236}">
                <a16:creationId xmlns:a16="http://schemas.microsoft.com/office/drawing/2014/main" id="{2659D193-21F4-2F49-C366-527634E0C7B8}"/>
              </a:ext>
            </a:extLst>
          </p:cNvPr>
          <p:cNvGrpSpPr/>
          <p:nvPr userDrawn="1"/>
        </p:nvGrpSpPr>
        <p:grpSpPr>
          <a:xfrm>
            <a:off x="7260104" y="5793059"/>
            <a:ext cx="4548149" cy="425181"/>
            <a:chOff x="7062304" y="5793565"/>
            <a:chExt cx="4548149" cy="425181"/>
          </a:xfrm>
        </p:grpSpPr>
        <p:pic>
          <p:nvPicPr>
            <p:cNvPr id="68" name="Graphic 67">
              <a:extLst>
                <a:ext uri="{FF2B5EF4-FFF2-40B4-BE49-F238E27FC236}">
                  <a16:creationId xmlns:a16="http://schemas.microsoft.com/office/drawing/2014/main" id="{B2C0923B-8DD2-BD00-F954-28F9FDA3613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5779" r="1"/>
            <a:stretch/>
          </p:blipFill>
          <p:spPr>
            <a:xfrm>
              <a:off x="7062304" y="5793565"/>
              <a:ext cx="4548149" cy="425181"/>
            </a:xfrm>
            <a:prstGeom prst="rect">
              <a:avLst/>
            </a:prstGeom>
          </p:spPr>
        </p:pic>
        <p:sp>
          <p:nvSpPr>
            <p:cNvPr id="69" name="Graphic 98">
              <a:extLst>
                <a:ext uri="{FF2B5EF4-FFF2-40B4-BE49-F238E27FC236}">
                  <a16:creationId xmlns:a16="http://schemas.microsoft.com/office/drawing/2014/main" id="{B6038A00-C669-7F7A-3E05-30075049AD17}"/>
                </a:ext>
              </a:extLst>
            </p:cNvPr>
            <p:cNvSpPr/>
            <p:nvPr userDrawn="1"/>
          </p:nvSpPr>
          <p:spPr>
            <a:xfrm>
              <a:off x="11243369"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sp>
        <p:nvSpPr>
          <p:cNvPr id="70" name="Rectangle 69">
            <a:extLst>
              <a:ext uri="{FF2B5EF4-FFF2-40B4-BE49-F238E27FC236}">
                <a16:creationId xmlns:a16="http://schemas.microsoft.com/office/drawing/2014/main" id="{4BAB5D9E-5C1F-171D-CCA8-AE20A0A53292}"/>
              </a:ext>
            </a:extLst>
          </p:cNvPr>
          <p:cNvSpPr/>
          <p:nvPr userDrawn="1"/>
        </p:nvSpPr>
        <p:spPr bwMode="auto">
          <a:xfrm>
            <a:off x="7584737" y="5793059"/>
            <a:ext cx="1642082" cy="42518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1" name="Graphic 70">
            <a:extLst>
              <a:ext uri="{FF2B5EF4-FFF2-40B4-BE49-F238E27FC236}">
                <a16:creationId xmlns:a16="http://schemas.microsoft.com/office/drawing/2014/main" id="{0A6F1100-80B3-E78E-5D4F-B834DB297DA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5779" r="1"/>
          <a:stretch/>
        </p:blipFill>
        <p:spPr>
          <a:xfrm>
            <a:off x="3451837" y="5793059"/>
            <a:ext cx="4548149" cy="425181"/>
          </a:xfrm>
          <a:prstGeom prst="rect">
            <a:avLst/>
          </a:prstGeom>
        </p:spPr>
      </p:pic>
      <p:sp>
        <p:nvSpPr>
          <p:cNvPr id="72" name="Rectangle 71">
            <a:extLst>
              <a:ext uri="{FF2B5EF4-FFF2-40B4-BE49-F238E27FC236}">
                <a16:creationId xmlns:a16="http://schemas.microsoft.com/office/drawing/2014/main" id="{171F0806-D4A7-5B31-7B07-B4FFC7388F96}"/>
              </a:ext>
            </a:extLst>
          </p:cNvPr>
          <p:cNvSpPr/>
          <p:nvPr userDrawn="1"/>
        </p:nvSpPr>
        <p:spPr bwMode="auto">
          <a:xfrm>
            <a:off x="3893212" y="5793059"/>
            <a:ext cx="1230346" cy="42518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3" name="Graphic 98">
            <a:extLst>
              <a:ext uri="{FF2B5EF4-FFF2-40B4-BE49-F238E27FC236}">
                <a16:creationId xmlns:a16="http://schemas.microsoft.com/office/drawing/2014/main" id="{CD561DFA-7CF2-E95C-7A75-BF67CD47880F}"/>
              </a:ext>
            </a:extLst>
          </p:cNvPr>
          <p:cNvSpPr/>
          <p:nvPr userDrawn="1"/>
        </p:nvSpPr>
        <p:spPr>
          <a:xfrm>
            <a:off x="7632902" y="5846640"/>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5EB13BCB-02EF-D366-9EDC-83681E5E272E}"/>
              </a:ext>
            </a:extLst>
          </p:cNvPr>
          <p:cNvGrpSpPr/>
          <p:nvPr userDrawn="1"/>
        </p:nvGrpSpPr>
        <p:grpSpPr>
          <a:xfrm>
            <a:off x="-355530" y="5793059"/>
            <a:ext cx="4548149" cy="425181"/>
            <a:chOff x="7062304" y="5793565"/>
            <a:chExt cx="4548149" cy="425181"/>
          </a:xfrm>
        </p:grpSpPr>
        <p:pic>
          <p:nvPicPr>
            <p:cNvPr id="75" name="Graphic 74">
              <a:extLst>
                <a:ext uri="{FF2B5EF4-FFF2-40B4-BE49-F238E27FC236}">
                  <a16:creationId xmlns:a16="http://schemas.microsoft.com/office/drawing/2014/main" id="{C48B245A-0BCB-D391-6C66-9FED7F71BD83}"/>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25779" r="1"/>
            <a:stretch/>
          </p:blipFill>
          <p:spPr>
            <a:xfrm>
              <a:off x="7062304" y="5793565"/>
              <a:ext cx="4548149" cy="425181"/>
            </a:xfrm>
            <a:prstGeom prst="rect">
              <a:avLst/>
            </a:prstGeom>
          </p:spPr>
        </p:pic>
        <p:sp>
          <p:nvSpPr>
            <p:cNvPr id="76" name="Graphic 98">
              <a:extLst>
                <a:ext uri="{FF2B5EF4-FFF2-40B4-BE49-F238E27FC236}">
                  <a16:creationId xmlns:a16="http://schemas.microsoft.com/office/drawing/2014/main" id="{6863AC21-BE0F-7572-6FAB-F4A481D79990}"/>
                </a:ext>
              </a:extLst>
            </p:cNvPr>
            <p:cNvSpPr/>
            <p:nvPr userDrawn="1"/>
          </p:nvSpPr>
          <p:spPr>
            <a:xfrm>
              <a:off x="11243369" y="5845121"/>
              <a:ext cx="318019" cy="318019"/>
            </a:xfrm>
            <a:custGeom>
              <a:avLst/>
              <a:gdLst>
                <a:gd name="connsiteX0" fmla="*/ 316865 w 316865"/>
                <a:gd name="connsiteY0" fmla="*/ 158433 h 316865"/>
                <a:gd name="connsiteX1" fmla="*/ 158432 w 316865"/>
                <a:gd name="connsiteY1" fmla="*/ 316865 h 316865"/>
                <a:gd name="connsiteX2" fmla="*/ 0 w 316865"/>
                <a:gd name="connsiteY2" fmla="*/ 158433 h 316865"/>
                <a:gd name="connsiteX3" fmla="*/ 158432 w 316865"/>
                <a:gd name="connsiteY3" fmla="*/ 0 h 316865"/>
                <a:gd name="connsiteX4" fmla="*/ 316865 w 316865"/>
                <a:gd name="connsiteY4" fmla="*/ 158433 h 31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 h="316865">
                  <a:moveTo>
                    <a:pt x="316865" y="158433"/>
                  </a:moveTo>
                  <a:cubicBezTo>
                    <a:pt x="316865" y="245933"/>
                    <a:pt x="245932" y="316865"/>
                    <a:pt x="158432" y="316865"/>
                  </a:cubicBezTo>
                  <a:cubicBezTo>
                    <a:pt x="70933" y="316865"/>
                    <a:pt x="0" y="245933"/>
                    <a:pt x="0" y="158433"/>
                  </a:cubicBezTo>
                  <a:cubicBezTo>
                    <a:pt x="0" y="70933"/>
                    <a:pt x="70933" y="0"/>
                    <a:pt x="158432" y="0"/>
                  </a:cubicBezTo>
                  <a:cubicBezTo>
                    <a:pt x="245932" y="0"/>
                    <a:pt x="316865" y="70933"/>
                    <a:pt x="316865" y="158433"/>
                  </a:cubicBezTo>
                  <a:close/>
                </a:path>
              </a:pathLst>
            </a:custGeom>
            <a:solidFill>
              <a:srgbClr val="FFFFFF"/>
            </a:solidFill>
            <a:ln w="3303" cap="flat">
              <a:noFill/>
              <a:prstDash val="solid"/>
              <a:miter/>
            </a:ln>
          </p:spPr>
          <p:txBody>
            <a:bodyPr rtlCol="0" anchor="ctr"/>
            <a:lstStyle/>
            <a:p>
              <a:endParaRPr lang="en-US"/>
            </a:p>
          </p:txBody>
        </p:sp>
      </p:grpSp>
    </p:spTree>
    <p:extLst>
      <p:ext uri="{BB962C8B-B14F-4D97-AF65-F5344CB8AC3E}">
        <p14:creationId xmlns:p14="http://schemas.microsoft.com/office/powerpoint/2010/main" val="594119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47">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7" pos="6900">
          <p15:clr>
            <a:srgbClr val="A4A3A4"/>
          </p15:clr>
        </p15:guide>
        <p15:guide id="28" orient="horz" pos="905">
          <p15:clr>
            <a:srgbClr val="5ACBF0"/>
          </p15:clr>
        </p15:guide>
        <p15:guide id="29" orient="horz" pos="1298">
          <p15:clr>
            <a:srgbClr val="5ACBF0"/>
          </p15:clr>
        </p15:guide>
        <p15:guide id="30" orient="horz" pos="288">
          <p15:clr>
            <a:srgbClr val="5ACBF0"/>
          </p15:clr>
        </p15:guide>
        <p15:guide id="31" pos="6720">
          <p15:clr>
            <a:srgbClr val="A4A3A4"/>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096135ED-BF59-CC20-D10E-DC4F62902CF0}"/>
              </a:ext>
            </a:extLst>
          </p:cNvPr>
          <p:cNvSpPr txBox="1"/>
          <p:nvPr userDrawn="1"/>
        </p:nvSpPr>
        <p:spPr>
          <a:xfrm>
            <a:off x="7813986" y="4055670"/>
            <a:ext cx="2678747" cy="1640592"/>
          </a:xfrm>
          <a:prstGeom prst="rect">
            <a:avLst/>
          </a:prstGeom>
          <a:noFill/>
        </p:spPr>
        <p:txBody>
          <a:bodyPr wrap="square" lIns="0" tIns="0" rIns="0" bIns="0" rtlCol="0">
            <a:spAutoFit/>
          </a:bodyPr>
          <a:lstStyle/>
          <a:p>
            <a:pPr algn="l"/>
            <a:endParaRPr lang="es-MX" sz="2000" err="1"/>
          </a:p>
        </p:txBody>
      </p:sp>
      <p:sp>
        <p:nvSpPr>
          <p:cNvPr id="31" name="TextBox 30">
            <a:extLst>
              <a:ext uri="{FF2B5EF4-FFF2-40B4-BE49-F238E27FC236}">
                <a16:creationId xmlns:a16="http://schemas.microsoft.com/office/drawing/2014/main" id="{89A8163F-F60E-2F37-8A0C-088D4067A303}"/>
              </a:ext>
            </a:extLst>
          </p:cNvPr>
          <p:cNvSpPr txBox="1"/>
          <p:nvPr userDrawn="1"/>
        </p:nvSpPr>
        <p:spPr>
          <a:xfrm>
            <a:off x="4215766" y="4055670"/>
            <a:ext cx="2678747" cy="1640592"/>
          </a:xfrm>
          <a:prstGeom prst="rect">
            <a:avLst/>
          </a:prstGeom>
          <a:noFill/>
        </p:spPr>
        <p:txBody>
          <a:bodyPr wrap="square" lIns="0" tIns="0" rIns="0" bIns="0" rtlCol="0">
            <a:spAutoFit/>
          </a:bodyPr>
          <a:lstStyle/>
          <a:p>
            <a:pPr algn="l"/>
            <a:endParaRPr lang="es-MX" sz="2000" err="1"/>
          </a:p>
        </p:txBody>
      </p:sp>
      <p:sp>
        <p:nvSpPr>
          <p:cNvPr id="34" name="Text Placeholder 15">
            <a:extLst>
              <a:ext uri="{FF2B5EF4-FFF2-40B4-BE49-F238E27FC236}">
                <a16:creationId xmlns:a16="http://schemas.microsoft.com/office/drawing/2014/main" id="{9C045E7F-D27C-BF3C-1FE7-BF60B4E94C7D}"/>
              </a:ext>
            </a:extLst>
          </p:cNvPr>
          <p:cNvSpPr>
            <a:spLocks noGrp="1"/>
          </p:cNvSpPr>
          <p:nvPr>
            <p:ph type="body" sz="quarter" idx="20" hasCustomPrompt="1"/>
          </p:nvPr>
        </p:nvSpPr>
        <p:spPr>
          <a:xfrm>
            <a:off x="596266" y="4055670"/>
            <a:ext cx="2816859" cy="1538883"/>
          </a:xfrm>
        </p:spPr>
        <p:txBody>
          <a:bodyPr/>
          <a:lstStyle>
            <a:lvl1pPr marL="0" indent="0">
              <a:buFontTx/>
              <a:buNone/>
              <a:defRPr sz="1400"/>
            </a:lvl1pPr>
          </a:lstStyle>
          <a:p>
            <a:pPr marL="228600" marR="0" lvl="0" indent="-228600" algn="l" defTabSz="932742" rtl="0" eaLnBrk="1" fontAlgn="auto" latinLnBrk="0" hangingPunct="1">
              <a:lnSpc>
                <a:spcPct val="100000"/>
              </a:lnSpc>
              <a:spcBef>
                <a:spcPts val="0"/>
              </a:spcBef>
              <a:spcAft>
                <a:spcPts val="0"/>
              </a:spcAft>
              <a:buClrTx/>
              <a:buSzPct val="90000"/>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228600" marR="0" lvl="0" indent="-228600" algn="l" defTabSz="932742" rtl="0" eaLnBrk="1" fontAlgn="auto" latinLnBrk="0" hangingPunct="1">
              <a:lnSpc>
                <a:spcPct val="100000"/>
              </a:lnSpc>
              <a:spcBef>
                <a:spcPts val="0"/>
              </a:spcBef>
              <a:spcAft>
                <a:spcPts val="0"/>
              </a:spcAft>
              <a:buClrTx/>
              <a:buSzPct val="90000"/>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35" name="Text Placeholder 15">
            <a:extLst>
              <a:ext uri="{FF2B5EF4-FFF2-40B4-BE49-F238E27FC236}">
                <a16:creationId xmlns:a16="http://schemas.microsoft.com/office/drawing/2014/main" id="{F7B2077F-2878-8304-611D-5F1610DD109D}"/>
              </a:ext>
            </a:extLst>
          </p:cNvPr>
          <p:cNvSpPr>
            <a:spLocks noGrp="1"/>
          </p:cNvSpPr>
          <p:nvPr>
            <p:ph type="body" sz="quarter" idx="21" hasCustomPrompt="1"/>
          </p:nvPr>
        </p:nvSpPr>
        <p:spPr>
          <a:xfrm>
            <a:off x="3872346" y="4055670"/>
            <a:ext cx="2816859" cy="1538883"/>
          </a:xfrm>
        </p:spPr>
        <p:txBody>
          <a:bodyPr/>
          <a:lstStyle>
            <a:lvl1pPr marL="0" indent="0">
              <a:buFontTx/>
              <a:buNone/>
              <a:defRPr/>
            </a:lvl1pPr>
          </a:lstStyle>
          <a:p>
            <a:pPr marL="228600" marR="0" lvl="0" indent="-228600" algn="l" defTabSz="932742" rtl="0" eaLnBrk="1" fontAlgn="auto" latinLnBrk="0" hangingPunct="1">
              <a:lnSpc>
                <a:spcPct val="100000"/>
              </a:lnSpc>
              <a:spcBef>
                <a:spcPts val="0"/>
              </a:spcBef>
              <a:spcAft>
                <a:spcPts val="0"/>
              </a:spcAft>
              <a:buClrTx/>
              <a:buSzPct val="90000"/>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228600" marR="0" lvl="0" indent="-228600" algn="l" defTabSz="932742" rtl="0" eaLnBrk="1" fontAlgn="auto" latinLnBrk="0" hangingPunct="1">
              <a:lnSpc>
                <a:spcPct val="100000"/>
              </a:lnSpc>
              <a:spcBef>
                <a:spcPts val="0"/>
              </a:spcBef>
              <a:spcAft>
                <a:spcPts val="0"/>
              </a:spcAft>
              <a:buClrTx/>
              <a:buSzPct val="90000"/>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36" name="Text Placeholder 15">
            <a:extLst>
              <a:ext uri="{FF2B5EF4-FFF2-40B4-BE49-F238E27FC236}">
                <a16:creationId xmlns:a16="http://schemas.microsoft.com/office/drawing/2014/main" id="{69FBD7F2-3021-C011-2FDA-4547F9EE2AE0}"/>
              </a:ext>
            </a:extLst>
          </p:cNvPr>
          <p:cNvSpPr>
            <a:spLocks noGrp="1"/>
          </p:cNvSpPr>
          <p:nvPr>
            <p:ph type="body" sz="quarter" idx="22" hasCustomPrompt="1"/>
          </p:nvPr>
        </p:nvSpPr>
        <p:spPr>
          <a:xfrm>
            <a:off x="7158185" y="4055670"/>
            <a:ext cx="2816859" cy="1538883"/>
          </a:xfrm>
        </p:spPr>
        <p:txBody>
          <a:bodyPr/>
          <a:lstStyle>
            <a:lvl1pPr marL="0" indent="0">
              <a:buFontTx/>
              <a:buNone/>
              <a:defRPr/>
            </a:lvl1pPr>
          </a:lstStyle>
          <a:p>
            <a:pPr marL="228600" marR="0" lvl="0" indent="-228600" algn="l" defTabSz="932742" rtl="0" eaLnBrk="1" fontAlgn="auto" latinLnBrk="0" hangingPunct="1">
              <a:lnSpc>
                <a:spcPct val="100000"/>
              </a:lnSpc>
              <a:spcBef>
                <a:spcPts val="0"/>
              </a:spcBef>
              <a:spcAft>
                <a:spcPts val="0"/>
              </a:spcAft>
              <a:buClrTx/>
              <a:buSzPct val="90000"/>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a:t>
            </a:r>
          </a:p>
          <a:p>
            <a:pPr marL="228600" marR="0" lvl="0" indent="-228600" algn="l" defTabSz="932742" rtl="0" eaLnBrk="1" fontAlgn="auto" latinLnBrk="0" hangingPunct="1">
              <a:lnSpc>
                <a:spcPct val="100000"/>
              </a:lnSpc>
              <a:spcBef>
                <a:spcPts val="0"/>
              </a:spcBef>
              <a:spcAft>
                <a:spcPts val="0"/>
              </a:spcAft>
              <a:buClrTx/>
              <a:buSzPct val="90000"/>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rna</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qua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e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hicular class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ultricie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oll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dictums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enean</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non.</a:t>
            </a:r>
          </a:p>
        </p:txBody>
      </p:sp>
      <p:sp>
        <p:nvSpPr>
          <p:cNvPr id="54" name="Title 53">
            <a:extLst>
              <a:ext uri="{FF2B5EF4-FFF2-40B4-BE49-F238E27FC236}">
                <a16:creationId xmlns:a16="http://schemas.microsoft.com/office/drawing/2014/main" id="{A3A3B87C-B3D3-26FE-0AA8-80EC88BB55A6}"/>
              </a:ext>
            </a:extLst>
          </p:cNvPr>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299987160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0">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41">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11018520" cy="553998"/>
          </a:xfrm>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036E43BB-B6EF-2F55-B072-C13D70E0BECE}"/>
              </a:ext>
              <a:ext uri="{C183D7F6-B498-43B3-948B-1728B52AA6E4}">
                <adec:decorative xmlns:adec="http://schemas.microsoft.com/office/drawing/2017/decorative" val="1"/>
              </a:ext>
            </a:extLst>
          </p:cNvPr>
          <p:cNvCxnSpPr>
            <a:cxnSpLocks/>
          </p:cNvCxnSpPr>
          <p:nvPr userDrawn="1"/>
        </p:nvCxnSpPr>
        <p:spPr>
          <a:xfrm>
            <a:off x="1317643" y="4078176"/>
            <a:ext cx="1823975" cy="0"/>
          </a:xfrm>
          <a:prstGeom prst="line">
            <a:avLst/>
          </a:prstGeom>
          <a:ln w="38100">
            <a:solidFill>
              <a:srgbClr val="107C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79E46A-5B78-6329-D6FC-0BD37D1AD40E}"/>
              </a:ext>
              <a:ext uri="{C183D7F6-B498-43B3-948B-1728B52AA6E4}">
                <adec:decorative xmlns:adec="http://schemas.microsoft.com/office/drawing/2017/decorative" val="1"/>
              </a:ext>
            </a:extLst>
          </p:cNvPr>
          <p:cNvCxnSpPr>
            <a:cxnSpLocks/>
          </p:cNvCxnSpPr>
          <p:nvPr userDrawn="1"/>
        </p:nvCxnSpPr>
        <p:spPr>
          <a:xfrm>
            <a:off x="5196018" y="4078176"/>
            <a:ext cx="1823975" cy="0"/>
          </a:xfrm>
          <a:prstGeom prst="line">
            <a:avLst/>
          </a:prstGeom>
          <a:ln w="38100">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2D3B22D-8FC9-1474-E323-CED05BCAFF6B}"/>
              </a:ext>
            </a:extLst>
          </p:cNvPr>
          <p:cNvGrpSpPr/>
          <p:nvPr userDrawn="1"/>
        </p:nvGrpSpPr>
        <p:grpSpPr>
          <a:xfrm>
            <a:off x="4191869" y="1729135"/>
            <a:ext cx="3786168" cy="3504048"/>
            <a:chOff x="4191869" y="1729134"/>
            <a:chExt cx="3786168" cy="3295911"/>
          </a:xfrm>
        </p:grpSpPr>
        <p:cxnSp>
          <p:nvCxnSpPr>
            <p:cNvPr id="4" name="Straight Connector 3">
              <a:extLst>
                <a:ext uri="{FF2B5EF4-FFF2-40B4-BE49-F238E27FC236}">
                  <a16:creationId xmlns:a16="http://schemas.microsoft.com/office/drawing/2014/main" id="{BB2BBA2D-D172-8408-51C4-1CB2D9734590}"/>
                </a:ext>
                <a:ext uri="{C183D7F6-B498-43B3-948B-1728B52AA6E4}">
                  <adec:decorative xmlns:adec="http://schemas.microsoft.com/office/drawing/2017/decorative" val="1"/>
                </a:ext>
              </a:extLst>
            </p:cNvPr>
            <p:cNvCxnSpPr>
              <a:cxnSpLocks/>
            </p:cNvCxnSpPr>
            <p:nvPr userDrawn="1"/>
          </p:nvCxnSpPr>
          <p:spPr>
            <a:xfrm>
              <a:off x="4191869" y="1729134"/>
              <a:ext cx="0" cy="3295911"/>
            </a:xfrm>
            <a:prstGeom prst="line">
              <a:avLst/>
            </a:prstGeom>
            <a:ln w="19050">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A00D670-C067-144F-3EB5-9B2BB2FFF624}"/>
                </a:ext>
                <a:ext uri="{C183D7F6-B498-43B3-948B-1728B52AA6E4}">
                  <adec:decorative xmlns:adec="http://schemas.microsoft.com/office/drawing/2017/decorative" val="1"/>
                </a:ext>
              </a:extLst>
            </p:cNvPr>
            <p:cNvCxnSpPr>
              <a:cxnSpLocks/>
            </p:cNvCxnSpPr>
            <p:nvPr userDrawn="1"/>
          </p:nvCxnSpPr>
          <p:spPr>
            <a:xfrm>
              <a:off x="7978037" y="1729134"/>
              <a:ext cx="0" cy="3295911"/>
            </a:xfrm>
            <a:prstGeom prst="line">
              <a:avLst/>
            </a:prstGeom>
            <a:ln w="19050">
              <a:solidFill>
                <a:srgbClr val="F2F2F2"/>
              </a:solidFill>
            </a:ln>
          </p:spPr>
          <p:style>
            <a:lnRef idx="1">
              <a:schemeClr val="accent1"/>
            </a:lnRef>
            <a:fillRef idx="0">
              <a:schemeClr val="accent1"/>
            </a:fillRef>
            <a:effectRef idx="0">
              <a:schemeClr val="accent1"/>
            </a:effectRef>
            <a:fontRef idx="minor">
              <a:schemeClr val="tx1"/>
            </a:fontRef>
          </p:style>
        </p:cxnSp>
      </p:grpSp>
      <p:cxnSp>
        <p:nvCxnSpPr>
          <p:cNvPr id="10" name="Straight Connector 9">
            <a:extLst>
              <a:ext uri="{FF2B5EF4-FFF2-40B4-BE49-F238E27FC236}">
                <a16:creationId xmlns:a16="http://schemas.microsoft.com/office/drawing/2014/main" id="{7039E749-FE38-8A8D-35B6-CE94B2E97FE1}"/>
              </a:ext>
              <a:ext uri="{C183D7F6-B498-43B3-948B-1728B52AA6E4}">
                <adec:decorative xmlns:adec="http://schemas.microsoft.com/office/drawing/2017/decorative" val="1"/>
              </a:ext>
            </a:extLst>
          </p:cNvPr>
          <p:cNvCxnSpPr>
            <a:cxnSpLocks/>
          </p:cNvCxnSpPr>
          <p:nvPr userDrawn="1"/>
        </p:nvCxnSpPr>
        <p:spPr>
          <a:xfrm>
            <a:off x="9074393" y="4078176"/>
            <a:ext cx="1823975" cy="0"/>
          </a:xfrm>
          <a:prstGeom prst="line">
            <a:avLst/>
          </a:prstGeom>
          <a:ln w="3810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5">
            <a:extLst>
              <a:ext uri="{FF2B5EF4-FFF2-40B4-BE49-F238E27FC236}">
                <a16:creationId xmlns:a16="http://schemas.microsoft.com/office/drawing/2014/main" id="{306C8D4A-BB99-A19F-7B0C-B7D5EE6C07F6}"/>
              </a:ext>
            </a:extLst>
          </p:cNvPr>
          <p:cNvSpPr>
            <a:spLocks noGrp="1"/>
          </p:cNvSpPr>
          <p:nvPr>
            <p:ph type="body" sz="quarter" idx="20" hasCustomPrompt="1"/>
          </p:nvPr>
        </p:nvSpPr>
        <p:spPr>
          <a:xfrm>
            <a:off x="600462" y="4390358"/>
            <a:ext cx="3444102" cy="738664"/>
          </a:xfrm>
        </p:spPr>
        <p:txBody>
          <a:bodyPr/>
          <a:lstStyle>
            <a:lvl1pPr marL="0" indent="0" algn="ctr">
              <a:buFontTx/>
              <a:buNone/>
              <a:defRPr sz="14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8" name="Text Placeholder 15">
            <a:extLst>
              <a:ext uri="{FF2B5EF4-FFF2-40B4-BE49-F238E27FC236}">
                <a16:creationId xmlns:a16="http://schemas.microsoft.com/office/drawing/2014/main" id="{CA6E8B5A-1343-ECF8-A919-C1720867FC33}"/>
              </a:ext>
            </a:extLst>
          </p:cNvPr>
          <p:cNvSpPr>
            <a:spLocks noGrp="1"/>
          </p:cNvSpPr>
          <p:nvPr>
            <p:ph type="body" sz="quarter" idx="21" hasCustomPrompt="1"/>
          </p:nvPr>
        </p:nvSpPr>
        <p:spPr>
          <a:xfrm>
            <a:off x="4369895" y="4390358"/>
            <a:ext cx="3444102" cy="738664"/>
          </a:xfrm>
        </p:spPr>
        <p:txBody>
          <a:bodyPr/>
          <a:lstStyle>
            <a:lvl1pPr marL="0" indent="0" algn="ctr">
              <a:buFontTx/>
              <a:buNone/>
              <a:defRPr sz="14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9" name="Text Placeholder 15">
            <a:extLst>
              <a:ext uri="{FF2B5EF4-FFF2-40B4-BE49-F238E27FC236}">
                <a16:creationId xmlns:a16="http://schemas.microsoft.com/office/drawing/2014/main" id="{5C713C65-5378-797B-D24E-137228B7E8A1}"/>
              </a:ext>
            </a:extLst>
          </p:cNvPr>
          <p:cNvSpPr>
            <a:spLocks noGrp="1"/>
          </p:cNvSpPr>
          <p:nvPr>
            <p:ph type="body" sz="quarter" idx="22" hasCustomPrompt="1"/>
          </p:nvPr>
        </p:nvSpPr>
        <p:spPr>
          <a:xfrm>
            <a:off x="8122543" y="4390358"/>
            <a:ext cx="3444102" cy="738664"/>
          </a:xfrm>
        </p:spPr>
        <p:txBody>
          <a:bodyPr/>
          <a:lstStyle>
            <a:lvl1pPr marL="0" indent="0" algn="ctr">
              <a:buFontTx/>
              <a:buNone/>
              <a:defRPr sz="14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32" name="Text Placeholder 31">
            <a:extLst>
              <a:ext uri="{FF2B5EF4-FFF2-40B4-BE49-F238E27FC236}">
                <a16:creationId xmlns:a16="http://schemas.microsoft.com/office/drawing/2014/main" id="{3C03CA94-0DC4-A8D0-249B-3CA703A7E0DB}"/>
              </a:ext>
            </a:extLst>
          </p:cNvPr>
          <p:cNvSpPr>
            <a:spLocks noGrp="1"/>
          </p:cNvSpPr>
          <p:nvPr>
            <p:ph type="body" sz="quarter" idx="23"/>
          </p:nvPr>
        </p:nvSpPr>
        <p:spPr>
          <a:xfrm>
            <a:off x="600075" y="3223239"/>
            <a:ext cx="3444875" cy="276999"/>
          </a:xfrm>
        </p:spPr>
        <p:txBody>
          <a:bodyPr/>
          <a:lstStyle>
            <a:lvl1pPr marL="0" indent="0" algn="ctr">
              <a:buNone/>
              <a:defRPr sz="1800"/>
            </a:lvl1pPr>
            <a:lvl2pPr marL="228600" indent="0" algn="ctr">
              <a:buNone/>
              <a:defRPr/>
            </a:lvl2pPr>
            <a:lvl3pPr algn="ctr">
              <a:defRPr/>
            </a:lvl3pPr>
            <a:lvl4pPr algn="ctr">
              <a:defRPr/>
            </a:lvl4pPr>
            <a:lvl5pPr algn="ctr">
              <a:defRPr/>
            </a:lvl5pPr>
          </a:lstStyle>
          <a:p>
            <a:pPr lvl="0"/>
            <a:r>
              <a:rPr lang="en-US"/>
              <a:t>Click to edit Master text styles</a:t>
            </a:r>
          </a:p>
        </p:txBody>
      </p:sp>
      <p:sp>
        <p:nvSpPr>
          <p:cNvPr id="33" name="Text Placeholder 31">
            <a:extLst>
              <a:ext uri="{FF2B5EF4-FFF2-40B4-BE49-F238E27FC236}">
                <a16:creationId xmlns:a16="http://schemas.microsoft.com/office/drawing/2014/main" id="{AEBBCBA9-DB32-818B-453E-326F93B56064}"/>
              </a:ext>
            </a:extLst>
          </p:cNvPr>
          <p:cNvSpPr>
            <a:spLocks noGrp="1"/>
          </p:cNvSpPr>
          <p:nvPr>
            <p:ph type="body" sz="quarter" idx="24"/>
          </p:nvPr>
        </p:nvSpPr>
        <p:spPr>
          <a:xfrm>
            <a:off x="4375749" y="3223239"/>
            <a:ext cx="3444875" cy="276999"/>
          </a:xfrm>
        </p:spPr>
        <p:txBody>
          <a:bodyPr/>
          <a:lstStyle>
            <a:lvl1pPr marL="0" indent="0" algn="ctr">
              <a:buNone/>
              <a:defRPr sz="1800"/>
            </a:lvl1pPr>
            <a:lvl2pPr marL="228600" indent="0" algn="ctr">
              <a:buNone/>
              <a:defRPr/>
            </a:lvl2pPr>
            <a:lvl3pPr algn="ctr">
              <a:defRPr/>
            </a:lvl3pPr>
            <a:lvl4pPr algn="ctr">
              <a:defRPr/>
            </a:lvl4pPr>
            <a:lvl5pPr algn="ctr">
              <a:defRPr/>
            </a:lvl5pPr>
          </a:lstStyle>
          <a:p>
            <a:pPr lvl="0"/>
            <a:r>
              <a:rPr lang="en-US"/>
              <a:t>Click to edit Master text styles</a:t>
            </a:r>
          </a:p>
        </p:txBody>
      </p:sp>
      <p:sp>
        <p:nvSpPr>
          <p:cNvPr id="34" name="Text Placeholder 31">
            <a:extLst>
              <a:ext uri="{FF2B5EF4-FFF2-40B4-BE49-F238E27FC236}">
                <a16:creationId xmlns:a16="http://schemas.microsoft.com/office/drawing/2014/main" id="{7681818A-2F9C-6E9C-F9AC-12A59A0D653E}"/>
              </a:ext>
            </a:extLst>
          </p:cNvPr>
          <p:cNvSpPr>
            <a:spLocks noGrp="1"/>
          </p:cNvSpPr>
          <p:nvPr>
            <p:ph type="body" sz="quarter" idx="25"/>
          </p:nvPr>
        </p:nvSpPr>
        <p:spPr>
          <a:xfrm>
            <a:off x="8119636" y="3223239"/>
            <a:ext cx="3444875" cy="276999"/>
          </a:xfrm>
        </p:spPr>
        <p:txBody>
          <a:bodyPr/>
          <a:lstStyle>
            <a:lvl1pPr marL="0" indent="0" algn="ctr">
              <a:buNone/>
              <a:defRPr sz="1800"/>
            </a:lvl1pPr>
            <a:lvl2pPr marL="228600" indent="0" algn="ctr">
              <a:buNone/>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86391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11018520" cy="553998"/>
          </a:xfrm>
        </p:spPr>
        <p:txBody>
          <a:bodyPr/>
          <a:lstStyle/>
          <a:p>
            <a:r>
              <a:rPr lang="en-US"/>
              <a:t>Click to edit Master title style</a:t>
            </a:r>
          </a:p>
        </p:txBody>
      </p:sp>
      <p:sp>
        <p:nvSpPr>
          <p:cNvPr id="36" name="Text Placeholder 15">
            <a:extLst>
              <a:ext uri="{FF2B5EF4-FFF2-40B4-BE49-F238E27FC236}">
                <a16:creationId xmlns:a16="http://schemas.microsoft.com/office/drawing/2014/main" id="{3E927B41-4174-16C2-6629-EE1199635BFB}"/>
              </a:ext>
            </a:extLst>
          </p:cNvPr>
          <p:cNvSpPr>
            <a:spLocks noGrp="1"/>
          </p:cNvSpPr>
          <p:nvPr>
            <p:ph type="body" sz="quarter" idx="20" hasCustomPrompt="1"/>
          </p:nvPr>
        </p:nvSpPr>
        <p:spPr>
          <a:xfrm>
            <a:off x="588263" y="1222509"/>
            <a:ext cx="11018519" cy="492443"/>
          </a:xfrm>
        </p:spPr>
        <p:txBody>
          <a:bodyPr/>
          <a:lstStyle>
            <a:lvl1pPr marL="0" indent="0" algn="ctr">
              <a:buFontTx/>
              <a:buNone/>
              <a:defRPr sz="2000"/>
            </a:lvl1pPr>
          </a:lstStyle>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228600" marR="0" lvl="0" indent="-22860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Lore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ims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dolor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si</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1" name="Text Placeholder 15">
            <a:extLst>
              <a:ext uri="{FF2B5EF4-FFF2-40B4-BE49-F238E27FC236}">
                <a16:creationId xmlns:a16="http://schemas.microsoft.com/office/drawing/2014/main" id="{94842228-782B-5F91-A0E6-A7C9973D10E9}"/>
              </a:ext>
            </a:extLst>
          </p:cNvPr>
          <p:cNvSpPr>
            <a:spLocks noGrp="1"/>
          </p:cNvSpPr>
          <p:nvPr>
            <p:ph type="body" sz="quarter" idx="21" hasCustomPrompt="1"/>
          </p:nvPr>
        </p:nvSpPr>
        <p:spPr>
          <a:xfrm>
            <a:off x="2030145" y="2736648"/>
            <a:ext cx="6230452" cy="305463"/>
          </a:xfrm>
        </p:spPr>
        <p:txBody>
          <a:bodyPr/>
          <a:lstStyle>
            <a:lvl1pPr>
              <a:defRPr sz="240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imsus</a:t>
            </a: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dolor sit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ametLorem</a:t>
            </a:r>
            <a:endPar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3" name="Text Placeholder 15">
            <a:extLst>
              <a:ext uri="{FF2B5EF4-FFF2-40B4-BE49-F238E27FC236}">
                <a16:creationId xmlns:a16="http://schemas.microsoft.com/office/drawing/2014/main" id="{20A37BB7-C3B2-7327-E9B6-37F6292E781A}"/>
              </a:ext>
            </a:extLst>
          </p:cNvPr>
          <p:cNvSpPr>
            <a:spLocks noGrp="1"/>
          </p:cNvSpPr>
          <p:nvPr>
            <p:ph type="body" sz="quarter" idx="22" hasCustomPrompt="1"/>
          </p:nvPr>
        </p:nvSpPr>
        <p:spPr>
          <a:xfrm>
            <a:off x="2030145" y="4051869"/>
            <a:ext cx="6230452" cy="305463"/>
          </a:xfrm>
        </p:spPr>
        <p:txBody>
          <a:bodyPr/>
          <a:lstStyle>
            <a:lvl1pPr>
              <a:defRPr sz="240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imsus</a:t>
            </a: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sit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ametLorem</a:t>
            </a:r>
            <a:endPar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4" name="Text Placeholder 15">
            <a:extLst>
              <a:ext uri="{FF2B5EF4-FFF2-40B4-BE49-F238E27FC236}">
                <a16:creationId xmlns:a16="http://schemas.microsoft.com/office/drawing/2014/main" id="{8A072FC3-F2F7-1B08-EEF6-51B944AF630C}"/>
              </a:ext>
            </a:extLst>
          </p:cNvPr>
          <p:cNvSpPr>
            <a:spLocks noGrp="1"/>
          </p:cNvSpPr>
          <p:nvPr>
            <p:ph type="body" sz="quarter" idx="23" hasCustomPrompt="1"/>
          </p:nvPr>
        </p:nvSpPr>
        <p:spPr>
          <a:xfrm>
            <a:off x="2030145" y="5367089"/>
            <a:ext cx="6230452" cy="305463"/>
          </a:xfrm>
        </p:spPr>
        <p:txBody>
          <a:bodyPr/>
          <a:lstStyle>
            <a:lvl1pPr>
              <a:defRPr sz="2400"/>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orem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imsus</a:t>
            </a: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sit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ametLorem</a:t>
            </a: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20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imsus</a:t>
            </a:r>
            <a:endPar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424893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72">
          <p15:clr>
            <a:srgbClr val="A4A3A4"/>
          </p15:clr>
        </p15:guide>
        <p15:guide id="10" pos="1980">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F5AF8C-13DA-9EFD-E98B-382C6BFD9391}"/>
              </a:ext>
            </a:extLst>
          </p:cNvPr>
          <p:cNvSpPr/>
          <p:nvPr userDrawn="1"/>
        </p:nvSpPr>
        <p:spPr bwMode="auto">
          <a:xfrm>
            <a:off x="0" y="0"/>
            <a:ext cx="12192000" cy="2403432"/>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pic>
        <p:nvPicPr>
          <p:cNvPr id="8" name="Graphic 7">
            <a:extLst>
              <a:ext uri="{FF2B5EF4-FFF2-40B4-BE49-F238E27FC236}">
                <a16:creationId xmlns:a16="http://schemas.microsoft.com/office/drawing/2014/main" id="{E34E0FC0-EBD2-47E7-61D5-EA6CC64786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3530" b="33554"/>
          <a:stretch/>
        </p:blipFill>
        <p:spPr>
          <a:xfrm>
            <a:off x="7050405" y="-1"/>
            <a:ext cx="5212080" cy="2403433"/>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6250687" cy="553998"/>
          </a:xfrm>
        </p:spPr>
        <p:txBody>
          <a:bodyPr/>
          <a:lstStyle>
            <a:lvl1pPr>
              <a:defRPr>
                <a:solidFill>
                  <a:schemeClr val="tx1"/>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103CE53C-FEFA-03DA-9456-E1D376E3A950}"/>
              </a:ext>
            </a:extLst>
          </p:cNvPr>
          <p:cNvSpPr>
            <a:spLocks noGrp="1"/>
          </p:cNvSpPr>
          <p:nvPr>
            <p:ph sz="quarter" idx="10"/>
          </p:nvPr>
        </p:nvSpPr>
        <p:spPr>
          <a:xfrm>
            <a:off x="571034" y="3047746"/>
            <a:ext cx="8705850" cy="1785104"/>
          </a:xfrm>
        </p:spPr>
        <p:txBody>
          <a:bodyPr/>
          <a:lstStyle>
            <a:lvl1pPr marL="457200" indent="-457200" algn="l">
              <a:buFont typeface="Arial" panose="020B0604020202020204" pitchFamily="34" charset="0"/>
              <a:buChar char="•"/>
              <a:defRPr sz="2000"/>
            </a:lvl1pPr>
            <a:lvl2pPr marL="228600" indent="0" algn="l">
              <a:buNone/>
              <a:defRPr/>
            </a:lvl2pPr>
            <a:lvl3pPr marL="457200" indent="0" algn="l">
              <a:buNone/>
              <a:defRPr/>
            </a:lvl3pPr>
            <a:lvl4pPr marL="661988" indent="0" algn="l">
              <a:buNone/>
              <a:defRPr/>
            </a:lvl4pPr>
            <a:lvl5pPr marL="855663" indent="0" algn="l">
              <a:buNone/>
              <a:defRPr/>
            </a:lvl5pPr>
          </a:lstStyle>
          <a:p>
            <a:pPr lvl="0"/>
            <a:r>
              <a:rPr lang="en-US"/>
              <a:t>Click to edit Master text styles</a:t>
            </a:r>
          </a:p>
          <a:p>
            <a:pPr lvl="0"/>
            <a:endParaRPr lang="en-US"/>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p:txBody>
      </p:sp>
      <p:sp>
        <p:nvSpPr>
          <p:cNvPr id="18" name="Content Placeholder 5">
            <a:extLst>
              <a:ext uri="{FF2B5EF4-FFF2-40B4-BE49-F238E27FC236}">
                <a16:creationId xmlns:a16="http://schemas.microsoft.com/office/drawing/2014/main" id="{2F73FB98-FD87-D447-8798-2D897A3A1386}"/>
              </a:ext>
            </a:extLst>
          </p:cNvPr>
          <p:cNvSpPr>
            <a:spLocks noGrp="1"/>
          </p:cNvSpPr>
          <p:nvPr>
            <p:ph sz="quarter" idx="11"/>
          </p:nvPr>
        </p:nvSpPr>
        <p:spPr>
          <a:xfrm>
            <a:off x="586078" y="1372195"/>
            <a:ext cx="6250687" cy="307777"/>
          </a:xfrm>
        </p:spPr>
        <p:txBody>
          <a:bodyPr/>
          <a:lstStyle>
            <a:lvl1pPr marL="0" indent="0" algn="l">
              <a:buFont typeface="Arial" panose="020B0604020202020204" pitchFamily="34" charset="0"/>
              <a:buNone/>
              <a:defRPr sz="2000">
                <a:solidFill>
                  <a:schemeClr val="tx1"/>
                </a:solidFill>
                <a:latin typeface="+mj-lt"/>
              </a:defRPr>
            </a:lvl1pPr>
            <a:lvl2pPr marL="228600" indent="0" algn="l">
              <a:buNone/>
              <a:defRPr/>
            </a:lvl2pPr>
            <a:lvl3pPr marL="457200" indent="0" algn="l">
              <a:buNone/>
              <a:defRPr/>
            </a:lvl3pPr>
            <a:lvl4pPr marL="661988" indent="0" algn="l">
              <a:buNone/>
              <a:defRPr/>
            </a:lvl4pPr>
            <a:lvl5pPr marL="855663" indent="0" algn="l">
              <a:buNone/>
              <a:defRPr/>
            </a:lvl5pPr>
          </a:lstStyle>
          <a:p>
            <a:pPr lvl="0"/>
            <a:r>
              <a:rPr lang="en-US"/>
              <a:t>Click to edit Master text styles</a:t>
            </a:r>
          </a:p>
        </p:txBody>
      </p:sp>
    </p:spTree>
    <p:extLst>
      <p:ext uri="{BB962C8B-B14F-4D97-AF65-F5344CB8AC3E}">
        <p14:creationId xmlns:p14="http://schemas.microsoft.com/office/powerpoint/2010/main" val="17262013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72">
          <p15:clr>
            <a:srgbClr val="A4A3A4"/>
          </p15:clr>
        </p15:guide>
        <p15:guide id="10" pos="1980">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F5AF8C-13DA-9EFD-E98B-382C6BFD9391}"/>
              </a:ext>
            </a:extLst>
          </p:cNvPr>
          <p:cNvSpPr/>
          <p:nvPr userDrawn="1"/>
        </p:nvSpPr>
        <p:spPr bwMode="auto">
          <a:xfrm>
            <a:off x="0" y="0"/>
            <a:ext cx="12192000" cy="240343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pic>
        <p:nvPicPr>
          <p:cNvPr id="8" name="Graphic 7">
            <a:extLst>
              <a:ext uri="{FF2B5EF4-FFF2-40B4-BE49-F238E27FC236}">
                <a16:creationId xmlns:a16="http://schemas.microsoft.com/office/drawing/2014/main" id="{E34E0FC0-EBD2-47E7-61D5-EA6CC64786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3530" b="33554"/>
          <a:stretch/>
        </p:blipFill>
        <p:spPr>
          <a:xfrm>
            <a:off x="7050405" y="-1"/>
            <a:ext cx="5212080" cy="2403433"/>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6250687" cy="553998"/>
          </a:xfrm>
        </p:spPr>
        <p:txBody>
          <a:bodyPr/>
          <a:lstStyle>
            <a:lvl1pPr>
              <a:defRPr>
                <a:solidFill>
                  <a:schemeClr val="bg1"/>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103CE53C-FEFA-03DA-9456-E1D376E3A950}"/>
              </a:ext>
            </a:extLst>
          </p:cNvPr>
          <p:cNvSpPr>
            <a:spLocks noGrp="1"/>
          </p:cNvSpPr>
          <p:nvPr>
            <p:ph sz="quarter" idx="10"/>
          </p:nvPr>
        </p:nvSpPr>
        <p:spPr>
          <a:xfrm>
            <a:off x="571034" y="3047746"/>
            <a:ext cx="8705850" cy="1785104"/>
          </a:xfrm>
        </p:spPr>
        <p:txBody>
          <a:bodyPr/>
          <a:lstStyle>
            <a:lvl1pPr marL="457200" indent="-457200" algn="l">
              <a:buFont typeface="Arial" panose="020B0604020202020204" pitchFamily="34" charset="0"/>
              <a:buChar char="•"/>
              <a:defRPr sz="2000"/>
            </a:lvl1pPr>
            <a:lvl2pPr marL="228600" indent="0" algn="l">
              <a:buNone/>
              <a:defRPr/>
            </a:lvl2pPr>
            <a:lvl3pPr marL="457200" indent="0" algn="l">
              <a:buNone/>
              <a:defRPr/>
            </a:lvl3pPr>
            <a:lvl4pPr marL="661988" indent="0" algn="l">
              <a:buNone/>
              <a:defRPr/>
            </a:lvl4pPr>
            <a:lvl5pPr marL="855663" indent="0" algn="l">
              <a:buNone/>
              <a:defRPr/>
            </a:lvl5pPr>
          </a:lstStyle>
          <a:p>
            <a:pPr lvl="0"/>
            <a:r>
              <a:rPr lang="en-US"/>
              <a:t>Click to edit Master text styles</a:t>
            </a:r>
          </a:p>
          <a:p>
            <a:pPr lvl="0"/>
            <a:endParaRPr lang="en-US"/>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p:txBody>
      </p:sp>
      <p:sp>
        <p:nvSpPr>
          <p:cNvPr id="18" name="Content Placeholder 5">
            <a:extLst>
              <a:ext uri="{FF2B5EF4-FFF2-40B4-BE49-F238E27FC236}">
                <a16:creationId xmlns:a16="http://schemas.microsoft.com/office/drawing/2014/main" id="{2F73FB98-FD87-D447-8798-2D897A3A1386}"/>
              </a:ext>
            </a:extLst>
          </p:cNvPr>
          <p:cNvSpPr>
            <a:spLocks noGrp="1"/>
          </p:cNvSpPr>
          <p:nvPr>
            <p:ph sz="quarter" idx="11"/>
          </p:nvPr>
        </p:nvSpPr>
        <p:spPr>
          <a:xfrm>
            <a:off x="586078" y="1372195"/>
            <a:ext cx="6250687" cy="307777"/>
          </a:xfrm>
        </p:spPr>
        <p:txBody>
          <a:bodyPr/>
          <a:lstStyle>
            <a:lvl1pPr marL="0" indent="0" algn="l">
              <a:buFont typeface="Arial" panose="020B0604020202020204" pitchFamily="34" charset="0"/>
              <a:buNone/>
              <a:defRPr sz="2000">
                <a:solidFill>
                  <a:schemeClr val="bg1"/>
                </a:solidFill>
                <a:latin typeface="+mj-lt"/>
              </a:defRPr>
            </a:lvl1pPr>
            <a:lvl2pPr marL="228600" indent="0" algn="l">
              <a:buNone/>
              <a:defRPr/>
            </a:lvl2pPr>
            <a:lvl3pPr marL="457200" indent="0" algn="l">
              <a:buNone/>
              <a:defRPr/>
            </a:lvl3pPr>
            <a:lvl4pPr marL="661988" indent="0" algn="l">
              <a:buNone/>
              <a:defRPr/>
            </a:lvl4pPr>
            <a:lvl5pPr marL="855663" indent="0" algn="l">
              <a:buNone/>
              <a:defRPr/>
            </a:lvl5pPr>
          </a:lstStyle>
          <a:p>
            <a:pPr lvl="0"/>
            <a:r>
              <a:rPr lang="en-US"/>
              <a:t>Click to edit Master text styles</a:t>
            </a:r>
          </a:p>
        </p:txBody>
      </p:sp>
    </p:spTree>
    <p:extLst>
      <p:ext uri="{BB962C8B-B14F-4D97-AF65-F5344CB8AC3E}">
        <p14:creationId xmlns:p14="http://schemas.microsoft.com/office/powerpoint/2010/main" val="758194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72">
          <p15:clr>
            <a:srgbClr val="A4A3A4"/>
          </p15:clr>
        </p15:guide>
        <p15:guide id="10" pos="1980">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8F5AF8C-13DA-9EFD-E98B-382C6BFD9391}"/>
              </a:ext>
            </a:extLst>
          </p:cNvPr>
          <p:cNvSpPr/>
          <p:nvPr userDrawn="1"/>
        </p:nvSpPr>
        <p:spPr bwMode="auto">
          <a:xfrm>
            <a:off x="0" y="0"/>
            <a:ext cx="12192000" cy="24034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pic>
        <p:nvPicPr>
          <p:cNvPr id="8" name="Graphic 7">
            <a:extLst>
              <a:ext uri="{FF2B5EF4-FFF2-40B4-BE49-F238E27FC236}">
                <a16:creationId xmlns:a16="http://schemas.microsoft.com/office/drawing/2014/main" id="{E34E0FC0-EBD2-47E7-61D5-EA6CC64786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3530" b="33554"/>
          <a:stretch/>
        </p:blipFill>
        <p:spPr>
          <a:xfrm>
            <a:off x="7050405" y="-1"/>
            <a:ext cx="5212080" cy="2403433"/>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6250687" cy="553998"/>
          </a:xfrm>
        </p:spPr>
        <p:txBody>
          <a:bodyPr/>
          <a:lstStyle>
            <a:lvl1pPr>
              <a:defRPr>
                <a:solidFill>
                  <a:schemeClr val="bg1"/>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103CE53C-FEFA-03DA-9456-E1D376E3A950}"/>
              </a:ext>
            </a:extLst>
          </p:cNvPr>
          <p:cNvSpPr>
            <a:spLocks noGrp="1"/>
          </p:cNvSpPr>
          <p:nvPr>
            <p:ph sz="quarter" idx="10"/>
          </p:nvPr>
        </p:nvSpPr>
        <p:spPr>
          <a:xfrm>
            <a:off x="571034" y="3047746"/>
            <a:ext cx="8705850" cy="1785104"/>
          </a:xfrm>
        </p:spPr>
        <p:txBody>
          <a:bodyPr/>
          <a:lstStyle>
            <a:lvl1pPr marL="457200" indent="-457200" algn="l">
              <a:buFont typeface="Arial" panose="020B0604020202020204" pitchFamily="34" charset="0"/>
              <a:buChar char="•"/>
              <a:defRPr sz="2000"/>
            </a:lvl1pPr>
            <a:lvl2pPr marL="228600" indent="0" algn="l">
              <a:buNone/>
              <a:defRPr/>
            </a:lvl2pPr>
            <a:lvl3pPr marL="457200" indent="0" algn="l">
              <a:buNone/>
              <a:defRPr/>
            </a:lvl3pPr>
            <a:lvl4pPr marL="661988" indent="0" algn="l">
              <a:buNone/>
              <a:defRPr/>
            </a:lvl4pPr>
            <a:lvl5pPr marL="855663" indent="0" algn="l">
              <a:buNone/>
              <a:defRPr/>
            </a:lvl5pPr>
          </a:lstStyle>
          <a:p>
            <a:pPr lvl="0"/>
            <a:r>
              <a:rPr lang="en-US"/>
              <a:t>Click to edit Master text styles</a:t>
            </a:r>
          </a:p>
          <a:p>
            <a:pPr lvl="0"/>
            <a:endParaRPr lang="en-US"/>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p:txBody>
      </p:sp>
      <p:sp>
        <p:nvSpPr>
          <p:cNvPr id="18" name="Content Placeholder 5">
            <a:extLst>
              <a:ext uri="{FF2B5EF4-FFF2-40B4-BE49-F238E27FC236}">
                <a16:creationId xmlns:a16="http://schemas.microsoft.com/office/drawing/2014/main" id="{2F73FB98-FD87-D447-8798-2D897A3A1386}"/>
              </a:ext>
            </a:extLst>
          </p:cNvPr>
          <p:cNvSpPr>
            <a:spLocks noGrp="1"/>
          </p:cNvSpPr>
          <p:nvPr>
            <p:ph sz="quarter" idx="11"/>
          </p:nvPr>
        </p:nvSpPr>
        <p:spPr>
          <a:xfrm>
            <a:off x="586078" y="1372195"/>
            <a:ext cx="6250687" cy="307777"/>
          </a:xfrm>
        </p:spPr>
        <p:txBody>
          <a:bodyPr/>
          <a:lstStyle>
            <a:lvl1pPr marL="0" indent="0" algn="l">
              <a:buFont typeface="Arial" panose="020B0604020202020204" pitchFamily="34" charset="0"/>
              <a:buNone/>
              <a:defRPr sz="2000">
                <a:solidFill>
                  <a:schemeClr val="bg1"/>
                </a:solidFill>
                <a:latin typeface="+mj-lt"/>
              </a:defRPr>
            </a:lvl1pPr>
            <a:lvl2pPr marL="228600" indent="0" algn="l">
              <a:buNone/>
              <a:defRPr/>
            </a:lvl2pPr>
            <a:lvl3pPr marL="457200" indent="0" algn="l">
              <a:buNone/>
              <a:defRPr/>
            </a:lvl3pPr>
            <a:lvl4pPr marL="661988" indent="0" algn="l">
              <a:buNone/>
              <a:defRPr/>
            </a:lvl4pPr>
            <a:lvl5pPr marL="855663" indent="0" algn="l">
              <a:buNone/>
              <a:defRPr/>
            </a:lvl5pPr>
          </a:lstStyle>
          <a:p>
            <a:pPr lvl="0"/>
            <a:r>
              <a:rPr lang="en-US"/>
              <a:t>Click to edit Master text styles</a:t>
            </a:r>
          </a:p>
        </p:txBody>
      </p:sp>
    </p:spTree>
    <p:extLst>
      <p:ext uri="{BB962C8B-B14F-4D97-AF65-F5344CB8AC3E}">
        <p14:creationId xmlns:p14="http://schemas.microsoft.com/office/powerpoint/2010/main" val="998298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72">
          <p15:clr>
            <a:srgbClr val="A4A3A4"/>
          </p15:clr>
        </p15:guide>
        <p15:guide id="10" pos="1980">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3C03CA94-0DC4-A8D0-249B-3CA703A7E0DB}"/>
              </a:ext>
            </a:extLst>
          </p:cNvPr>
          <p:cNvSpPr>
            <a:spLocks noGrp="1"/>
          </p:cNvSpPr>
          <p:nvPr>
            <p:ph type="body" sz="quarter" idx="23"/>
          </p:nvPr>
        </p:nvSpPr>
        <p:spPr>
          <a:xfrm>
            <a:off x="2068754" y="3223239"/>
            <a:ext cx="6393320" cy="553998"/>
          </a:xfrm>
        </p:spPr>
        <p:txBody>
          <a:bodyPr/>
          <a:lstStyle>
            <a:lvl1pPr marL="0" indent="0" algn="l">
              <a:buNone/>
              <a:defRPr sz="3600">
                <a:latin typeface="+mj-lt"/>
              </a:defRPr>
            </a:lvl1pPr>
            <a:lvl2pPr marL="228600" indent="0" algn="ctr">
              <a:buNone/>
              <a:defRPr/>
            </a:lvl2pPr>
            <a:lvl3pPr algn="ctr">
              <a:defRPr/>
            </a:lvl3pPr>
            <a:lvl4pPr algn="ctr">
              <a:defRPr/>
            </a:lvl4pPr>
            <a:lvl5pPr algn="ctr">
              <a:defRPr/>
            </a:lvl5pPr>
          </a:lstStyle>
          <a:p>
            <a:pPr lvl="0"/>
            <a:r>
              <a:rPr lang="en-US"/>
              <a:t>Click to edit Master text styles</a:t>
            </a:r>
          </a:p>
        </p:txBody>
      </p:sp>
      <p:sp>
        <p:nvSpPr>
          <p:cNvPr id="15" name="Oval 14">
            <a:extLst>
              <a:ext uri="{FF2B5EF4-FFF2-40B4-BE49-F238E27FC236}">
                <a16:creationId xmlns:a16="http://schemas.microsoft.com/office/drawing/2014/main" id="{722DDA89-3DF1-E655-4A04-9CFFD03D4367}"/>
              </a:ext>
            </a:extLst>
          </p:cNvPr>
          <p:cNvSpPr/>
          <p:nvPr userDrawn="1"/>
        </p:nvSpPr>
        <p:spPr bwMode="auto">
          <a:xfrm rot="16200000">
            <a:off x="573031" y="2741329"/>
            <a:ext cx="1384261" cy="1384262"/>
          </a:xfrm>
          <a:prstGeom prst="ellipse">
            <a:avLst/>
          </a:prstGeom>
          <a:solidFill>
            <a:srgbClr val="FFB900"/>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4FF11FA7-D381-2CB0-8719-89242C960FB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6853" y="3070593"/>
            <a:ext cx="656617" cy="725734"/>
          </a:xfrm>
          <a:prstGeom prst="rect">
            <a:avLst/>
          </a:prstGeom>
        </p:spPr>
      </p:pic>
    </p:spTree>
    <p:extLst>
      <p:ext uri="{BB962C8B-B14F-4D97-AF65-F5344CB8AC3E}">
        <p14:creationId xmlns:p14="http://schemas.microsoft.com/office/powerpoint/2010/main" val="6659301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82">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53">
          <p15:clr>
            <a:srgbClr val="5ACBF0"/>
          </p15:clr>
        </p15:guide>
        <p15:guide id="30" orient="horz" pos="288">
          <p15:clr>
            <a:srgbClr val="5ACBF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107C10"/>
        </a:solidFill>
        <a:effectLst/>
      </p:bgPr>
    </p:bg>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3C03CA94-0DC4-A8D0-249B-3CA703A7E0DB}"/>
              </a:ext>
            </a:extLst>
          </p:cNvPr>
          <p:cNvSpPr>
            <a:spLocks noGrp="1"/>
          </p:cNvSpPr>
          <p:nvPr>
            <p:ph type="body" sz="quarter" idx="23"/>
          </p:nvPr>
        </p:nvSpPr>
        <p:spPr>
          <a:xfrm>
            <a:off x="2068754" y="3223239"/>
            <a:ext cx="6393320" cy="553998"/>
          </a:xfrm>
        </p:spPr>
        <p:txBody>
          <a:bodyPr/>
          <a:lstStyle>
            <a:lvl1pPr marL="0" indent="0" algn="l">
              <a:buNone/>
              <a:defRPr sz="3600">
                <a:solidFill>
                  <a:schemeClr val="bg1"/>
                </a:solidFill>
                <a:latin typeface="+mj-lt"/>
              </a:defRPr>
            </a:lvl1pPr>
            <a:lvl2pPr marL="228600" indent="0" algn="ctr">
              <a:buNone/>
              <a:defRPr/>
            </a:lvl2pPr>
            <a:lvl3pPr algn="ctr">
              <a:defRPr/>
            </a:lvl3pPr>
            <a:lvl4pPr algn="ctr">
              <a:defRPr/>
            </a:lvl4pPr>
            <a:lvl5pPr algn="ctr">
              <a:defRPr/>
            </a:lvl5pPr>
          </a:lstStyle>
          <a:p>
            <a:pPr lvl="0"/>
            <a:r>
              <a:rPr lang="en-US"/>
              <a:t>Click to edit Master text styles</a:t>
            </a:r>
          </a:p>
        </p:txBody>
      </p:sp>
      <p:sp>
        <p:nvSpPr>
          <p:cNvPr id="15" name="Oval 14">
            <a:extLst>
              <a:ext uri="{FF2B5EF4-FFF2-40B4-BE49-F238E27FC236}">
                <a16:creationId xmlns:a16="http://schemas.microsoft.com/office/drawing/2014/main" id="{722DDA89-3DF1-E655-4A04-9CFFD03D4367}"/>
              </a:ext>
            </a:extLst>
          </p:cNvPr>
          <p:cNvSpPr/>
          <p:nvPr userDrawn="1"/>
        </p:nvSpPr>
        <p:spPr bwMode="auto">
          <a:xfrm rot="16200000">
            <a:off x="573031" y="2741329"/>
            <a:ext cx="1384261" cy="1384262"/>
          </a:xfrm>
          <a:prstGeom prst="ellipse">
            <a:avLst/>
          </a:prstGeom>
          <a:solidFill>
            <a:srgbClr val="107C10"/>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4FF11FA7-D381-2CB0-8719-89242C960FB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6853" y="3070593"/>
            <a:ext cx="656617" cy="725734"/>
          </a:xfrm>
          <a:prstGeom prst="rect">
            <a:avLst/>
          </a:prstGeom>
        </p:spPr>
      </p:pic>
    </p:spTree>
    <p:extLst>
      <p:ext uri="{BB962C8B-B14F-4D97-AF65-F5344CB8AC3E}">
        <p14:creationId xmlns:p14="http://schemas.microsoft.com/office/powerpoint/2010/main" val="1158619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82">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30">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55984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rgbClr val="0078D4"/>
        </a:solidFill>
        <a:effectLst/>
      </p:bgPr>
    </p:bg>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3C03CA94-0DC4-A8D0-249B-3CA703A7E0DB}"/>
              </a:ext>
            </a:extLst>
          </p:cNvPr>
          <p:cNvSpPr>
            <a:spLocks noGrp="1"/>
          </p:cNvSpPr>
          <p:nvPr>
            <p:ph type="body" sz="quarter" idx="23"/>
          </p:nvPr>
        </p:nvSpPr>
        <p:spPr>
          <a:xfrm>
            <a:off x="2068754" y="3223239"/>
            <a:ext cx="6393320" cy="553998"/>
          </a:xfrm>
        </p:spPr>
        <p:txBody>
          <a:bodyPr/>
          <a:lstStyle>
            <a:lvl1pPr marL="0" indent="0" algn="l">
              <a:buNone/>
              <a:defRPr sz="3600">
                <a:solidFill>
                  <a:schemeClr val="bg1"/>
                </a:solidFill>
                <a:latin typeface="+mj-lt"/>
              </a:defRPr>
            </a:lvl1pPr>
            <a:lvl2pPr marL="228600" indent="0" algn="ctr">
              <a:buNone/>
              <a:defRPr/>
            </a:lvl2pPr>
            <a:lvl3pPr algn="ctr">
              <a:defRPr/>
            </a:lvl3pPr>
            <a:lvl4pPr algn="ctr">
              <a:defRPr/>
            </a:lvl4pPr>
            <a:lvl5pPr algn="ctr">
              <a:defRPr/>
            </a:lvl5pPr>
          </a:lstStyle>
          <a:p>
            <a:pPr lvl="0"/>
            <a:r>
              <a:rPr lang="en-US"/>
              <a:t>Click to edit Master text styles</a:t>
            </a:r>
          </a:p>
        </p:txBody>
      </p:sp>
      <p:sp>
        <p:nvSpPr>
          <p:cNvPr id="15" name="Oval 14">
            <a:extLst>
              <a:ext uri="{FF2B5EF4-FFF2-40B4-BE49-F238E27FC236}">
                <a16:creationId xmlns:a16="http://schemas.microsoft.com/office/drawing/2014/main" id="{722DDA89-3DF1-E655-4A04-9CFFD03D4367}"/>
              </a:ext>
            </a:extLst>
          </p:cNvPr>
          <p:cNvSpPr/>
          <p:nvPr userDrawn="1"/>
        </p:nvSpPr>
        <p:spPr bwMode="auto">
          <a:xfrm rot="16200000">
            <a:off x="573031" y="2741329"/>
            <a:ext cx="1384261" cy="1384262"/>
          </a:xfrm>
          <a:prstGeom prst="ellipse">
            <a:avLst/>
          </a:prstGeom>
          <a:solidFill>
            <a:srgbClr val="0078D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4FF11FA7-D381-2CB0-8719-89242C960FB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6853" y="3070593"/>
            <a:ext cx="656617" cy="725734"/>
          </a:xfrm>
          <a:prstGeom prst="rect">
            <a:avLst/>
          </a:prstGeom>
        </p:spPr>
      </p:pic>
    </p:spTree>
    <p:extLst>
      <p:ext uri="{BB962C8B-B14F-4D97-AF65-F5344CB8AC3E}">
        <p14:creationId xmlns:p14="http://schemas.microsoft.com/office/powerpoint/2010/main" val="1771790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82">
          <p15:clr>
            <a:srgbClr val="A4A3A4"/>
          </p15:clr>
        </p15:guide>
        <p15:guide id="15" pos="3338">
          <p15:clr>
            <a:srgbClr val="A4A3A4"/>
          </p15:clr>
        </p15:guide>
        <p15:guide id="16" pos="3749">
          <p15:clr>
            <a:srgbClr val="A4A3A4"/>
          </p15:clr>
        </p15:guide>
        <p15:guide id="17" pos="3932">
          <p15:clr>
            <a:srgbClr val="A4A3A4"/>
          </p15:clr>
        </p15:guide>
        <p15:guide id="18" pos="4316">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30">
          <p15:clr>
            <a:srgbClr val="5ACBF0"/>
          </p15:clr>
        </p15:guide>
        <p15:guide id="30" orient="horz" pos="288">
          <p15:clr>
            <a:srgbClr val="5ACBF0"/>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7D9F1A-E7A6-A40A-7EF4-4936E4A355BE}"/>
              </a:ext>
            </a:extLst>
          </p:cNvPr>
          <p:cNvSpPr/>
          <p:nvPr userDrawn="1"/>
        </p:nvSpPr>
        <p:spPr>
          <a:xfrm>
            <a:off x="6099142" y="0"/>
            <a:ext cx="6092858" cy="6858000"/>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text&#10;&#10;Description automatically generated">
            <a:extLst>
              <a:ext uri="{FF2B5EF4-FFF2-40B4-BE49-F238E27FC236}">
                <a16:creationId xmlns:a16="http://schemas.microsoft.com/office/drawing/2014/main" id="{C04269C8-8039-9712-4A49-CFBC683723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9714" y="0"/>
            <a:ext cx="6102285" cy="6858000"/>
          </a:xfrm>
          <a:prstGeom prst="rect">
            <a:avLst/>
          </a:prstGeom>
        </p:spPr>
      </p:pic>
      <p:sp>
        <p:nvSpPr>
          <p:cNvPr id="7" name="Title 1">
            <a:extLst>
              <a:ext uri="{FF2B5EF4-FFF2-40B4-BE49-F238E27FC236}">
                <a16:creationId xmlns:a16="http://schemas.microsoft.com/office/drawing/2014/main" id="{FF62CB80-C14E-782A-D63A-7C88235CC45A}"/>
              </a:ext>
            </a:extLst>
          </p:cNvPr>
          <p:cNvSpPr>
            <a:spLocks noGrp="1"/>
          </p:cNvSpPr>
          <p:nvPr>
            <p:ph type="title" hasCustomPrompt="1"/>
          </p:nvPr>
        </p:nvSpPr>
        <p:spPr>
          <a:xfrm>
            <a:off x="582613" y="3178683"/>
            <a:ext cx="309048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8924547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91">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82">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53">
          <p15:clr>
            <a:srgbClr val="5ACBF0"/>
          </p15:clr>
        </p15:guide>
        <p15:guide id="30" orient="horz" pos="288">
          <p15:clr>
            <a:srgbClr val="5ACBF0"/>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7D9F1A-E7A6-A40A-7EF4-4936E4A355BE}"/>
              </a:ext>
            </a:extLst>
          </p:cNvPr>
          <p:cNvSpPr/>
          <p:nvPr userDrawn="1"/>
        </p:nvSpPr>
        <p:spPr>
          <a:xfrm>
            <a:off x="6099142" y="0"/>
            <a:ext cx="6092858" cy="68580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text&#10;&#10;Description automatically generated">
            <a:extLst>
              <a:ext uri="{FF2B5EF4-FFF2-40B4-BE49-F238E27FC236}">
                <a16:creationId xmlns:a16="http://schemas.microsoft.com/office/drawing/2014/main" id="{C04269C8-8039-9712-4A49-CFBC683723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9714" y="0"/>
            <a:ext cx="6102285" cy="6858000"/>
          </a:xfrm>
          <a:prstGeom prst="rect">
            <a:avLst/>
          </a:prstGeom>
        </p:spPr>
      </p:pic>
      <p:sp>
        <p:nvSpPr>
          <p:cNvPr id="8" name="Title 1">
            <a:extLst>
              <a:ext uri="{FF2B5EF4-FFF2-40B4-BE49-F238E27FC236}">
                <a16:creationId xmlns:a16="http://schemas.microsoft.com/office/drawing/2014/main" id="{F2923203-F1B1-A0D8-3A10-C56F4593601F}"/>
              </a:ext>
            </a:extLst>
          </p:cNvPr>
          <p:cNvSpPr>
            <a:spLocks noGrp="1"/>
          </p:cNvSpPr>
          <p:nvPr>
            <p:ph type="title" hasCustomPrompt="1"/>
          </p:nvPr>
        </p:nvSpPr>
        <p:spPr>
          <a:xfrm>
            <a:off x="582613" y="3178683"/>
            <a:ext cx="309048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46142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91">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82">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53">
          <p15:clr>
            <a:srgbClr val="5ACBF0"/>
          </p15:clr>
        </p15:guide>
        <p15:guide id="30" orient="horz" pos="288">
          <p15:clr>
            <a:srgbClr val="5ACBF0"/>
          </p15:clr>
        </p15:guide>
      </p15:sldGuideLst>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7D9F1A-E7A6-A40A-7EF4-4936E4A355BE}"/>
              </a:ext>
            </a:extLst>
          </p:cNvPr>
          <p:cNvSpPr/>
          <p:nvPr userDrawn="1"/>
        </p:nvSpPr>
        <p:spPr>
          <a:xfrm>
            <a:off x="6099142" y="0"/>
            <a:ext cx="6092858"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text&#10;&#10;Description automatically generated">
            <a:extLst>
              <a:ext uri="{FF2B5EF4-FFF2-40B4-BE49-F238E27FC236}">
                <a16:creationId xmlns:a16="http://schemas.microsoft.com/office/drawing/2014/main" id="{C04269C8-8039-9712-4A49-CFBC683723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89714" y="0"/>
            <a:ext cx="6102285" cy="6858000"/>
          </a:xfrm>
          <a:prstGeom prst="rect">
            <a:avLst/>
          </a:prstGeom>
        </p:spPr>
      </p:pic>
      <p:sp>
        <p:nvSpPr>
          <p:cNvPr id="8" name="Title 1">
            <a:extLst>
              <a:ext uri="{FF2B5EF4-FFF2-40B4-BE49-F238E27FC236}">
                <a16:creationId xmlns:a16="http://schemas.microsoft.com/office/drawing/2014/main" id="{54423940-FC5A-B53A-1D51-26AE5D9113EB}"/>
              </a:ext>
            </a:extLst>
          </p:cNvPr>
          <p:cNvSpPr>
            <a:spLocks noGrp="1"/>
          </p:cNvSpPr>
          <p:nvPr>
            <p:ph type="title" hasCustomPrompt="1"/>
          </p:nvPr>
        </p:nvSpPr>
        <p:spPr>
          <a:xfrm>
            <a:off x="582613" y="3178683"/>
            <a:ext cx="309048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582638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91">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82">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29">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53">
          <p15:clr>
            <a:srgbClr val="5ACBF0"/>
          </p15:clr>
        </p15:guide>
        <p15:guide id="30" orient="horz" pos="288">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1_Agenda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6654BDFF-0582-425B-8F81-E8D9D3259F41}"/>
              </a:ext>
            </a:extLst>
          </p:cNvPr>
          <p:cNvGrpSpPr/>
          <p:nvPr userDrawn="1"/>
        </p:nvGrpSpPr>
        <p:grpSpPr>
          <a:xfrm>
            <a:off x="8211425" y="2600549"/>
            <a:ext cx="2065446" cy="2176416"/>
            <a:chOff x="8211425" y="2600549"/>
            <a:chExt cx="2065446" cy="2176416"/>
          </a:xfrm>
        </p:grpSpPr>
        <p:grpSp>
          <p:nvGrpSpPr>
            <p:cNvPr id="9" name="Group 8">
              <a:extLst>
                <a:ext uri="{FF2B5EF4-FFF2-40B4-BE49-F238E27FC236}">
                  <a16:creationId xmlns:a16="http://schemas.microsoft.com/office/drawing/2014/main" id="{7363616F-3BDD-9243-1623-94F7B19BED40}"/>
                </a:ext>
              </a:extLst>
            </p:cNvPr>
            <p:cNvGrpSpPr/>
            <p:nvPr/>
          </p:nvGrpSpPr>
          <p:grpSpPr>
            <a:xfrm>
              <a:off x="8211425" y="2600549"/>
              <a:ext cx="2065446" cy="1584676"/>
              <a:chOff x="7839340" y="2336579"/>
              <a:chExt cx="2815960" cy="2160494"/>
            </a:xfrm>
          </p:grpSpPr>
          <p:sp>
            <p:nvSpPr>
              <p:cNvPr id="11" name="Rectangle 10">
                <a:extLst>
                  <a:ext uri="{FF2B5EF4-FFF2-40B4-BE49-F238E27FC236}">
                    <a16:creationId xmlns:a16="http://schemas.microsoft.com/office/drawing/2014/main" id="{491B1110-ED4A-D362-B3E2-03EF2B83E934}"/>
                  </a:ext>
                </a:extLst>
              </p:cNvPr>
              <p:cNvSpPr/>
              <p:nvPr/>
            </p:nvSpPr>
            <p:spPr>
              <a:xfrm>
                <a:off x="7839340" y="2336579"/>
                <a:ext cx="2809616" cy="215335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3F7CAEF-BB0A-9794-B03F-7558B3C54EF9}"/>
                  </a:ext>
                </a:extLst>
              </p:cNvPr>
              <p:cNvSpPr/>
              <p:nvPr/>
            </p:nvSpPr>
            <p:spPr>
              <a:xfrm>
                <a:off x="9569962" y="2581139"/>
                <a:ext cx="661851" cy="6618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30">
                <a:extLst>
                  <a:ext uri="{FF2B5EF4-FFF2-40B4-BE49-F238E27FC236}">
                    <a16:creationId xmlns:a16="http://schemas.microsoft.com/office/drawing/2014/main" id="{DCA6743D-6FE1-54ED-A168-7473C77E412F}"/>
                  </a:ext>
                </a:extLst>
              </p:cNvPr>
              <p:cNvSpPr/>
              <p:nvPr/>
            </p:nvSpPr>
            <p:spPr>
              <a:xfrm>
                <a:off x="7848600" y="3165603"/>
                <a:ext cx="1965961" cy="1331470"/>
              </a:xfrm>
              <a:custGeom>
                <a:avLst/>
                <a:gdLst>
                  <a:gd name="connsiteX0" fmla="*/ 0 w 2290355"/>
                  <a:gd name="connsiteY0" fmla="*/ 1331470 h 1331470"/>
                  <a:gd name="connsiteX1" fmla="*/ 1145178 w 2290355"/>
                  <a:gd name="connsiteY1" fmla="*/ 0 h 1331470"/>
                  <a:gd name="connsiteX2" fmla="*/ 2290355 w 2290355"/>
                  <a:gd name="connsiteY2" fmla="*/ 1331470 h 1331470"/>
                  <a:gd name="connsiteX3" fmla="*/ 0 w 2290355"/>
                  <a:gd name="connsiteY3"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0 w 2290355"/>
                  <a:gd name="connsiteY4" fmla="*/ 1331470 h 1331470"/>
                  <a:gd name="connsiteX0" fmla="*/ 0 w 2290355"/>
                  <a:gd name="connsiteY0" fmla="*/ 1331470 h 1331470"/>
                  <a:gd name="connsiteX1" fmla="*/ 324394 w 2290355"/>
                  <a:gd name="connsiteY1" fmla="*/ 949197 h 1331470"/>
                  <a:gd name="connsiteX2" fmla="*/ 1145178 w 2290355"/>
                  <a:gd name="connsiteY2" fmla="*/ 0 h 1331470"/>
                  <a:gd name="connsiteX3" fmla="*/ 2290355 w 2290355"/>
                  <a:gd name="connsiteY3" fmla="*/ 1331470 h 1331470"/>
                  <a:gd name="connsiteX4" fmla="*/ 330744 w 2290355"/>
                  <a:gd name="connsiteY4" fmla="*/ 1330197 h 1331470"/>
                  <a:gd name="connsiteX5" fmla="*/ 0 w 2290355"/>
                  <a:gd name="connsiteY5" fmla="*/ 1331470 h 1331470"/>
                  <a:gd name="connsiteX0" fmla="*/ 5806 w 1965961"/>
                  <a:gd name="connsiteY0" fmla="*/ 1318770 h 1331470"/>
                  <a:gd name="connsiteX1" fmla="*/ 0 w 1965961"/>
                  <a:gd name="connsiteY1" fmla="*/ 949197 h 1331470"/>
                  <a:gd name="connsiteX2" fmla="*/ 820784 w 1965961"/>
                  <a:gd name="connsiteY2" fmla="*/ 0 h 1331470"/>
                  <a:gd name="connsiteX3" fmla="*/ 1965961 w 1965961"/>
                  <a:gd name="connsiteY3" fmla="*/ 1331470 h 1331470"/>
                  <a:gd name="connsiteX4" fmla="*/ 6350 w 1965961"/>
                  <a:gd name="connsiteY4" fmla="*/ 1330197 h 1331470"/>
                  <a:gd name="connsiteX5" fmla="*/ 5806 w 1965961"/>
                  <a:gd name="connsiteY5" fmla="*/ 1318770 h 1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5961" h="1331470">
                    <a:moveTo>
                      <a:pt x="5806" y="1318770"/>
                    </a:moveTo>
                    <a:cubicBezTo>
                      <a:pt x="3871" y="1195579"/>
                      <a:pt x="1935" y="1072388"/>
                      <a:pt x="0" y="949197"/>
                    </a:cubicBezTo>
                    <a:lnTo>
                      <a:pt x="820784" y="0"/>
                    </a:lnTo>
                    <a:lnTo>
                      <a:pt x="1965961" y="1331470"/>
                    </a:lnTo>
                    <a:lnTo>
                      <a:pt x="6350" y="1330197"/>
                    </a:lnTo>
                    <a:cubicBezTo>
                      <a:pt x="6169" y="1326388"/>
                      <a:pt x="5987" y="1322579"/>
                      <a:pt x="5806" y="1318770"/>
                    </a:cubicBez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31">
                <a:extLst>
                  <a:ext uri="{FF2B5EF4-FFF2-40B4-BE49-F238E27FC236}">
                    <a16:creationId xmlns:a16="http://schemas.microsoft.com/office/drawing/2014/main" id="{0D6FDE36-16EA-C0BB-B778-CB4034BCF812}"/>
                  </a:ext>
                </a:extLst>
              </p:cNvPr>
              <p:cNvSpPr/>
              <p:nvPr/>
            </p:nvSpPr>
            <p:spPr>
              <a:xfrm>
                <a:off x="8890358" y="3494691"/>
                <a:ext cx="1764942" cy="1002382"/>
              </a:xfrm>
              <a:custGeom>
                <a:avLst/>
                <a:gdLst>
                  <a:gd name="connsiteX0" fmla="*/ 0 w 2037808"/>
                  <a:gd name="connsiteY0" fmla="*/ 1002382 h 1002382"/>
                  <a:gd name="connsiteX1" fmla="*/ 1018904 w 2037808"/>
                  <a:gd name="connsiteY1" fmla="*/ 0 h 1002382"/>
                  <a:gd name="connsiteX2" fmla="*/ 2037808 w 2037808"/>
                  <a:gd name="connsiteY2" fmla="*/ 1002382 h 1002382"/>
                  <a:gd name="connsiteX3" fmla="*/ 0 w 2037808"/>
                  <a:gd name="connsiteY3"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0 w 2037808"/>
                  <a:gd name="connsiteY4" fmla="*/ 1002382 h 1002382"/>
                  <a:gd name="connsiteX0" fmla="*/ 0 w 2037808"/>
                  <a:gd name="connsiteY0" fmla="*/ 1002382 h 1002382"/>
                  <a:gd name="connsiteX1" fmla="*/ 1018904 w 2037808"/>
                  <a:gd name="connsiteY1" fmla="*/ 0 h 1002382"/>
                  <a:gd name="connsiteX2" fmla="*/ 1764942 w 2037808"/>
                  <a:gd name="connsiteY2" fmla="*/ 734409 h 1002382"/>
                  <a:gd name="connsiteX3" fmla="*/ 2037808 w 2037808"/>
                  <a:gd name="connsiteY3" fmla="*/ 1002382 h 1002382"/>
                  <a:gd name="connsiteX4" fmla="*/ 1752242 w 2037808"/>
                  <a:gd name="connsiteY4" fmla="*/ 1001109 h 1002382"/>
                  <a:gd name="connsiteX5" fmla="*/ 0 w 2037808"/>
                  <a:gd name="connsiteY5" fmla="*/ 1002382 h 1002382"/>
                  <a:gd name="connsiteX0" fmla="*/ 0 w 1764942"/>
                  <a:gd name="connsiteY0" fmla="*/ 1002382 h 1002382"/>
                  <a:gd name="connsiteX1" fmla="*/ 1018904 w 1764942"/>
                  <a:gd name="connsiteY1" fmla="*/ 0 h 1002382"/>
                  <a:gd name="connsiteX2" fmla="*/ 1764942 w 1764942"/>
                  <a:gd name="connsiteY2" fmla="*/ 734409 h 1002382"/>
                  <a:gd name="connsiteX3" fmla="*/ 1752058 w 1764942"/>
                  <a:gd name="connsiteY3" fmla="*/ 989682 h 1002382"/>
                  <a:gd name="connsiteX4" fmla="*/ 1752242 w 1764942"/>
                  <a:gd name="connsiteY4" fmla="*/ 1001109 h 1002382"/>
                  <a:gd name="connsiteX5" fmla="*/ 0 w 1764942"/>
                  <a:gd name="connsiteY5" fmla="*/ 1002382 h 100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942" h="1002382">
                    <a:moveTo>
                      <a:pt x="0" y="1002382"/>
                    </a:moveTo>
                    <a:lnTo>
                      <a:pt x="1018904" y="0"/>
                    </a:lnTo>
                    <a:lnTo>
                      <a:pt x="1764942" y="734409"/>
                    </a:lnTo>
                    <a:lnTo>
                      <a:pt x="1752058" y="989682"/>
                    </a:lnTo>
                    <a:cubicBezTo>
                      <a:pt x="1752119" y="993491"/>
                      <a:pt x="1752181" y="997300"/>
                      <a:pt x="1752242" y="1001109"/>
                    </a:cubicBezTo>
                    <a:lnTo>
                      <a:pt x="0" y="1002382"/>
                    </a:lnTo>
                    <a:close/>
                  </a:path>
                </a:pathLst>
              </a:custGeom>
              <a:solidFill>
                <a:schemeClr val="bg1"/>
              </a:solidFill>
              <a:ln w="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6B21C68F-250E-1F78-899B-2794D6B85585}"/>
                </a:ext>
              </a:extLst>
            </p:cNvPr>
            <p:cNvSpPr txBox="1"/>
            <p:nvPr/>
          </p:nvSpPr>
          <p:spPr>
            <a:xfrm>
              <a:off x="8211425" y="4376855"/>
              <a:ext cx="2060793" cy="400110"/>
            </a:xfrm>
            <a:prstGeom prst="rect">
              <a:avLst/>
            </a:prstGeom>
            <a:noFill/>
          </p:spPr>
          <p:txBody>
            <a:bodyPr wrap="square" rtlCol="0">
              <a:spAutoFit/>
            </a:bodyPr>
            <a:lstStyle/>
            <a:p>
              <a:pPr algn="ctr"/>
              <a:r>
                <a:rPr lang="en-US" sz="2000" b="1">
                  <a:solidFill>
                    <a:schemeClr val="bg1"/>
                  </a:solidFill>
                  <a:latin typeface="Segoe UI" panose="020B0502040204020203" pitchFamily="34" charset="0"/>
                  <a:cs typeface="Segoe UI" panose="020B0502040204020203" pitchFamily="34" charset="0"/>
                </a:rPr>
                <a:t>ADD IMAGE</a:t>
              </a: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Picture Placeholder 4">
            <a:extLst>
              <a:ext uri="{FF2B5EF4-FFF2-40B4-BE49-F238E27FC236}">
                <a16:creationId xmlns:a16="http://schemas.microsoft.com/office/drawing/2014/main" id="{DCF72E09-5691-C8C7-1DE5-73AAB9B8E856}"/>
              </a:ext>
            </a:extLst>
          </p:cNvPr>
          <p:cNvSpPr>
            <a:spLocks noGrp="1"/>
          </p:cNvSpPr>
          <p:nvPr>
            <p:ph type="pic" sz="quarter" idx="11"/>
          </p:nvPr>
        </p:nvSpPr>
        <p:spPr>
          <a:xfrm>
            <a:off x="7183438" y="1216818"/>
            <a:ext cx="4424362" cy="4424363"/>
          </a:xfrm>
        </p:spPr>
        <p:txBody>
          <a:bodyPr/>
          <a:lstStyle/>
          <a:p>
            <a:endParaRPr lang="en-US"/>
          </a:p>
        </p:txBody>
      </p:sp>
    </p:spTree>
    <p:extLst>
      <p:ext uri="{BB962C8B-B14F-4D97-AF65-F5344CB8AC3E}">
        <p14:creationId xmlns:p14="http://schemas.microsoft.com/office/powerpoint/2010/main" val="6361786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3326"/>
            <a:ext cx="11018520" cy="553998"/>
          </a:xfrm>
        </p:spPr>
        <p:txBody>
          <a:bodyPr/>
          <a:lstStyle/>
          <a:p>
            <a:r>
              <a:rPr lang="en-US"/>
              <a:t>Click to edit Master title style</a:t>
            </a:r>
          </a:p>
        </p:txBody>
      </p:sp>
    </p:spTree>
    <p:extLst>
      <p:ext uri="{BB962C8B-B14F-4D97-AF65-F5344CB8AC3E}">
        <p14:creationId xmlns:p14="http://schemas.microsoft.com/office/powerpoint/2010/main" val="2012864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0"/>
            <a:ext cx="12192000" cy="3200400"/>
          </a:xfrm>
          <a:gradFill flip="none" rotWithShape="1">
            <a:gsLst>
              <a:gs pos="21000">
                <a:srgbClr val="000000">
                  <a:alpha val="70000"/>
                </a:srgbClr>
              </a:gs>
              <a:gs pos="100000">
                <a:srgbClr val="000000">
                  <a:alpha val="0"/>
                </a:srgbClr>
              </a:gs>
            </a:gsLst>
            <a:lin ang="5400000" scaled="1"/>
            <a:tileRect/>
          </a:gradFill>
        </p:spPr>
        <p:txBody>
          <a:bodyPr lIns="585216" tIns="457200" rIns="585216" bIns="585216"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43506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49596" y="446358"/>
            <a:ext cx="1443635" cy="309975"/>
            <a:chOff x="457200" y="1643393"/>
            <a:chExt cx="4492753" cy="964540"/>
          </a:xfrm>
        </p:grpSpPr>
        <p:pic>
          <p:nvPicPr>
            <p:cNvPr id="143" name="Picture 142"/>
            <p:cNvPicPr>
              <a:picLocks noChangeAspect="1"/>
            </p:cNvPicPr>
            <p:nvPr/>
          </p:nvPicPr>
          <p:blipFill>
            <a:blip r:embed="rId2"/>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30"/>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a:srcRect r="29035" b="2195"/>
          <a:stretch/>
        </p:blipFill>
        <p:spPr>
          <a:xfrm>
            <a:off x="8859200" y="1723061"/>
            <a:ext cx="3332800" cy="5134939"/>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557991" y="0"/>
            <a:ext cx="6631665" cy="6858000"/>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634015" y="1347163"/>
            <a:ext cx="3001693" cy="1835131"/>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077161" y="1805093"/>
            <a:ext cx="1599870" cy="912551"/>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7989" y="0"/>
            <a:ext cx="6634011" cy="6861325"/>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27549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3_Title Onl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noAutofit/>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8" name="Content Placeholder 6">
            <a:extLst>
              <a:ext uri="{FF2B5EF4-FFF2-40B4-BE49-F238E27FC236}">
                <a16:creationId xmlns:a16="http://schemas.microsoft.com/office/drawing/2014/main" id="{41373CA6-F3F2-4F62-8708-1994F2214324}"/>
              </a:ext>
            </a:extLst>
          </p:cNvPr>
          <p:cNvSpPr>
            <a:spLocks noGrp="1"/>
          </p:cNvSpPr>
          <p:nvPr>
            <p:ph sz="quarter" idx="10"/>
          </p:nvPr>
        </p:nvSpPr>
        <p:spPr>
          <a:xfrm>
            <a:off x="592356" y="963924"/>
            <a:ext cx="11025187" cy="276999"/>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tx1"/>
                </a:solidFill>
                <a:latin typeface="+mn-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accent1"/>
                </a:solidFill>
                <a:latin typeface="+mn-lt"/>
                <a:ea typeface="+mn-ea"/>
                <a:cs typeface="Segoe UI Semilight" panose="020B04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4045391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2">
    <p:bg>
      <p:bgPr>
        <a:solidFill>
          <a:schemeClr val="bg1"/>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Graphic 2">
            <a:extLst>
              <a:ext uri="{FF2B5EF4-FFF2-40B4-BE49-F238E27FC236}">
                <a16:creationId xmlns:a16="http://schemas.microsoft.com/office/drawing/2014/main" id="{07433966-AB1D-6C50-D777-F56C7A76BC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31113" y="1103350"/>
            <a:ext cx="4867200" cy="4867200"/>
          </a:xfrm>
          <a:prstGeom prst="rect">
            <a:avLst/>
          </a:prstGeom>
        </p:spPr>
      </p:pic>
      <p:sp>
        <p:nvSpPr>
          <p:cNvPr id="4" name="Rectangle 3">
            <a:extLst>
              <a:ext uri="{FF2B5EF4-FFF2-40B4-BE49-F238E27FC236}">
                <a16:creationId xmlns:a16="http://schemas.microsoft.com/office/drawing/2014/main" id="{95286F84-AF91-4174-89C4-8D044BF998C5}"/>
              </a:ext>
            </a:extLst>
          </p:cNvPr>
          <p:cNvSpPr/>
          <p:nvPr userDrawn="1"/>
        </p:nvSpPr>
        <p:spPr bwMode="auto">
          <a:xfrm>
            <a:off x="0" y="6611778"/>
            <a:ext cx="12192000" cy="246222"/>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03290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215824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374426-CC00-9F4B-1E82-861C528050A7}"/>
              </a:ext>
              <a:ext uri="{C183D7F6-B498-43B3-948B-1728B52AA6E4}">
                <adec:decorative xmlns:adec="http://schemas.microsoft.com/office/drawing/2017/decorative" val="1"/>
              </a:ext>
            </a:extLst>
          </p:cNvPr>
          <p:cNvSpPr/>
          <p:nvPr userDrawn="1"/>
        </p:nvSpPr>
        <p:spPr bwMode="auto">
          <a:xfrm>
            <a:off x="1" y="0"/>
            <a:ext cx="4003828"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nvGrpSpPr>
          <p:cNvPr id="13" name="Group 12">
            <a:extLst>
              <a:ext uri="{FF2B5EF4-FFF2-40B4-BE49-F238E27FC236}">
                <a16:creationId xmlns:a16="http://schemas.microsoft.com/office/drawing/2014/main" id="{54BD9981-5971-14C3-7CA7-C814766C07E0}"/>
              </a:ext>
            </a:extLst>
          </p:cNvPr>
          <p:cNvGrpSpPr/>
          <p:nvPr userDrawn="1"/>
        </p:nvGrpSpPr>
        <p:grpSpPr>
          <a:xfrm>
            <a:off x="599251" y="4221271"/>
            <a:ext cx="2233380" cy="3086671"/>
            <a:chOff x="599251" y="4704269"/>
            <a:chExt cx="1883904" cy="2603673"/>
          </a:xfrm>
        </p:grpSpPr>
        <p:grpSp>
          <p:nvGrpSpPr>
            <p:cNvPr id="4" name="Group 3">
              <a:extLst>
                <a:ext uri="{FF2B5EF4-FFF2-40B4-BE49-F238E27FC236}">
                  <a16:creationId xmlns:a16="http://schemas.microsoft.com/office/drawing/2014/main" id="{D8FCCAAD-4D6E-60EE-35DD-41D61DD7969E}"/>
                </a:ext>
                <a:ext uri="{C183D7F6-B498-43B3-948B-1728B52AA6E4}">
                  <adec:decorative xmlns:adec="http://schemas.microsoft.com/office/drawing/2017/decorative" val="1"/>
                </a:ext>
              </a:extLst>
            </p:cNvPr>
            <p:cNvGrpSpPr/>
            <p:nvPr userDrawn="1"/>
          </p:nvGrpSpPr>
          <p:grpSpPr>
            <a:xfrm>
              <a:off x="1932460" y="5401143"/>
              <a:ext cx="550695" cy="1735789"/>
              <a:chOff x="9579481" y="5660413"/>
              <a:chExt cx="552072" cy="1740131"/>
            </a:xfrm>
          </p:grpSpPr>
          <p:sp>
            <p:nvSpPr>
              <p:cNvPr id="5" name="Rounded Rectangle 27">
                <a:extLst>
                  <a:ext uri="{FF2B5EF4-FFF2-40B4-BE49-F238E27FC236}">
                    <a16:creationId xmlns:a16="http://schemas.microsoft.com/office/drawing/2014/main" id="{C685D6E3-3D65-1CF7-BDED-BBB3788B152B}"/>
                  </a:ext>
                </a:extLst>
              </p:cNvPr>
              <p:cNvSpPr/>
              <p:nvPr/>
            </p:nvSpPr>
            <p:spPr bwMode="auto">
              <a:xfrm>
                <a:off x="9579481" y="5660413"/>
                <a:ext cx="552072" cy="1740131"/>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6" name="Oval 5">
                <a:extLst>
                  <a:ext uri="{FF2B5EF4-FFF2-40B4-BE49-F238E27FC236}">
                    <a16:creationId xmlns:a16="http://schemas.microsoft.com/office/drawing/2014/main" id="{8869DEEF-E569-3B14-B3D7-9A05D8BE9C19}"/>
                  </a:ext>
                </a:extLst>
              </p:cNvPr>
              <p:cNvSpPr/>
              <p:nvPr/>
            </p:nvSpPr>
            <p:spPr bwMode="auto">
              <a:xfrm>
                <a:off x="9646340" y="5734115"/>
                <a:ext cx="418354" cy="4183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ABC7649-B087-147C-E51F-4D686958C616}"/>
                </a:ext>
                <a:ext uri="{C183D7F6-B498-43B3-948B-1728B52AA6E4}">
                  <adec:decorative xmlns:adec="http://schemas.microsoft.com/office/drawing/2017/decorative" val="1"/>
                </a:ext>
              </a:extLst>
            </p:cNvPr>
            <p:cNvGrpSpPr/>
            <p:nvPr userDrawn="1"/>
          </p:nvGrpSpPr>
          <p:grpSpPr>
            <a:xfrm>
              <a:off x="1265856" y="4704269"/>
              <a:ext cx="550695" cy="2603673"/>
              <a:chOff x="9579481" y="5660413"/>
              <a:chExt cx="552072" cy="2610186"/>
            </a:xfrm>
          </p:grpSpPr>
          <p:sp>
            <p:nvSpPr>
              <p:cNvPr id="8" name="Rounded Rectangle 30">
                <a:extLst>
                  <a:ext uri="{FF2B5EF4-FFF2-40B4-BE49-F238E27FC236}">
                    <a16:creationId xmlns:a16="http://schemas.microsoft.com/office/drawing/2014/main" id="{F25908E7-DB4D-7F3F-42C9-F2EF519959B9}"/>
                  </a:ext>
                </a:extLst>
              </p:cNvPr>
              <p:cNvSpPr/>
              <p:nvPr/>
            </p:nvSpPr>
            <p:spPr bwMode="auto">
              <a:xfrm>
                <a:off x="9579481" y="5660413"/>
                <a:ext cx="552072" cy="261018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a:ln>
                    <a:noFill/>
                  </a:ln>
                  <a:solidFill>
                    <a:srgbClr val="FFFFFF"/>
                  </a:solidFill>
                  <a:effectLst/>
                  <a:uLnTx/>
                  <a:uFillTx/>
                  <a:latin typeface="Helvetica"/>
                  <a:ea typeface="Segoe UI" pitchFamily="34" charset="0"/>
                  <a:cs typeface="Segoe UI" pitchFamily="34" charset="0"/>
                </a:endParaRPr>
              </a:p>
            </p:txBody>
          </p:sp>
          <p:sp>
            <p:nvSpPr>
              <p:cNvPr id="9" name="Oval 8">
                <a:extLst>
                  <a:ext uri="{FF2B5EF4-FFF2-40B4-BE49-F238E27FC236}">
                    <a16:creationId xmlns:a16="http://schemas.microsoft.com/office/drawing/2014/main" id="{81A06828-7337-3EBF-3174-ADDC7C4F0F98}"/>
                  </a:ext>
                </a:extLst>
              </p:cNvPr>
              <p:cNvSpPr/>
              <p:nvPr/>
            </p:nvSpPr>
            <p:spPr bwMode="auto">
              <a:xfrm>
                <a:off x="9646340" y="5734115"/>
                <a:ext cx="418354" cy="41835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36334ED1-C6A5-59B3-0C4D-A93A33E138F1}"/>
                </a:ext>
                <a:ext uri="{C183D7F6-B498-43B3-948B-1728B52AA6E4}">
                  <adec:decorative xmlns:adec="http://schemas.microsoft.com/office/drawing/2017/decorative" val="1"/>
                </a:ext>
              </a:extLst>
            </p:cNvPr>
            <p:cNvGrpSpPr/>
            <p:nvPr userDrawn="1"/>
          </p:nvGrpSpPr>
          <p:grpSpPr>
            <a:xfrm>
              <a:off x="599251" y="5114807"/>
              <a:ext cx="550695" cy="2193131"/>
              <a:chOff x="9579481" y="5660413"/>
              <a:chExt cx="552072" cy="2198618"/>
            </a:xfrm>
          </p:grpSpPr>
          <p:sp>
            <p:nvSpPr>
              <p:cNvPr id="11" name="Rounded Rectangle 34">
                <a:extLst>
                  <a:ext uri="{FF2B5EF4-FFF2-40B4-BE49-F238E27FC236}">
                    <a16:creationId xmlns:a16="http://schemas.microsoft.com/office/drawing/2014/main" id="{C73C59BB-6B03-570D-58A7-3D6B5D2BAE27}"/>
                  </a:ext>
                </a:extLst>
              </p:cNvPr>
              <p:cNvSpPr/>
              <p:nvPr/>
            </p:nvSpPr>
            <p:spPr bwMode="auto">
              <a:xfrm>
                <a:off x="9579481" y="5660413"/>
                <a:ext cx="552072" cy="2198618"/>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12" name="Oval 11">
                <a:extLst>
                  <a:ext uri="{FF2B5EF4-FFF2-40B4-BE49-F238E27FC236}">
                    <a16:creationId xmlns:a16="http://schemas.microsoft.com/office/drawing/2014/main" id="{C25DC23C-9D87-4525-E2B9-9277FFB717CB}"/>
                  </a:ext>
                </a:extLst>
              </p:cNvPr>
              <p:cNvSpPr/>
              <p:nvPr/>
            </p:nvSpPr>
            <p:spPr bwMode="auto">
              <a:xfrm>
                <a:off x="9646340" y="5734115"/>
                <a:ext cx="418354" cy="4183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432340"/>
            <a:ext cx="11018520" cy="553998"/>
          </a:xfrm>
        </p:spPr>
        <p:txBody>
          <a:bodyPr/>
          <a:lstStyle/>
          <a:p>
            <a:r>
              <a:rPr lang="en-US"/>
              <a:t>Click to edit Master title style</a:t>
            </a:r>
          </a:p>
        </p:txBody>
      </p:sp>
      <p:sp>
        <p:nvSpPr>
          <p:cNvPr id="14" name="Rectangle 13">
            <a:extLst>
              <a:ext uri="{FF2B5EF4-FFF2-40B4-BE49-F238E27FC236}">
                <a16:creationId xmlns:a16="http://schemas.microsoft.com/office/drawing/2014/main" id="{E93C265E-2BDD-31E2-E860-E084B2B64104}"/>
              </a:ext>
            </a:extLst>
          </p:cNvPr>
          <p:cNvSpPr/>
          <p:nvPr userDrawn="1"/>
        </p:nvSpPr>
        <p:spPr bwMode="auto">
          <a:xfrm>
            <a:off x="187890" y="6858000"/>
            <a:ext cx="3225235" cy="49472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MX"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84641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6392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title_subtitle">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1D0E9342-539E-1E49-B252-DEDE7F123A10}"/>
              </a:ext>
            </a:extLst>
          </p:cNvPr>
          <p:cNvSpPr>
            <a:spLocks noGrp="1"/>
          </p:cNvSpPr>
          <p:nvPr>
            <p:ph type="title"/>
          </p:nvPr>
        </p:nvSpPr>
        <p:spPr>
          <a:xfrm>
            <a:off x="588263" y="476986"/>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2"/>
            <a:ext cx="11018520" cy="307777"/>
          </a:xfrm>
        </p:spPr>
        <p:txBody>
          <a:bodyPr wrap="square">
            <a:spAutoFit/>
          </a:bodyPr>
          <a:lstStyle>
            <a:lvl1pPr marL="0" indent="0">
              <a:buNone/>
              <a:defRPr sz="2000"/>
            </a:lvl1pPr>
            <a:lvl2pPr marL="228594" indent="0">
              <a:buNone/>
              <a:defRPr sz="2000"/>
            </a:lvl2pPr>
            <a:lvl3pPr marL="457189" indent="0">
              <a:buNone/>
              <a:defRPr sz="2000"/>
            </a:lvl3pPr>
            <a:lvl4pPr marL="685783" indent="0">
              <a:buNone/>
              <a:defRPr sz="2000"/>
            </a:lvl4pPr>
            <a:lvl5pPr marL="914377" indent="0">
              <a:buNone/>
              <a:defRPr sz="2000"/>
            </a:lvl5pPr>
          </a:lstStyle>
          <a:p>
            <a:pPr lvl="0"/>
            <a:r>
              <a:rPr lang="en-US"/>
              <a:t>Click to edit Master text styles</a:t>
            </a:r>
          </a:p>
        </p:txBody>
      </p:sp>
    </p:spTree>
    <p:extLst>
      <p:ext uri="{BB962C8B-B14F-4D97-AF65-F5344CB8AC3E}">
        <p14:creationId xmlns:p14="http://schemas.microsoft.com/office/powerpoint/2010/main" val="2360015346"/>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516569"/>
          </a:xfrm>
        </p:spPr>
        <p:txBody>
          <a:bodyPr wrap="square" lIns="0" tIns="0" rIns="0" bIns="0">
            <a:spAutoFit/>
          </a:bodyPr>
          <a:lstStyle>
            <a:lvl1pPr marL="0" indent="0">
              <a:lnSpc>
                <a:spcPct val="100000"/>
              </a:lnSpc>
              <a:spcBef>
                <a:spcPts val="1961"/>
              </a:spcBef>
              <a:spcAft>
                <a:spcPts val="0"/>
              </a:spcAft>
              <a:buNone/>
              <a:defRPr sz="2600" b="0" i="0">
                <a:solidFill>
                  <a:srgbClr val="000000"/>
                </a:solidFill>
                <a:latin typeface="+mn-lt"/>
              </a:defRPr>
            </a:lvl1pPr>
            <a:lvl2pPr marL="224097" indent="0">
              <a:lnSpc>
                <a:spcPct val="100000"/>
              </a:lnSpc>
              <a:spcBef>
                <a:spcPts val="1961"/>
              </a:spcBef>
              <a:spcAft>
                <a:spcPts val="0"/>
              </a:spcAft>
              <a:buNone/>
              <a:defRPr sz="2000">
                <a:solidFill>
                  <a:srgbClr val="000000"/>
                </a:solidFill>
              </a:defRPr>
            </a:lvl2pPr>
            <a:lvl3pPr marL="448193" indent="0">
              <a:lnSpc>
                <a:spcPct val="100000"/>
              </a:lnSpc>
              <a:spcBef>
                <a:spcPts val="1961"/>
              </a:spcBef>
              <a:spcAft>
                <a:spcPts val="0"/>
              </a:spcAft>
              <a:buNone/>
              <a:defRPr sz="20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66153003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F8BA3-2F8D-42F9-9FB5-9194C93409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3B9A66-E4C6-4580-8539-846152A5CE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69290C-B737-49F2-89A3-8D892C4EC13E}"/>
              </a:ext>
            </a:extLst>
          </p:cNvPr>
          <p:cNvSpPr>
            <a:spLocks noGrp="1"/>
          </p:cNvSpPr>
          <p:nvPr>
            <p:ph type="dt" sz="half" idx="10"/>
          </p:nvPr>
        </p:nvSpPr>
        <p:spPr/>
        <p:txBody>
          <a:bodyPr/>
          <a:lstStyle/>
          <a:p>
            <a:fld id="{7B38D0FA-FDBB-41D6-A986-37E560A91C1A}" type="datetimeFigureOut">
              <a:rPr lang="en-US" smtClean="0"/>
              <a:t>8/31/2022</a:t>
            </a:fld>
            <a:endParaRPr lang="en-US"/>
          </a:p>
        </p:txBody>
      </p:sp>
      <p:sp>
        <p:nvSpPr>
          <p:cNvPr id="5" name="Footer Placeholder 4">
            <a:extLst>
              <a:ext uri="{FF2B5EF4-FFF2-40B4-BE49-F238E27FC236}">
                <a16:creationId xmlns:a16="http://schemas.microsoft.com/office/drawing/2014/main" id="{C8794322-4805-4F80-B84D-E27F83C263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3C3D4D-2085-4022-8AEF-7661B24C5794}"/>
              </a:ext>
            </a:extLst>
          </p:cNvPr>
          <p:cNvSpPr>
            <a:spLocks noGrp="1"/>
          </p:cNvSpPr>
          <p:nvPr>
            <p:ph type="sldNum" sz="quarter" idx="12"/>
          </p:nvPr>
        </p:nvSpPr>
        <p:spPr/>
        <p:txBody>
          <a:bodyPr/>
          <a:lstStyle/>
          <a:p>
            <a:fld id="{C7B90E78-FEC9-4F38-A084-C89FBF483CA8}" type="slidenum">
              <a:rPr lang="en-US" smtClean="0"/>
              <a:t>‹#›</a:t>
            </a:fld>
            <a:endParaRPr lang="en-US"/>
          </a:p>
        </p:txBody>
      </p:sp>
    </p:spTree>
    <p:extLst>
      <p:ext uri="{BB962C8B-B14F-4D97-AF65-F5344CB8AC3E}">
        <p14:creationId xmlns:p14="http://schemas.microsoft.com/office/powerpoint/2010/main" val="312414136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37317631"/>
      </p:ext>
    </p:extLst>
  </p:cSld>
  <p:clrMapOvr>
    <a:masterClrMapping/>
  </p:clrMapOvr>
  <p:transition>
    <p:fade/>
  </p:transition>
  <p:extLst>
    <p:ext uri="{DCECCB84-F9BA-43D5-87BE-67443E8EF086}">
      <p15:sldGuideLst xmlns:p15="http://schemas.microsoft.com/office/powerpoint/2012/main">
        <p15:guide id="6" pos="347">
          <p15:clr>
            <a:srgbClr val="A4A3A4"/>
          </p15:clr>
        </p15:guide>
        <p15:guide id="28" orient="horz" pos="403">
          <p15:clr>
            <a:srgbClr val="5ACBF0"/>
          </p15:clr>
        </p15:guide>
        <p15:guide id="29" orient="horz" pos="565">
          <p15:clr>
            <a:srgbClr val="5ACBF0"/>
          </p15:clr>
        </p15:guide>
        <p15:guide id="30" orient="horz" pos="128">
          <p15:clr>
            <a:srgbClr val="5ACBF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3"/>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016"/>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5"/>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10625386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1_title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a:xfrm>
            <a:off x="588263" y="457200"/>
            <a:ext cx="11018520" cy="4601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588263"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Tree>
    <p:extLst>
      <p:ext uri="{BB962C8B-B14F-4D97-AF65-F5344CB8AC3E}">
        <p14:creationId xmlns:p14="http://schemas.microsoft.com/office/powerpoint/2010/main" val="3556832988"/>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140148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Microsoft 36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hasCustomPrompt="1"/>
          </p:nvPr>
        </p:nvSpPr>
        <p:spPr>
          <a:xfrm>
            <a:off x="3268758" y="3460224"/>
            <a:ext cx="8643841" cy="830262"/>
          </a:xfrm>
          <a:prstGeom prst="rect">
            <a:avLst/>
          </a:prstGeom>
        </p:spPr>
        <p:txBody>
          <a:bodyPr lIns="0" tIns="0" rIns="0" bIns="0" anchor="b" anchorCtr="0">
            <a:noAutofit/>
          </a:bodyPr>
          <a:lstStyle>
            <a:lvl1pPr marL="0" indent="0">
              <a:lnSpc>
                <a:spcPct val="100000"/>
              </a:lnSpc>
              <a:buNone/>
              <a:defRPr sz="1800" b="0" i="0">
                <a:solidFill>
                  <a:schemeClr val="tx1"/>
                </a:solidFill>
                <a:latin typeface="+mn-lt"/>
                <a:cs typeface="Segoe UI" panose="020B0502040204020203" pitchFamily="34" charset="0"/>
              </a:defRPr>
            </a:lvl1pPr>
          </a:lstStyle>
          <a:p>
            <a:pPr lvl="0"/>
            <a:r>
              <a:rPr lang="en-US"/>
              <a:t>Click to add quote</a:t>
            </a:r>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hasCustomPrompt="1"/>
          </p:nvPr>
        </p:nvSpPr>
        <p:spPr>
          <a:xfrm>
            <a:off x="3268757" y="5193186"/>
            <a:ext cx="2515818" cy="1414956"/>
          </a:xfrm>
          <a:prstGeom prst="rect">
            <a:avLst/>
          </a:prstGeom>
        </p:spPr>
        <p:txBody>
          <a:bodyPr lIns="0" tIns="0" rIns="0" bIns="0">
            <a:noAutofit/>
          </a:bodyPr>
          <a:lstStyle>
            <a:lvl1pPr marL="0" indent="0">
              <a:lnSpc>
                <a:spcPct val="100000"/>
              </a:lnSpc>
              <a:spcBef>
                <a:spcPts val="1000"/>
              </a:spcBef>
              <a:buNone/>
              <a:defRPr sz="1100" b="0" i="0">
                <a:solidFill>
                  <a:schemeClr val="tx1"/>
                </a:solidFill>
                <a:latin typeface="+mn-lt"/>
                <a:cs typeface="Segoe UI Semilight" panose="020B0402040204020203" pitchFamily="34" charset="0"/>
              </a:defRPr>
            </a:lvl1pPr>
          </a:lstStyle>
          <a:p>
            <a:pPr lvl="0"/>
            <a:r>
              <a:rPr lang="en-US"/>
              <a:t>Click to add situation</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hasCustomPrompt="1"/>
          </p:nvPr>
        </p:nvSpPr>
        <p:spPr>
          <a:xfrm>
            <a:off x="3268757" y="4423180"/>
            <a:ext cx="8643841" cy="158979"/>
          </a:xfrm>
          <a:prstGeom prst="rect">
            <a:avLst/>
          </a:prstGeom>
        </p:spPr>
        <p:txBody>
          <a:bodyPr lIns="0" tIns="0" rIns="0" bIns="0">
            <a:noAutofit/>
          </a:bodyPr>
          <a:lstStyle>
            <a:lvl1pPr marL="0" indent="0">
              <a:buNone/>
              <a:defRPr sz="1000" b="0" i="0">
                <a:solidFill>
                  <a:schemeClr val="tx1"/>
                </a:solidFill>
                <a:latin typeface="+mn-lt"/>
                <a:cs typeface="Segoe UI Semilight" panose="020B0402040204020203" pitchFamily="34" charset="0"/>
              </a:defRPr>
            </a:lvl1pPr>
          </a:lstStyle>
          <a:p>
            <a:pPr lvl="0"/>
            <a:r>
              <a:rPr lang="en-US"/>
              <a:t>Click to add attribute</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310297" y="313371"/>
            <a:ext cx="2286000" cy="1210629"/>
          </a:xfrm>
          <a:prstGeom prst="rect">
            <a:avLst/>
          </a:prstGeom>
        </p:spPr>
        <p:txBody>
          <a:bodyPr/>
          <a:lstStyle>
            <a:lvl1pPr marL="0" indent="0" algn="ctr">
              <a:buNone/>
              <a:defRPr sz="2000" b="0">
                <a:latin typeface="Segoe UI" panose="020B0502040204020203" pitchFamily="34" charset="0"/>
                <a:cs typeface="Segoe UI" panose="020B0502040204020203" pitchFamily="34" charset="0"/>
              </a:defRPr>
            </a:lvl1pPr>
          </a:lstStyle>
          <a:p>
            <a:r>
              <a:rPr lang="en-US"/>
              <a:t>Customer 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079560" y="0"/>
            <a:ext cx="9116567" cy="3292475"/>
          </a:xfrm>
          <a:prstGeom prst="rect">
            <a:avLst/>
          </a:prstGeom>
        </p:spPr>
        <p:txBody>
          <a:bodyPr tIns="457200" anchor="t"/>
          <a:lstStyle>
            <a:lvl1pPr marL="0" indent="0" algn="ctr">
              <a:buNone/>
              <a:defRPr sz="2000" b="0">
                <a:latin typeface="Segoe UI" panose="020B0502040204020203" pitchFamily="34" charset="0"/>
                <a:cs typeface="Segoe UI" panose="020B0502040204020203" pitchFamily="34" charset="0"/>
              </a:defRPr>
            </a:lvl1pPr>
          </a:lstStyle>
          <a:p>
            <a:r>
              <a:rPr lang="en-US"/>
              <a:t>Horizontal banner image</a:t>
            </a:r>
          </a:p>
        </p:txBody>
      </p:sp>
      <p:pic>
        <p:nvPicPr>
          <p:cNvPr id="3" name="Picture 2">
            <a:extLst>
              <a:ext uri="{FF2B5EF4-FFF2-40B4-BE49-F238E27FC236}">
                <a16:creationId xmlns:a16="http://schemas.microsoft.com/office/drawing/2014/main" id="{335CE0F1-A724-AC45-B21E-01507FEF95D5}"/>
              </a:ext>
            </a:extLst>
          </p:cNvPr>
          <p:cNvPicPr>
            <a:picLocks noChangeAspect="1"/>
          </p:cNvPicPr>
          <p:nvPr userDrawn="1"/>
        </p:nvPicPr>
        <p:blipFill rotWithShape="1">
          <a:blip r:embed="rId2"/>
          <a:srcRect l="10270" t="27134" r="8898" b="28452"/>
          <a:stretch/>
        </p:blipFill>
        <p:spPr>
          <a:xfrm>
            <a:off x="310297" y="6281172"/>
            <a:ext cx="1745482" cy="351277"/>
          </a:xfrm>
          <a:prstGeom prst="rect">
            <a:avLst/>
          </a:prstGeom>
        </p:spPr>
      </p:pic>
      <p:sp>
        <p:nvSpPr>
          <p:cNvPr id="20" name="Text Placeholder 44">
            <a:extLst>
              <a:ext uri="{FF2B5EF4-FFF2-40B4-BE49-F238E27FC236}">
                <a16:creationId xmlns:a16="http://schemas.microsoft.com/office/drawing/2014/main" id="{EB01BB71-B42A-DF45-A55E-767B724A166F}"/>
              </a:ext>
            </a:extLst>
          </p:cNvPr>
          <p:cNvSpPr>
            <a:spLocks noGrp="1"/>
          </p:cNvSpPr>
          <p:nvPr>
            <p:ph type="body" sz="quarter" idx="25" hasCustomPrompt="1"/>
          </p:nvPr>
        </p:nvSpPr>
        <p:spPr>
          <a:xfrm>
            <a:off x="310297" y="5825560"/>
            <a:ext cx="2286000" cy="270440"/>
          </a:xfrm>
          <a:prstGeom prst="rect">
            <a:avLst/>
          </a:prstGeom>
        </p:spPr>
        <p:txBody>
          <a:bodyPr lIns="0" tIns="0" rIns="0" bIns="0" anchor="b" anchorCtr="0"/>
          <a:lstStyle>
            <a:lvl1pPr marL="0" indent="0">
              <a:lnSpc>
                <a:spcPct val="100000"/>
              </a:lnSpc>
              <a:buFont typeface="Arial" panose="020B0604020202020204" pitchFamily="34" charset="0"/>
              <a:buNone/>
              <a:defRPr sz="1300" b="1" i="0" u="sng" cap="all" baseline="0">
                <a:solidFill>
                  <a:srgbClr val="0078D4"/>
                </a:solidFill>
                <a:latin typeface="+mn-lt"/>
                <a:cs typeface="Segoe UI" panose="020B0502040204020203" pitchFamily="34" charset="0"/>
              </a:defRPr>
            </a:lvl1pPr>
            <a:lvl2pPr marL="457200">
              <a:spcBef>
                <a:spcPts val="400"/>
              </a:spcBef>
              <a:buFont typeface="Arial" panose="020B0604020202020204" pitchFamily="34" charset="0"/>
              <a:buChar char="•"/>
              <a:defRPr sz="1000" b="1" i="0">
                <a:solidFill>
                  <a:srgbClr val="0078D4"/>
                </a:solidFill>
                <a:latin typeface="Segoe UI" panose="020B0502040204020203" pitchFamily="34" charset="0"/>
                <a:cs typeface="Segoe UI" panose="020B0502040204020203" pitchFamily="34" charset="0"/>
              </a:defRPr>
            </a:lvl2pPr>
          </a:lstStyle>
          <a:p>
            <a:pPr lvl="0"/>
            <a:r>
              <a:rPr lang="en-US"/>
              <a:t>CTA to customer story</a:t>
            </a:r>
          </a:p>
        </p:txBody>
      </p:sp>
      <p:sp>
        <p:nvSpPr>
          <p:cNvPr id="4" name="Text Placeholder 3">
            <a:extLst>
              <a:ext uri="{FF2B5EF4-FFF2-40B4-BE49-F238E27FC236}">
                <a16:creationId xmlns:a16="http://schemas.microsoft.com/office/drawing/2014/main" id="{917E1FFB-C70E-0745-B9D7-06CEACB4CE66}"/>
              </a:ext>
            </a:extLst>
          </p:cNvPr>
          <p:cNvSpPr>
            <a:spLocks noGrp="1"/>
          </p:cNvSpPr>
          <p:nvPr>
            <p:ph type="body" sz="quarter" idx="26"/>
          </p:nvPr>
        </p:nvSpPr>
        <p:spPr>
          <a:xfrm>
            <a:off x="309562" y="1701800"/>
            <a:ext cx="2372445" cy="4013200"/>
          </a:xfrm>
        </p:spPr>
        <p:txBody>
          <a:bodyPr anchor="b">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8F8FD9B9-601D-CF45-8B7F-327B3AFDD1C5}"/>
              </a:ext>
            </a:extLst>
          </p:cNvPr>
          <p:cNvSpPr txBox="1"/>
          <p:nvPr userDrawn="1"/>
        </p:nvSpPr>
        <p:spPr>
          <a:xfrm>
            <a:off x="3268758"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ituation:</a:t>
            </a:r>
            <a:endParaRPr lang="en-US" sz="1400">
              <a:solidFill>
                <a:schemeClr val="tx1"/>
              </a:solidFill>
            </a:endParaRPr>
          </a:p>
        </p:txBody>
      </p:sp>
      <p:sp>
        <p:nvSpPr>
          <p:cNvPr id="12" name="TextBox 11">
            <a:extLst>
              <a:ext uri="{FF2B5EF4-FFF2-40B4-BE49-F238E27FC236}">
                <a16:creationId xmlns:a16="http://schemas.microsoft.com/office/drawing/2014/main" id="{65D8FD4E-7829-B047-ABEB-28AA5BDC3F73}"/>
              </a:ext>
            </a:extLst>
          </p:cNvPr>
          <p:cNvSpPr txBox="1"/>
          <p:nvPr userDrawn="1"/>
        </p:nvSpPr>
        <p:spPr>
          <a:xfrm>
            <a:off x="6327759"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olution:</a:t>
            </a:r>
            <a:endParaRPr lang="en-US" sz="1400">
              <a:solidFill>
                <a:schemeClr val="tx1"/>
              </a:solidFill>
            </a:endParaRPr>
          </a:p>
        </p:txBody>
      </p:sp>
      <p:sp>
        <p:nvSpPr>
          <p:cNvPr id="13" name="TextBox 12">
            <a:extLst>
              <a:ext uri="{FF2B5EF4-FFF2-40B4-BE49-F238E27FC236}">
                <a16:creationId xmlns:a16="http://schemas.microsoft.com/office/drawing/2014/main" id="{74372333-573F-DD4E-AC09-3E29FA6303B6}"/>
              </a:ext>
            </a:extLst>
          </p:cNvPr>
          <p:cNvSpPr txBox="1"/>
          <p:nvPr userDrawn="1"/>
        </p:nvSpPr>
        <p:spPr>
          <a:xfrm>
            <a:off x="9379802"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Impact:</a:t>
            </a:r>
            <a:endParaRPr lang="en-US" sz="1400">
              <a:solidFill>
                <a:schemeClr val="tx1"/>
              </a:solidFill>
            </a:endParaRPr>
          </a:p>
        </p:txBody>
      </p:sp>
      <p:sp>
        <p:nvSpPr>
          <p:cNvPr id="6" name="Text Placeholder 5">
            <a:extLst>
              <a:ext uri="{FF2B5EF4-FFF2-40B4-BE49-F238E27FC236}">
                <a16:creationId xmlns:a16="http://schemas.microsoft.com/office/drawing/2014/main" id="{95044A2F-0FEE-6040-A0E1-A54AE0ED02C1}"/>
              </a:ext>
            </a:extLst>
          </p:cNvPr>
          <p:cNvSpPr>
            <a:spLocks noGrp="1"/>
          </p:cNvSpPr>
          <p:nvPr>
            <p:ph type="body" sz="quarter" idx="27" hasCustomPrompt="1"/>
          </p:nvPr>
        </p:nvSpPr>
        <p:spPr>
          <a:xfrm>
            <a:off x="6334717" y="5192763"/>
            <a:ext cx="2501900" cy="1410253"/>
          </a:xfrm>
        </p:spPr>
        <p:txBody>
          <a:bodyPr lIns="0" tIns="0" rIns="0" bIns="0">
            <a:noAutofit/>
          </a:bodyPr>
          <a:lstStyle>
            <a:lvl1pPr>
              <a:lnSpc>
                <a:spcPct val="100000"/>
              </a:lnSpc>
              <a:spcBef>
                <a:spcPts val="1000"/>
              </a:spcBef>
              <a:defRPr sz="1100" b="0"/>
            </a:lvl1pPr>
            <a:lvl2pPr>
              <a:defRPr sz="1300"/>
            </a:lvl2pPr>
            <a:lvl3pPr>
              <a:defRPr sz="1300"/>
            </a:lvl3pPr>
            <a:lvl4pPr>
              <a:defRPr sz="1300"/>
            </a:lvl4pPr>
            <a:lvl5pPr>
              <a:defRPr sz="1300"/>
            </a:lvl5pPr>
          </a:lstStyle>
          <a:p>
            <a:pPr lvl="0"/>
            <a:r>
              <a:rPr lang="en-US"/>
              <a:t>Click to add solution</a:t>
            </a:r>
          </a:p>
        </p:txBody>
      </p:sp>
      <p:sp>
        <p:nvSpPr>
          <p:cNvPr id="8" name="Text Placeholder 7">
            <a:extLst>
              <a:ext uri="{FF2B5EF4-FFF2-40B4-BE49-F238E27FC236}">
                <a16:creationId xmlns:a16="http://schemas.microsoft.com/office/drawing/2014/main" id="{813691F5-9761-D143-9450-E404D7FF3C61}"/>
              </a:ext>
            </a:extLst>
          </p:cNvPr>
          <p:cNvSpPr>
            <a:spLocks noGrp="1"/>
          </p:cNvSpPr>
          <p:nvPr>
            <p:ph type="body" sz="quarter" idx="28" hasCustomPrompt="1"/>
          </p:nvPr>
        </p:nvSpPr>
        <p:spPr>
          <a:xfrm>
            <a:off x="9379802" y="5191458"/>
            <a:ext cx="2501901" cy="1395684"/>
          </a:xfrm>
        </p:spPr>
        <p:txBody>
          <a:bodyPr lIns="0" tIns="0" rIns="0" bIns="0">
            <a:noAutofit/>
          </a:bodyPr>
          <a:lstStyle>
            <a:lvl1pPr>
              <a:lnSpc>
                <a:spcPct val="100000"/>
              </a:lnSpc>
              <a:spcBef>
                <a:spcPts val="1000"/>
              </a:spcBef>
              <a:defRPr sz="1100" b="0"/>
            </a:lvl1pPr>
          </a:lstStyle>
          <a:p>
            <a:pPr lvl="0"/>
            <a:r>
              <a:rPr lang="en-US"/>
              <a:t>Click to add impact</a:t>
            </a:r>
          </a:p>
        </p:txBody>
      </p:sp>
      <p:sp>
        <p:nvSpPr>
          <p:cNvPr id="2" name="Rectangle 1">
            <a:extLst>
              <a:ext uri="{FF2B5EF4-FFF2-40B4-BE49-F238E27FC236}">
                <a16:creationId xmlns:a16="http://schemas.microsoft.com/office/drawing/2014/main" id="{1D48B4EF-5E0F-492E-99E6-BD40129B5E00}"/>
              </a:ext>
            </a:extLst>
          </p:cNvPr>
          <p:cNvSpPr/>
          <p:nvPr userDrawn="1"/>
        </p:nvSpPr>
        <p:spPr>
          <a:xfrm>
            <a:off x="2960688" y="0"/>
            <a:ext cx="118872" cy="685800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93517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101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Microsoft Team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hasCustomPrompt="1"/>
          </p:nvPr>
        </p:nvSpPr>
        <p:spPr>
          <a:xfrm>
            <a:off x="3268758" y="3460224"/>
            <a:ext cx="8643841" cy="830262"/>
          </a:xfrm>
          <a:prstGeom prst="rect">
            <a:avLst/>
          </a:prstGeom>
        </p:spPr>
        <p:txBody>
          <a:bodyPr lIns="0" tIns="0" rIns="0" bIns="0" anchor="b" anchorCtr="0"/>
          <a:lstStyle>
            <a:lvl1pPr marL="0" indent="0">
              <a:lnSpc>
                <a:spcPct val="100000"/>
              </a:lnSpc>
              <a:buNone/>
              <a:defRPr sz="1800" b="0" i="0">
                <a:solidFill>
                  <a:schemeClr val="tx1"/>
                </a:solidFill>
                <a:latin typeface="+mn-lt"/>
                <a:cs typeface="Segoe UI" panose="020B0502040204020203" pitchFamily="34" charset="0"/>
              </a:defRPr>
            </a:lvl1pPr>
          </a:lstStyle>
          <a:p>
            <a:pPr lvl="0"/>
            <a:r>
              <a:rPr lang="en-US"/>
              <a:t>Click to add quote</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hasCustomPrompt="1"/>
          </p:nvPr>
        </p:nvSpPr>
        <p:spPr>
          <a:xfrm>
            <a:off x="3268757" y="4423180"/>
            <a:ext cx="8643841" cy="158979"/>
          </a:xfrm>
          <a:prstGeom prst="rect">
            <a:avLst/>
          </a:prstGeom>
        </p:spPr>
        <p:txBody>
          <a:bodyPr lIns="0" tIns="0" rIns="0" bIns="0"/>
          <a:lstStyle>
            <a:lvl1pPr marL="0" indent="0">
              <a:buNone/>
              <a:defRPr sz="1000" b="0" i="0">
                <a:solidFill>
                  <a:schemeClr val="tx1"/>
                </a:solidFill>
                <a:latin typeface="+mn-lt"/>
                <a:cs typeface="Segoe UI Semilight" panose="020B0402040204020203" pitchFamily="34" charset="0"/>
              </a:defRPr>
            </a:lvl1pPr>
          </a:lstStyle>
          <a:p>
            <a:pPr lvl="0"/>
            <a:r>
              <a:rPr lang="en-US"/>
              <a:t>Click to add attribute</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310297" y="313371"/>
            <a:ext cx="2286000" cy="1210629"/>
          </a:xfrm>
          <a:prstGeom prst="rect">
            <a:avLst/>
          </a:prstGeom>
        </p:spPr>
        <p:txBody>
          <a:bodyPr/>
          <a:lstStyle>
            <a:lvl1pPr marL="0" indent="0" algn="ctr">
              <a:buNone/>
              <a:defRPr sz="2000" b="0">
                <a:latin typeface="Segoe UI" panose="020B0502040204020203" pitchFamily="34" charset="0"/>
                <a:cs typeface="Segoe UI" panose="020B0502040204020203" pitchFamily="34" charset="0"/>
              </a:defRPr>
            </a:lvl1pPr>
          </a:lstStyle>
          <a:p>
            <a:r>
              <a:rPr lang="en-US"/>
              <a:t>Customer 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079560" y="0"/>
            <a:ext cx="9116567" cy="3292475"/>
          </a:xfrm>
          <a:prstGeom prst="rect">
            <a:avLst/>
          </a:prstGeom>
        </p:spPr>
        <p:txBody>
          <a:bodyPr tIns="457200" anchor="t"/>
          <a:lstStyle>
            <a:lvl1pPr marL="0" indent="0" algn="ctr">
              <a:buNone/>
              <a:defRPr sz="2000" b="0">
                <a:latin typeface="Segoe UI" panose="020B0502040204020203" pitchFamily="34" charset="0"/>
                <a:cs typeface="Segoe UI" panose="020B0502040204020203" pitchFamily="34" charset="0"/>
              </a:defRPr>
            </a:lvl1pPr>
          </a:lstStyle>
          <a:p>
            <a:r>
              <a:rPr lang="en-US"/>
              <a:t>Horizontal banner image</a:t>
            </a:r>
          </a:p>
        </p:txBody>
      </p:sp>
      <p:sp>
        <p:nvSpPr>
          <p:cNvPr id="20" name="Text Placeholder 44">
            <a:extLst>
              <a:ext uri="{FF2B5EF4-FFF2-40B4-BE49-F238E27FC236}">
                <a16:creationId xmlns:a16="http://schemas.microsoft.com/office/drawing/2014/main" id="{EB01BB71-B42A-DF45-A55E-767B724A166F}"/>
              </a:ext>
            </a:extLst>
          </p:cNvPr>
          <p:cNvSpPr>
            <a:spLocks noGrp="1"/>
          </p:cNvSpPr>
          <p:nvPr>
            <p:ph type="body" sz="quarter" idx="25" hasCustomPrompt="1"/>
          </p:nvPr>
        </p:nvSpPr>
        <p:spPr>
          <a:xfrm>
            <a:off x="310297" y="5825560"/>
            <a:ext cx="2286000" cy="270440"/>
          </a:xfrm>
          <a:prstGeom prst="rect">
            <a:avLst/>
          </a:prstGeom>
        </p:spPr>
        <p:txBody>
          <a:bodyPr lIns="0" tIns="0" rIns="0" bIns="0" anchor="b" anchorCtr="0"/>
          <a:lstStyle>
            <a:lvl1pPr marL="0" indent="0">
              <a:lnSpc>
                <a:spcPct val="100000"/>
              </a:lnSpc>
              <a:buFont typeface="Arial" panose="020B0604020202020204" pitchFamily="34" charset="0"/>
              <a:buNone/>
              <a:defRPr sz="1300" b="1" i="0" u="sng" cap="all" baseline="0">
                <a:solidFill>
                  <a:srgbClr val="0078D4"/>
                </a:solidFill>
                <a:latin typeface="+mn-lt"/>
                <a:cs typeface="Segoe UI" panose="020B0502040204020203" pitchFamily="34" charset="0"/>
              </a:defRPr>
            </a:lvl1pPr>
            <a:lvl2pPr marL="457200">
              <a:spcBef>
                <a:spcPts val="400"/>
              </a:spcBef>
              <a:buFont typeface="Arial" panose="020B0604020202020204" pitchFamily="34" charset="0"/>
              <a:buChar char="•"/>
              <a:defRPr sz="1000" b="1" i="0">
                <a:solidFill>
                  <a:srgbClr val="0078D4"/>
                </a:solidFill>
                <a:latin typeface="Segoe UI" panose="020B0502040204020203" pitchFamily="34" charset="0"/>
                <a:cs typeface="Segoe UI" panose="020B0502040204020203" pitchFamily="34" charset="0"/>
              </a:defRPr>
            </a:lvl2pPr>
          </a:lstStyle>
          <a:p>
            <a:pPr lvl="0"/>
            <a:r>
              <a:rPr lang="en-US"/>
              <a:t>CTA to customer story</a:t>
            </a:r>
          </a:p>
        </p:txBody>
      </p:sp>
      <p:sp>
        <p:nvSpPr>
          <p:cNvPr id="4" name="Text Placeholder 3">
            <a:extLst>
              <a:ext uri="{FF2B5EF4-FFF2-40B4-BE49-F238E27FC236}">
                <a16:creationId xmlns:a16="http://schemas.microsoft.com/office/drawing/2014/main" id="{917E1FFB-C70E-0745-B9D7-06CEACB4CE66}"/>
              </a:ext>
            </a:extLst>
          </p:cNvPr>
          <p:cNvSpPr>
            <a:spLocks noGrp="1"/>
          </p:cNvSpPr>
          <p:nvPr>
            <p:ph type="body" sz="quarter" idx="26"/>
          </p:nvPr>
        </p:nvSpPr>
        <p:spPr>
          <a:xfrm>
            <a:off x="309562" y="1701800"/>
            <a:ext cx="2372445" cy="4013200"/>
          </a:xfrm>
        </p:spPr>
        <p:txBody>
          <a:bodyPr anchor="b"/>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A27DB80B-9C5E-6A43-B723-DC862BC74F7D}"/>
              </a:ext>
            </a:extLst>
          </p:cNvPr>
          <p:cNvPicPr>
            <a:picLocks noChangeAspect="1"/>
          </p:cNvPicPr>
          <p:nvPr userDrawn="1"/>
        </p:nvPicPr>
        <p:blipFill rotWithShape="1">
          <a:blip r:embed="rId2"/>
          <a:srcRect l="19640" t="20555" r="20093" b="20295"/>
          <a:stretch/>
        </p:blipFill>
        <p:spPr>
          <a:xfrm>
            <a:off x="1166648" y="6180083"/>
            <a:ext cx="567560" cy="557048"/>
          </a:xfrm>
          <a:prstGeom prst="rect">
            <a:avLst/>
          </a:prstGeom>
        </p:spPr>
      </p:pic>
      <p:sp>
        <p:nvSpPr>
          <p:cNvPr id="31" name="Text Placeholder 28">
            <a:extLst>
              <a:ext uri="{FF2B5EF4-FFF2-40B4-BE49-F238E27FC236}">
                <a16:creationId xmlns:a16="http://schemas.microsoft.com/office/drawing/2014/main" id="{5211775D-21B4-414F-9CED-D20F2D9A504B}"/>
              </a:ext>
            </a:extLst>
          </p:cNvPr>
          <p:cNvSpPr>
            <a:spLocks noGrp="1"/>
          </p:cNvSpPr>
          <p:nvPr>
            <p:ph type="body" sz="quarter" idx="12" hasCustomPrompt="1"/>
          </p:nvPr>
        </p:nvSpPr>
        <p:spPr>
          <a:xfrm>
            <a:off x="3268757" y="5193186"/>
            <a:ext cx="2515818" cy="1414956"/>
          </a:xfrm>
          <a:prstGeom prst="rect">
            <a:avLst/>
          </a:prstGeom>
        </p:spPr>
        <p:txBody>
          <a:bodyPr lIns="0" tIns="0" rIns="0" bIns="0">
            <a:noAutofit/>
          </a:bodyPr>
          <a:lstStyle>
            <a:lvl1pPr marL="0" indent="0">
              <a:lnSpc>
                <a:spcPct val="100000"/>
              </a:lnSpc>
              <a:spcBef>
                <a:spcPts val="1000"/>
              </a:spcBef>
              <a:buNone/>
              <a:defRPr sz="1100" b="0" i="0">
                <a:solidFill>
                  <a:schemeClr val="tx1"/>
                </a:solidFill>
                <a:latin typeface="+mn-lt"/>
                <a:cs typeface="Segoe UI Semilight" panose="020B0402040204020203" pitchFamily="34" charset="0"/>
              </a:defRPr>
            </a:lvl1pPr>
          </a:lstStyle>
          <a:p>
            <a:pPr lvl="0"/>
            <a:r>
              <a:rPr lang="en-US"/>
              <a:t>Click to add situation</a:t>
            </a:r>
          </a:p>
        </p:txBody>
      </p:sp>
      <p:sp>
        <p:nvSpPr>
          <p:cNvPr id="32" name="TextBox 31">
            <a:extLst>
              <a:ext uri="{FF2B5EF4-FFF2-40B4-BE49-F238E27FC236}">
                <a16:creationId xmlns:a16="http://schemas.microsoft.com/office/drawing/2014/main" id="{550306CD-EEF4-974C-B95E-548500A2BCD4}"/>
              </a:ext>
            </a:extLst>
          </p:cNvPr>
          <p:cNvSpPr txBox="1"/>
          <p:nvPr userDrawn="1"/>
        </p:nvSpPr>
        <p:spPr>
          <a:xfrm>
            <a:off x="3268758"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ituation:</a:t>
            </a:r>
            <a:endParaRPr lang="en-US" sz="1400">
              <a:solidFill>
                <a:schemeClr val="tx1"/>
              </a:solidFill>
            </a:endParaRPr>
          </a:p>
        </p:txBody>
      </p:sp>
      <p:sp>
        <p:nvSpPr>
          <p:cNvPr id="33" name="TextBox 32">
            <a:extLst>
              <a:ext uri="{FF2B5EF4-FFF2-40B4-BE49-F238E27FC236}">
                <a16:creationId xmlns:a16="http://schemas.microsoft.com/office/drawing/2014/main" id="{7D12E4DC-D874-5641-B672-FC40140CE837}"/>
              </a:ext>
            </a:extLst>
          </p:cNvPr>
          <p:cNvSpPr txBox="1"/>
          <p:nvPr userDrawn="1"/>
        </p:nvSpPr>
        <p:spPr>
          <a:xfrm>
            <a:off x="6327759"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Solution:</a:t>
            </a:r>
            <a:endParaRPr lang="en-US" sz="1400">
              <a:solidFill>
                <a:schemeClr val="tx1"/>
              </a:solidFill>
            </a:endParaRPr>
          </a:p>
        </p:txBody>
      </p:sp>
      <p:sp>
        <p:nvSpPr>
          <p:cNvPr id="34" name="TextBox 33">
            <a:extLst>
              <a:ext uri="{FF2B5EF4-FFF2-40B4-BE49-F238E27FC236}">
                <a16:creationId xmlns:a16="http://schemas.microsoft.com/office/drawing/2014/main" id="{BCFAA161-2837-FB4A-99E7-2BB7A2F57441}"/>
              </a:ext>
            </a:extLst>
          </p:cNvPr>
          <p:cNvSpPr txBox="1"/>
          <p:nvPr userDrawn="1"/>
        </p:nvSpPr>
        <p:spPr>
          <a:xfrm>
            <a:off x="9379802" y="4881042"/>
            <a:ext cx="1905338" cy="215444"/>
          </a:xfrm>
          <a:prstGeom prst="rect">
            <a:avLst/>
          </a:prstGeom>
          <a:noFill/>
          <a:ln>
            <a:noFill/>
          </a:ln>
        </p:spPr>
        <p:txBody>
          <a:bodyPr wrap="square" lIns="0" tIns="0" rIns="0" bIns="0" rtlCol="0" anchor="ctr" anchorCtr="0">
            <a:spAutoFit/>
          </a:bodyPr>
          <a:lstStyle/>
          <a:p>
            <a:r>
              <a:rPr lang="en-US" sz="1400">
                <a:solidFill>
                  <a:schemeClr val="tx1"/>
                </a:solidFill>
                <a:latin typeface="Segoe UI Light" panose="020B0502040204020203" pitchFamily="34" charset="0"/>
                <a:cs typeface="Segoe UI Light" panose="020B0502040204020203" pitchFamily="34" charset="0"/>
              </a:rPr>
              <a:t>Impact:</a:t>
            </a:r>
            <a:endParaRPr lang="en-US" sz="1400">
              <a:solidFill>
                <a:schemeClr val="tx1"/>
              </a:solidFill>
            </a:endParaRPr>
          </a:p>
        </p:txBody>
      </p:sp>
      <p:sp>
        <p:nvSpPr>
          <p:cNvPr id="35" name="Text Placeholder 5">
            <a:extLst>
              <a:ext uri="{FF2B5EF4-FFF2-40B4-BE49-F238E27FC236}">
                <a16:creationId xmlns:a16="http://schemas.microsoft.com/office/drawing/2014/main" id="{E6E2927A-E441-8C4F-B1C0-6C7D5EBF2F5F}"/>
              </a:ext>
            </a:extLst>
          </p:cNvPr>
          <p:cNvSpPr>
            <a:spLocks noGrp="1"/>
          </p:cNvSpPr>
          <p:nvPr>
            <p:ph type="body" sz="quarter" idx="27" hasCustomPrompt="1"/>
          </p:nvPr>
        </p:nvSpPr>
        <p:spPr>
          <a:xfrm>
            <a:off x="6334717" y="5192763"/>
            <a:ext cx="2501900" cy="1410253"/>
          </a:xfrm>
        </p:spPr>
        <p:txBody>
          <a:bodyPr lIns="0" tIns="0" rIns="0" bIns="0">
            <a:noAutofit/>
          </a:bodyPr>
          <a:lstStyle>
            <a:lvl1pPr>
              <a:lnSpc>
                <a:spcPct val="100000"/>
              </a:lnSpc>
              <a:spcBef>
                <a:spcPts val="1000"/>
              </a:spcBef>
              <a:defRPr sz="1100" b="0"/>
            </a:lvl1pPr>
            <a:lvl2pPr>
              <a:defRPr sz="1300"/>
            </a:lvl2pPr>
            <a:lvl3pPr>
              <a:defRPr sz="1300"/>
            </a:lvl3pPr>
            <a:lvl4pPr>
              <a:defRPr sz="1300"/>
            </a:lvl4pPr>
            <a:lvl5pPr>
              <a:defRPr sz="1300"/>
            </a:lvl5pPr>
          </a:lstStyle>
          <a:p>
            <a:pPr lvl="0"/>
            <a:r>
              <a:rPr lang="en-US"/>
              <a:t>Click to add solution</a:t>
            </a:r>
          </a:p>
        </p:txBody>
      </p:sp>
      <p:sp>
        <p:nvSpPr>
          <p:cNvPr id="36" name="Text Placeholder 7">
            <a:extLst>
              <a:ext uri="{FF2B5EF4-FFF2-40B4-BE49-F238E27FC236}">
                <a16:creationId xmlns:a16="http://schemas.microsoft.com/office/drawing/2014/main" id="{2AF95DBF-906F-6B40-A697-9BC136E7F33E}"/>
              </a:ext>
            </a:extLst>
          </p:cNvPr>
          <p:cNvSpPr>
            <a:spLocks noGrp="1"/>
          </p:cNvSpPr>
          <p:nvPr>
            <p:ph type="body" sz="quarter" idx="28" hasCustomPrompt="1"/>
          </p:nvPr>
        </p:nvSpPr>
        <p:spPr>
          <a:xfrm>
            <a:off x="9379802" y="5191458"/>
            <a:ext cx="2501901" cy="1395684"/>
          </a:xfrm>
        </p:spPr>
        <p:txBody>
          <a:bodyPr lIns="0" tIns="0" rIns="0" bIns="0">
            <a:noAutofit/>
          </a:bodyPr>
          <a:lstStyle>
            <a:lvl1pPr>
              <a:lnSpc>
                <a:spcPct val="100000"/>
              </a:lnSpc>
              <a:spcBef>
                <a:spcPts val="1000"/>
              </a:spcBef>
              <a:defRPr sz="1100" b="0"/>
            </a:lvl1pPr>
          </a:lstStyle>
          <a:p>
            <a:pPr lvl="0"/>
            <a:r>
              <a:rPr lang="en-US"/>
              <a:t>Click to add impact</a:t>
            </a:r>
          </a:p>
        </p:txBody>
      </p:sp>
      <p:sp>
        <p:nvSpPr>
          <p:cNvPr id="2" name="Rectangle 1">
            <a:extLst>
              <a:ext uri="{FF2B5EF4-FFF2-40B4-BE49-F238E27FC236}">
                <a16:creationId xmlns:a16="http://schemas.microsoft.com/office/drawing/2014/main" id="{7BE407B8-46EE-4CF4-B717-F984DE804449}"/>
              </a:ext>
            </a:extLst>
          </p:cNvPr>
          <p:cNvSpPr/>
          <p:nvPr userDrawn="1"/>
        </p:nvSpPr>
        <p:spPr>
          <a:xfrm>
            <a:off x="2960688" y="0"/>
            <a:ext cx="118872" cy="6858000"/>
          </a:xfrm>
          <a:prstGeom prst="rect">
            <a:avLst/>
          </a:prstGeom>
          <a:solidFill>
            <a:srgbClr val="6264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70675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4041276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5104004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97762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45452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a:xfrm>
            <a:off x="588263" y="457200"/>
            <a:ext cx="11018520" cy="4601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588263"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Tree>
    <p:extLst>
      <p:ext uri="{BB962C8B-B14F-4D97-AF65-F5344CB8AC3E}">
        <p14:creationId xmlns:p14="http://schemas.microsoft.com/office/powerpoint/2010/main" val="3847551765"/>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4469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59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6954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1254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795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3873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3319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438129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86488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9329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504129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1823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90517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5113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1362035"/>
            <a:ext cx="9144000" cy="460126"/>
          </a:xfrm>
        </p:spPr>
        <p:txBody>
          <a:bodyPr vert="horz" wrap="square" lIns="0" tIns="0" rIns="0" bIns="0" rtlCol="0" anchor="t">
            <a:spAutoFit/>
          </a:bodyPr>
          <a:lstStyle>
            <a:lvl1pPr>
              <a:defRPr lang="en-US" dirty="0"/>
            </a:lvl1pPr>
          </a:lstStyle>
          <a:p>
            <a:pPr marL="0" lvl="0"/>
            <a:r>
              <a:rPr lang="en-US"/>
              <a:t>Demo</a:t>
            </a:r>
          </a:p>
        </p:txBody>
      </p:sp>
    </p:spTree>
    <p:extLst>
      <p:ext uri="{BB962C8B-B14F-4D97-AF65-F5344CB8AC3E}">
        <p14:creationId xmlns:p14="http://schemas.microsoft.com/office/powerpoint/2010/main" val="2544897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7351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487058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2238999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49353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67676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85030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54405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21911"/>
            <a:ext cx="9144000" cy="41417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299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7453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453.xml"/><Relationship Id="rId1" Type="http://schemas.openxmlformats.org/officeDocument/2006/relationships/slideLayout" Target="../slideLayouts/slideLayout452.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455.xml"/><Relationship Id="rId1" Type="http://schemas.openxmlformats.org/officeDocument/2006/relationships/slideLayout" Target="../slideLayouts/slideLayout454.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458.xml"/><Relationship Id="rId2" Type="http://schemas.openxmlformats.org/officeDocument/2006/relationships/slideLayout" Target="../slideLayouts/slideLayout457.xml"/><Relationship Id="rId1" Type="http://schemas.openxmlformats.org/officeDocument/2006/relationships/slideLayout" Target="../slideLayouts/slideLayout456.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484.xml"/><Relationship Id="rId21" Type="http://schemas.openxmlformats.org/officeDocument/2006/relationships/slideLayout" Target="../slideLayouts/slideLayout479.xml"/><Relationship Id="rId42" Type="http://schemas.openxmlformats.org/officeDocument/2006/relationships/slideLayout" Target="../slideLayouts/slideLayout500.xml"/><Relationship Id="rId47" Type="http://schemas.openxmlformats.org/officeDocument/2006/relationships/slideLayout" Target="../slideLayouts/slideLayout505.xml"/><Relationship Id="rId63" Type="http://schemas.openxmlformats.org/officeDocument/2006/relationships/slideLayout" Target="../slideLayouts/slideLayout521.xml"/><Relationship Id="rId68" Type="http://schemas.openxmlformats.org/officeDocument/2006/relationships/slideLayout" Target="../slideLayouts/slideLayout526.xml"/><Relationship Id="rId16" Type="http://schemas.openxmlformats.org/officeDocument/2006/relationships/slideLayout" Target="../slideLayouts/slideLayout47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32" Type="http://schemas.openxmlformats.org/officeDocument/2006/relationships/slideLayout" Target="../slideLayouts/slideLayout490.xml"/><Relationship Id="rId37" Type="http://schemas.openxmlformats.org/officeDocument/2006/relationships/slideLayout" Target="../slideLayouts/slideLayout495.xml"/><Relationship Id="rId40" Type="http://schemas.openxmlformats.org/officeDocument/2006/relationships/slideLayout" Target="../slideLayouts/slideLayout498.xml"/><Relationship Id="rId45" Type="http://schemas.openxmlformats.org/officeDocument/2006/relationships/slideLayout" Target="../slideLayouts/slideLayout503.xml"/><Relationship Id="rId53" Type="http://schemas.openxmlformats.org/officeDocument/2006/relationships/slideLayout" Target="../slideLayouts/slideLayout511.xml"/><Relationship Id="rId58" Type="http://schemas.openxmlformats.org/officeDocument/2006/relationships/slideLayout" Target="../slideLayouts/slideLayout516.xml"/><Relationship Id="rId66" Type="http://schemas.openxmlformats.org/officeDocument/2006/relationships/slideLayout" Target="../slideLayouts/slideLayout524.xml"/><Relationship Id="rId74" Type="http://schemas.openxmlformats.org/officeDocument/2006/relationships/slideLayout" Target="../slideLayouts/slideLayout532.xml"/><Relationship Id="rId5" Type="http://schemas.openxmlformats.org/officeDocument/2006/relationships/slideLayout" Target="../slideLayouts/slideLayout463.xml"/><Relationship Id="rId61" Type="http://schemas.openxmlformats.org/officeDocument/2006/relationships/slideLayout" Target="../slideLayouts/slideLayout519.xml"/><Relationship Id="rId19" Type="http://schemas.openxmlformats.org/officeDocument/2006/relationships/slideLayout" Target="../slideLayouts/slideLayout47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slideLayout" Target="../slideLayouts/slideLayout485.xml"/><Relationship Id="rId30" Type="http://schemas.openxmlformats.org/officeDocument/2006/relationships/slideLayout" Target="../slideLayouts/slideLayout488.xml"/><Relationship Id="rId35" Type="http://schemas.openxmlformats.org/officeDocument/2006/relationships/slideLayout" Target="../slideLayouts/slideLayout493.xml"/><Relationship Id="rId43" Type="http://schemas.openxmlformats.org/officeDocument/2006/relationships/slideLayout" Target="../slideLayouts/slideLayout501.xml"/><Relationship Id="rId48" Type="http://schemas.openxmlformats.org/officeDocument/2006/relationships/slideLayout" Target="../slideLayouts/slideLayout506.xml"/><Relationship Id="rId56" Type="http://schemas.openxmlformats.org/officeDocument/2006/relationships/slideLayout" Target="../slideLayouts/slideLayout514.xml"/><Relationship Id="rId64" Type="http://schemas.openxmlformats.org/officeDocument/2006/relationships/slideLayout" Target="../slideLayouts/slideLayout522.xml"/><Relationship Id="rId69" Type="http://schemas.openxmlformats.org/officeDocument/2006/relationships/slideLayout" Target="../slideLayouts/slideLayout527.xml"/><Relationship Id="rId77" Type="http://schemas.openxmlformats.org/officeDocument/2006/relationships/image" Target="../media/image3.emf"/><Relationship Id="rId8" Type="http://schemas.openxmlformats.org/officeDocument/2006/relationships/slideLayout" Target="../slideLayouts/slideLayout466.xml"/><Relationship Id="rId51" Type="http://schemas.openxmlformats.org/officeDocument/2006/relationships/slideLayout" Target="../slideLayouts/slideLayout509.xml"/><Relationship Id="rId72" Type="http://schemas.openxmlformats.org/officeDocument/2006/relationships/slideLayout" Target="../slideLayouts/slideLayout530.xml"/><Relationship Id="rId3" Type="http://schemas.openxmlformats.org/officeDocument/2006/relationships/slideLayout" Target="../slideLayouts/slideLayout461.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33" Type="http://schemas.openxmlformats.org/officeDocument/2006/relationships/slideLayout" Target="../slideLayouts/slideLayout491.xml"/><Relationship Id="rId38" Type="http://schemas.openxmlformats.org/officeDocument/2006/relationships/slideLayout" Target="../slideLayouts/slideLayout496.xml"/><Relationship Id="rId46" Type="http://schemas.openxmlformats.org/officeDocument/2006/relationships/slideLayout" Target="../slideLayouts/slideLayout504.xml"/><Relationship Id="rId59" Type="http://schemas.openxmlformats.org/officeDocument/2006/relationships/slideLayout" Target="../slideLayouts/slideLayout517.xml"/><Relationship Id="rId67" Type="http://schemas.openxmlformats.org/officeDocument/2006/relationships/slideLayout" Target="../slideLayouts/slideLayout525.xml"/><Relationship Id="rId20" Type="http://schemas.openxmlformats.org/officeDocument/2006/relationships/slideLayout" Target="../slideLayouts/slideLayout478.xml"/><Relationship Id="rId41" Type="http://schemas.openxmlformats.org/officeDocument/2006/relationships/slideLayout" Target="../slideLayouts/slideLayout499.xml"/><Relationship Id="rId54" Type="http://schemas.openxmlformats.org/officeDocument/2006/relationships/slideLayout" Target="../slideLayouts/slideLayout512.xml"/><Relationship Id="rId62" Type="http://schemas.openxmlformats.org/officeDocument/2006/relationships/slideLayout" Target="../slideLayouts/slideLayout520.xml"/><Relationship Id="rId70" Type="http://schemas.openxmlformats.org/officeDocument/2006/relationships/slideLayout" Target="../slideLayouts/slideLayout528.xml"/><Relationship Id="rId75" Type="http://schemas.openxmlformats.org/officeDocument/2006/relationships/slideLayout" Target="../slideLayouts/slideLayout533.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28" Type="http://schemas.openxmlformats.org/officeDocument/2006/relationships/slideLayout" Target="../slideLayouts/slideLayout486.xml"/><Relationship Id="rId36" Type="http://schemas.openxmlformats.org/officeDocument/2006/relationships/slideLayout" Target="../slideLayouts/slideLayout494.xml"/><Relationship Id="rId49" Type="http://schemas.openxmlformats.org/officeDocument/2006/relationships/slideLayout" Target="../slideLayouts/slideLayout507.xml"/><Relationship Id="rId57" Type="http://schemas.openxmlformats.org/officeDocument/2006/relationships/slideLayout" Target="../slideLayouts/slideLayout515.xml"/><Relationship Id="rId10" Type="http://schemas.openxmlformats.org/officeDocument/2006/relationships/slideLayout" Target="../slideLayouts/slideLayout468.xml"/><Relationship Id="rId31" Type="http://schemas.openxmlformats.org/officeDocument/2006/relationships/slideLayout" Target="../slideLayouts/slideLayout489.xml"/><Relationship Id="rId44" Type="http://schemas.openxmlformats.org/officeDocument/2006/relationships/slideLayout" Target="../slideLayouts/slideLayout502.xml"/><Relationship Id="rId52" Type="http://schemas.openxmlformats.org/officeDocument/2006/relationships/slideLayout" Target="../slideLayouts/slideLayout510.xml"/><Relationship Id="rId60" Type="http://schemas.openxmlformats.org/officeDocument/2006/relationships/slideLayout" Target="../slideLayouts/slideLayout518.xml"/><Relationship Id="rId65" Type="http://schemas.openxmlformats.org/officeDocument/2006/relationships/slideLayout" Target="../slideLayouts/slideLayout523.xml"/><Relationship Id="rId73" Type="http://schemas.openxmlformats.org/officeDocument/2006/relationships/slideLayout" Target="../slideLayouts/slideLayout531.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39" Type="http://schemas.openxmlformats.org/officeDocument/2006/relationships/slideLayout" Target="../slideLayouts/slideLayout497.xml"/><Relationship Id="rId34" Type="http://schemas.openxmlformats.org/officeDocument/2006/relationships/slideLayout" Target="../slideLayouts/slideLayout492.xml"/><Relationship Id="rId50" Type="http://schemas.openxmlformats.org/officeDocument/2006/relationships/slideLayout" Target="../slideLayouts/slideLayout508.xml"/><Relationship Id="rId55" Type="http://schemas.openxmlformats.org/officeDocument/2006/relationships/slideLayout" Target="../slideLayouts/slideLayout513.xml"/><Relationship Id="rId76" Type="http://schemas.openxmlformats.org/officeDocument/2006/relationships/theme" Target="../theme/theme13.xml"/><Relationship Id="rId7" Type="http://schemas.openxmlformats.org/officeDocument/2006/relationships/slideLayout" Target="../slideLayouts/slideLayout465.xml"/><Relationship Id="rId71" Type="http://schemas.openxmlformats.org/officeDocument/2006/relationships/slideLayout" Target="../slideLayouts/slideLayout529.xml"/><Relationship Id="rId2" Type="http://schemas.openxmlformats.org/officeDocument/2006/relationships/slideLayout" Target="../slideLayouts/slideLayout460.xml"/><Relationship Id="rId29" Type="http://schemas.openxmlformats.org/officeDocument/2006/relationships/slideLayout" Target="../slideLayouts/slideLayout487.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559.xml"/><Relationship Id="rId21" Type="http://schemas.openxmlformats.org/officeDocument/2006/relationships/slideLayout" Target="../slideLayouts/slideLayout554.xml"/><Relationship Id="rId42" Type="http://schemas.openxmlformats.org/officeDocument/2006/relationships/slideLayout" Target="../slideLayouts/slideLayout575.xml"/><Relationship Id="rId47" Type="http://schemas.openxmlformats.org/officeDocument/2006/relationships/slideLayout" Target="../slideLayouts/slideLayout580.xml"/><Relationship Id="rId63" Type="http://schemas.openxmlformats.org/officeDocument/2006/relationships/slideLayout" Target="../slideLayouts/slideLayout596.xml"/><Relationship Id="rId68" Type="http://schemas.openxmlformats.org/officeDocument/2006/relationships/slideLayout" Target="../slideLayouts/slideLayout601.xml"/><Relationship Id="rId16" Type="http://schemas.openxmlformats.org/officeDocument/2006/relationships/slideLayout" Target="../slideLayouts/slideLayout549.xml"/><Relationship Id="rId11" Type="http://schemas.openxmlformats.org/officeDocument/2006/relationships/slideLayout" Target="../slideLayouts/slideLayout544.xml"/><Relationship Id="rId24" Type="http://schemas.openxmlformats.org/officeDocument/2006/relationships/slideLayout" Target="../slideLayouts/slideLayout557.xml"/><Relationship Id="rId32" Type="http://schemas.openxmlformats.org/officeDocument/2006/relationships/slideLayout" Target="../slideLayouts/slideLayout565.xml"/><Relationship Id="rId37" Type="http://schemas.openxmlformats.org/officeDocument/2006/relationships/slideLayout" Target="../slideLayouts/slideLayout570.xml"/><Relationship Id="rId40" Type="http://schemas.openxmlformats.org/officeDocument/2006/relationships/slideLayout" Target="../slideLayouts/slideLayout573.xml"/><Relationship Id="rId45" Type="http://schemas.openxmlformats.org/officeDocument/2006/relationships/slideLayout" Target="../slideLayouts/slideLayout578.xml"/><Relationship Id="rId53" Type="http://schemas.openxmlformats.org/officeDocument/2006/relationships/slideLayout" Target="../slideLayouts/slideLayout586.xml"/><Relationship Id="rId58" Type="http://schemas.openxmlformats.org/officeDocument/2006/relationships/slideLayout" Target="../slideLayouts/slideLayout591.xml"/><Relationship Id="rId66" Type="http://schemas.openxmlformats.org/officeDocument/2006/relationships/slideLayout" Target="../slideLayouts/slideLayout599.xml"/><Relationship Id="rId74" Type="http://schemas.openxmlformats.org/officeDocument/2006/relationships/slideLayout" Target="../slideLayouts/slideLayout607.xml"/><Relationship Id="rId5" Type="http://schemas.openxmlformats.org/officeDocument/2006/relationships/slideLayout" Target="../slideLayouts/slideLayout538.xml"/><Relationship Id="rId61" Type="http://schemas.openxmlformats.org/officeDocument/2006/relationships/slideLayout" Target="../slideLayouts/slideLayout594.xml"/><Relationship Id="rId19" Type="http://schemas.openxmlformats.org/officeDocument/2006/relationships/slideLayout" Target="../slideLayouts/slideLayout552.xml"/><Relationship Id="rId14" Type="http://schemas.openxmlformats.org/officeDocument/2006/relationships/slideLayout" Target="../slideLayouts/slideLayout547.xml"/><Relationship Id="rId22" Type="http://schemas.openxmlformats.org/officeDocument/2006/relationships/slideLayout" Target="../slideLayouts/slideLayout555.xml"/><Relationship Id="rId27" Type="http://schemas.openxmlformats.org/officeDocument/2006/relationships/slideLayout" Target="../slideLayouts/slideLayout560.xml"/><Relationship Id="rId30" Type="http://schemas.openxmlformats.org/officeDocument/2006/relationships/slideLayout" Target="../slideLayouts/slideLayout563.xml"/><Relationship Id="rId35" Type="http://schemas.openxmlformats.org/officeDocument/2006/relationships/slideLayout" Target="../slideLayouts/slideLayout568.xml"/><Relationship Id="rId43" Type="http://schemas.openxmlformats.org/officeDocument/2006/relationships/slideLayout" Target="../slideLayouts/slideLayout576.xml"/><Relationship Id="rId48" Type="http://schemas.openxmlformats.org/officeDocument/2006/relationships/slideLayout" Target="../slideLayouts/slideLayout581.xml"/><Relationship Id="rId56" Type="http://schemas.openxmlformats.org/officeDocument/2006/relationships/slideLayout" Target="../slideLayouts/slideLayout589.xml"/><Relationship Id="rId64" Type="http://schemas.openxmlformats.org/officeDocument/2006/relationships/slideLayout" Target="../slideLayouts/slideLayout597.xml"/><Relationship Id="rId69" Type="http://schemas.openxmlformats.org/officeDocument/2006/relationships/slideLayout" Target="../slideLayouts/slideLayout602.xml"/><Relationship Id="rId77" Type="http://schemas.openxmlformats.org/officeDocument/2006/relationships/image" Target="../media/image3.emf"/><Relationship Id="rId8" Type="http://schemas.openxmlformats.org/officeDocument/2006/relationships/slideLayout" Target="../slideLayouts/slideLayout541.xml"/><Relationship Id="rId51" Type="http://schemas.openxmlformats.org/officeDocument/2006/relationships/slideLayout" Target="../slideLayouts/slideLayout584.xml"/><Relationship Id="rId72" Type="http://schemas.openxmlformats.org/officeDocument/2006/relationships/slideLayout" Target="../slideLayouts/slideLayout605.xml"/><Relationship Id="rId3" Type="http://schemas.openxmlformats.org/officeDocument/2006/relationships/slideLayout" Target="../slideLayouts/slideLayout536.xml"/><Relationship Id="rId12" Type="http://schemas.openxmlformats.org/officeDocument/2006/relationships/slideLayout" Target="../slideLayouts/slideLayout545.xml"/><Relationship Id="rId17" Type="http://schemas.openxmlformats.org/officeDocument/2006/relationships/slideLayout" Target="../slideLayouts/slideLayout550.xml"/><Relationship Id="rId25" Type="http://schemas.openxmlformats.org/officeDocument/2006/relationships/slideLayout" Target="../slideLayouts/slideLayout558.xml"/><Relationship Id="rId33" Type="http://schemas.openxmlformats.org/officeDocument/2006/relationships/slideLayout" Target="../slideLayouts/slideLayout566.xml"/><Relationship Id="rId38" Type="http://schemas.openxmlformats.org/officeDocument/2006/relationships/slideLayout" Target="../slideLayouts/slideLayout571.xml"/><Relationship Id="rId46" Type="http://schemas.openxmlformats.org/officeDocument/2006/relationships/slideLayout" Target="../slideLayouts/slideLayout579.xml"/><Relationship Id="rId59" Type="http://schemas.openxmlformats.org/officeDocument/2006/relationships/slideLayout" Target="../slideLayouts/slideLayout592.xml"/><Relationship Id="rId67" Type="http://schemas.openxmlformats.org/officeDocument/2006/relationships/slideLayout" Target="../slideLayouts/slideLayout600.xml"/><Relationship Id="rId20" Type="http://schemas.openxmlformats.org/officeDocument/2006/relationships/slideLayout" Target="../slideLayouts/slideLayout553.xml"/><Relationship Id="rId41" Type="http://schemas.openxmlformats.org/officeDocument/2006/relationships/slideLayout" Target="../slideLayouts/slideLayout574.xml"/><Relationship Id="rId54" Type="http://schemas.openxmlformats.org/officeDocument/2006/relationships/slideLayout" Target="../slideLayouts/slideLayout587.xml"/><Relationship Id="rId62" Type="http://schemas.openxmlformats.org/officeDocument/2006/relationships/slideLayout" Target="../slideLayouts/slideLayout595.xml"/><Relationship Id="rId70" Type="http://schemas.openxmlformats.org/officeDocument/2006/relationships/slideLayout" Target="../slideLayouts/slideLayout603.xml"/><Relationship Id="rId75" Type="http://schemas.openxmlformats.org/officeDocument/2006/relationships/slideLayout" Target="../slideLayouts/slideLayout608.xml"/><Relationship Id="rId1" Type="http://schemas.openxmlformats.org/officeDocument/2006/relationships/slideLayout" Target="../slideLayouts/slideLayout534.xml"/><Relationship Id="rId6" Type="http://schemas.openxmlformats.org/officeDocument/2006/relationships/slideLayout" Target="../slideLayouts/slideLayout539.xml"/><Relationship Id="rId15" Type="http://schemas.openxmlformats.org/officeDocument/2006/relationships/slideLayout" Target="../slideLayouts/slideLayout548.xml"/><Relationship Id="rId23" Type="http://schemas.openxmlformats.org/officeDocument/2006/relationships/slideLayout" Target="../slideLayouts/slideLayout556.xml"/><Relationship Id="rId28" Type="http://schemas.openxmlformats.org/officeDocument/2006/relationships/slideLayout" Target="../slideLayouts/slideLayout561.xml"/><Relationship Id="rId36" Type="http://schemas.openxmlformats.org/officeDocument/2006/relationships/slideLayout" Target="../slideLayouts/slideLayout569.xml"/><Relationship Id="rId49" Type="http://schemas.openxmlformats.org/officeDocument/2006/relationships/slideLayout" Target="../slideLayouts/slideLayout582.xml"/><Relationship Id="rId57" Type="http://schemas.openxmlformats.org/officeDocument/2006/relationships/slideLayout" Target="../slideLayouts/slideLayout590.xml"/><Relationship Id="rId10" Type="http://schemas.openxmlformats.org/officeDocument/2006/relationships/slideLayout" Target="../slideLayouts/slideLayout543.xml"/><Relationship Id="rId31" Type="http://schemas.openxmlformats.org/officeDocument/2006/relationships/slideLayout" Target="../slideLayouts/slideLayout564.xml"/><Relationship Id="rId44" Type="http://schemas.openxmlformats.org/officeDocument/2006/relationships/slideLayout" Target="../slideLayouts/slideLayout577.xml"/><Relationship Id="rId52" Type="http://schemas.openxmlformats.org/officeDocument/2006/relationships/slideLayout" Target="../slideLayouts/slideLayout585.xml"/><Relationship Id="rId60" Type="http://schemas.openxmlformats.org/officeDocument/2006/relationships/slideLayout" Target="../slideLayouts/slideLayout593.xml"/><Relationship Id="rId65" Type="http://schemas.openxmlformats.org/officeDocument/2006/relationships/slideLayout" Target="../slideLayouts/slideLayout598.xml"/><Relationship Id="rId73" Type="http://schemas.openxmlformats.org/officeDocument/2006/relationships/slideLayout" Target="../slideLayouts/slideLayout606.xml"/><Relationship Id="rId4" Type="http://schemas.openxmlformats.org/officeDocument/2006/relationships/slideLayout" Target="../slideLayouts/slideLayout537.xml"/><Relationship Id="rId9" Type="http://schemas.openxmlformats.org/officeDocument/2006/relationships/slideLayout" Target="../slideLayouts/slideLayout542.xml"/><Relationship Id="rId13" Type="http://schemas.openxmlformats.org/officeDocument/2006/relationships/slideLayout" Target="../slideLayouts/slideLayout546.xml"/><Relationship Id="rId18" Type="http://schemas.openxmlformats.org/officeDocument/2006/relationships/slideLayout" Target="../slideLayouts/slideLayout551.xml"/><Relationship Id="rId39" Type="http://schemas.openxmlformats.org/officeDocument/2006/relationships/slideLayout" Target="../slideLayouts/slideLayout572.xml"/><Relationship Id="rId34" Type="http://schemas.openxmlformats.org/officeDocument/2006/relationships/slideLayout" Target="../slideLayouts/slideLayout567.xml"/><Relationship Id="rId50" Type="http://schemas.openxmlformats.org/officeDocument/2006/relationships/slideLayout" Target="../slideLayouts/slideLayout583.xml"/><Relationship Id="rId55" Type="http://schemas.openxmlformats.org/officeDocument/2006/relationships/slideLayout" Target="../slideLayouts/slideLayout588.xml"/><Relationship Id="rId76" Type="http://schemas.openxmlformats.org/officeDocument/2006/relationships/theme" Target="../theme/theme14.xml"/><Relationship Id="rId7" Type="http://schemas.openxmlformats.org/officeDocument/2006/relationships/slideLayout" Target="../slideLayouts/slideLayout540.xml"/><Relationship Id="rId71" Type="http://schemas.openxmlformats.org/officeDocument/2006/relationships/slideLayout" Target="../slideLayouts/slideLayout604.xml"/><Relationship Id="rId2" Type="http://schemas.openxmlformats.org/officeDocument/2006/relationships/slideLayout" Target="../slideLayouts/slideLayout535.xml"/><Relationship Id="rId29" Type="http://schemas.openxmlformats.org/officeDocument/2006/relationships/slideLayout" Target="../slideLayouts/slideLayout56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16.xml"/><Relationship Id="rId13" Type="http://schemas.openxmlformats.org/officeDocument/2006/relationships/theme" Target="../theme/theme15.xml"/><Relationship Id="rId3" Type="http://schemas.openxmlformats.org/officeDocument/2006/relationships/slideLayout" Target="../slideLayouts/slideLayout611.xml"/><Relationship Id="rId7" Type="http://schemas.openxmlformats.org/officeDocument/2006/relationships/slideLayout" Target="../slideLayouts/slideLayout615.xml"/><Relationship Id="rId12" Type="http://schemas.openxmlformats.org/officeDocument/2006/relationships/slideLayout" Target="../slideLayouts/slideLayout620.xml"/><Relationship Id="rId2" Type="http://schemas.openxmlformats.org/officeDocument/2006/relationships/slideLayout" Target="../slideLayouts/slideLayout610.xml"/><Relationship Id="rId1" Type="http://schemas.openxmlformats.org/officeDocument/2006/relationships/slideLayout" Target="../slideLayouts/slideLayout609.xml"/><Relationship Id="rId6" Type="http://schemas.openxmlformats.org/officeDocument/2006/relationships/slideLayout" Target="../slideLayouts/slideLayout614.xml"/><Relationship Id="rId11" Type="http://schemas.openxmlformats.org/officeDocument/2006/relationships/slideLayout" Target="../slideLayouts/slideLayout619.xml"/><Relationship Id="rId5" Type="http://schemas.openxmlformats.org/officeDocument/2006/relationships/slideLayout" Target="../slideLayouts/slideLayout613.xml"/><Relationship Id="rId10" Type="http://schemas.openxmlformats.org/officeDocument/2006/relationships/slideLayout" Target="../slideLayouts/slideLayout618.xml"/><Relationship Id="rId4" Type="http://schemas.openxmlformats.org/officeDocument/2006/relationships/slideLayout" Target="../slideLayouts/slideLayout612.xml"/><Relationship Id="rId9" Type="http://schemas.openxmlformats.org/officeDocument/2006/relationships/slideLayout" Target="../slideLayouts/slideLayout617.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646.xml"/><Relationship Id="rId21" Type="http://schemas.openxmlformats.org/officeDocument/2006/relationships/slideLayout" Target="../slideLayouts/slideLayout641.xml"/><Relationship Id="rId42" Type="http://schemas.openxmlformats.org/officeDocument/2006/relationships/slideLayout" Target="../slideLayouts/slideLayout662.xml"/><Relationship Id="rId47" Type="http://schemas.openxmlformats.org/officeDocument/2006/relationships/slideLayout" Target="../slideLayouts/slideLayout667.xml"/><Relationship Id="rId63" Type="http://schemas.openxmlformats.org/officeDocument/2006/relationships/slideLayout" Target="../slideLayouts/slideLayout683.xml"/><Relationship Id="rId68" Type="http://schemas.openxmlformats.org/officeDocument/2006/relationships/slideLayout" Target="../slideLayouts/slideLayout688.xml"/><Relationship Id="rId2" Type="http://schemas.openxmlformats.org/officeDocument/2006/relationships/slideLayout" Target="../slideLayouts/slideLayout622.xml"/><Relationship Id="rId16" Type="http://schemas.openxmlformats.org/officeDocument/2006/relationships/slideLayout" Target="../slideLayouts/slideLayout636.xml"/><Relationship Id="rId29" Type="http://schemas.openxmlformats.org/officeDocument/2006/relationships/slideLayout" Target="../slideLayouts/slideLayout649.xml"/><Relationship Id="rId11" Type="http://schemas.openxmlformats.org/officeDocument/2006/relationships/slideLayout" Target="../slideLayouts/slideLayout631.xml"/><Relationship Id="rId24" Type="http://schemas.openxmlformats.org/officeDocument/2006/relationships/slideLayout" Target="../slideLayouts/slideLayout644.xml"/><Relationship Id="rId32" Type="http://schemas.openxmlformats.org/officeDocument/2006/relationships/slideLayout" Target="../slideLayouts/slideLayout652.xml"/><Relationship Id="rId37" Type="http://schemas.openxmlformats.org/officeDocument/2006/relationships/slideLayout" Target="../slideLayouts/slideLayout657.xml"/><Relationship Id="rId40" Type="http://schemas.openxmlformats.org/officeDocument/2006/relationships/slideLayout" Target="../slideLayouts/slideLayout660.xml"/><Relationship Id="rId45" Type="http://schemas.openxmlformats.org/officeDocument/2006/relationships/slideLayout" Target="../slideLayouts/slideLayout665.xml"/><Relationship Id="rId53" Type="http://schemas.openxmlformats.org/officeDocument/2006/relationships/slideLayout" Target="../slideLayouts/slideLayout673.xml"/><Relationship Id="rId58" Type="http://schemas.openxmlformats.org/officeDocument/2006/relationships/slideLayout" Target="../slideLayouts/slideLayout678.xml"/><Relationship Id="rId66" Type="http://schemas.openxmlformats.org/officeDocument/2006/relationships/slideLayout" Target="../slideLayouts/slideLayout686.xml"/><Relationship Id="rId5" Type="http://schemas.openxmlformats.org/officeDocument/2006/relationships/slideLayout" Target="../slideLayouts/slideLayout625.xml"/><Relationship Id="rId61" Type="http://schemas.openxmlformats.org/officeDocument/2006/relationships/slideLayout" Target="../slideLayouts/slideLayout681.xml"/><Relationship Id="rId19" Type="http://schemas.openxmlformats.org/officeDocument/2006/relationships/slideLayout" Target="../slideLayouts/slideLayout639.xml"/><Relationship Id="rId14" Type="http://schemas.openxmlformats.org/officeDocument/2006/relationships/slideLayout" Target="../slideLayouts/slideLayout634.xml"/><Relationship Id="rId22" Type="http://schemas.openxmlformats.org/officeDocument/2006/relationships/slideLayout" Target="../slideLayouts/slideLayout642.xml"/><Relationship Id="rId27" Type="http://schemas.openxmlformats.org/officeDocument/2006/relationships/slideLayout" Target="../slideLayouts/slideLayout647.xml"/><Relationship Id="rId30" Type="http://schemas.openxmlformats.org/officeDocument/2006/relationships/slideLayout" Target="../slideLayouts/slideLayout650.xml"/><Relationship Id="rId35" Type="http://schemas.openxmlformats.org/officeDocument/2006/relationships/slideLayout" Target="../slideLayouts/slideLayout655.xml"/><Relationship Id="rId43" Type="http://schemas.openxmlformats.org/officeDocument/2006/relationships/slideLayout" Target="../slideLayouts/slideLayout663.xml"/><Relationship Id="rId48" Type="http://schemas.openxmlformats.org/officeDocument/2006/relationships/slideLayout" Target="../slideLayouts/slideLayout668.xml"/><Relationship Id="rId56" Type="http://schemas.openxmlformats.org/officeDocument/2006/relationships/slideLayout" Target="../slideLayouts/slideLayout676.xml"/><Relationship Id="rId64" Type="http://schemas.openxmlformats.org/officeDocument/2006/relationships/slideLayout" Target="../slideLayouts/slideLayout684.xml"/><Relationship Id="rId69" Type="http://schemas.openxmlformats.org/officeDocument/2006/relationships/slideLayout" Target="../slideLayouts/slideLayout689.xml"/><Relationship Id="rId8" Type="http://schemas.openxmlformats.org/officeDocument/2006/relationships/slideLayout" Target="../slideLayouts/slideLayout628.xml"/><Relationship Id="rId51" Type="http://schemas.openxmlformats.org/officeDocument/2006/relationships/slideLayout" Target="../slideLayouts/slideLayout671.xml"/><Relationship Id="rId72" Type="http://schemas.openxmlformats.org/officeDocument/2006/relationships/theme" Target="../theme/theme16.xml"/><Relationship Id="rId3" Type="http://schemas.openxmlformats.org/officeDocument/2006/relationships/slideLayout" Target="../slideLayouts/slideLayout623.xml"/><Relationship Id="rId12" Type="http://schemas.openxmlformats.org/officeDocument/2006/relationships/slideLayout" Target="../slideLayouts/slideLayout632.xml"/><Relationship Id="rId17" Type="http://schemas.openxmlformats.org/officeDocument/2006/relationships/slideLayout" Target="../slideLayouts/slideLayout637.xml"/><Relationship Id="rId25" Type="http://schemas.openxmlformats.org/officeDocument/2006/relationships/slideLayout" Target="../slideLayouts/slideLayout645.xml"/><Relationship Id="rId33" Type="http://schemas.openxmlformats.org/officeDocument/2006/relationships/slideLayout" Target="../slideLayouts/slideLayout653.xml"/><Relationship Id="rId38" Type="http://schemas.openxmlformats.org/officeDocument/2006/relationships/slideLayout" Target="../slideLayouts/slideLayout658.xml"/><Relationship Id="rId46" Type="http://schemas.openxmlformats.org/officeDocument/2006/relationships/slideLayout" Target="../slideLayouts/slideLayout666.xml"/><Relationship Id="rId59" Type="http://schemas.openxmlformats.org/officeDocument/2006/relationships/slideLayout" Target="../slideLayouts/slideLayout679.xml"/><Relationship Id="rId67" Type="http://schemas.openxmlformats.org/officeDocument/2006/relationships/slideLayout" Target="../slideLayouts/slideLayout687.xml"/><Relationship Id="rId20" Type="http://schemas.openxmlformats.org/officeDocument/2006/relationships/slideLayout" Target="../slideLayouts/slideLayout640.xml"/><Relationship Id="rId41" Type="http://schemas.openxmlformats.org/officeDocument/2006/relationships/slideLayout" Target="../slideLayouts/slideLayout661.xml"/><Relationship Id="rId54" Type="http://schemas.openxmlformats.org/officeDocument/2006/relationships/slideLayout" Target="../slideLayouts/slideLayout674.xml"/><Relationship Id="rId62" Type="http://schemas.openxmlformats.org/officeDocument/2006/relationships/slideLayout" Target="../slideLayouts/slideLayout682.xml"/><Relationship Id="rId70" Type="http://schemas.openxmlformats.org/officeDocument/2006/relationships/slideLayout" Target="../slideLayouts/slideLayout690.xml"/><Relationship Id="rId1" Type="http://schemas.openxmlformats.org/officeDocument/2006/relationships/slideLayout" Target="../slideLayouts/slideLayout621.xml"/><Relationship Id="rId6" Type="http://schemas.openxmlformats.org/officeDocument/2006/relationships/slideLayout" Target="../slideLayouts/slideLayout626.xml"/><Relationship Id="rId15" Type="http://schemas.openxmlformats.org/officeDocument/2006/relationships/slideLayout" Target="../slideLayouts/slideLayout635.xml"/><Relationship Id="rId23" Type="http://schemas.openxmlformats.org/officeDocument/2006/relationships/slideLayout" Target="../slideLayouts/slideLayout643.xml"/><Relationship Id="rId28" Type="http://schemas.openxmlformats.org/officeDocument/2006/relationships/slideLayout" Target="../slideLayouts/slideLayout648.xml"/><Relationship Id="rId36" Type="http://schemas.openxmlformats.org/officeDocument/2006/relationships/slideLayout" Target="../slideLayouts/slideLayout656.xml"/><Relationship Id="rId49" Type="http://schemas.openxmlformats.org/officeDocument/2006/relationships/slideLayout" Target="../slideLayouts/slideLayout669.xml"/><Relationship Id="rId57" Type="http://schemas.openxmlformats.org/officeDocument/2006/relationships/slideLayout" Target="../slideLayouts/slideLayout677.xml"/><Relationship Id="rId10" Type="http://schemas.openxmlformats.org/officeDocument/2006/relationships/slideLayout" Target="../slideLayouts/slideLayout630.xml"/><Relationship Id="rId31" Type="http://schemas.openxmlformats.org/officeDocument/2006/relationships/slideLayout" Target="../slideLayouts/slideLayout651.xml"/><Relationship Id="rId44" Type="http://schemas.openxmlformats.org/officeDocument/2006/relationships/slideLayout" Target="../slideLayouts/slideLayout664.xml"/><Relationship Id="rId52" Type="http://schemas.openxmlformats.org/officeDocument/2006/relationships/slideLayout" Target="../slideLayouts/slideLayout672.xml"/><Relationship Id="rId60" Type="http://schemas.openxmlformats.org/officeDocument/2006/relationships/slideLayout" Target="../slideLayouts/slideLayout680.xml"/><Relationship Id="rId65" Type="http://schemas.openxmlformats.org/officeDocument/2006/relationships/slideLayout" Target="../slideLayouts/slideLayout685.xml"/><Relationship Id="rId73" Type="http://schemas.openxmlformats.org/officeDocument/2006/relationships/image" Target="../media/image3.emf"/><Relationship Id="rId4" Type="http://schemas.openxmlformats.org/officeDocument/2006/relationships/slideLayout" Target="../slideLayouts/slideLayout624.xml"/><Relationship Id="rId9" Type="http://schemas.openxmlformats.org/officeDocument/2006/relationships/slideLayout" Target="../slideLayouts/slideLayout629.xml"/><Relationship Id="rId13" Type="http://schemas.openxmlformats.org/officeDocument/2006/relationships/slideLayout" Target="../slideLayouts/slideLayout633.xml"/><Relationship Id="rId18" Type="http://schemas.openxmlformats.org/officeDocument/2006/relationships/slideLayout" Target="../slideLayouts/slideLayout638.xml"/><Relationship Id="rId39" Type="http://schemas.openxmlformats.org/officeDocument/2006/relationships/slideLayout" Target="../slideLayouts/slideLayout659.xml"/><Relationship Id="rId34" Type="http://schemas.openxmlformats.org/officeDocument/2006/relationships/slideLayout" Target="../slideLayouts/slideLayout654.xml"/><Relationship Id="rId50" Type="http://schemas.openxmlformats.org/officeDocument/2006/relationships/slideLayout" Target="../slideLayouts/slideLayout670.xml"/><Relationship Id="rId55" Type="http://schemas.openxmlformats.org/officeDocument/2006/relationships/slideLayout" Target="../slideLayouts/slideLayout675.xml"/><Relationship Id="rId7" Type="http://schemas.openxmlformats.org/officeDocument/2006/relationships/slideLayout" Target="../slideLayouts/slideLayout627.xml"/><Relationship Id="rId71" Type="http://schemas.openxmlformats.org/officeDocument/2006/relationships/slideLayout" Target="../slideLayouts/slideLayout691.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704.xml"/><Relationship Id="rId18" Type="http://schemas.openxmlformats.org/officeDocument/2006/relationships/slideLayout" Target="../slideLayouts/slideLayout709.xml"/><Relationship Id="rId26" Type="http://schemas.openxmlformats.org/officeDocument/2006/relationships/slideLayout" Target="../slideLayouts/slideLayout717.xml"/><Relationship Id="rId39" Type="http://schemas.openxmlformats.org/officeDocument/2006/relationships/image" Target="../media/image3.emf"/><Relationship Id="rId21" Type="http://schemas.openxmlformats.org/officeDocument/2006/relationships/slideLayout" Target="../slideLayouts/slideLayout712.xml"/><Relationship Id="rId34" Type="http://schemas.openxmlformats.org/officeDocument/2006/relationships/slideLayout" Target="../slideLayouts/slideLayout725.xml"/><Relationship Id="rId7" Type="http://schemas.openxmlformats.org/officeDocument/2006/relationships/slideLayout" Target="../slideLayouts/slideLayout698.xml"/><Relationship Id="rId12" Type="http://schemas.openxmlformats.org/officeDocument/2006/relationships/slideLayout" Target="../slideLayouts/slideLayout703.xml"/><Relationship Id="rId17" Type="http://schemas.openxmlformats.org/officeDocument/2006/relationships/slideLayout" Target="../slideLayouts/slideLayout708.xml"/><Relationship Id="rId25" Type="http://schemas.openxmlformats.org/officeDocument/2006/relationships/slideLayout" Target="../slideLayouts/slideLayout716.xml"/><Relationship Id="rId33" Type="http://schemas.openxmlformats.org/officeDocument/2006/relationships/slideLayout" Target="../slideLayouts/slideLayout724.xml"/><Relationship Id="rId38" Type="http://schemas.openxmlformats.org/officeDocument/2006/relationships/theme" Target="../theme/theme17.xml"/><Relationship Id="rId2" Type="http://schemas.openxmlformats.org/officeDocument/2006/relationships/slideLayout" Target="../slideLayouts/slideLayout693.xml"/><Relationship Id="rId16" Type="http://schemas.openxmlformats.org/officeDocument/2006/relationships/slideLayout" Target="../slideLayouts/slideLayout707.xml"/><Relationship Id="rId20" Type="http://schemas.openxmlformats.org/officeDocument/2006/relationships/slideLayout" Target="../slideLayouts/slideLayout711.xml"/><Relationship Id="rId29" Type="http://schemas.openxmlformats.org/officeDocument/2006/relationships/slideLayout" Target="../slideLayouts/slideLayout720.xml"/><Relationship Id="rId1" Type="http://schemas.openxmlformats.org/officeDocument/2006/relationships/slideLayout" Target="../slideLayouts/slideLayout692.xml"/><Relationship Id="rId6" Type="http://schemas.openxmlformats.org/officeDocument/2006/relationships/slideLayout" Target="../slideLayouts/slideLayout697.xml"/><Relationship Id="rId11" Type="http://schemas.openxmlformats.org/officeDocument/2006/relationships/slideLayout" Target="../slideLayouts/slideLayout702.xml"/><Relationship Id="rId24" Type="http://schemas.openxmlformats.org/officeDocument/2006/relationships/slideLayout" Target="../slideLayouts/slideLayout715.xml"/><Relationship Id="rId32" Type="http://schemas.openxmlformats.org/officeDocument/2006/relationships/slideLayout" Target="../slideLayouts/slideLayout723.xml"/><Relationship Id="rId37" Type="http://schemas.openxmlformats.org/officeDocument/2006/relationships/slideLayout" Target="../slideLayouts/slideLayout728.xml"/><Relationship Id="rId5" Type="http://schemas.openxmlformats.org/officeDocument/2006/relationships/slideLayout" Target="../slideLayouts/slideLayout696.xml"/><Relationship Id="rId15" Type="http://schemas.openxmlformats.org/officeDocument/2006/relationships/slideLayout" Target="../slideLayouts/slideLayout706.xml"/><Relationship Id="rId23" Type="http://schemas.openxmlformats.org/officeDocument/2006/relationships/slideLayout" Target="../slideLayouts/slideLayout714.xml"/><Relationship Id="rId28" Type="http://schemas.openxmlformats.org/officeDocument/2006/relationships/slideLayout" Target="../slideLayouts/slideLayout719.xml"/><Relationship Id="rId36" Type="http://schemas.openxmlformats.org/officeDocument/2006/relationships/slideLayout" Target="../slideLayouts/slideLayout727.xml"/><Relationship Id="rId10" Type="http://schemas.openxmlformats.org/officeDocument/2006/relationships/slideLayout" Target="../slideLayouts/slideLayout701.xml"/><Relationship Id="rId19" Type="http://schemas.openxmlformats.org/officeDocument/2006/relationships/slideLayout" Target="../slideLayouts/slideLayout710.xml"/><Relationship Id="rId31" Type="http://schemas.openxmlformats.org/officeDocument/2006/relationships/slideLayout" Target="../slideLayouts/slideLayout722.xml"/><Relationship Id="rId4" Type="http://schemas.openxmlformats.org/officeDocument/2006/relationships/slideLayout" Target="../slideLayouts/slideLayout695.xml"/><Relationship Id="rId9" Type="http://schemas.openxmlformats.org/officeDocument/2006/relationships/slideLayout" Target="../slideLayouts/slideLayout700.xml"/><Relationship Id="rId14" Type="http://schemas.openxmlformats.org/officeDocument/2006/relationships/slideLayout" Target="../slideLayouts/slideLayout705.xml"/><Relationship Id="rId22" Type="http://schemas.openxmlformats.org/officeDocument/2006/relationships/slideLayout" Target="../slideLayouts/slideLayout713.xml"/><Relationship Id="rId27" Type="http://schemas.openxmlformats.org/officeDocument/2006/relationships/slideLayout" Target="../slideLayouts/slideLayout718.xml"/><Relationship Id="rId30" Type="http://schemas.openxmlformats.org/officeDocument/2006/relationships/slideLayout" Target="../slideLayouts/slideLayout721.xml"/><Relationship Id="rId35" Type="http://schemas.openxmlformats.org/officeDocument/2006/relationships/slideLayout" Target="../slideLayouts/slideLayout726.xml"/><Relationship Id="rId8" Type="http://schemas.openxmlformats.org/officeDocument/2006/relationships/slideLayout" Target="../slideLayouts/slideLayout699.xml"/><Relationship Id="rId3" Type="http://schemas.openxmlformats.org/officeDocument/2006/relationships/slideLayout" Target="../slideLayouts/slideLayout694.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730.xml"/><Relationship Id="rId1" Type="http://schemas.openxmlformats.org/officeDocument/2006/relationships/slideLayout" Target="../slideLayouts/slideLayout72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0.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slideLayout" Target="../slideLayouts/slideLayout54.xml"/><Relationship Id="rId55" Type="http://schemas.openxmlformats.org/officeDocument/2006/relationships/slideLayout" Target="../slideLayouts/slideLayout59.xml"/><Relationship Id="rId63" Type="http://schemas.openxmlformats.org/officeDocument/2006/relationships/slideLayout" Target="../slideLayouts/slideLayout6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3" Type="http://schemas.openxmlformats.org/officeDocument/2006/relationships/slideLayout" Target="../slideLayouts/slideLayout57.xml"/><Relationship Id="rId58" Type="http://schemas.openxmlformats.org/officeDocument/2006/relationships/slideLayout" Target="../slideLayouts/slideLayout62.xml"/><Relationship Id="rId66" Type="http://schemas.openxmlformats.org/officeDocument/2006/relationships/theme" Target="../theme/theme2.xml"/><Relationship Id="rId5" Type="http://schemas.openxmlformats.org/officeDocument/2006/relationships/slideLayout" Target="../slideLayouts/slideLayout9.xml"/><Relationship Id="rId61" Type="http://schemas.openxmlformats.org/officeDocument/2006/relationships/slideLayout" Target="../slideLayouts/slideLayout65.xml"/><Relationship Id="rId19" Type="http://schemas.openxmlformats.org/officeDocument/2006/relationships/slideLayout" Target="../slideLayouts/slideLayout2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56" Type="http://schemas.openxmlformats.org/officeDocument/2006/relationships/slideLayout" Target="../slideLayouts/slideLayout60.xml"/><Relationship Id="rId64" Type="http://schemas.openxmlformats.org/officeDocument/2006/relationships/slideLayout" Target="../slideLayouts/slideLayout68.xml"/><Relationship Id="rId8" Type="http://schemas.openxmlformats.org/officeDocument/2006/relationships/slideLayout" Target="../slideLayouts/slideLayout12.xml"/><Relationship Id="rId51" Type="http://schemas.openxmlformats.org/officeDocument/2006/relationships/slideLayout" Target="../slideLayouts/slideLayout55.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59" Type="http://schemas.openxmlformats.org/officeDocument/2006/relationships/slideLayout" Target="../slideLayouts/slideLayout63.xml"/><Relationship Id="rId67" Type="http://schemas.openxmlformats.org/officeDocument/2006/relationships/image" Target="../media/image3.emf"/><Relationship Id="rId20" Type="http://schemas.openxmlformats.org/officeDocument/2006/relationships/slideLayout" Target="../slideLayouts/slideLayout24.xml"/><Relationship Id="rId41" Type="http://schemas.openxmlformats.org/officeDocument/2006/relationships/slideLayout" Target="../slideLayouts/slideLayout45.xml"/><Relationship Id="rId54" Type="http://schemas.openxmlformats.org/officeDocument/2006/relationships/slideLayout" Target="../slideLayouts/slideLayout58.xml"/><Relationship Id="rId62" Type="http://schemas.openxmlformats.org/officeDocument/2006/relationships/slideLayout" Target="../slideLayouts/slideLayout6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57" Type="http://schemas.openxmlformats.org/officeDocument/2006/relationships/slideLayout" Target="../slideLayouts/slideLayout61.xml"/><Relationship Id="rId10" Type="http://schemas.openxmlformats.org/officeDocument/2006/relationships/slideLayout" Target="../slideLayouts/slideLayout14.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52" Type="http://schemas.openxmlformats.org/officeDocument/2006/relationships/slideLayout" Target="../slideLayouts/slideLayout56.xml"/><Relationship Id="rId60" Type="http://schemas.openxmlformats.org/officeDocument/2006/relationships/slideLayout" Target="../slideLayouts/slideLayout64.xml"/><Relationship Id="rId65" Type="http://schemas.openxmlformats.org/officeDocument/2006/relationships/slideLayout" Target="../slideLayouts/slideLayout69.xml"/><Relationship Id="rId4" Type="http://schemas.openxmlformats.org/officeDocument/2006/relationships/slideLayout" Target="../slideLayouts/slideLayout8.xml"/><Relationship Id="rId9" Type="http://schemas.openxmlformats.org/officeDocument/2006/relationships/slideLayout" Target="../slideLayouts/slideLayout13.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9"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theme" Target="../theme/theme3.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image" Target="../media/image3.emf"/><Relationship Id="rId20" Type="http://schemas.openxmlformats.org/officeDocument/2006/relationships/slideLayout" Target="../slideLayouts/slideLayout89.xml"/><Relationship Id="rId41" Type="http://schemas.openxmlformats.org/officeDocument/2006/relationships/slideLayout" Target="../slideLayouts/slideLayout11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39.xml"/><Relationship Id="rId21" Type="http://schemas.openxmlformats.org/officeDocument/2006/relationships/slideLayout" Target="../slideLayouts/slideLayout134.xml"/><Relationship Id="rId42" Type="http://schemas.openxmlformats.org/officeDocument/2006/relationships/slideLayout" Target="../slideLayouts/slideLayout155.xml"/><Relationship Id="rId47" Type="http://schemas.openxmlformats.org/officeDocument/2006/relationships/slideLayout" Target="../slideLayouts/slideLayout160.xml"/><Relationship Id="rId63" Type="http://schemas.openxmlformats.org/officeDocument/2006/relationships/slideLayout" Target="../slideLayouts/slideLayout176.xml"/><Relationship Id="rId68" Type="http://schemas.openxmlformats.org/officeDocument/2006/relationships/slideLayout" Target="../slideLayouts/slideLayout181.xml"/><Relationship Id="rId7" Type="http://schemas.openxmlformats.org/officeDocument/2006/relationships/slideLayout" Target="../slideLayouts/slideLayout120.xml"/><Relationship Id="rId71" Type="http://schemas.openxmlformats.org/officeDocument/2006/relationships/image" Target="../media/image3.emf"/><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9" Type="http://schemas.openxmlformats.org/officeDocument/2006/relationships/slideLayout" Target="../slideLayouts/slideLayout142.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53" Type="http://schemas.openxmlformats.org/officeDocument/2006/relationships/slideLayout" Target="../slideLayouts/slideLayout166.xml"/><Relationship Id="rId58" Type="http://schemas.openxmlformats.org/officeDocument/2006/relationships/slideLayout" Target="../slideLayouts/slideLayout171.xml"/><Relationship Id="rId66" Type="http://schemas.openxmlformats.org/officeDocument/2006/relationships/slideLayout" Target="../slideLayouts/slideLayout179.xml"/><Relationship Id="rId5" Type="http://schemas.openxmlformats.org/officeDocument/2006/relationships/slideLayout" Target="../slideLayouts/slideLayout118.xml"/><Relationship Id="rId61" Type="http://schemas.openxmlformats.org/officeDocument/2006/relationships/slideLayout" Target="../slideLayouts/slideLayout174.xml"/><Relationship Id="rId19" Type="http://schemas.openxmlformats.org/officeDocument/2006/relationships/slideLayout" Target="../slideLayouts/slideLayout13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48" Type="http://schemas.openxmlformats.org/officeDocument/2006/relationships/slideLayout" Target="../slideLayouts/slideLayout161.xml"/><Relationship Id="rId56" Type="http://schemas.openxmlformats.org/officeDocument/2006/relationships/slideLayout" Target="../slideLayouts/slideLayout169.xml"/><Relationship Id="rId64" Type="http://schemas.openxmlformats.org/officeDocument/2006/relationships/slideLayout" Target="../slideLayouts/slideLayout177.xml"/><Relationship Id="rId69" Type="http://schemas.openxmlformats.org/officeDocument/2006/relationships/slideLayout" Target="../slideLayouts/slideLayout182.xml"/><Relationship Id="rId8" Type="http://schemas.openxmlformats.org/officeDocument/2006/relationships/slideLayout" Target="../slideLayouts/slideLayout121.xml"/><Relationship Id="rId51" Type="http://schemas.openxmlformats.org/officeDocument/2006/relationships/slideLayout" Target="../slideLayouts/slideLayout164.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slideLayout" Target="../slideLayouts/slideLayout159.xml"/><Relationship Id="rId59" Type="http://schemas.openxmlformats.org/officeDocument/2006/relationships/slideLayout" Target="../slideLayouts/slideLayout172.xml"/><Relationship Id="rId67" Type="http://schemas.openxmlformats.org/officeDocument/2006/relationships/slideLayout" Target="../slideLayouts/slideLayout180.xml"/><Relationship Id="rId20" Type="http://schemas.openxmlformats.org/officeDocument/2006/relationships/slideLayout" Target="../slideLayouts/slideLayout133.xml"/><Relationship Id="rId41" Type="http://schemas.openxmlformats.org/officeDocument/2006/relationships/slideLayout" Target="../slideLayouts/slideLayout154.xml"/><Relationship Id="rId54" Type="http://schemas.openxmlformats.org/officeDocument/2006/relationships/slideLayout" Target="../slideLayouts/slideLayout167.xml"/><Relationship Id="rId62" Type="http://schemas.openxmlformats.org/officeDocument/2006/relationships/slideLayout" Target="../slideLayouts/slideLayout175.xml"/><Relationship Id="rId70" Type="http://schemas.openxmlformats.org/officeDocument/2006/relationships/theme" Target="../theme/theme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slideLayout" Target="../slideLayouts/slideLayout162.xml"/><Relationship Id="rId57" Type="http://schemas.openxmlformats.org/officeDocument/2006/relationships/slideLayout" Target="../slideLayouts/slideLayout170.xml"/><Relationship Id="rId10" Type="http://schemas.openxmlformats.org/officeDocument/2006/relationships/slideLayout" Target="../slideLayouts/slideLayout123.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52" Type="http://schemas.openxmlformats.org/officeDocument/2006/relationships/slideLayout" Target="../slideLayouts/slideLayout165.xml"/><Relationship Id="rId60" Type="http://schemas.openxmlformats.org/officeDocument/2006/relationships/slideLayout" Target="../slideLayouts/slideLayout173.xml"/><Relationship Id="rId65" Type="http://schemas.openxmlformats.org/officeDocument/2006/relationships/slideLayout" Target="../slideLayouts/slideLayout178.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9" Type="http://schemas.openxmlformats.org/officeDocument/2006/relationships/slideLayout" Target="../slideLayouts/slideLayout152.xml"/><Relationship Id="rId34" Type="http://schemas.openxmlformats.org/officeDocument/2006/relationships/slideLayout" Target="../slideLayouts/slideLayout147.xml"/><Relationship Id="rId50" Type="http://schemas.openxmlformats.org/officeDocument/2006/relationships/slideLayout" Target="../slideLayouts/slideLayout163.xml"/><Relationship Id="rId55" Type="http://schemas.openxmlformats.org/officeDocument/2006/relationships/slideLayout" Target="../slideLayouts/slideLayout168.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08.xml"/><Relationship Id="rId21" Type="http://schemas.openxmlformats.org/officeDocument/2006/relationships/slideLayout" Target="../slideLayouts/slideLayout203.xml"/><Relationship Id="rId42" Type="http://schemas.openxmlformats.org/officeDocument/2006/relationships/slideLayout" Target="../slideLayouts/slideLayout224.xml"/><Relationship Id="rId47" Type="http://schemas.openxmlformats.org/officeDocument/2006/relationships/slideLayout" Target="../slideLayouts/slideLayout229.xml"/><Relationship Id="rId63" Type="http://schemas.openxmlformats.org/officeDocument/2006/relationships/slideLayout" Target="../slideLayouts/slideLayout245.xml"/><Relationship Id="rId68" Type="http://schemas.openxmlformats.org/officeDocument/2006/relationships/slideLayout" Target="../slideLayouts/slideLayout250.xml"/><Relationship Id="rId84" Type="http://schemas.openxmlformats.org/officeDocument/2006/relationships/slideLayout" Target="../slideLayouts/slideLayout266.xml"/><Relationship Id="rId89" Type="http://schemas.openxmlformats.org/officeDocument/2006/relationships/slideLayout" Target="../slideLayouts/slideLayout271.xml"/><Relationship Id="rId112" Type="http://schemas.openxmlformats.org/officeDocument/2006/relationships/slideLayout" Target="../slideLayouts/slideLayout294.xml"/><Relationship Id="rId16" Type="http://schemas.openxmlformats.org/officeDocument/2006/relationships/slideLayout" Target="../slideLayouts/slideLayout198.xml"/><Relationship Id="rId107" Type="http://schemas.openxmlformats.org/officeDocument/2006/relationships/slideLayout" Target="../slideLayouts/slideLayout289.xml"/><Relationship Id="rId11" Type="http://schemas.openxmlformats.org/officeDocument/2006/relationships/slideLayout" Target="../slideLayouts/slideLayout193.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53" Type="http://schemas.openxmlformats.org/officeDocument/2006/relationships/slideLayout" Target="../slideLayouts/slideLayout235.xml"/><Relationship Id="rId58" Type="http://schemas.openxmlformats.org/officeDocument/2006/relationships/slideLayout" Target="../slideLayouts/slideLayout240.xml"/><Relationship Id="rId74" Type="http://schemas.openxmlformats.org/officeDocument/2006/relationships/slideLayout" Target="../slideLayouts/slideLayout256.xml"/><Relationship Id="rId79" Type="http://schemas.openxmlformats.org/officeDocument/2006/relationships/slideLayout" Target="../slideLayouts/slideLayout261.xml"/><Relationship Id="rId102" Type="http://schemas.openxmlformats.org/officeDocument/2006/relationships/slideLayout" Target="../slideLayouts/slideLayout284.xml"/><Relationship Id="rId5" Type="http://schemas.openxmlformats.org/officeDocument/2006/relationships/slideLayout" Target="../slideLayouts/slideLayout187.xml"/><Relationship Id="rId90" Type="http://schemas.openxmlformats.org/officeDocument/2006/relationships/slideLayout" Target="../slideLayouts/slideLayout272.xml"/><Relationship Id="rId95" Type="http://schemas.openxmlformats.org/officeDocument/2006/relationships/slideLayout" Target="../slideLayouts/slideLayout277.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43" Type="http://schemas.openxmlformats.org/officeDocument/2006/relationships/slideLayout" Target="../slideLayouts/slideLayout225.xml"/><Relationship Id="rId48" Type="http://schemas.openxmlformats.org/officeDocument/2006/relationships/slideLayout" Target="../slideLayouts/slideLayout230.xml"/><Relationship Id="rId64" Type="http://schemas.openxmlformats.org/officeDocument/2006/relationships/slideLayout" Target="../slideLayouts/slideLayout246.xml"/><Relationship Id="rId69" Type="http://schemas.openxmlformats.org/officeDocument/2006/relationships/slideLayout" Target="../slideLayouts/slideLayout251.xml"/><Relationship Id="rId113" Type="http://schemas.openxmlformats.org/officeDocument/2006/relationships/slideLayout" Target="../slideLayouts/slideLayout295.xml"/><Relationship Id="rId80" Type="http://schemas.openxmlformats.org/officeDocument/2006/relationships/slideLayout" Target="../slideLayouts/slideLayout262.xml"/><Relationship Id="rId85" Type="http://schemas.openxmlformats.org/officeDocument/2006/relationships/slideLayout" Target="../slideLayouts/slideLayout267.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59" Type="http://schemas.openxmlformats.org/officeDocument/2006/relationships/slideLayout" Target="../slideLayouts/slideLayout241.xml"/><Relationship Id="rId103" Type="http://schemas.openxmlformats.org/officeDocument/2006/relationships/slideLayout" Target="../slideLayouts/slideLayout285.xml"/><Relationship Id="rId108" Type="http://schemas.openxmlformats.org/officeDocument/2006/relationships/slideLayout" Target="../slideLayouts/slideLayout290.xml"/><Relationship Id="rId54" Type="http://schemas.openxmlformats.org/officeDocument/2006/relationships/slideLayout" Target="../slideLayouts/slideLayout236.xml"/><Relationship Id="rId70" Type="http://schemas.openxmlformats.org/officeDocument/2006/relationships/slideLayout" Target="../slideLayouts/slideLayout252.xml"/><Relationship Id="rId75" Type="http://schemas.openxmlformats.org/officeDocument/2006/relationships/slideLayout" Target="../slideLayouts/slideLayout257.xml"/><Relationship Id="rId91" Type="http://schemas.openxmlformats.org/officeDocument/2006/relationships/slideLayout" Target="../slideLayouts/slideLayout273.xml"/><Relationship Id="rId96" Type="http://schemas.openxmlformats.org/officeDocument/2006/relationships/slideLayout" Target="../slideLayouts/slideLayout278.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49" Type="http://schemas.openxmlformats.org/officeDocument/2006/relationships/slideLayout" Target="../slideLayouts/slideLayout231.xml"/><Relationship Id="rId57" Type="http://schemas.openxmlformats.org/officeDocument/2006/relationships/slideLayout" Target="../slideLayouts/slideLayout239.xml"/><Relationship Id="rId106" Type="http://schemas.openxmlformats.org/officeDocument/2006/relationships/slideLayout" Target="../slideLayouts/slideLayout288.xml"/><Relationship Id="rId114" Type="http://schemas.openxmlformats.org/officeDocument/2006/relationships/slideLayout" Target="../slideLayouts/slideLayout296.xml"/><Relationship Id="rId10" Type="http://schemas.openxmlformats.org/officeDocument/2006/relationships/slideLayout" Target="../slideLayouts/slideLayout192.xml"/><Relationship Id="rId31" Type="http://schemas.openxmlformats.org/officeDocument/2006/relationships/slideLayout" Target="../slideLayouts/slideLayout213.xml"/><Relationship Id="rId44" Type="http://schemas.openxmlformats.org/officeDocument/2006/relationships/slideLayout" Target="../slideLayouts/slideLayout226.xml"/><Relationship Id="rId52" Type="http://schemas.openxmlformats.org/officeDocument/2006/relationships/slideLayout" Target="../slideLayouts/slideLayout234.xml"/><Relationship Id="rId60" Type="http://schemas.openxmlformats.org/officeDocument/2006/relationships/slideLayout" Target="../slideLayouts/slideLayout242.xml"/><Relationship Id="rId65" Type="http://schemas.openxmlformats.org/officeDocument/2006/relationships/slideLayout" Target="../slideLayouts/slideLayout247.xml"/><Relationship Id="rId73" Type="http://schemas.openxmlformats.org/officeDocument/2006/relationships/slideLayout" Target="../slideLayouts/slideLayout255.xml"/><Relationship Id="rId78" Type="http://schemas.openxmlformats.org/officeDocument/2006/relationships/slideLayout" Target="../slideLayouts/slideLayout260.xml"/><Relationship Id="rId81" Type="http://schemas.openxmlformats.org/officeDocument/2006/relationships/slideLayout" Target="../slideLayouts/slideLayout263.xml"/><Relationship Id="rId86" Type="http://schemas.openxmlformats.org/officeDocument/2006/relationships/slideLayout" Target="../slideLayouts/slideLayout268.xml"/><Relationship Id="rId94" Type="http://schemas.openxmlformats.org/officeDocument/2006/relationships/slideLayout" Target="../slideLayouts/slideLayout276.xml"/><Relationship Id="rId99" Type="http://schemas.openxmlformats.org/officeDocument/2006/relationships/slideLayout" Target="../slideLayouts/slideLayout281.xml"/><Relationship Id="rId101" Type="http://schemas.openxmlformats.org/officeDocument/2006/relationships/slideLayout" Target="../slideLayouts/slideLayout28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9" Type="http://schemas.openxmlformats.org/officeDocument/2006/relationships/slideLayout" Target="../slideLayouts/slideLayout221.xml"/><Relationship Id="rId109" Type="http://schemas.openxmlformats.org/officeDocument/2006/relationships/slideLayout" Target="../slideLayouts/slideLayout291.xml"/><Relationship Id="rId34" Type="http://schemas.openxmlformats.org/officeDocument/2006/relationships/slideLayout" Target="../slideLayouts/slideLayout216.xml"/><Relationship Id="rId50" Type="http://schemas.openxmlformats.org/officeDocument/2006/relationships/slideLayout" Target="../slideLayouts/slideLayout232.xml"/><Relationship Id="rId55" Type="http://schemas.openxmlformats.org/officeDocument/2006/relationships/slideLayout" Target="../slideLayouts/slideLayout237.xml"/><Relationship Id="rId76" Type="http://schemas.openxmlformats.org/officeDocument/2006/relationships/slideLayout" Target="../slideLayouts/slideLayout258.xml"/><Relationship Id="rId97" Type="http://schemas.openxmlformats.org/officeDocument/2006/relationships/slideLayout" Target="../slideLayouts/slideLayout279.xml"/><Relationship Id="rId104" Type="http://schemas.openxmlformats.org/officeDocument/2006/relationships/slideLayout" Target="../slideLayouts/slideLayout286.xml"/><Relationship Id="rId7" Type="http://schemas.openxmlformats.org/officeDocument/2006/relationships/slideLayout" Target="../slideLayouts/slideLayout189.xml"/><Relationship Id="rId71" Type="http://schemas.openxmlformats.org/officeDocument/2006/relationships/slideLayout" Target="../slideLayouts/slideLayout253.xml"/><Relationship Id="rId92" Type="http://schemas.openxmlformats.org/officeDocument/2006/relationships/slideLayout" Target="../slideLayouts/slideLayout274.xml"/><Relationship Id="rId2" Type="http://schemas.openxmlformats.org/officeDocument/2006/relationships/slideLayout" Target="../slideLayouts/slideLayout184.xml"/><Relationship Id="rId29" Type="http://schemas.openxmlformats.org/officeDocument/2006/relationships/slideLayout" Target="../slideLayouts/slideLayout211.xml"/><Relationship Id="rId24" Type="http://schemas.openxmlformats.org/officeDocument/2006/relationships/slideLayout" Target="../slideLayouts/slideLayout206.xml"/><Relationship Id="rId40" Type="http://schemas.openxmlformats.org/officeDocument/2006/relationships/slideLayout" Target="../slideLayouts/slideLayout222.xml"/><Relationship Id="rId45" Type="http://schemas.openxmlformats.org/officeDocument/2006/relationships/slideLayout" Target="../slideLayouts/slideLayout227.xml"/><Relationship Id="rId66" Type="http://schemas.openxmlformats.org/officeDocument/2006/relationships/slideLayout" Target="../slideLayouts/slideLayout248.xml"/><Relationship Id="rId87" Type="http://schemas.openxmlformats.org/officeDocument/2006/relationships/slideLayout" Target="../slideLayouts/slideLayout269.xml"/><Relationship Id="rId110" Type="http://schemas.openxmlformats.org/officeDocument/2006/relationships/slideLayout" Target="../slideLayouts/slideLayout292.xml"/><Relationship Id="rId115" Type="http://schemas.openxmlformats.org/officeDocument/2006/relationships/theme" Target="../theme/theme5.xml"/><Relationship Id="rId61" Type="http://schemas.openxmlformats.org/officeDocument/2006/relationships/slideLayout" Target="../slideLayouts/slideLayout243.xml"/><Relationship Id="rId82" Type="http://schemas.openxmlformats.org/officeDocument/2006/relationships/slideLayout" Target="../slideLayouts/slideLayout264.xml"/><Relationship Id="rId19" Type="http://schemas.openxmlformats.org/officeDocument/2006/relationships/slideLayout" Target="../slideLayouts/slideLayout201.xml"/><Relationship Id="rId14" Type="http://schemas.openxmlformats.org/officeDocument/2006/relationships/slideLayout" Target="../slideLayouts/slideLayout196.xml"/><Relationship Id="rId30" Type="http://schemas.openxmlformats.org/officeDocument/2006/relationships/slideLayout" Target="../slideLayouts/slideLayout212.xml"/><Relationship Id="rId35" Type="http://schemas.openxmlformats.org/officeDocument/2006/relationships/slideLayout" Target="../slideLayouts/slideLayout217.xml"/><Relationship Id="rId56" Type="http://schemas.openxmlformats.org/officeDocument/2006/relationships/slideLayout" Target="../slideLayouts/slideLayout238.xml"/><Relationship Id="rId77" Type="http://schemas.openxmlformats.org/officeDocument/2006/relationships/slideLayout" Target="../slideLayouts/slideLayout259.xml"/><Relationship Id="rId100" Type="http://schemas.openxmlformats.org/officeDocument/2006/relationships/slideLayout" Target="../slideLayouts/slideLayout282.xml"/><Relationship Id="rId105" Type="http://schemas.openxmlformats.org/officeDocument/2006/relationships/slideLayout" Target="../slideLayouts/slideLayout287.xml"/><Relationship Id="rId8" Type="http://schemas.openxmlformats.org/officeDocument/2006/relationships/slideLayout" Target="../slideLayouts/slideLayout190.xml"/><Relationship Id="rId51" Type="http://schemas.openxmlformats.org/officeDocument/2006/relationships/slideLayout" Target="../slideLayouts/slideLayout233.xml"/><Relationship Id="rId72" Type="http://schemas.openxmlformats.org/officeDocument/2006/relationships/slideLayout" Target="../slideLayouts/slideLayout254.xml"/><Relationship Id="rId93" Type="http://schemas.openxmlformats.org/officeDocument/2006/relationships/slideLayout" Target="../slideLayouts/slideLayout275.xml"/><Relationship Id="rId98" Type="http://schemas.openxmlformats.org/officeDocument/2006/relationships/slideLayout" Target="../slideLayouts/slideLayout280.xml"/><Relationship Id="rId3" Type="http://schemas.openxmlformats.org/officeDocument/2006/relationships/slideLayout" Target="../slideLayouts/slideLayout185.xml"/><Relationship Id="rId25" Type="http://schemas.openxmlformats.org/officeDocument/2006/relationships/slideLayout" Target="../slideLayouts/slideLayout207.xml"/><Relationship Id="rId46" Type="http://schemas.openxmlformats.org/officeDocument/2006/relationships/slideLayout" Target="../slideLayouts/slideLayout228.xml"/><Relationship Id="rId67" Type="http://schemas.openxmlformats.org/officeDocument/2006/relationships/slideLayout" Target="../slideLayouts/slideLayout249.xml"/><Relationship Id="rId116" Type="http://schemas.openxmlformats.org/officeDocument/2006/relationships/image" Target="../media/image3.emf"/><Relationship Id="rId20" Type="http://schemas.openxmlformats.org/officeDocument/2006/relationships/slideLayout" Target="../slideLayouts/slideLayout202.xml"/><Relationship Id="rId41" Type="http://schemas.openxmlformats.org/officeDocument/2006/relationships/slideLayout" Target="../slideLayouts/slideLayout223.xml"/><Relationship Id="rId62" Type="http://schemas.openxmlformats.org/officeDocument/2006/relationships/slideLayout" Target="../slideLayouts/slideLayout244.xml"/><Relationship Id="rId83" Type="http://schemas.openxmlformats.org/officeDocument/2006/relationships/slideLayout" Target="../slideLayouts/slideLayout265.xml"/><Relationship Id="rId88" Type="http://schemas.openxmlformats.org/officeDocument/2006/relationships/slideLayout" Target="../slideLayouts/slideLayout270.xml"/><Relationship Id="rId111" Type="http://schemas.openxmlformats.org/officeDocument/2006/relationships/slideLayout" Target="../slideLayouts/slideLayout293.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22.xml"/><Relationship Id="rId21" Type="http://schemas.openxmlformats.org/officeDocument/2006/relationships/slideLayout" Target="../slideLayouts/slideLayout317.xml"/><Relationship Id="rId42" Type="http://schemas.openxmlformats.org/officeDocument/2006/relationships/slideLayout" Target="../slideLayouts/slideLayout338.xml"/><Relationship Id="rId47" Type="http://schemas.openxmlformats.org/officeDocument/2006/relationships/slideLayout" Target="../slideLayouts/slideLayout343.xml"/><Relationship Id="rId63" Type="http://schemas.openxmlformats.org/officeDocument/2006/relationships/slideLayout" Target="../slideLayouts/slideLayout359.xml"/><Relationship Id="rId68" Type="http://schemas.openxmlformats.org/officeDocument/2006/relationships/slideLayout" Target="../slideLayouts/slideLayout364.xml"/><Relationship Id="rId7" Type="http://schemas.openxmlformats.org/officeDocument/2006/relationships/slideLayout" Target="../slideLayouts/slideLayout303.xml"/><Relationship Id="rId71" Type="http://schemas.openxmlformats.org/officeDocument/2006/relationships/theme" Target="../theme/theme6.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9" Type="http://schemas.openxmlformats.org/officeDocument/2006/relationships/slideLayout" Target="../slideLayouts/slideLayout325.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32" Type="http://schemas.openxmlformats.org/officeDocument/2006/relationships/slideLayout" Target="../slideLayouts/slideLayout328.xml"/><Relationship Id="rId37" Type="http://schemas.openxmlformats.org/officeDocument/2006/relationships/slideLayout" Target="../slideLayouts/slideLayout333.xml"/><Relationship Id="rId40" Type="http://schemas.openxmlformats.org/officeDocument/2006/relationships/slideLayout" Target="../slideLayouts/slideLayout336.xml"/><Relationship Id="rId45" Type="http://schemas.openxmlformats.org/officeDocument/2006/relationships/slideLayout" Target="../slideLayouts/slideLayout341.xml"/><Relationship Id="rId53" Type="http://schemas.openxmlformats.org/officeDocument/2006/relationships/slideLayout" Target="../slideLayouts/slideLayout349.xml"/><Relationship Id="rId58" Type="http://schemas.openxmlformats.org/officeDocument/2006/relationships/slideLayout" Target="../slideLayouts/slideLayout354.xml"/><Relationship Id="rId66" Type="http://schemas.openxmlformats.org/officeDocument/2006/relationships/slideLayout" Target="../slideLayouts/slideLayout362.xml"/><Relationship Id="rId5" Type="http://schemas.openxmlformats.org/officeDocument/2006/relationships/slideLayout" Target="../slideLayouts/slideLayout301.xml"/><Relationship Id="rId61" Type="http://schemas.openxmlformats.org/officeDocument/2006/relationships/slideLayout" Target="../slideLayouts/slideLayout357.xml"/><Relationship Id="rId19" Type="http://schemas.openxmlformats.org/officeDocument/2006/relationships/slideLayout" Target="../slideLayouts/slideLayout31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slideLayout" Target="../slideLayouts/slideLayout323.xml"/><Relationship Id="rId30" Type="http://schemas.openxmlformats.org/officeDocument/2006/relationships/slideLayout" Target="../slideLayouts/slideLayout326.xml"/><Relationship Id="rId35" Type="http://schemas.openxmlformats.org/officeDocument/2006/relationships/slideLayout" Target="../slideLayouts/slideLayout331.xml"/><Relationship Id="rId43" Type="http://schemas.openxmlformats.org/officeDocument/2006/relationships/slideLayout" Target="../slideLayouts/slideLayout339.xml"/><Relationship Id="rId48" Type="http://schemas.openxmlformats.org/officeDocument/2006/relationships/slideLayout" Target="../slideLayouts/slideLayout344.xml"/><Relationship Id="rId56" Type="http://schemas.openxmlformats.org/officeDocument/2006/relationships/slideLayout" Target="../slideLayouts/slideLayout352.xml"/><Relationship Id="rId64" Type="http://schemas.openxmlformats.org/officeDocument/2006/relationships/slideLayout" Target="../slideLayouts/slideLayout360.xml"/><Relationship Id="rId69" Type="http://schemas.openxmlformats.org/officeDocument/2006/relationships/slideLayout" Target="../slideLayouts/slideLayout365.xml"/><Relationship Id="rId8" Type="http://schemas.openxmlformats.org/officeDocument/2006/relationships/slideLayout" Target="../slideLayouts/slideLayout304.xml"/><Relationship Id="rId51" Type="http://schemas.openxmlformats.org/officeDocument/2006/relationships/slideLayout" Target="../slideLayouts/slideLayout347.xml"/><Relationship Id="rId72" Type="http://schemas.openxmlformats.org/officeDocument/2006/relationships/image" Target="../media/image3.emf"/><Relationship Id="rId3" Type="http://schemas.openxmlformats.org/officeDocument/2006/relationships/slideLayout" Target="../slideLayouts/slideLayout299.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slideLayout" Target="../slideLayouts/slideLayout321.xml"/><Relationship Id="rId33" Type="http://schemas.openxmlformats.org/officeDocument/2006/relationships/slideLayout" Target="../slideLayouts/slideLayout329.xml"/><Relationship Id="rId38" Type="http://schemas.openxmlformats.org/officeDocument/2006/relationships/slideLayout" Target="../slideLayouts/slideLayout334.xml"/><Relationship Id="rId46" Type="http://schemas.openxmlformats.org/officeDocument/2006/relationships/slideLayout" Target="../slideLayouts/slideLayout342.xml"/><Relationship Id="rId59" Type="http://schemas.openxmlformats.org/officeDocument/2006/relationships/slideLayout" Target="../slideLayouts/slideLayout355.xml"/><Relationship Id="rId67" Type="http://schemas.openxmlformats.org/officeDocument/2006/relationships/slideLayout" Target="../slideLayouts/slideLayout363.xml"/><Relationship Id="rId20" Type="http://schemas.openxmlformats.org/officeDocument/2006/relationships/slideLayout" Target="../slideLayouts/slideLayout316.xml"/><Relationship Id="rId41" Type="http://schemas.openxmlformats.org/officeDocument/2006/relationships/slideLayout" Target="../slideLayouts/slideLayout337.xml"/><Relationship Id="rId54" Type="http://schemas.openxmlformats.org/officeDocument/2006/relationships/slideLayout" Target="../slideLayouts/slideLayout350.xml"/><Relationship Id="rId62" Type="http://schemas.openxmlformats.org/officeDocument/2006/relationships/slideLayout" Target="../slideLayouts/slideLayout358.xml"/><Relationship Id="rId70" Type="http://schemas.openxmlformats.org/officeDocument/2006/relationships/slideLayout" Target="../slideLayouts/slideLayout366.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28" Type="http://schemas.openxmlformats.org/officeDocument/2006/relationships/slideLayout" Target="../slideLayouts/slideLayout324.xml"/><Relationship Id="rId36" Type="http://schemas.openxmlformats.org/officeDocument/2006/relationships/slideLayout" Target="../slideLayouts/slideLayout332.xml"/><Relationship Id="rId49" Type="http://schemas.openxmlformats.org/officeDocument/2006/relationships/slideLayout" Target="../slideLayouts/slideLayout345.xml"/><Relationship Id="rId57" Type="http://schemas.openxmlformats.org/officeDocument/2006/relationships/slideLayout" Target="../slideLayouts/slideLayout353.xml"/><Relationship Id="rId10" Type="http://schemas.openxmlformats.org/officeDocument/2006/relationships/slideLayout" Target="../slideLayouts/slideLayout306.xml"/><Relationship Id="rId31" Type="http://schemas.openxmlformats.org/officeDocument/2006/relationships/slideLayout" Target="../slideLayouts/slideLayout327.xml"/><Relationship Id="rId44" Type="http://schemas.openxmlformats.org/officeDocument/2006/relationships/slideLayout" Target="../slideLayouts/slideLayout340.xml"/><Relationship Id="rId52" Type="http://schemas.openxmlformats.org/officeDocument/2006/relationships/slideLayout" Target="../slideLayouts/slideLayout348.xml"/><Relationship Id="rId60" Type="http://schemas.openxmlformats.org/officeDocument/2006/relationships/slideLayout" Target="../slideLayouts/slideLayout356.xml"/><Relationship Id="rId65" Type="http://schemas.openxmlformats.org/officeDocument/2006/relationships/slideLayout" Target="../slideLayouts/slideLayout361.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39" Type="http://schemas.openxmlformats.org/officeDocument/2006/relationships/slideLayout" Target="../slideLayouts/slideLayout335.xml"/><Relationship Id="rId34" Type="http://schemas.openxmlformats.org/officeDocument/2006/relationships/slideLayout" Target="../slideLayouts/slideLayout330.xml"/><Relationship Id="rId50" Type="http://schemas.openxmlformats.org/officeDocument/2006/relationships/slideLayout" Target="../slideLayouts/slideLayout346.xml"/><Relationship Id="rId55" Type="http://schemas.openxmlformats.org/officeDocument/2006/relationships/slideLayout" Target="../slideLayouts/slideLayout3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74.xml"/><Relationship Id="rId3" Type="http://schemas.openxmlformats.org/officeDocument/2006/relationships/slideLayout" Target="../slideLayouts/slideLayout369.xml"/><Relationship Id="rId7" Type="http://schemas.openxmlformats.org/officeDocument/2006/relationships/slideLayout" Target="../slideLayouts/slideLayout373.xml"/><Relationship Id="rId2" Type="http://schemas.openxmlformats.org/officeDocument/2006/relationships/slideLayout" Target="../slideLayouts/slideLayout368.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5" Type="http://schemas.openxmlformats.org/officeDocument/2006/relationships/slideLayout" Target="../slideLayouts/slideLayout371.xml"/><Relationship Id="rId10" Type="http://schemas.openxmlformats.org/officeDocument/2006/relationships/image" Target="../media/image3.emf"/><Relationship Id="rId4" Type="http://schemas.openxmlformats.org/officeDocument/2006/relationships/slideLayout" Target="../slideLayouts/slideLayout37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377.xml"/><Relationship Id="rId7" Type="http://schemas.openxmlformats.org/officeDocument/2006/relationships/slideLayout" Target="../slideLayouts/slideLayout381.xml"/><Relationship Id="rId2" Type="http://schemas.openxmlformats.org/officeDocument/2006/relationships/slideLayout" Target="../slideLayouts/slideLayout376.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5" Type="http://schemas.openxmlformats.org/officeDocument/2006/relationships/slideLayout" Target="../slideLayouts/slideLayout379.xml"/><Relationship Id="rId4" Type="http://schemas.openxmlformats.org/officeDocument/2006/relationships/slideLayout" Target="../slideLayouts/slideLayout378.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407.xml"/><Relationship Id="rId21" Type="http://schemas.openxmlformats.org/officeDocument/2006/relationships/slideLayout" Target="../slideLayouts/slideLayout402.xml"/><Relationship Id="rId42" Type="http://schemas.openxmlformats.org/officeDocument/2006/relationships/slideLayout" Target="../slideLayouts/slideLayout423.xml"/><Relationship Id="rId47" Type="http://schemas.openxmlformats.org/officeDocument/2006/relationships/slideLayout" Target="../slideLayouts/slideLayout428.xml"/><Relationship Id="rId63" Type="http://schemas.openxmlformats.org/officeDocument/2006/relationships/slideLayout" Target="../slideLayouts/slideLayout444.xml"/><Relationship Id="rId68" Type="http://schemas.openxmlformats.org/officeDocument/2006/relationships/slideLayout" Target="../slideLayouts/slideLayout449.xml"/><Relationship Id="rId7" Type="http://schemas.openxmlformats.org/officeDocument/2006/relationships/slideLayout" Target="../slideLayouts/slideLayout388.xml"/><Relationship Id="rId71" Type="http://schemas.openxmlformats.org/officeDocument/2006/relationships/theme" Target="../theme/theme9.xml"/><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9" Type="http://schemas.openxmlformats.org/officeDocument/2006/relationships/slideLayout" Target="../slideLayouts/slideLayout410.xml"/><Relationship Id="rId11" Type="http://schemas.openxmlformats.org/officeDocument/2006/relationships/slideLayout" Target="../slideLayouts/slideLayout392.xml"/><Relationship Id="rId24" Type="http://schemas.openxmlformats.org/officeDocument/2006/relationships/slideLayout" Target="../slideLayouts/slideLayout405.xml"/><Relationship Id="rId32" Type="http://schemas.openxmlformats.org/officeDocument/2006/relationships/slideLayout" Target="../slideLayouts/slideLayout413.xml"/><Relationship Id="rId37" Type="http://schemas.openxmlformats.org/officeDocument/2006/relationships/slideLayout" Target="../slideLayouts/slideLayout418.xml"/><Relationship Id="rId40" Type="http://schemas.openxmlformats.org/officeDocument/2006/relationships/slideLayout" Target="../slideLayouts/slideLayout421.xml"/><Relationship Id="rId45" Type="http://schemas.openxmlformats.org/officeDocument/2006/relationships/slideLayout" Target="../slideLayouts/slideLayout426.xml"/><Relationship Id="rId53" Type="http://schemas.openxmlformats.org/officeDocument/2006/relationships/slideLayout" Target="../slideLayouts/slideLayout434.xml"/><Relationship Id="rId58" Type="http://schemas.openxmlformats.org/officeDocument/2006/relationships/slideLayout" Target="../slideLayouts/slideLayout439.xml"/><Relationship Id="rId66" Type="http://schemas.openxmlformats.org/officeDocument/2006/relationships/slideLayout" Target="../slideLayouts/slideLayout447.xml"/><Relationship Id="rId5" Type="http://schemas.openxmlformats.org/officeDocument/2006/relationships/slideLayout" Target="../slideLayouts/slideLayout386.xml"/><Relationship Id="rId61" Type="http://schemas.openxmlformats.org/officeDocument/2006/relationships/slideLayout" Target="../slideLayouts/slideLayout442.xml"/><Relationship Id="rId19" Type="http://schemas.openxmlformats.org/officeDocument/2006/relationships/slideLayout" Target="../slideLayouts/slideLayout400.xml"/><Relationship Id="rId14" Type="http://schemas.openxmlformats.org/officeDocument/2006/relationships/slideLayout" Target="../slideLayouts/slideLayout395.xml"/><Relationship Id="rId22" Type="http://schemas.openxmlformats.org/officeDocument/2006/relationships/slideLayout" Target="../slideLayouts/slideLayout403.xml"/><Relationship Id="rId27" Type="http://schemas.openxmlformats.org/officeDocument/2006/relationships/slideLayout" Target="../slideLayouts/slideLayout408.xml"/><Relationship Id="rId30" Type="http://schemas.openxmlformats.org/officeDocument/2006/relationships/slideLayout" Target="../slideLayouts/slideLayout411.xml"/><Relationship Id="rId35" Type="http://schemas.openxmlformats.org/officeDocument/2006/relationships/slideLayout" Target="../slideLayouts/slideLayout416.xml"/><Relationship Id="rId43" Type="http://schemas.openxmlformats.org/officeDocument/2006/relationships/slideLayout" Target="../slideLayouts/slideLayout424.xml"/><Relationship Id="rId48" Type="http://schemas.openxmlformats.org/officeDocument/2006/relationships/slideLayout" Target="../slideLayouts/slideLayout429.xml"/><Relationship Id="rId56" Type="http://schemas.openxmlformats.org/officeDocument/2006/relationships/slideLayout" Target="../slideLayouts/slideLayout437.xml"/><Relationship Id="rId64" Type="http://schemas.openxmlformats.org/officeDocument/2006/relationships/slideLayout" Target="../slideLayouts/slideLayout445.xml"/><Relationship Id="rId69" Type="http://schemas.openxmlformats.org/officeDocument/2006/relationships/slideLayout" Target="../slideLayouts/slideLayout450.xml"/><Relationship Id="rId8" Type="http://schemas.openxmlformats.org/officeDocument/2006/relationships/slideLayout" Target="../slideLayouts/slideLayout389.xml"/><Relationship Id="rId51" Type="http://schemas.openxmlformats.org/officeDocument/2006/relationships/slideLayout" Target="../slideLayouts/slideLayout432.xml"/><Relationship Id="rId72" Type="http://schemas.openxmlformats.org/officeDocument/2006/relationships/image" Target="../media/image3.emf"/><Relationship Id="rId3" Type="http://schemas.openxmlformats.org/officeDocument/2006/relationships/slideLayout" Target="../slideLayouts/slideLayout384.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5" Type="http://schemas.openxmlformats.org/officeDocument/2006/relationships/slideLayout" Target="../slideLayouts/slideLayout406.xml"/><Relationship Id="rId33" Type="http://schemas.openxmlformats.org/officeDocument/2006/relationships/slideLayout" Target="../slideLayouts/slideLayout414.xml"/><Relationship Id="rId38" Type="http://schemas.openxmlformats.org/officeDocument/2006/relationships/slideLayout" Target="../slideLayouts/slideLayout419.xml"/><Relationship Id="rId46" Type="http://schemas.openxmlformats.org/officeDocument/2006/relationships/slideLayout" Target="../slideLayouts/slideLayout427.xml"/><Relationship Id="rId59" Type="http://schemas.openxmlformats.org/officeDocument/2006/relationships/slideLayout" Target="../slideLayouts/slideLayout440.xml"/><Relationship Id="rId67" Type="http://schemas.openxmlformats.org/officeDocument/2006/relationships/slideLayout" Target="../slideLayouts/slideLayout448.xml"/><Relationship Id="rId20" Type="http://schemas.openxmlformats.org/officeDocument/2006/relationships/slideLayout" Target="../slideLayouts/slideLayout401.xml"/><Relationship Id="rId41" Type="http://schemas.openxmlformats.org/officeDocument/2006/relationships/slideLayout" Target="../slideLayouts/slideLayout422.xml"/><Relationship Id="rId54" Type="http://schemas.openxmlformats.org/officeDocument/2006/relationships/slideLayout" Target="../slideLayouts/slideLayout435.xml"/><Relationship Id="rId62" Type="http://schemas.openxmlformats.org/officeDocument/2006/relationships/slideLayout" Target="../slideLayouts/slideLayout443.xml"/><Relationship Id="rId70" Type="http://schemas.openxmlformats.org/officeDocument/2006/relationships/slideLayout" Target="../slideLayouts/slideLayout451.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5" Type="http://schemas.openxmlformats.org/officeDocument/2006/relationships/slideLayout" Target="../slideLayouts/slideLayout396.xml"/><Relationship Id="rId23" Type="http://schemas.openxmlformats.org/officeDocument/2006/relationships/slideLayout" Target="../slideLayouts/slideLayout404.xml"/><Relationship Id="rId28" Type="http://schemas.openxmlformats.org/officeDocument/2006/relationships/slideLayout" Target="../slideLayouts/slideLayout409.xml"/><Relationship Id="rId36" Type="http://schemas.openxmlformats.org/officeDocument/2006/relationships/slideLayout" Target="../slideLayouts/slideLayout417.xml"/><Relationship Id="rId49" Type="http://schemas.openxmlformats.org/officeDocument/2006/relationships/slideLayout" Target="../slideLayouts/slideLayout430.xml"/><Relationship Id="rId57" Type="http://schemas.openxmlformats.org/officeDocument/2006/relationships/slideLayout" Target="../slideLayouts/slideLayout438.xml"/><Relationship Id="rId10" Type="http://schemas.openxmlformats.org/officeDocument/2006/relationships/slideLayout" Target="../slideLayouts/slideLayout391.xml"/><Relationship Id="rId31" Type="http://schemas.openxmlformats.org/officeDocument/2006/relationships/slideLayout" Target="../slideLayouts/slideLayout412.xml"/><Relationship Id="rId44" Type="http://schemas.openxmlformats.org/officeDocument/2006/relationships/slideLayout" Target="../slideLayouts/slideLayout425.xml"/><Relationship Id="rId52" Type="http://schemas.openxmlformats.org/officeDocument/2006/relationships/slideLayout" Target="../slideLayouts/slideLayout433.xml"/><Relationship Id="rId60" Type="http://schemas.openxmlformats.org/officeDocument/2006/relationships/slideLayout" Target="../slideLayouts/slideLayout441.xml"/><Relationship Id="rId65" Type="http://schemas.openxmlformats.org/officeDocument/2006/relationships/slideLayout" Target="../slideLayouts/slideLayout446.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39" Type="http://schemas.openxmlformats.org/officeDocument/2006/relationships/slideLayout" Target="../slideLayouts/slideLayout420.xml"/><Relationship Id="rId34" Type="http://schemas.openxmlformats.org/officeDocument/2006/relationships/slideLayout" Target="../slideLayouts/slideLayout415.xml"/><Relationship Id="rId50" Type="http://schemas.openxmlformats.org/officeDocument/2006/relationships/slideLayout" Target="../slideLayouts/slideLayout431.xml"/><Relationship Id="rId55" Type="http://schemas.openxmlformats.org/officeDocument/2006/relationships/slideLayout" Target="../slideLayouts/slideLayout4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8208164"/>
      </p:ext>
    </p:extLst>
  </p:cSld>
  <p:clrMap bg1="lt1" tx1="dk1" bg2="lt2" tx2="dk2" accent1="accent1" accent2="accent2" accent3="accent3" accent4="accent4" accent5="accent5" accent6="accent6" hlink="hlink" folHlink="folHlink"/>
  <p:sldLayoutIdLst>
    <p:sldLayoutId id="2147485748" r:id="rId1"/>
    <p:sldLayoutId id="2147485749" r:id="rId2"/>
    <p:sldLayoutId id="2147485752" r:id="rId3"/>
    <p:sldLayoutId id="2147485938" r:id="rId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6516745"/>
      </p:ext>
    </p:extLst>
  </p:cSld>
  <p:clrMap bg1="lt1" tx1="dk1" bg2="lt2" tx2="dk2" accent1="accent1" accent2="accent2" accent3="accent3" accent4="accent4" accent5="accent5" accent6="accent6" hlink="hlink" folHlink="folHlink"/>
  <p:sldLayoutIdLst>
    <p:sldLayoutId id="2147486789" r:id="rId1"/>
    <p:sldLayoutId id="214748679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0947062"/>
      </p:ext>
    </p:extLst>
  </p:cSld>
  <p:clrMap bg1="lt1" tx1="dk1" bg2="lt2" tx2="dk2" accent1="accent1" accent2="accent2" accent3="accent3" accent4="accent4" accent5="accent5" accent6="accent6" hlink="hlink" folHlink="folHlink"/>
  <p:sldLayoutIdLst>
    <p:sldLayoutId id="2147486792" r:id="rId1"/>
    <p:sldLayoutId id="214748679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7219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253331"/>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4641862"/>
      </p:ext>
    </p:extLst>
  </p:cSld>
  <p:clrMap bg1="lt1" tx1="dk1" bg2="lt2" tx2="dk2" accent1="accent1" accent2="accent2" accent3="accent3" accent4="accent4" accent5="accent5" accent6="accent6" hlink="hlink" folHlink="folHlink"/>
  <p:sldLayoutIdLst>
    <p:sldLayoutId id="2147486795" r:id="rId1"/>
    <p:sldLayoutId id="2147486796" r:id="rId2"/>
    <p:sldLayoutId id="2147486797" r:id="rId3"/>
  </p:sldLayoutIdLst>
  <p:txStyles>
    <p:title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p:titleStyle>
    <p:bodyStyle>
      <a:lvl1pPr marL="0" indent="0" algn="l" defTabSz="914400" rtl="0" eaLnBrk="1" latinLnBrk="0" hangingPunct="1">
        <a:lnSpc>
          <a:spcPct val="90000"/>
        </a:lnSpc>
        <a:spcBef>
          <a:spcPts val="600"/>
        </a:spcBef>
        <a:buFont typeface="Arial" panose="020B0604020202020204" pitchFamily="34" charset="0"/>
        <a:buNone/>
        <a:defRPr sz="900" b="1" kern="1200">
          <a:solidFill>
            <a:schemeClr val="tx1"/>
          </a:solidFill>
          <a:latin typeface="+mn-lt"/>
          <a:ea typeface="+mn-ea"/>
          <a:cs typeface="+mn-cs"/>
        </a:defRPr>
      </a:lvl1pPr>
      <a:lvl2pPr marL="228600" indent="0" algn="l" defTabSz="914400" rtl="0" eaLnBrk="1" latinLnBrk="0" hangingPunct="1">
        <a:lnSpc>
          <a:spcPct val="90000"/>
        </a:lnSpc>
        <a:spcBef>
          <a:spcPts val="400"/>
        </a:spcBef>
        <a:buFont typeface="Arial" panose="020B0604020202020204" pitchFamily="34" charset="0"/>
        <a:buNone/>
        <a:defRPr sz="900" kern="1200">
          <a:solidFill>
            <a:schemeClr val="tx1"/>
          </a:solidFill>
          <a:latin typeface="+mn-lt"/>
          <a:ea typeface="+mn-ea"/>
          <a:cs typeface="+mn-cs"/>
        </a:defRPr>
      </a:lvl2pPr>
      <a:lvl3pPr marL="685800" indent="-228600" algn="l" defTabSz="914400" rtl="0" eaLnBrk="1" latinLnBrk="0" hangingPunct="1">
        <a:lnSpc>
          <a:spcPct val="90000"/>
        </a:lnSpc>
        <a:spcBef>
          <a:spcPts val="400"/>
        </a:spcBef>
        <a:buFont typeface="Arial" panose="020B0604020202020204" pitchFamily="34" charset="0"/>
        <a:buChar char="•"/>
        <a:defRPr sz="900" kern="1200">
          <a:solidFill>
            <a:schemeClr val="tx1"/>
          </a:solidFill>
          <a:latin typeface="+mn-lt"/>
          <a:ea typeface="+mn-ea"/>
          <a:cs typeface="+mn-cs"/>
        </a:defRPr>
      </a:lvl3pPr>
      <a:lvl4pPr marL="914400" indent="-228600" algn="l" defTabSz="914400" rtl="0" eaLnBrk="1" latinLnBrk="0" hangingPunct="1">
        <a:lnSpc>
          <a:spcPct val="90000"/>
        </a:lnSpc>
        <a:spcBef>
          <a:spcPts val="400"/>
        </a:spcBef>
        <a:buFont typeface="Arial" panose="020B0604020202020204" pitchFamily="34" charset="0"/>
        <a:buChar char="•"/>
        <a:defRPr sz="900" kern="1200">
          <a:solidFill>
            <a:schemeClr val="tx1"/>
          </a:solidFill>
          <a:latin typeface="+mn-lt"/>
          <a:ea typeface="+mn-ea"/>
          <a:cs typeface="+mn-cs"/>
        </a:defRPr>
      </a:lvl4pPr>
      <a:lvl5pPr marL="1143000" indent="-228600" algn="l" defTabSz="914400" rtl="0" eaLnBrk="1" latinLnBrk="0" hangingPunct="1">
        <a:lnSpc>
          <a:spcPct val="90000"/>
        </a:lnSpc>
        <a:spcBef>
          <a:spcPts val="4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80497072"/>
      </p:ext>
    </p:extLst>
  </p:cSld>
  <p:clrMap bg1="lt1" tx1="dk1" bg2="lt2" tx2="dk2" accent1="accent1" accent2="accent2" accent3="accent3" accent4="accent4" accent5="accent5" accent6="accent6" hlink="hlink" folHlink="folHlink"/>
  <p:sldLayoutIdLst>
    <p:sldLayoutId id="2147486799" r:id="rId1"/>
    <p:sldLayoutId id="2147486800" r:id="rId2"/>
    <p:sldLayoutId id="2147486801" r:id="rId3"/>
    <p:sldLayoutId id="2147486802" r:id="rId4"/>
    <p:sldLayoutId id="2147486803" r:id="rId5"/>
    <p:sldLayoutId id="2147486804" r:id="rId6"/>
    <p:sldLayoutId id="2147486805" r:id="rId7"/>
    <p:sldLayoutId id="2147486806" r:id="rId8"/>
    <p:sldLayoutId id="2147486807" r:id="rId9"/>
    <p:sldLayoutId id="2147486808" r:id="rId10"/>
    <p:sldLayoutId id="2147486809" r:id="rId11"/>
    <p:sldLayoutId id="2147486810" r:id="rId12"/>
    <p:sldLayoutId id="2147486811" r:id="rId13"/>
    <p:sldLayoutId id="2147486812" r:id="rId14"/>
    <p:sldLayoutId id="2147486813" r:id="rId15"/>
    <p:sldLayoutId id="2147486814" r:id="rId16"/>
    <p:sldLayoutId id="2147486815" r:id="rId17"/>
    <p:sldLayoutId id="2147486816" r:id="rId18"/>
    <p:sldLayoutId id="2147486817" r:id="rId19"/>
    <p:sldLayoutId id="2147486818" r:id="rId20"/>
    <p:sldLayoutId id="2147486819" r:id="rId21"/>
    <p:sldLayoutId id="2147486820" r:id="rId22"/>
    <p:sldLayoutId id="2147486821" r:id="rId23"/>
    <p:sldLayoutId id="2147486822" r:id="rId24"/>
    <p:sldLayoutId id="2147486823" r:id="rId25"/>
    <p:sldLayoutId id="2147486824" r:id="rId26"/>
    <p:sldLayoutId id="2147486825" r:id="rId27"/>
    <p:sldLayoutId id="2147486826" r:id="rId28"/>
    <p:sldLayoutId id="2147486827" r:id="rId29"/>
    <p:sldLayoutId id="2147486828" r:id="rId30"/>
    <p:sldLayoutId id="2147486829" r:id="rId31"/>
    <p:sldLayoutId id="2147486830" r:id="rId32"/>
    <p:sldLayoutId id="2147486831" r:id="rId33"/>
    <p:sldLayoutId id="2147486832" r:id="rId34"/>
    <p:sldLayoutId id="2147486833" r:id="rId35"/>
    <p:sldLayoutId id="2147486834" r:id="rId36"/>
    <p:sldLayoutId id="2147486835" r:id="rId37"/>
    <p:sldLayoutId id="2147486836" r:id="rId38"/>
    <p:sldLayoutId id="2147486837" r:id="rId39"/>
    <p:sldLayoutId id="2147486838" r:id="rId40"/>
    <p:sldLayoutId id="2147486839" r:id="rId41"/>
    <p:sldLayoutId id="2147486840" r:id="rId42"/>
    <p:sldLayoutId id="2147486841" r:id="rId43"/>
    <p:sldLayoutId id="2147486842" r:id="rId44"/>
    <p:sldLayoutId id="2147486843" r:id="rId45"/>
    <p:sldLayoutId id="2147486844" r:id="rId46"/>
    <p:sldLayoutId id="2147486845" r:id="rId47"/>
    <p:sldLayoutId id="2147486846" r:id="rId48"/>
    <p:sldLayoutId id="2147486847" r:id="rId49"/>
    <p:sldLayoutId id="2147486848" r:id="rId50"/>
    <p:sldLayoutId id="2147486849" r:id="rId51"/>
    <p:sldLayoutId id="2147486850" r:id="rId52"/>
    <p:sldLayoutId id="2147486851" r:id="rId53"/>
    <p:sldLayoutId id="2147486852" r:id="rId54"/>
    <p:sldLayoutId id="2147486853" r:id="rId55"/>
    <p:sldLayoutId id="2147486854" r:id="rId56"/>
    <p:sldLayoutId id="2147486855" r:id="rId57"/>
    <p:sldLayoutId id="2147486856" r:id="rId58"/>
    <p:sldLayoutId id="2147486857" r:id="rId59"/>
    <p:sldLayoutId id="2147486858" r:id="rId60"/>
    <p:sldLayoutId id="2147486859" r:id="rId61"/>
    <p:sldLayoutId id="2147486860" r:id="rId62"/>
    <p:sldLayoutId id="2147486861" r:id="rId63"/>
    <p:sldLayoutId id="2147486862" r:id="rId64"/>
    <p:sldLayoutId id="2147486863" r:id="rId65"/>
    <p:sldLayoutId id="2147486864" r:id="rId66"/>
    <p:sldLayoutId id="2147486865" r:id="rId67"/>
    <p:sldLayoutId id="2147486866" r:id="rId68"/>
    <p:sldLayoutId id="2147486867" r:id="rId69"/>
    <p:sldLayoutId id="2147486868" r:id="rId70"/>
    <p:sldLayoutId id="2147486869" r:id="rId71"/>
    <p:sldLayoutId id="2147486870" r:id="rId72"/>
    <p:sldLayoutId id="2147486871" r:id="rId73"/>
    <p:sldLayoutId id="2147486872" r:id="rId74"/>
    <p:sldLayoutId id="2147486873" r:id="rId7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7484797"/>
      </p:ext>
    </p:extLst>
  </p:cSld>
  <p:clrMap bg1="lt1" tx1="dk1" bg2="lt2" tx2="dk2" accent1="accent1" accent2="accent2" accent3="accent3" accent4="accent4" accent5="accent5" accent6="accent6" hlink="hlink" folHlink="folHlink"/>
  <p:sldLayoutIdLst>
    <p:sldLayoutId id="2147486875" r:id="rId1"/>
    <p:sldLayoutId id="2147486876" r:id="rId2"/>
    <p:sldLayoutId id="2147486877" r:id="rId3"/>
    <p:sldLayoutId id="2147486878" r:id="rId4"/>
    <p:sldLayoutId id="2147486879" r:id="rId5"/>
    <p:sldLayoutId id="2147486880" r:id="rId6"/>
    <p:sldLayoutId id="2147486881" r:id="rId7"/>
    <p:sldLayoutId id="2147486882" r:id="rId8"/>
    <p:sldLayoutId id="2147486883" r:id="rId9"/>
    <p:sldLayoutId id="2147486884" r:id="rId10"/>
    <p:sldLayoutId id="2147486885" r:id="rId11"/>
    <p:sldLayoutId id="2147486886" r:id="rId12"/>
    <p:sldLayoutId id="2147486887" r:id="rId13"/>
    <p:sldLayoutId id="2147486888" r:id="rId14"/>
    <p:sldLayoutId id="2147486889" r:id="rId15"/>
    <p:sldLayoutId id="2147486890" r:id="rId16"/>
    <p:sldLayoutId id="2147486891" r:id="rId17"/>
    <p:sldLayoutId id="2147486892" r:id="rId18"/>
    <p:sldLayoutId id="2147486893" r:id="rId19"/>
    <p:sldLayoutId id="2147486894" r:id="rId20"/>
    <p:sldLayoutId id="2147486895" r:id="rId21"/>
    <p:sldLayoutId id="2147486896" r:id="rId22"/>
    <p:sldLayoutId id="2147486897" r:id="rId23"/>
    <p:sldLayoutId id="2147486898" r:id="rId24"/>
    <p:sldLayoutId id="2147486899" r:id="rId25"/>
    <p:sldLayoutId id="2147486900" r:id="rId26"/>
    <p:sldLayoutId id="2147486901" r:id="rId27"/>
    <p:sldLayoutId id="2147486902" r:id="rId28"/>
    <p:sldLayoutId id="2147486903" r:id="rId29"/>
    <p:sldLayoutId id="2147486904" r:id="rId30"/>
    <p:sldLayoutId id="2147486905" r:id="rId31"/>
    <p:sldLayoutId id="2147486906" r:id="rId32"/>
    <p:sldLayoutId id="2147486907" r:id="rId33"/>
    <p:sldLayoutId id="2147486908" r:id="rId34"/>
    <p:sldLayoutId id="2147486909" r:id="rId35"/>
    <p:sldLayoutId id="2147486910" r:id="rId36"/>
    <p:sldLayoutId id="2147486911" r:id="rId37"/>
    <p:sldLayoutId id="2147486912" r:id="rId38"/>
    <p:sldLayoutId id="2147486913" r:id="rId39"/>
    <p:sldLayoutId id="2147486914" r:id="rId40"/>
    <p:sldLayoutId id="2147486915" r:id="rId41"/>
    <p:sldLayoutId id="2147486916" r:id="rId42"/>
    <p:sldLayoutId id="2147486917" r:id="rId43"/>
    <p:sldLayoutId id="2147486918" r:id="rId44"/>
    <p:sldLayoutId id="2147486919" r:id="rId45"/>
    <p:sldLayoutId id="2147486920" r:id="rId46"/>
    <p:sldLayoutId id="2147486921" r:id="rId47"/>
    <p:sldLayoutId id="2147486922" r:id="rId48"/>
    <p:sldLayoutId id="2147486923" r:id="rId49"/>
    <p:sldLayoutId id="2147486924" r:id="rId50"/>
    <p:sldLayoutId id="2147486925" r:id="rId51"/>
    <p:sldLayoutId id="2147486926" r:id="rId52"/>
    <p:sldLayoutId id="2147486927" r:id="rId53"/>
    <p:sldLayoutId id="2147486928" r:id="rId54"/>
    <p:sldLayoutId id="2147486929" r:id="rId55"/>
    <p:sldLayoutId id="2147486930" r:id="rId56"/>
    <p:sldLayoutId id="2147486931" r:id="rId57"/>
    <p:sldLayoutId id="2147486932" r:id="rId58"/>
    <p:sldLayoutId id="2147486933" r:id="rId59"/>
    <p:sldLayoutId id="2147486934" r:id="rId60"/>
    <p:sldLayoutId id="2147486935" r:id="rId61"/>
    <p:sldLayoutId id="2147486936" r:id="rId62"/>
    <p:sldLayoutId id="2147486937" r:id="rId63"/>
    <p:sldLayoutId id="2147486938" r:id="rId64"/>
    <p:sldLayoutId id="2147486939" r:id="rId65"/>
    <p:sldLayoutId id="2147486940" r:id="rId66"/>
    <p:sldLayoutId id="2147486941" r:id="rId67"/>
    <p:sldLayoutId id="2147486942" r:id="rId68"/>
    <p:sldLayoutId id="2147486943" r:id="rId69"/>
    <p:sldLayoutId id="2147486944" r:id="rId70"/>
    <p:sldLayoutId id="2147486945" r:id="rId71"/>
    <p:sldLayoutId id="2147486946" r:id="rId72"/>
    <p:sldLayoutId id="2147486947" r:id="rId73"/>
    <p:sldLayoutId id="2147486948" r:id="rId74"/>
    <p:sldLayoutId id="2147486949" r:id="rId7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8F19F7-9BED-425F-B6BF-9F4274F6E8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C264E4-1F19-4B38-AC03-5CA4A2FC22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4887D9-14B8-4F26-A564-DBE3607496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27F914-E7AC-4E9B-AF68-B4EDD6B580E7}" type="datetimeFigureOut">
              <a:rPr lang="en-US" smtClean="0"/>
              <a:t>8/31/2022</a:t>
            </a:fld>
            <a:endParaRPr lang="en-US"/>
          </a:p>
        </p:txBody>
      </p:sp>
      <p:sp>
        <p:nvSpPr>
          <p:cNvPr id="5" name="Footer Placeholder 4">
            <a:extLst>
              <a:ext uri="{FF2B5EF4-FFF2-40B4-BE49-F238E27FC236}">
                <a16:creationId xmlns:a16="http://schemas.microsoft.com/office/drawing/2014/main" id="{B02BEF0F-34A3-4A5E-8A5C-003A27D5CD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26ECE51-CE0D-4F78-92E2-9099846111D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E6729E-7583-467C-BFF9-4B750B0B9557}" type="slidenum">
              <a:rPr lang="en-US" smtClean="0"/>
              <a:t>‹#›</a:t>
            </a:fld>
            <a:endParaRPr lang="en-US"/>
          </a:p>
        </p:txBody>
      </p:sp>
    </p:spTree>
    <p:extLst>
      <p:ext uri="{BB962C8B-B14F-4D97-AF65-F5344CB8AC3E}">
        <p14:creationId xmlns:p14="http://schemas.microsoft.com/office/powerpoint/2010/main" val="3414987572"/>
      </p:ext>
    </p:extLst>
  </p:cSld>
  <p:clrMap bg1="lt1" tx1="dk1" bg2="lt2" tx2="dk2" accent1="accent1" accent2="accent2" accent3="accent3" accent4="accent4" accent5="accent5" accent6="accent6" hlink="hlink" folHlink="folHlink"/>
  <p:sldLayoutIdLst>
    <p:sldLayoutId id="2147486951" r:id="rId1"/>
    <p:sldLayoutId id="2147486952" r:id="rId2"/>
    <p:sldLayoutId id="2147486953" r:id="rId3"/>
    <p:sldLayoutId id="2147486954" r:id="rId4"/>
    <p:sldLayoutId id="2147486955" r:id="rId5"/>
    <p:sldLayoutId id="2147486956" r:id="rId6"/>
    <p:sldLayoutId id="2147486957" r:id="rId7"/>
    <p:sldLayoutId id="2147486958" r:id="rId8"/>
    <p:sldLayoutId id="2147486959" r:id="rId9"/>
    <p:sldLayoutId id="2147486960" r:id="rId10"/>
    <p:sldLayoutId id="2147486961" r:id="rId11"/>
    <p:sldLayoutId id="21474869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585029880"/>
      </p:ext>
    </p:extLst>
  </p:cSld>
  <p:clrMap bg1="lt1" tx1="dk1" bg2="lt2" tx2="dk2" accent1="accent1" accent2="accent2" accent3="accent3" accent4="accent4" accent5="accent5" accent6="accent6" hlink="hlink" folHlink="folHlink"/>
  <p:sldLayoutIdLst>
    <p:sldLayoutId id="2147486964" r:id="rId1"/>
    <p:sldLayoutId id="2147486965" r:id="rId2"/>
    <p:sldLayoutId id="2147486966" r:id="rId3"/>
    <p:sldLayoutId id="2147486967" r:id="rId4"/>
    <p:sldLayoutId id="2147486968" r:id="rId5"/>
    <p:sldLayoutId id="2147486969" r:id="rId6"/>
    <p:sldLayoutId id="2147486970" r:id="rId7"/>
    <p:sldLayoutId id="2147486971" r:id="rId8"/>
    <p:sldLayoutId id="2147486972" r:id="rId9"/>
    <p:sldLayoutId id="2147486973" r:id="rId10"/>
    <p:sldLayoutId id="2147486974" r:id="rId11"/>
    <p:sldLayoutId id="2147486975" r:id="rId12"/>
    <p:sldLayoutId id="2147486976" r:id="rId13"/>
    <p:sldLayoutId id="2147486977" r:id="rId14"/>
    <p:sldLayoutId id="2147486978" r:id="rId15"/>
    <p:sldLayoutId id="2147486979" r:id="rId16"/>
    <p:sldLayoutId id="2147486980" r:id="rId17"/>
    <p:sldLayoutId id="2147486981" r:id="rId18"/>
    <p:sldLayoutId id="2147486982" r:id="rId19"/>
    <p:sldLayoutId id="2147486983" r:id="rId20"/>
    <p:sldLayoutId id="2147486984" r:id="rId21"/>
    <p:sldLayoutId id="2147486985" r:id="rId22"/>
    <p:sldLayoutId id="2147486986" r:id="rId23"/>
    <p:sldLayoutId id="2147486987" r:id="rId24"/>
    <p:sldLayoutId id="2147486988" r:id="rId25"/>
    <p:sldLayoutId id="2147486989" r:id="rId26"/>
    <p:sldLayoutId id="2147486990" r:id="rId27"/>
    <p:sldLayoutId id="2147486991" r:id="rId28"/>
    <p:sldLayoutId id="2147486992" r:id="rId29"/>
    <p:sldLayoutId id="2147486993" r:id="rId30"/>
    <p:sldLayoutId id="2147486994" r:id="rId31"/>
    <p:sldLayoutId id="2147486995" r:id="rId32"/>
    <p:sldLayoutId id="2147486996" r:id="rId33"/>
    <p:sldLayoutId id="2147486997" r:id="rId34"/>
    <p:sldLayoutId id="2147486998" r:id="rId35"/>
    <p:sldLayoutId id="2147486999" r:id="rId36"/>
    <p:sldLayoutId id="2147487000" r:id="rId37"/>
    <p:sldLayoutId id="2147487001" r:id="rId38"/>
    <p:sldLayoutId id="2147487002" r:id="rId39"/>
    <p:sldLayoutId id="2147487003" r:id="rId40"/>
    <p:sldLayoutId id="2147487004" r:id="rId41"/>
    <p:sldLayoutId id="2147487005" r:id="rId42"/>
    <p:sldLayoutId id="2147487006" r:id="rId43"/>
    <p:sldLayoutId id="2147487007" r:id="rId44"/>
    <p:sldLayoutId id="2147487008" r:id="rId45"/>
    <p:sldLayoutId id="2147487009" r:id="rId46"/>
    <p:sldLayoutId id="2147487010" r:id="rId47"/>
    <p:sldLayoutId id="2147487011" r:id="rId48"/>
    <p:sldLayoutId id="2147487012" r:id="rId49"/>
    <p:sldLayoutId id="2147487013" r:id="rId50"/>
    <p:sldLayoutId id="2147487014" r:id="rId51"/>
    <p:sldLayoutId id="2147487015" r:id="rId52"/>
    <p:sldLayoutId id="2147487016" r:id="rId53"/>
    <p:sldLayoutId id="2147487017" r:id="rId54"/>
    <p:sldLayoutId id="2147487018" r:id="rId55"/>
    <p:sldLayoutId id="2147487019" r:id="rId56"/>
    <p:sldLayoutId id="2147487020" r:id="rId57"/>
    <p:sldLayoutId id="2147487021" r:id="rId58"/>
    <p:sldLayoutId id="2147487022" r:id="rId59"/>
    <p:sldLayoutId id="2147487023" r:id="rId60"/>
    <p:sldLayoutId id="2147487024" r:id="rId61"/>
    <p:sldLayoutId id="2147487025" r:id="rId62"/>
    <p:sldLayoutId id="2147487026" r:id="rId63"/>
    <p:sldLayoutId id="2147487027" r:id="rId64"/>
    <p:sldLayoutId id="2147487028" r:id="rId65"/>
    <p:sldLayoutId id="2147487029" r:id="rId66"/>
    <p:sldLayoutId id="2147487030" r:id="rId67"/>
    <p:sldLayoutId id="2147487031" r:id="rId68"/>
    <p:sldLayoutId id="2147487032" r:id="rId69"/>
    <p:sldLayoutId id="2147487033" r:id="rId70"/>
    <p:sldLayoutId id="2147487034" r:id="rId7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89956916"/>
      </p:ext>
    </p:extLst>
  </p:cSld>
  <p:clrMap bg1="lt1" tx1="dk1" bg2="lt2" tx2="dk2" accent1="accent1" accent2="accent2" accent3="accent3" accent4="accent4" accent5="accent5" accent6="accent6" hlink="hlink" folHlink="folHlink"/>
  <p:sldLayoutIdLst>
    <p:sldLayoutId id="2147487036" r:id="rId1"/>
    <p:sldLayoutId id="2147487037" r:id="rId2"/>
    <p:sldLayoutId id="2147487038" r:id="rId3"/>
    <p:sldLayoutId id="2147487039" r:id="rId4"/>
    <p:sldLayoutId id="2147487040" r:id="rId5"/>
    <p:sldLayoutId id="2147487041" r:id="rId6"/>
    <p:sldLayoutId id="2147487042" r:id="rId7"/>
    <p:sldLayoutId id="2147487043" r:id="rId8"/>
    <p:sldLayoutId id="2147487044" r:id="rId9"/>
    <p:sldLayoutId id="2147487045" r:id="rId10"/>
    <p:sldLayoutId id="2147487046" r:id="rId11"/>
    <p:sldLayoutId id="2147487047" r:id="rId12"/>
    <p:sldLayoutId id="2147487048" r:id="rId13"/>
    <p:sldLayoutId id="2147487049" r:id="rId14"/>
    <p:sldLayoutId id="2147487050" r:id="rId15"/>
    <p:sldLayoutId id="2147487051" r:id="rId16"/>
    <p:sldLayoutId id="2147487052" r:id="rId17"/>
    <p:sldLayoutId id="2147487053" r:id="rId18"/>
    <p:sldLayoutId id="2147487054" r:id="rId19"/>
    <p:sldLayoutId id="2147487055" r:id="rId20"/>
    <p:sldLayoutId id="2147487056" r:id="rId21"/>
    <p:sldLayoutId id="2147487057" r:id="rId22"/>
    <p:sldLayoutId id="2147487058" r:id="rId23"/>
    <p:sldLayoutId id="2147487059" r:id="rId24"/>
    <p:sldLayoutId id="2147487060" r:id="rId25"/>
    <p:sldLayoutId id="2147487061" r:id="rId26"/>
    <p:sldLayoutId id="2147487062" r:id="rId27"/>
    <p:sldLayoutId id="2147487063" r:id="rId28"/>
    <p:sldLayoutId id="2147487064" r:id="rId29"/>
    <p:sldLayoutId id="2147487065" r:id="rId30"/>
    <p:sldLayoutId id="2147487066" r:id="rId31"/>
    <p:sldLayoutId id="2147487067" r:id="rId32"/>
    <p:sldLayoutId id="2147487068" r:id="rId33"/>
    <p:sldLayoutId id="2147487069" r:id="rId34"/>
    <p:sldLayoutId id="2147487070" r:id="rId35"/>
    <p:sldLayoutId id="2147487071" r:id="rId36"/>
    <p:sldLayoutId id="2147487072"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7219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253331"/>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70996"/>
      </p:ext>
    </p:extLst>
  </p:cSld>
  <p:clrMap bg1="lt1" tx1="dk1" bg2="lt2" tx2="dk2" accent1="accent1" accent2="accent2" accent3="accent3" accent4="accent4" accent5="accent5" accent6="accent6" hlink="hlink" folHlink="folHlink"/>
  <p:sldLayoutIdLst>
    <p:sldLayoutId id="2147487074" r:id="rId1"/>
    <p:sldLayoutId id="2147487075" r:id="rId2"/>
  </p:sldLayoutIdLst>
  <p:txStyles>
    <p:title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p:titleStyle>
    <p:bodyStyle>
      <a:lvl1pPr marL="0" indent="0" algn="l" defTabSz="914400" rtl="0" eaLnBrk="1" latinLnBrk="0" hangingPunct="1">
        <a:lnSpc>
          <a:spcPct val="90000"/>
        </a:lnSpc>
        <a:spcBef>
          <a:spcPts val="600"/>
        </a:spcBef>
        <a:buFont typeface="Arial" panose="020B0604020202020204" pitchFamily="34" charset="0"/>
        <a:buNone/>
        <a:defRPr sz="900" b="1" kern="1200">
          <a:solidFill>
            <a:schemeClr val="tx1"/>
          </a:solidFill>
          <a:latin typeface="+mn-lt"/>
          <a:ea typeface="+mn-ea"/>
          <a:cs typeface="+mn-cs"/>
        </a:defRPr>
      </a:lvl1pPr>
      <a:lvl2pPr marL="228600" indent="0" algn="l" defTabSz="914400" rtl="0" eaLnBrk="1" latinLnBrk="0" hangingPunct="1">
        <a:lnSpc>
          <a:spcPct val="90000"/>
        </a:lnSpc>
        <a:spcBef>
          <a:spcPts val="400"/>
        </a:spcBef>
        <a:buFont typeface="Arial" panose="020B0604020202020204" pitchFamily="34" charset="0"/>
        <a:buNone/>
        <a:defRPr sz="900" kern="1200">
          <a:solidFill>
            <a:schemeClr val="tx1"/>
          </a:solidFill>
          <a:latin typeface="+mn-lt"/>
          <a:ea typeface="+mn-ea"/>
          <a:cs typeface="+mn-cs"/>
        </a:defRPr>
      </a:lvl2pPr>
      <a:lvl3pPr marL="685800" indent="-228600" algn="l" defTabSz="914400" rtl="0" eaLnBrk="1" latinLnBrk="0" hangingPunct="1">
        <a:lnSpc>
          <a:spcPct val="90000"/>
        </a:lnSpc>
        <a:spcBef>
          <a:spcPts val="400"/>
        </a:spcBef>
        <a:buFont typeface="Arial" panose="020B0604020202020204" pitchFamily="34" charset="0"/>
        <a:buChar char="•"/>
        <a:defRPr sz="900" kern="1200">
          <a:solidFill>
            <a:schemeClr val="tx1"/>
          </a:solidFill>
          <a:latin typeface="+mn-lt"/>
          <a:ea typeface="+mn-ea"/>
          <a:cs typeface="+mn-cs"/>
        </a:defRPr>
      </a:lvl3pPr>
      <a:lvl4pPr marL="914400" indent="-228600" algn="l" defTabSz="914400" rtl="0" eaLnBrk="1" latinLnBrk="0" hangingPunct="1">
        <a:lnSpc>
          <a:spcPct val="90000"/>
        </a:lnSpc>
        <a:spcBef>
          <a:spcPts val="400"/>
        </a:spcBef>
        <a:buFont typeface="Arial" panose="020B0604020202020204" pitchFamily="34" charset="0"/>
        <a:buChar char="•"/>
        <a:defRPr sz="900" kern="1200">
          <a:solidFill>
            <a:schemeClr val="tx1"/>
          </a:solidFill>
          <a:latin typeface="+mn-lt"/>
          <a:ea typeface="+mn-ea"/>
          <a:cs typeface="+mn-cs"/>
        </a:defRPr>
      </a:lvl4pPr>
      <a:lvl5pPr marL="1143000" indent="-228600" algn="l" defTabSz="914400" rtl="0" eaLnBrk="1" latinLnBrk="0" hangingPunct="1">
        <a:lnSpc>
          <a:spcPct val="90000"/>
        </a:lnSpc>
        <a:spcBef>
          <a:spcPts val="4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05943467"/>
      </p:ext>
    </p:extLst>
  </p:cSld>
  <p:clrMap bg1="lt1" tx1="dk1" bg2="lt2" tx2="dk2" accent1="accent1" accent2="accent2" accent3="accent3" accent4="accent4" accent5="accent5" accent6="accent6" hlink="hlink" folHlink="folHlink"/>
  <p:sldLayoutIdLst>
    <p:sldLayoutId id="2147485768" r:id="rId1"/>
    <p:sldLayoutId id="2147485769" r:id="rId2"/>
    <p:sldLayoutId id="2147485770" r:id="rId3"/>
    <p:sldLayoutId id="2147485771" r:id="rId4"/>
    <p:sldLayoutId id="2147485772" r:id="rId5"/>
    <p:sldLayoutId id="2147485773" r:id="rId6"/>
    <p:sldLayoutId id="2147485774" r:id="rId7"/>
    <p:sldLayoutId id="2147485775" r:id="rId8"/>
    <p:sldLayoutId id="2147485776" r:id="rId9"/>
    <p:sldLayoutId id="2147485777" r:id="rId10"/>
    <p:sldLayoutId id="2147485778" r:id="rId11"/>
    <p:sldLayoutId id="2147485779" r:id="rId12"/>
    <p:sldLayoutId id="2147485780" r:id="rId13"/>
    <p:sldLayoutId id="2147485781" r:id="rId14"/>
    <p:sldLayoutId id="2147485782" r:id="rId15"/>
    <p:sldLayoutId id="2147485783" r:id="rId16"/>
    <p:sldLayoutId id="2147485784" r:id="rId17"/>
    <p:sldLayoutId id="2147485785" r:id="rId18"/>
    <p:sldLayoutId id="2147485786" r:id="rId19"/>
    <p:sldLayoutId id="2147485787" r:id="rId20"/>
    <p:sldLayoutId id="2147485788" r:id="rId21"/>
    <p:sldLayoutId id="2147485789" r:id="rId22"/>
    <p:sldLayoutId id="2147485790" r:id="rId23"/>
    <p:sldLayoutId id="2147485791" r:id="rId24"/>
    <p:sldLayoutId id="2147485792" r:id="rId25"/>
    <p:sldLayoutId id="2147485793" r:id="rId26"/>
    <p:sldLayoutId id="2147485794" r:id="rId27"/>
    <p:sldLayoutId id="2147485795" r:id="rId28"/>
    <p:sldLayoutId id="2147485796" r:id="rId29"/>
    <p:sldLayoutId id="2147485797" r:id="rId30"/>
    <p:sldLayoutId id="2147485798" r:id="rId31"/>
    <p:sldLayoutId id="2147485799" r:id="rId32"/>
    <p:sldLayoutId id="2147485800" r:id="rId33"/>
    <p:sldLayoutId id="2147485801" r:id="rId34"/>
    <p:sldLayoutId id="2147485802" r:id="rId35"/>
    <p:sldLayoutId id="2147485803" r:id="rId36"/>
    <p:sldLayoutId id="2147485804" r:id="rId37"/>
    <p:sldLayoutId id="2147485805" r:id="rId38"/>
    <p:sldLayoutId id="2147485806" r:id="rId39"/>
    <p:sldLayoutId id="2147485807" r:id="rId40"/>
    <p:sldLayoutId id="2147485808" r:id="rId41"/>
    <p:sldLayoutId id="2147485809" r:id="rId42"/>
    <p:sldLayoutId id="2147485810" r:id="rId43"/>
    <p:sldLayoutId id="2147485811" r:id="rId44"/>
    <p:sldLayoutId id="2147485812" r:id="rId45"/>
    <p:sldLayoutId id="2147485813" r:id="rId46"/>
    <p:sldLayoutId id="2147485814" r:id="rId47"/>
    <p:sldLayoutId id="2147485815" r:id="rId48"/>
    <p:sldLayoutId id="2147485816" r:id="rId49"/>
    <p:sldLayoutId id="2147485817" r:id="rId50"/>
    <p:sldLayoutId id="2147485818" r:id="rId51"/>
    <p:sldLayoutId id="2147485819" r:id="rId52"/>
    <p:sldLayoutId id="2147485820" r:id="rId53"/>
    <p:sldLayoutId id="2147485821" r:id="rId54"/>
    <p:sldLayoutId id="2147485822" r:id="rId55"/>
    <p:sldLayoutId id="2147485823" r:id="rId56"/>
    <p:sldLayoutId id="2147485824" r:id="rId57"/>
    <p:sldLayoutId id="2147485825" r:id="rId58"/>
    <p:sldLayoutId id="2147485826" r:id="rId59"/>
    <p:sldLayoutId id="2147485827" r:id="rId60"/>
    <p:sldLayoutId id="2147485828" r:id="rId61"/>
    <p:sldLayoutId id="2147485829" r:id="rId62"/>
    <p:sldLayoutId id="2147485830" r:id="rId63"/>
    <p:sldLayoutId id="2147485831" r:id="rId64"/>
    <p:sldLayoutId id="2147485832" r:id="rId6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14897028"/>
      </p:ext>
    </p:extLst>
  </p:cSld>
  <p:clrMap bg1="lt1" tx1="dk1" bg2="lt2" tx2="dk2" accent1="accent1" accent2="accent2" accent3="accent3" accent4="accent4" accent5="accent5" accent6="accent6" hlink="hlink" folHlink="folHlink"/>
  <p:sldLayoutIdLst>
    <p:sldLayoutId id="2147486056" r:id="rId1"/>
    <p:sldLayoutId id="2147486057" r:id="rId2"/>
    <p:sldLayoutId id="2147486058" r:id="rId3"/>
    <p:sldLayoutId id="2147486059" r:id="rId4"/>
    <p:sldLayoutId id="2147486060" r:id="rId5"/>
    <p:sldLayoutId id="2147486061" r:id="rId6"/>
    <p:sldLayoutId id="2147486062" r:id="rId7"/>
    <p:sldLayoutId id="2147486063" r:id="rId8"/>
    <p:sldLayoutId id="2147486064" r:id="rId9"/>
    <p:sldLayoutId id="2147486065" r:id="rId10"/>
    <p:sldLayoutId id="2147486066" r:id="rId11"/>
    <p:sldLayoutId id="2147486067" r:id="rId12"/>
    <p:sldLayoutId id="2147486068" r:id="rId13"/>
    <p:sldLayoutId id="2147486069" r:id="rId14"/>
    <p:sldLayoutId id="2147486070" r:id="rId15"/>
    <p:sldLayoutId id="2147486071" r:id="rId16"/>
    <p:sldLayoutId id="2147486072" r:id="rId17"/>
    <p:sldLayoutId id="2147486073" r:id="rId18"/>
    <p:sldLayoutId id="2147486074" r:id="rId19"/>
    <p:sldLayoutId id="2147486075" r:id="rId20"/>
    <p:sldLayoutId id="2147486076" r:id="rId21"/>
    <p:sldLayoutId id="2147486077" r:id="rId22"/>
    <p:sldLayoutId id="2147486078" r:id="rId23"/>
    <p:sldLayoutId id="2147486079" r:id="rId24"/>
    <p:sldLayoutId id="2147486080" r:id="rId25"/>
    <p:sldLayoutId id="2147486081" r:id="rId26"/>
    <p:sldLayoutId id="2147486082" r:id="rId27"/>
    <p:sldLayoutId id="2147486083" r:id="rId28"/>
    <p:sldLayoutId id="2147486084" r:id="rId29"/>
    <p:sldLayoutId id="2147486085" r:id="rId30"/>
    <p:sldLayoutId id="2147486086" r:id="rId31"/>
    <p:sldLayoutId id="2147486087" r:id="rId32"/>
    <p:sldLayoutId id="2147486088" r:id="rId33"/>
    <p:sldLayoutId id="2147486089" r:id="rId34"/>
    <p:sldLayoutId id="2147486090" r:id="rId35"/>
    <p:sldLayoutId id="2147486091" r:id="rId36"/>
    <p:sldLayoutId id="2147486092" r:id="rId37"/>
    <p:sldLayoutId id="2147486093" r:id="rId38"/>
    <p:sldLayoutId id="2147486094" r:id="rId39"/>
    <p:sldLayoutId id="2147486095" r:id="rId40"/>
    <p:sldLayoutId id="2147486096" r:id="rId41"/>
    <p:sldLayoutId id="2147486097" r:id="rId42"/>
    <p:sldLayoutId id="2147486098" r:id="rId43"/>
    <p:sldLayoutId id="2147486099" r:id="rId44"/>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795974665"/>
      </p:ext>
    </p:extLst>
  </p:cSld>
  <p:clrMap bg1="lt1" tx1="dk1" bg2="lt2" tx2="dk2" accent1="accent1" accent2="accent2" accent3="accent3" accent4="accent4" accent5="accent5" accent6="accent6" hlink="hlink" folHlink="folHlink"/>
  <p:sldLayoutIdLst>
    <p:sldLayoutId id="2147486299" r:id="rId1"/>
    <p:sldLayoutId id="2147486300" r:id="rId2"/>
    <p:sldLayoutId id="2147486301" r:id="rId3"/>
    <p:sldLayoutId id="2147486302" r:id="rId4"/>
    <p:sldLayoutId id="2147486303" r:id="rId5"/>
    <p:sldLayoutId id="2147486304" r:id="rId6"/>
    <p:sldLayoutId id="2147486305" r:id="rId7"/>
    <p:sldLayoutId id="2147486306" r:id="rId8"/>
    <p:sldLayoutId id="2147486307" r:id="rId9"/>
    <p:sldLayoutId id="2147486308" r:id="rId10"/>
    <p:sldLayoutId id="2147486309" r:id="rId11"/>
    <p:sldLayoutId id="2147486310" r:id="rId12"/>
    <p:sldLayoutId id="2147486311" r:id="rId13"/>
    <p:sldLayoutId id="2147486312" r:id="rId14"/>
    <p:sldLayoutId id="2147486313" r:id="rId15"/>
    <p:sldLayoutId id="2147486314" r:id="rId16"/>
    <p:sldLayoutId id="2147486315" r:id="rId17"/>
    <p:sldLayoutId id="2147486316" r:id="rId18"/>
    <p:sldLayoutId id="2147486317" r:id="rId19"/>
    <p:sldLayoutId id="2147486318" r:id="rId20"/>
    <p:sldLayoutId id="2147486319" r:id="rId21"/>
    <p:sldLayoutId id="2147486320" r:id="rId22"/>
    <p:sldLayoutId id="2147486321" r:id="rId23"/>
    <p:sldLayoutId id="2147486322" r:id="rId24"/>
    <p:sldLayoutId id="2147486323" r:id="rId25"/>
    <p:sldLayoutId id="2147486324" r:id="rId26"/>
    <p:sldLayoutId id="2147486325" r:id="rId27"/>
    <p:sldLayoutId id="2147486326" r:id="rId28"/>
    <p:sldLayoutId id="2147486327" r:id="rId29"/>
    <p:sldLayoutId id="2147486328" r:id="rId30"/>
    <p:sldLayoutId id="2147486329" r:id="rId31"/>
    <p:sldLayoutId id="2147486330" r:id="rId32"/>
    <p:sldLayoutId id="2147486331" r:id="rId33"/>
    <p:sldLayoutId id="2147486332" r:id="rId34"/>
    <p:sldLayoutId id="2147486333" r:id="rId35"/>
    <p:sldLayoutId id="2147486334" r:id="rId36"/>
    <p:sldLayoutId id="2147486335" r:id="rId37"/>
    <p:sldLayoutId id="2147486336" r:id="rId38"/>
    <p:sldLayoutId id="2147486337" r:id="rId39"/>
    <p:sldLayoutId id="2147486338" r:id="rId40"/>
    <p:sldLayoutId id="2147486339" r:id="rId41"/>
    <p:sldLayoutId id="2147486340" r:id="rId42"/>
    <p:sldLayoutId id="2147486341" r:id="rId43"/>
    <p:sldLayoutId id="2147486342" r:id="rId44"/>
    <p:sldLayoutId id="2147486343" r:id="rId45"/>
    <p:sldLayoutId id="2147486344" r:id="rId46"/>
    <p:sldLayoutId id="2147486345" r:id="rId47"/>
    <p:sldLayoutId id="2147486346" r:id="rId48"/>
    <p:sldLayoutId id="2147486347" r:id="rId49"/>
    <p:sldLayoutId id="2147486348" r:id="rId50"/>
    <p:sldLayoutId id="2147486349" r:id="rId51"/>
    <p:sldLayoutId id="2147486350" r:id="rId52"/>
    <p:sldLayoutId id="2147486351" r:id="rId53"/>
    <p:sldLayoutId id="2147486352" r:id="rId54"/>
    <p:sldLayoutId id="2147486353" r:id="rId55"/>
    <p:sldLayoutId id="2147486354" r:id="rId56"/>
    <p:sldLayoutId id="2147486355" r:id="rId57"/>
    <p:sldLayoutId id="2147486356" r:id="rId58"/>
    <p:sldLayoutId id="2147486357" r:id="rId59"/>
    <p:sldLayoutId id="2147486358" r:id="rId60"/>
    <p:sldLayoutId id="2147486359" r:id="rId61"/>
    <p:sldLayoutId id="2147486360" r:id="rId62"/>
    <p:sldLayoutId id="2147486361" r:id="rId63"/>
    <p:sldLayoutId id="2147486362" r:id="rId64"/>
    <p:sldLayoutId id="2147486363" r:id="rId65"/>
    <p:sldLayoutId id="2147486364" r:id="rId66"/>
    <p:sldLayoutId id="2147486365" r:id="rId67"/>
    <p:sldLayoutId id="2147486366" r:id="rId68"/>
    <p:sldLayoutId id="2147486367" r:id="rId6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6"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23893051"/>
      </p:ext>
    </p:extLst>
  </p:cSld>
  <p:clrMap bg1="lt1" tx1="dk1" bg2="lt2" tx2="dk2" accent1="accent1" accent2="accent2" accent3="accent3" accent4="accent4" accent5="accent5" accent6="accent6" hlink="hlink" folHlink="folHlink"/>
  <p:sldLayoutIdLst>
    <p:sldLayoutId id="2147486393" r:id="rId1"/>
    <p:sldLayoutId id="2147486394" r:id="rId2"/>
    <p:sldLayoutId id="2147486395" r:id="rId3"/>
    <p:sldLayoutId id="2147486396" r:id="rId4"/>
    <p:sldLayoutId id="2147486397" r:id="rId5"/>
    <p:sldLayoutId id="2147486398" r:id="rId6"/>
    <p:sldLayoutId id="2147486399" r:id="rId7"/>
    <p:sldLayoutId id="2147486400" r:id="rId8"/>
    <p:sldLayoutId id="2147486401" r:id="rId9"/>
    <p:sldLayoutId id="2147486402" r:id="rId10"/>
    <p:sldLayoutId id="2147486403" r:id="rId11"/>
    <p:sldLayoutId id="2147486404" r:id="rId12"/>
    <p:sldLayoutId id="2147486405" r:id="rId13"/>
    <p:sldLayoutId id="2147486406" r:id="rId14"/>
    <p:sldLayoutId id="2147486407" r:id="rId15"/>
    <p:sldLayoutId id="2147486408" r:id="rId16"/>
    <p:sldLayoutId id="2147486409" r:id="rId17"/>
    <p:sldLayoutId id="2147486410" r:id="rId18"/>
    <p:sldLayoutId id="2147486411" r:id="rId19"/>
    <p:sldLayoutId id="2147486412" r:id="rId20"/>
    <p:sldLayoutId id="2147486413" r:id="rId21"/>
    <p:sldLayoutId id="2147486414" r:id="rId22"/>
    <p:sldLayoutId id="2147486415" r:id="rId23"/>
    <p:sldLayoutId id="2147486416" r:id="rId24"/>
    <p:sldLayoutId id="2147486417" r:id="rId25"/>
    <p:sldLayoutId id="2147486418" r:id="rId26"/>
    <p:sldLayoutId id="2147486419" r:id="rId27"/>
    <p:sldLayoutId id="2147486420" r:id="rId28"/>
    <p:sldLayoutId id="2147486421" r:id="rId29"/>
    <p:sldLayoutId id="2147486422" r:id="rId30"/>
    <p:sldLayoutId id="2147486423" r:id="rId31"/>
    <p:sldLayoutId id="2147486424" r:id="rId32"/>
    <p:sldLayoutId id="2147486425" r:id="rId33"/>
    <p:sldLayoutId id="2147486426" r:id="rId34"/>
    <p:sldLayoutId id="2147486427" r:id="rId35"/>
    <p:sldLayoutId id="2147486428" r:id="rId36"/>
    <p:sldLayoutId id="2147486429" r:id="rId37"/>
    <p:sldLayoutId id="2147486430" r:id="rId38"/>
    <p:sldLayoutId id="2147486431" r:id="rId39"/>
    <p:sldLayoutId id="2147486432" r:id="rId40"/>
    <p:sldLayoutId id="2147486433" r:id="rId41"/>
    <p:sldLayoutId id="2147486434" r:id="rId42"/>
    <p:sldLayoutId id="2147486435" r:id="rId43"/>
    <p:sldLayoutId id="2147486436" r:id="rId44"/>
    <p:sldLayoutId id="2147486437" r:id="rId45"/>
    <p:sldLayoutId id="2147486438" r:id="rId46"/>
    <p:sldLayoutId id="2147486439" r:id="rId47"/>
    <p:sldLayoutId id="2147486440" r:id="rId48"/>
    <p:sldLayoutId id="2147486441" r:id="rId49"/>
    <p:sldLayoutId id="2147486442" r:id="rId50"/>
    <p:sldLayoutId id="2147486443" r:id="rId51"/>
    <p:sldLayoutId id="2147486444" r:id="rId52"/>
    <p:sldLayoutId id="2147486445" r:id="rId53"/>
    <p:sldLayoutId id="2147486446" r:id="rId54"/>
    <p:sldLayoutId id="2147486447" r:id="rId55"/>
    <p:sldLayoutId id="2147486448" r:id="rId56"/>
    <p:sldLayoutId id="2147486449" r:id="rId57"/>
    <p:sldLayoutId id="2147486450" r:id="rId58"/>
    <p:sldLayoutId id="2147486451" r:id="rId59"/>
    <p:sldLayoutId id="2147486452" r:id="rId60"/>
    <p:sldLayoutId id="2147486453" r:id="rId61"/>
    <p:sldLayoutId id="2147486454" r:id="rId62"/>
    <p:sldLayoutId id="2147486455" r:id="rId63"/>
    <p:sldLayoutId id="2147486456" r:id="rId64"/>
    <p:sldLayoutId id="2147486457" r:id="rId65"/>
    <p:sldLayoutId id="2147486458" r:id="rId66"/>
    <p:sldLayoutId id="2147486459" r:id="rId67"/>
    <p:sldLayoutId id="2147486460" r:id="rId68"/>
    <p:sldLayoutId id="2147486461" r:id="rId69"/>
    <p:sldLayoutId id="2147486462" r:id="rId70"/>
    <p:sldLayoutId id="2147486463" r:id="rId71"/>
    <p:sldLayoutId id="2147486464" r:id="rId72"/>
    <p:sldLayoutId id="2147486465" r:id="rId73"/>
    <p:sldLayoutId id="2147486466" r:id="rId74"/>
    <p:sldLayoutId id="2147486467" r:id="rId75"/>
    <p:sldLayoutId id="2147486468" r:id="rId76"/>
    <p:sldLayoutId id="2147486469" r:id="rId77"/>
    <p:sldLayoutId id="2147486470" r:id="rId78"/>
    <p:sldLayoutId id="2147486471" r:id="rId79"/>
    <p:sldLayoutId id="2147486472" r:id="rId80"/>
    <p:sldLayoutId id="2147486473" r:id="rId81"/>
    <p:sldLayoutId id="2147486474" r:id="rId82"/>
    <p:sldLayoutId id="2147486475" r:id="rId83"/>
    <p:sldLayoutId id="2147486476" r:id="rId84"/>
    <p:sldLayoutId id="2147486477" r:id="rId85"/>
    <p:sldLayoutId id="2147486478" r:id="rId86"/>
    <p:sldLayoutId id="2147486479" r:id="rId87"/>
    <p:sldLayoutId id="2147486480" r:id="rId88"/>
    <p:sldLayoutId id="2147486481" r:id="rId89"/>
    <p:sldLayoutId id="2147486482" r:id="rId90"/>
    <p:sldLayoutId id="2147486483" r:id="rId91"/>
    <p:sldLayoutId id="2147486484" r:id="rId92"/>
    <p:sldLayoutId id="2147486485" r:id="rId93"/>
    <p:sldLayoutId id="2147486486" r:id="rId94"/>
    <p:sldLayoutId id="2147486487" r:id="rId95"/>
    <p:sldLayoutId id="2147486488" r:id="rId96"/>
    <p:sldLayoutId id="2147486489" r:id="rId97"/>
    <p:sldLayoutId id="2147486490" r:id="rId98"/>
    <p:sldLayoutId id="2147486491" r:id="rId99"/>
    <p:sldLayoutId id="2147486492" r:id="rId100"/>
    <p:sldLayoutId id="2147486493" r:id="rId101"/>
    <p:sldLayoutId id="2147486494" r:id="rId102"/>
    <p:sldLayoutId id="2147486495" r:id="rId103"/>
    <p:sldLayoutId id="2147486496" r:id="rId104"/>
    <p:sldLayoutId id="2147486497" r:id="rId105"/>
    <p:sldLayoutId id="2147486498" r:id="rId106"/>
    <p:sldLayoutId id="2147486499" r:id="rId107"/>
    <p:sldLayoutId id="2147486500" r:id="rId108"/>
    <p:sldLayoutId id="2147486501" r:id="rId109"/>
    <p:sldLayoutId id="2147486502" r:id="rId110"/>
    <p:sldLayoutId id="2147486503" r:id="rId111"/>
    <p:sldLayoutId id="2147486504" r:id="rId112"/>
    <p:sldLayoutId id="2147486505" r:id="rId113"/>
    <p:sldLayoutId id="2147486506" r:id="rId1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17073027"/>
      </p:ext>
    </p:extLst>
  </p:cSld>
  <p:clrMap bg1="lt1" tx1="dk1" bg2="lt2" tx2="dk2" accent1="accent1" accent2="accent2" accent3="accent3" accent4="accent4" accent5="accent5" accent6="accent6" hlink="hlink" folHlink="folHlink"/>
  <p:sldLayoutIdLst>
    <p:sldLayoutId id="2147486508" r:id="rId1"/>
    <p:sldLayoutId id="2147486509" r:id="rId2"/>
    <p:sldLayoutId id="2147486510" r:id="rId3"/>
    <p:sldLayoutId id="2147486511" r:id="rId4"/>
    <p:sldLayoutId id="2147486512" r:id="rId5"/>
    <p:sldLayoutId id="2147486513" r:id="rId6"/>
    <p:sldLayoutId id="2147486514" r:id="rId7"/>
    <p:sldLayoutId id="2147486515" r:id="rId8"/>
    <p:sldLayoutId id="2147486516" r:id="rId9"/>
    <p:sldLayoutId id="2147486517" r:id="rId10"/>
    <p:sldLayoutId id="2147486518" r:id="rId11"/>
    <p:sldLayoutId id="2147486519" r:id="rId12"/>
    <p:sldLayoutId id="2147486520" r:id="rId13"/>
    <p:sldLayoutId id="2147486521" r:id="rId14"/>
    <p:sldLayoutId id="2147486522" r:id="rId15"/>
    <p:sldLayoutId id="2147486523" r:id="rId16"/>
    <p:sldLayoutId id="2147486524" r:id="rId17"/>
    <p:sldLayoutId id="2147486525" r:id="rId18"/>
    <p:sldLayoutId id="2147486526" r:id="rId19"/>
    <p:sldLayoutId id="2147486527" r:id="rId20"/>
    <p:sldLayoutId id="2147486528" r:id="rId21"/>
    <p:sldLayoutId id="2147486529" r:id="rId22"/>
    <p:sldLayoutId id="2147486530" r:id="rId23"/>
    <p:sldLayoutId id="2147486531" r:id="rId24"/>
    <p:sldLayoutId id="2147486532" r:id="rId25"/>
    <p:sldLayoutId id="2147486533" r:id="rId26"/>
    <p:sldLayoutId id="2147486534" r:id="rId27"/>
    <p:sldLayoutId id="2147486535" r:id="rId28"/>
    <p:sldLayoutId id="2147486536" r:id="rId29"/>
    <p:sldLayoutId id="2147486537" r:id="rId30"/>
    <p:sldLayoutId id="2147486538" r:id="rId31"/>
    <p:sldLayoutId id="2147486539" r:id="rId32"/>
    <p:sldLayoutId id="2147486540" r:id="rId33"/>
    <p:sldLayoutId id="2147486541" r:id="rId34"/>
    <p:sldLayoutId id="2147486542" r:id="rId35"/>
    <p:sldLayoutId id="2147486543" r:id="rId36"/>
    <p:sldLayoutId id="2147486544" r:id="rId37"/>
    <p:sldLayoutId id="2147486545" r:id="rId38"/>
    <p:sldLayoutId id="2147486546" r:id="rId39"/>
    <p:sldLayoutId id="2147486547" r:id="rId40"/>
    <p:sldLayoutId id="2147486548" r:id="rId41"/>
    <p:sldLayoutId id="2147486549" r:id="rId42"/>
    <p:sldLayoutId id="2147486550" r:id="rId43"/>
    <p:sldLayoutId id="2147486551" r:id="rId44"/>
    <p:sldLayoutId id="2147486552" r:id="rId45"/>
    <p:sldLayoutId id="2147486553" r:id="rId46"/>
    <p:sldLayoutId id="2147486554" r:id="rId47"/>
    <p:sldLayoutId id="2147486555" r:id="rId48"/>
    <p:sldLayoutId id="2147486556" r:id="rId49"/>
    <p:sldLayoutId id="2147486557" r:id="rId50"/>
    <p:sldLayoutId id="2147486558" r:id="rId51"/>
    <p:sldLayoutId id="2147486559" r:id="rId52"/>
    <p:sldLayoutId id="2147486560" r:id="rId53"/>
    <p:sldLayoutId id="2147486561" r:id="rId54"/>
    <p:sldLayoutId id="2147486562" r:id="rId55"/>
    <p:sldLayoutId id="2147486563" r:id="rId56"/>
    <p:sldLayoutId id="2147486564" r:id="rId57"/>
    <p:sldLayoutId id="2147486565" r:id="rId58"/>
    <p:sldLayoutId id="2147486566" r:id="rId59"/>
    <p:sldLayoutId id="2147486567" r:id="rId60"/>
    <p:sldLayoutId id="2147486568" r:id="rId61"/>
    <p:sldLayoutId id="2147486569" r:id="rId62"/>
    <p:sldLayoutId id="2147486570" r:id="rId63"/>
    <p:sldLayoutId id="2147486571" r:id="rId64"/>
    <p:sldLayoutId id="2147486572" r:id="rId65"/>
    <p:sldLayoutId id="2147486573" r:id="rId66"/>
    <p:sldLayoutId id="2147486574" r:id="rId67"/>
    <p:sldLayoutId id="2147486575" r:id="rId68"/>
    <p:sldLayoutId id="2147486576" r:id="rId69"/>
    <p:sldLayoutId id="2147486578" r:id="rId7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
        <p:nvSpPr>
          <p:cNvPr id="50" name="Rectangle 49">
            <a:extLst>
              <a:ext uri="{FF2B5EF4-FFF2-40B4-BE49-F238E27FC236}">
                <a16:creationId xmlns:a16="http://schemas.microsoft.com/office/drawing/2014/main" id="{E1EFDF79-1A24-4591-A4FD-E9F0BE6CC5B9}"/>
              </a:ext>
            </a:extLst>
          </p:cNvPr>
          <p:cNvSpPr/>
          <p:nvPr userDrawn="1"/>
        </p:nvSpPr>
        <p:spPr>
          <a:xfrm>
            <a:off x="588263" y="6598452"/>
            <a:ext cx="1232049" cy="135796"/>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spTree>
    <p:extLst>
      <p:ext uri="{BB962C8B-B14F-4D97-AF65-F5344CB8AC3E}">
        <p14:creationId xmlns:p14="http://schemas.microsoft.com/office/powerpoint/2010/main" val="1807657566"/>
      </p:ext>
    </p:extLst>
  </p:cSld>
  <p:clrMap bg1="lt1" tx1="dk1" bg2="lt2" tx2="dk2" accent1="accent1" accent2="accent2" accent3="accent3" accent4="accent4" accent5="accent5" accent6="accent6" hlink="hlink" folHlink="folHlink"/>
  <p:sldLayoutIdLst>
    <p:sldLayoutId id="2147486700" r:id="rId1"/>
    <p:sldLayoutId id="2147486701" r:id="rId2"/>
    <p:sldLayoutId id="2147486702" r:id="rId3"/>
    <p:sldLayoutId id="2147486703" r:id="rId4"/>
    <p:sldLayoutId id="2147486704" r:id="rId5"/>
    <p:sldLayoutId id="2147486705" r:id="rId6"/>
    <p:sldLayoutId id="2147486707" r:id="rId7"/>
    <p:sldLayoutId id="2147486708" r:id="rId8"/>
  </p:sldLayoutIdLst>
  <p:transition>
    <p:fade/>
  </p:transition>
  <p:hf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42480486"/>
      </p:ext>
    </p:extLst>
  </p:cSld>
  <p:clrMap bg1="lt1" tx1="dk1" bg2="lt2" tx2="dk2" accent1="accent1" accent2="accent2" accent3="accent3" accent4="accent4" accent5="accent5" accent6="accent6" hlink="hlink" folHlink="folHlink"/>
  <p:sldLayoutIdLst>
    <p:sldLayoutId id="2147486710" r:id="rId1"/>
    <p:sldLayoutId id="2147486711" r:id="rId2"/>
    <p:sldLayoutId id="2147486712" r:id="rId3"/>
    <p:sldLayoutId id="2147486713" r:id="rId4"/>
    <p:sldLayoutId id="2147486714" r:id="rId5"/>
    <p:sldLayoutId id="2147486715" r:id="rId6"/>
    <p:sldLayoutId id="2147486716"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318582809"/>
      </p:ext>
    </p:extLst>
  </p:cSld>
  <p:clrMap bg1="lt1" tx1="dk1" bg2="lt2" tx2="dk2" accent1="accent1" accent2="accent2" accent3="accent3" accent4="accent4" accent5="accent5" accent6="accent6" hlink="hlink" folHlink="folHlink"/>
  <p:sldLayoutIdLst>
    <p:sldLayoutId id="2147486718" r:id="rId1"/>
    <p:sldLayoutId id="2147486719" r:id="rId2"/>
    <p:sldLayoutId id="2147486720" r:id="rId3"/>
    <p:sldLayoutId id="2147486721" r:id="rId4"/>
    <p:sldLayoutId id="2147486722" r:id="rId5"/>
    <p:sldLayoutId id="2147486723" r:id="rId6"/>
    <p:sldLayoutId id="2147486724" r:id="rId7"/>
    <p:sldLayoutId id="2147486725" r:id="rId8"/>
    <p:sldLayoutId id="2147486726" r:id="rId9"/>
    <p:sldLayoutId id="2147486727" r:id="rId10"/>
    <p:sldLayoutId id="2147486728" r:id="rId11"/>
    <p:sldLayoutId id="2147486729" r:id="rId12"/>
    <p:sldLayoutId id="2147486730" r:id="rId13"/>
    <p:sldLayoutId id="2147486731" r:id="rId14"/>
    <p:sldLayoutId id="2147486732" r:id="rId15"/>
    <p:sldLayoutId id="2147486733" r:id="rId16"/>
    <p:sldLayoutId id="2147486734" r:id="rId17"/>
    <p:sldLayoutId id="2147486735" r:id="rId18"/>
    <p:sldLayoutId id="2147486736" r:id="rId19"/>
    <p:sldLayoutId id="2147486737" r:id="rId20"/>
    <p:sldLayoutId id="2147486738" r:id="rId21"/>
    <p:sldLayoutId id="2147486739" r:id="rId22"/>
    <p:sldLayoutId id="2147486740" r:id="rId23"/>
    <p:sldLayoutId id="2147486741" r:id="rId24"/>
    <p:sldLayoutId id="2147486742" r:id="rId25"/>
    <p:sldLayoutId id="2147486743" r:id="rId26"/>
    <p:sldLayoutId id="2147486744" r:id="rId27"/>
    <p:sldLayoutId id="2147486745" r:id="rId28"/>
    <p:sldLayoutId id="2147486746" r:id="rId29"/>
    <p:sldLayoutId id="2147486747" r:id="rId30"/>
    <p:sldLayoutId id="2147486748" r:id="rId31"/>
    <p:sldLayoutId id="2147486749" r:id="rId32"/>
    <p:sldLayoutId id="2147486750" r:id="rId33"/>
    <p:sldLayoutId id="2147486751" r:id="rId34"/>
    <p:sldLayoutId id="2147486752" r:id="rId35"/>
    <p:sldLayoutId id="2147486753" r:id="rId36"/>
    <p:sldLayoutId id="2147486754" r:id="rId37"/>
    <p:sldLayoutId id="2147486755" r:id="rId38"/>
    <p:sldLayoutId id="2147486756" r:id="rId39"/>
    <p:sldLayoutId id="2147486757" r:id="rId40"/>
    <p:sldLayoutId id="2147486758" r:id="rId41"/>
    <p:sldLayoutId id="2147486759" r:id="rId42"/>
    <p:sldLayoutId id="2147486760" r:id="rId43"/>
    <p:sldLayoutId id="2147486761" r:id="rId44"/>
    <p:sldLayoutId id="2147486762" r:id="rId45"/>
    <p:sldLayoutId id="2147486763" r:id="rId46"/>
    <p:sldLayoutId id="2147486764" r:id="rId47"/>
    <p:sldLayoutId id="2147486765" r:id="rId48"/>
    <p:sldLayoutId id="2147486766" r:id="rId49"/>
    <p:sldLayoutId id="2147486767" r:id="rId50"/>
    <p:sldLayoutId id="2147486768" r:id="rId51"/>
    <p:sldLayoutId id="2147486769" r:id="rId52"/>
    <p:sldLayoutId id="2147486770" r:id="rId53"/>
    <p:sldLayoutId id="2147486771" r:id="rId54"/>
    <p:sldLayoutId id="2147486772" r:id="rId55"/>
    <p:sldLayoutId id="2147486773" r:id="rId56"/>
    <p:sldLayoutId id="2147486774" r:id="rId57"/>
    <p:sldLayoutId id="2147486775" r:id="rId58"/>
    <p:sldLayoutId id="2147486776" r:id="rId59"/>
    <p:sldLayoutId id="2147486777" r:id="rId60"/>
    <p:sldLayoutId id="2147486778" r:id="rId61"/>
    <p:sldLayoutId id="2147486779" r:id="rId62"/>
    <p:sldLayoutId id="2147486780" r:id="rId63"/>
    <p:sldLayoutId id="2147486781" r:id="rId64"/>
    <p:sldLayoutId id="2147486782" r:id="rId65"/>
    <p:sldLayoutId id="2147486783" r:id="rId66"/>
    <p:sldLayoutId id="2147486784" r:id="rId67"/>
    <p:sldLayoutId id="2147486785" r:id="rId68"/>
    <p:sldLayoutId id="2147486786" r:id="rId69"/>
    <p:sldLayoutId id="2147486787" r:id="rId7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0.xml"/></Relationships>
</file>

<file path=ppt/slides/_rels/slide10.xml.rels><?xml version="1.0" encoding="UTF-8" standalone="yes"?>
<Relationships xmlns="http://schemas.openxmlformats.org/package/2006/relationships"><Relationship Id="rId3" Type="http://schemas.openxmlformats.org/officeDocument/2006/relationships/hyperlink" Target="https://www.microsoft.com/security/blog/2020/02/20/azure-sentinel-uncovers-real-threats-hidden-billions-low-fidelity-signals/" TargetMode="External"/><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hyperlink" Target="https://www.microsoft.com/security/blog/2020/02/20/azure-sentinel-uncovers-real-threats-hidden-billions-low-fidelity-signals/" TargetMode="External"/><Relationship Id="rId2" Type="http://schemas.openxmlformats.org/officeDocument/2006/relationships/notesSlide" Target="../notesSlides/notesSlide11.xml"/><Relationship Id="rId1" Type="http://schemas.openxmlformats.org/officeDocument/2006/relationships/slideLayout" Target="../slideLayouts/slideLayout715.xml"/><Relationship Id="rId6" Type="http://schemas.openxmlformats.org/officeDocument/2006/relationships/image" Target="../media/image93.png"/><Relationship Id="rId5" Type="http://schemas.openxmlformats.org/officeDocument/2006/relationships/image" Target="../media/image95.svg"/><Relationship Id="rId4" Type="http://schemas.openxmlformats.org/officeDocument/2006/relationships/image" Target="../media/image9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93.png"/><Relationship Id="rId4" Type="http://schemas.openxmlformats.org/officeDocument/2006/relationships/image" Target="../media/image97.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xml"/><Relationship Id="rId1" Type="http://schemas.openxmlformats.org/officeDocument/2006/relationships/tags" Target="../tags/tag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xml"/><Relationship Id="rId1"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7.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xml"/><Relationship Id="rId1" Type="http://schemas.openxmlformats.org/officeDocument/2006/relationships/slideLayout" Target="../slideLayouts/slideLayout396.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1.xml"/></Relationships>
</file>

<file path=ppt/slides/_rels/slide2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2.xml"/><Relationship Id="rId1" Type="http://schemas.openxmlformats.org/officeDocument/2006/relationships/slideLayout" Target="../slideLayouts/slideLayout456.xml"/><Relationship Id="rId5" Type="http://schemas.openxmlformats.org/officeDocument/2006/relationships/image" Target="../media/image103.jpeg"/><Relationship Id="rId4" Type="http://schemas.openxmlformats.org/officeDocument/2006/relationships/hyperlink" Target="https://customers.microsoft.com/story/1476165856303568991-heineken-consumer-goods-microsoft-security"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3.xml"/><Relationship Id="rId1" Type="http://schemas.openxmlformats.org/officeDocument/2006/relationships/slideLayout" Target="../slideLayouts/slideLayout729.xml"/><Relationship Id="rId5" Type="http://schemas.openxmlformats.org/officeDocument/2006/relationships/image" Target="../media/image105.jpeg"/><Relationship Id="rId4" Type="http://schemas.openxmlformats.org/officeDocument/2006/relationships/hyperlink" Target="https://customers.microsoft.com/en-us/story/1353275519004709345-wiley-media-and-entertainment-azure-active-directory"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customers.microsoft.com/story/1534240751646526981-webber-wentzel-professional-services-microsoft-security-solutions" TargetMode="External"/><Relationship Id="rId2" Type="http://schemas.openxmlformats.org/officeDocument/2006/relationships/image" Target="../media/image106.png"/><Relationship Id="rId1" Type="http://schemas.openxmlformats.org/officeDocument/2006/relationships/slideLayout" Target="../slideLayouts/slideLayout530.xml"/><Relationship Id="rId4" Type="http://schemas.openxmlformats.org/officeDocument/2006/relationships/image" Target="../media/image107.jpeg"/></Relationships>
</file>

<file path=ppt/slides/_rels/slide25.xml.rels><?xml version="1.0" encoding="UTF-8" standalone="yes"?>
<Relationships xmlns="http://schemas.openxmlformats.org/package/2006/relationships"><Relationship Id="rId3" Type="http://schemas.openxmlformats.org/officeDocument/2006/relationships/hyperlink" Target="https://customers.microsoft.com/en-us/story/1496549326647152024-dgs-law-professional-services-microsoft-security-solutions" TargetMode="External"/><Relationship Id="rId2" Type="http://schemas.openxmlformats.org/officeDocument/2006/relationships/image" Target="../media/image108.jpeg"/><Relationship Id="rId1" Type="http://schemas.openxmlformats.org/officeDocument/2006/relationships/slideLayout" Target="../slideLayouts/slideLayout605.xml"/><Relationship Id="rId4" Type="http://schemas.openxmlformats.org/officeDocument/2006/relationships/image" Target="../media/image109.jpeg"/></Relationships>
</file>

<file path=ppt/slides/_rels/slide2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hyperlink" Target="https://www.keiseruniversity.edu/" TargetMode="External"/><Relationship Id="rId1" Type="http://schemas.openxmlformats.org/officeDocument/2006/relationships/slideLayout" Target="../slideLayouts/slideLayout604.xml"/><Relationship Id="rId5" Type="http://schemas.openxmlformats.org/officeDocument/2006/relationships/image" Target="../media/image111.jpeg"/><Relationship Id="rId4" Type="http://schemas.openxmlformats.org/officeDocument/2006/relationships/hyperlink" Target="https://customers.microsoft.com/en-us/story/1445561301573742196-rabobank-banking-security"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customers.microsoft.com/en-us/story/1475174067017321855-elanco-consumer-goods-microsoft-security-solutions" TargetMode="External"/><Relationship Id="rId2" Type="http://schemas.openxmlformats.org/officeDocument/2006/relationships/image" Target="../media/image112.png"/><Relationship Id="rId1" Type="http://schemas.openxmlformats.org/officeDocument/2006/relationships/slideLayout" Target="../slideLayouts/slideLayout620.xml"/><Relationship Id="rId5" Type="http://schemas.openxmlformats.org/officeDocument/2006/relationships/image" Target="../media/image113.jpeg"/><Relationship Id="rId4" Type="http://schemas.openxmlformats.org/officeDocument/2006/relationships/hyperlink" Target="https://customers.microsoft.com/en-us/story/845584-the-heico-companies-manufacturing-dynamics-365"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452.xml"/><Relationship Id="rId4" Type="http://schemas.openxmlformats.org/officeDocument/2006/relationships/hyperlink" Target="https://customers.microsoft.com/en-us/story/1371005622559944055-drax-group-energy-integrated-threat-protection"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24.xml"/><Relationship Id="rId1" Type="http://schemas.openxmlformats.org/officeDocument/2006/relationships/slideLayout" Target="../slideLayouts/slideLayout177.xml"/><Relationship Id="rId4" Type="http://schemas.openxmlformats.org/officeDocument/2006/relationships/image" Target="../media/image11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6.xml"/></Relationships>
</file>

<file path=ppt/slides/_rels/slide30.xml.rels><?xml version="1.0" encoding="UTF-8" standalone="yes"?>
<Relationships xmlns="http://schemas.openxmlformats.org/package/2006/relationships"><Relationship Id="rId3" Type="http://schemas.openxmlformats.org/officeDocument/2006/relationships/hyperlink" Target="https://customers.microsoft.com/en-us/story/1338663105513343966-mvp-health-care-health-payor-integrated-threat-protection" TargetMode="External"/><Relationship Id="rId2" Type="http://schemas.openxmlformats.org/officeDocument/2006/relationships/image" Target="../media/image116.png"/><Relationship Id="rId1" Type="http://schemas.openxmlformats.org/officeDocument/2006/relationships/slideLayout" Target="../slideLayouts/slideLayout454.xml"/><Relationship Id="rId4" Type="http://schemas.openxmlformats.org/officeDocument/2006/relationships/image" Target="../media/image117.png"/></Relationships>
</file>

<file path=ppt/slides/_rels/slide3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5.xml"/><Relationship Id="rId1" Type="http://schemas.openxmlformats.org/officeDocument/2006/relationships/slideLayout" Target="../slideLayouts/slideLayout177.xml"/><Relationship Id="rId4" Type="http://schemas.openxmlformats.org/officeDocument/2006/relationships/image" Target="../media/image116.png"/></Relationships>
</file>

<file path=ppt/slides/_rels/slide32.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26.xml"/><Relationship Id="rId1" Type="http://schemas.openxmlformats.org/officeDocument/2006/relationships/slideLayout" Target="../slideLayouts/slideLayout63.xml"/><Relationship Id="rId4" Type="http://schemas.openxmlformats.org/officeDocument/2006/relationships/image" Target="../media/image119.jpeg"/></Relationships>
</file>

<file path=ppt/slides/_rels/slide33.xml.rels><?xml version="1.0" encoding="UTF-8" standalone="yes"?>
<Relationships xmlns="http://schemas.openxmlformats.org/package/2006/relationships"><Relationship Id="rId8" Type="http://schemas.openxmlformats.org/officeDocument/2006/relationships/hyperlink" Target="https://idcdocserv.com/US46178720e_Microsoft" TargetMode="External"/><Relationship Id="rId13" Type="http://schemas.openxmlformats.org/officeDocument/2006/relationships/hyperlink" Target="https://www.idc.com/getdoc.jsp?containerId=US46965720" TargetMode="External"/><Relationship Id="rId3" Type="http://schemas.openxmlformats.org/officeDocument/2006/relationships/hyperlink" Target="https://www.microsoft.com/en-us/security/business/security-leaders-gartner-magic-quadrant" TargetMode="External"/><Relationship Id="rId7" Type="http://schemas.openxmlformats.org/officeDocument/2006/relationships/hyperlink" Target="https://idcdocserv.com/US48304721" TargetMode="External"/><Relationship Id="rId12" Type="http://schemas.openxmlformats.org/officeDocument/2006/relationships/hyperlink" Target="https://www.idc.com/getdoc.jsp?containerId=US46957820&amp;pageType=PRINTFRIENDLY" TargetMode="External"/><Relationship Id="rId2" Type="http://schemas.openxmlformats.org/officeDocument/2006/relationships/notesSlide" Target="../notesSlides/notesSlide27.xml"/><Relationship Id="rId1" Type="http://schemas.openxmlformats.org/officeDocument/2006/relationships/slideLayout" Target="../slideLayouts/slideLayout315.xml"/><Relationship Id="rId6" Type="http://schemas.openxmlformats.org/officeDocument/2006/relationships/hyperlink" Target="https://idcdocserv.com/US48306021" TargetMode="External"/><Relationship Id="rId11" Type="http://schemas.openxmlformats.org/officeDocument/2006/relationships/image" Target="../media/image122.png"/><Relationship Id="rId5" Type="http://schemas.openxmlformats.org/officeDocument/2006/relationships/hyperlink" Target="https://www.microsoft.com/security/blog/2021/11/18/microsoft-named-a-leader-in-idc-marketscape-for-modern-endpoint-security-for-enterprise-and-small-and-midsize-businesses/" TargetMode="External"/><Relationship Id="rId10" Type="http://schemas.openxmlformats.org/officeDocument/2006/relationships/image" Target="../media/image121.png"/><Relationship Id="rId4" Type="http://schemas.openxmlformats.org/officeDocument/2006/relationships/hyperlink" Target="https://www.microsoft.com/en-us/security/business/microsoft-security-forrester-wave-leader" TargetMode="External"/><Relationship Id="rId9" Type="http://schemas.openxmlformats.org/officeDocument/2006/relationships/image" Target="../media/image120.png"/><Relationship Id="rId14" Type="http://schemas.openxmlformats.org/officeDocument/2006/relationships/hyperlink" Target="https://www.idc.com/getdoc.jsp?containerId=US46957920&amp;pageType=PRINTFRIENDLY"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90.xml"/></Relationships>
</file>

<file path=ppt/slides/_rels/slide4.xml.rels><?xml version="1.0" encoding="UTF-8" standalone="yes"?>
<Relationships xmlns="http://schemas.openxmlformats.org/package/2006/relationships"><Relationship Id="rId3" Type="http://schemas.openxmlformats.org/officeDocument/2006/relationships/hyperlink" Target="https://www.microsoft.com/security/blog/2020/02/20/azure-sentinel-uncovers-real-threats-hidden-billions-low-fidelity-signals/" TargetMode="External"/><Relationship Id="rId2" Type="http://schemas.openxmlformats.org/officeDocument/2006/relationships/notesSlide" Target="../notesSlides/notesSlide4.xml"/><Relationship Id="rId1" Type="http://schemas.openxmlformats.org/officeDocument/2006/relationships/slideLayout" Target="../slideLayouts/slideLayout20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15.xml"/><Relationship Id="rId1" Type="http://schemas.openxmlformats.org/officeDocument/2006/relationships/tags" Target="../tags/tag2.xml"/><Relationship Id="rId4" Type="http://schemas.openxmlformats.org/officeDocument/2006/relationships/image" Target="../media/image90.png"/></Relationships>
</file>

<file path=ppt/slides/_rels/slide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8.xml"/><Relationship Id="rId1" Type="http://schemas.openxmlformats.org/officeDocument/2006/relationships/slideLayout" Target="../slideLayouts/slideLayout722.xml"/><Relationship Id="rId5" Type="http://schemas.openxmlformats.org/officeDocument/2006/relationships/image" Target="../media/image93.png"/><Relationship Id="rId4" Type="http://schemas.openxmlformats.org/officeDocument/2006/relationships/image" Target="../media/image92.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B01B41-CCC2-4949-9C60-5EBB91F72280}"/>
              </a:ext>
            </a:extLst>
          </p:cNvPr>
          <p:cNvSpPr>
            <a:spLocks noGrp="1"/>
          </p:cNvSpPr>
          <p:nvPr>
            <p:ph type="title"/>
          </p:nvPr>
        </p:nvSpPr>
        <p:spPr>
          <a:xfrm>
            <a:off x="560553" y="2425541"/>
            <a:ext cx="4167887" cy="1107996"/>
          </a:xfrm>
        </p:spPr>
        <p:txBody>
          <a:bodyPr/>
          <a:lstStyle/>
          <a:p>
            <a:r>
              <a:rPr lang="en-US"/>
              <a:t>Do More with Less</a:t>
            </a:r>
          </a:p>
        </p:txBody>
      </p:sp>
    </p:spTree>
    <p:extLst>
      <p:ext uri="{BB962C8B-B14F-4D97-AF65-F5344CB8AC3E}">
        <p14:creationId xmlns:p14="http://schemas.microsoft.com/office/powerpoint/2010/main" val="258483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94C295-D2D9-46E1-A408-A8B51ABBFE6A}"/>
              </a:ext>
              <a:ext uri="{C183D7F6-B498-43B3-948B-1728B52AA6E4}">
                <adec:decorative xmlns:adec="http://schemas.microsoft.com/office/drawing/2017/decorative" val="1"/>
              </a:ext>
            </a:extLst>
          </p:cNvPr>
          <p:cNvSpPr/>
          <p:nvPr/>
        </p:nvSpPr>
        <p:spPr bwMode="auto">
          <a:xfrm>
            <a:off x="-86061" y="0"/>
            <a:ext cx="483782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Title 2">
            <a:extLst>
              <a:ext uri="{FF2B5EF4-FFF2-40B4-BE49-F238E27FC236}">
                <a16:creationId xmlns:a16="http://schemas.microsoft.com/office/drawing/2014/main" id="{FB2618E3-9243-8A83-D97E-3A1143C83DDA}"/>
              </a:ext>
            </a:extLst>
          </p:cNvPr>
          <p:cNvSpPr txBox="1">
            <a:spLocks noGrp="1"/>
          </p:cNvSpPr>
          <p:nvPr>
            <p:ph type="title" idx="4294967295"/>
          </p:nvPr>
        </p:nvSpPr>
        <p:spPr>
          <a:xfrm>
            <a:off x="475778" y="813428"/>
            <a:ext cx="3894090" cy="221599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 UI Semibold"/>
                <a:ea typeface="+mn-ea"/>
                <a:cs typeface="Segoe UI" pitchFamily="34" charset="0"/>
              </a:rPr>
              <a:t>Reduce threats with AI and Automation </a:t>
            </a:r>
            <a:endPar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grpSp>
        <p:nvGrpSpPr>
          <p:cNvPr id="12" name="Group 11" descr="Microsoft Security Badge">
            <a:extLst>
              <a:ext uri="{FF2B5EF4-FFF2-40B4-BE49-F238E27FC236}">
                <a16:creationId xmlns:a16="http://schemas.microsoft.com/office/drawing/2014/main" id="{7BE66CF5-5FC3-D602-CAA2-E8C8E70DB438}"/>
              </a:ext>
            </a:extLst>
          </p:cNvPr>
          <p:cNvGrpSpPr/>
          <p:nvPr/>
        </p:nvGrpSpPr>
        <p:grpSpPr>
          <a:xfrm>
            <a:off x="1017119" y="3083439"/>
            <a:ext cx="3001888" cy="3140507"/>
            <a:chOff x="773278" y="1407244"/>
            <a:chExt cx="3896815" cy="4043553"/>
          </a:xfrm>
        </p:grpSpPr>
        <p:sp>
          <p:nvSpPr>
            <p:cNvPr id="16" name="Freeform 171">
              <a:extLst>
                <a:ext uri="{FF2B5EF4-FFF2-40B4-BE49-F238E27FC236}">
                  <a16:creationId xmlns:a16="http://schemas.microsoft.com/office/drawing/2014/main" id="{F4938065-1AB4-288A-AE89-24A569E499C5}"/>
                </a:ext>
                <a:ext uri="{C183D7F6-B498-43B3-948B-1728B52AA6E4}">
                  <adec:decorative xmlns:adec="http://schemas.microsoft.com/office/drawing/2017/decorative" val="1"/>
                </a:ext>
              </a:extLst>
            </p:cNvPr>
            <p:cNvSpPr/>
            <p:nvPr/>
          </p:nvSpPr>
          <p:spPr>
            <a:xfrm>
              <a:off x="870343" y="1407244"/>
              <a:ext cx="3799750" cy="4043513"/>
            </a:xfrm>
            <a:custGeom>
              <a:avLst/>
              <a:gdLst>
                <a:gd name="connsiteX0" fmla="*/ 2278743 w 4726995"/>
                <a:gd name="connsiteY0" fmla="*/ 4981459 h 5030241"/>
                <a:gd name="connsiteX1" fmla="*/ 1729702 w 4726995"/>
                <a:gd name="connsiteY1" fmla="*/ 4630622 h 5030241"/>
                <a:gd name="connsiteX2" fmla="*/ 1202128 w 4726995"/>
                <a:gd name="connsiteY2" fmla="*/ 4209745 h 5030241"/>
                <a:gd name="connsiteX3" fmla="*/ 733314 w 4726995"/>
                <a:gd name="connsiteY3" fmla="*/ 3724195 h 5030241"/>
                <a:gd name="connsiteX4" fmla="*/ 350368 w 4726995"/>
                <a:gd name="connsiteY4" fmla="*/ 3168877 h 5030241"/>
                <a:gd name="connsiteX5" fmla="*/ 94585 w 4726995"/>
                <a:gd name="connsiteY5" fmla="*/ 2547067 h 5030241"/>
                <a:gd name="connsiteX6" fmla="*/ -378 w 4726995"/>
                <a:gd name="connsiteY6" fmla="*/ 1857127 h 5030241"/>
                <a:gd name="connsiteX7" fmla="*/ -378 w 4726995"/>
                <a:gd name="connsiteY7" fmla="*/ 678816 h 5030241"/>
                <a:gd name="connsiteX8" fmla="*/ 159349 w 4726995"/>
                <a:gd name="connsiteY8" fmla="*/ 670630 h 5030241"/>
                <a:gd name="connsiteX9" fmla="*/ 874031 w 4726995"/>
                <a:gd name="connsiteY9" fmla="*/ 550652 h 5030241"/>
                <a:gd name="connsiteX10" fmla="*/ 1522674 w 4726995"/>
                <a:gd name="connsiteY10" fmla="*/ 251299 h 5030241"/>
                <a:gd name="connsiteX11" fmla="*/ 1922175 w 4726995"/>
                <a:gd name="connsiteY11" fmla="*/ 61190 h 5030241"/>
                <a:gd name="connsiteX12" fmla="*/ 2803862 w 4726995"/>
                <a:gd name="connsiteY12" fmla="*/ 61190 h 5030241"/>
                <a:gd name="connsiteX13" fmla="*/ 3204090 w 4726995"/>
                <a:gd name="connsiteY13" fmla="*/ 251117 h 5030241"/>
                <a:gd name="connsiteX14" fmla="*/ 3852370 w 4726995"/>
                <a:gd name="connsiteY14" fmla="*/ 550197 h 5030241"/>
                <a:gd name="connsiteX15" fmla="*/ 4566870 w 4726995"/>
                <a:gd name="connsiteY15" fmla="*/ 670630 h 5030241"/>
                <a:gd name="connsiteX16" fmla="*/ 4726598 w 4726995"/>
                <a:gd name="connsiteY16" fmla="*/ 679726 h 5030241"/>
                <a:gd name="connsiteX17" fmla="*/ 4726598 w 4726995"/>
                <a:gd name="connsiteY17" fmla="*/ 1857127 h 5030241"/>
                <a:gd name="connsiteX18" fmla="*/ 4631725 w 4726995"/>
                <a:gd name="connsiteY18" fmla="*/ 2547067 h 5030241"/>
                <a:gd name="connsiteX19" fmla="*/ 4376125 w 4726995"/>
                <a:gd name="connsiteY19" fmla="*/ 3168877 h 5030241"/>
                <a:gd name="connsiteX20" fmla="*/ 3992905 w 4726995"/>
                <a:gd name="connsiteY20" fmla="*/ 3724195 h 5030241"/>
                <a:gd name="connsiteX21" fmla="*/ 3523728 w 4726995"/>
                <a:gd name="connsiteY21" fmla="*/ 4209745 h 5030241"/>
                <a:gd name="connsiteX22" fmla="*/ 2996153 w 4726995"/>
                <a:gd name="connsiteY22" fmla="*/ 4630622 h 5030241"/>
                <a:gd name="connsiteX23" fmla="*/ 2447112 w 4726995"/>
                <a:gd name="connsiteY23" fmla="*/ 4981459 h 5030241"/>
                <a:gd name="connsiteX24" fmla="*/ 2362519 w 4726995"/>
                <a:gd name="connsiteY24" fmla="*/ 5030215 h 503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26995" h="5030241">
                  <a:moveTo>
                    <a:pt x="2278743" y="4981459"/>
                  </a:moveTo>
                  <a:cubicBezTo>
                    <a:pt x="2095275" y="4875216"/>
                    <a:pt x="1910533" y="4757240"/>
                    <a:pt x="1729702" y="4630622"/>
                  </a:cubicBezTo>
                  <a:cubicBezTo>
                    <a:pt x="1545124" y="4501621"/>
                    <a:pt x="1368914" y="4361041"/>
                    <a:pt x="1202128" y="4209745"/>
                  </a:cubicBezTo>
                  <a:cubicBezTo>
                    <a:pt x="1035432" y="4058295"/>
                    <a:pt x="878824" y="3896102"/>
                    <a:pt x="733314" y="3724195"/>
                  </a:cubicBezTo>
                  <a:cubicBezTo>
                    <a:pt x="587458" y="3552333"/>
                    <a:pt x="459166" y="3366299"/>
                    <a:pt x="350368" y="3168877"/>
                  </a:cubicBezTo>
                  <a:cubicBezTo>
                    <a:pt x="242151" y="2971810"/>
                    <a:pt x="156356" y="2763236"/>
                    <a:pt x="94585" y="2547067"/>
                  </a:cubicBezTo>
                  <a:cubicBezTo>
                    <a:pt x="30967" y="2322629"/>
                    <a:pt x="-997" y="2090406"/>
                    <a:pt x="-378" y="1857127"/>
                  </a:cubicBezTo>
                  <a:lnTo>
                    <a:pt x="-378" y="678816"/>
                  </a:lnTo>
                  <a:lnTo>
                    <a:pt x="159349" y="670630"/>
                  </a:lnTo>
                  <a:cubicBezTo>
                    <a:pt x="401406" y="658314"/>
                    <a:pt x="641225" y="618054"/>
                    <a:pt x="874031" y="550652"/>
                  </a:cubicBezTo>
                  <a:cubicBezTo>
                    <a:pt x="1103426" y="482340"/>
                    <a:pt x="1321859" y="381537"/>
                    <a:pt x="1522674" y="251299"/>
                  </a:cubicBezTo>
                  <a:cubicBezTo>
                    <a:pt x="1646400" y="169745"/>
                    <a:pt x="1780849" y="105765"/>
                    <a:pt x="1922175" y="61190"/>
                  </a:cubicBezTo>
                  <a:cubicBezTo>
                    <a:pt x="2210404" y="-20433"/>
                    <a:pt x="2515634" y="-20433"/>
                    <a:pt x="2803862" y="61190"/>
                  </a:cubicBezTo>
                  <a:cubicBezTo>
                    <a:pt x="2945388" y="105755"/>
                    <a:pt x="3080074" y="169669"/>
                    <a:pt x="3204090" y="251117"/>
                  </a:cubicBezTo>
                  <a:cubicBezTo>
                    <a:pt x="3404769" y="381294"/>
                    <a:pt x="3623085" y="482013"/>
                    <a:pt x="3852370" y="550197"/>
                  </a:cubicBezTo>
                  <a:cubicBezTo>
                    <a:pt x="4085104" y="617745"/>
                    <a:pt x="4324859" y="658150"/>
                    <a:pt x="4566870" y="670630"/>
                  </a:cubicBezTo>
                  <a:lnTo>
                    <a:pt x="4726598" y="679726"/>
                  </a:lnTo>
                  <a:lnTo>
                    <a:pt x="4726598" y="1857127"/>
                  </a:lnTo>
                  <a:cubicBezTo>
                    <a:pt x="4727298" y="2090406"/>
                    <a:pt x="4695362" y="2322638"/>
                    <a:pt x="4631725" y="2547067"/>
                  </a:cubicBezTo>
                  <a:cubicBezTo>
                    <a:pt x="4569981" y="2763218"/>
                    <a:pt x="4484250" y="2971792"/>
                    <a:pt x="4376125" y="3168877"/>
                  </a:cubicBezTo>
                  <a:cubicBezTo>
                    <a:pt x="4267107" y="3366226"/>
                    <a:pt x="4138734" y="3552251"/>
                    <a:pt x="3992905" y="3724195"/>
                  </a:cubicBezTo>
                  <a:cubicBezTo>
                    <a:pt x="3847277" y="3896111"/>
                    <a:pt x="3690541" y="4058304"/>
                    <a:pt x="3523728" y="4209745"/>
                  </a:cubicBezTo>
                  <a:cubicBezTo>
                    <a:pt x="3356987" y="4361104"/>
                    <a:pt x="3180777" y="4501676"/>
                    <a:pt x="2996153" y="4630622"/>
                  </a:cubicBezTo>
                  <a:cubicBezTo>
                    <a:pt x="2814868" y="4757967"/>
                    <a:pt x="2629944" y="4875581"/>
                    <a:pt x="2447112" y="4981459"/>
                  </a:cubicBezTo>
                  <a:lnTo>
                    <a:pt x="2362519" y="5030215"/>
                  </a:lnTo>
                  <a:close/>
                </a:path>
              </a:pathLst>
            </a:custGeom>
            <a:solidFill>
              <a:srgbClr val="FFFFFF"/>
            </a:solidFill>
            <a:ln w="22225" cap="flat">
              <a:solidFill>
                <a:srgbClr val="D2D2D2">
                  <a:alpha val="61000"/>
                </a:srgbClr>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27">
              <a:extLst>
                <a:ext uri="{FF2B5EF4-FFF2-40B4-BE49-F238E27FC236}">
                  <a16:creationId xmlns:a16="http://schemas.microsoft.com/office/drawing/2014/main" id="{A42E1545-A9A7-AA57-EC29-A5D0611E9D0E}"/>
                </a:ext>
                <a:ext uri="{C183D7F6-B498-43B3-948B-1728B52AA6E4}">
                  <adec:decorative xmlns:adec="http://schemas.microsoft.com/office/drawing/2017/decorative" val="1"/>
                </a:ext>
              </a:extLst>
            </p:cNvPr>
            <p:cNvSpPr>
              <a:spLocks noChangeShapeType="1"/>
            </p:cNvSpPr>
            <p:nvPr/>
          </p:nvSpPr>
          <p:spPr bwMode="auto">
            <a:xfrm>
              <a:off x="4539219" y="3805504"/>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Line 136">
              <a:extLst>
                <a:ext uri="{FF2B5EF4-FFF2-40B4-BE49-F238E27FC236}">
                  <a16:creationId xmlns:a16="http://schemas.microsoft.com/office/drawing/2014/main" id="{5DDFFCDC-CBE5-8698-31A3-4D7F757F64BD}"/>
                </a:ext>
                <a:ext uri="{C183D7F6-B498-43B3-948B-1728B52AA6E4}">
                  <adec:decorative xmlns:adec="http://schemas.microsoft.com/office/drawing/2017/decorative" val="1"/>
                </a:ext>
              </a:extLst>
            </p:cNvPr>
            <p:cNvSpPr>
              <a:spLocks noChangeShapeType="1"/>
            </p:cNvSpPr>
            <p:nvPr/>
          </p:nvSpPr>
          <p:spPr bwMode="auto">
            <a:xfrm>
              <a:off x="4287496" y="4133593"/>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Line 153">
              <a:extLst>
                <a:ext uri="{FF2B5EF4-FFF2-40B4-BE49-F238E27FC236}">
                  <a16:creationId xmlns:a16="http://schemas.microsoft.com/office/drawing/2014/main" id="{0DFC95C0-6C7E-41C2-1693-F0BA67657AC8}"/>
                </a:ext>
                <a:ext uri="{C183D7F6-B498-43B3-948B-1728B52AA6E4}">
                  <adec:decorative xmlns:adec="http://schemas.microsoft.com/office/drawing/2017/decorative" val="1"/>
                </a:ext>
              </a:extLst>
            </p:cNvPr>
            <p:cNvSpPr>
              <a:spLocks noChangeShapeType="1"/>
            </p:cNvSpPr>
            <p:nvPr/>
          </p:nvSpPr>
          <p:spPr bwMode="auto">
            <a:xfrm>
              <a:off x="3216968" y="4629967"/>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1" name="Line 154">
              <a:extLst>
                <a:ext uri="{FF2B5EF4-FFF2-40B4-BE49-F238E27FC236}">
                  <a16:creationId xmlns:a16="http://schemas.microsoft.com/office/drawing/2014/main" id="{033E1C77-82E2-F0F2-93DC-C1B83857027D}"/>
                </a:ext>
                <a:ext uri="{C183D7F6-B498-43B3-948B-1728B52AA6E4}">
                  <adec:decorative xmlns:adec="http://schemas.microsoft.com/office/drawing/2017/decorative" val="1"/>
                </a:ext>
              </a:extLst>
            </p:cNvPr>
            <p:cNvSpPr>
              <a:spLocks noChangeShapeType="1"/>
            </p:cNvSpPr>
            <p:nvPr/>
          </p:nvSpPr>
          <p:spPr bwMode="auto">
            <a:xfrm>
              <a:off x="2539579" y="4629967"/>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2" name="Line 167">
              <a:extLst>
                <a:ext uri="{FF2B5EF4-FFF2-40B4-BE49-F238E27FC236}">
                  <a16:creationId xmlns:a16="http://schemas.microsoft.com/office/drawing/2014/main" id="{E2D3A59C-7717-600B-A467-F7EF23DACEE1}"/>
                </a:ext>
                <a:ext uri="{C183D7F6-B498-43B3-948B-1728B52AA6E4}">
                  <adec:decorative xmlns:adec="http://schemas.microsoft.com/office/drawing/2017/decorative" val="1"/>
                </a:ext>
              </a:extLst>
            </p:cNvPr>
            <p:cNvSpPr>
              <a:spLocks noChangeShapeType="1"/>
            </p:cNvSpPr>
            <p:nvPr/>
          </p:nvSpPr>
          <p:spPr bwMode="auto">
            <a:xfrm>
              <a:off x="773278" y="3627554"/>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3" name="Line 148">
              <a:extLst>
                <a:ext uri="{FF2B5EF4-FFF2-40B4-BE49-F238E27FC236}">
                  <a16:creationId xmlns:a16="http://schemas.microsoft.com/office/drawing/2014/main" id="{FA549D34-7C40-4DDB-797D-1C7F14F9D8B4}"/>
                </a:ext>
              </a:extLst>
            </p:cNvPr>
            <p:cNvSpPr>
              <a:spLocks noChangeShapeType="1"/>
            </p:cNvSpPr>
            <p:nvPr/>
          </p:nvSpPr>
          <p:spPr bwMode="auto">
            <a:xfrm flipV="1">
              <a:off x="1261393" y="3901122"/>
              <a:ext cx="574292" cy="23557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4" name="Line 152">
              <a:extLst>
                <a:ext uri="{FF2B5EF4-FFF2-40B4-BE49-F238E27FC236}">
                  <a16:creationId xmlns:a16="http://schemas.microsoft.com/office/drawing/2014/main" id="{CEEC60C9-E340-DFBF-124B-10EE58B18E9E}"/>
                </a:ext>
              </a:extLst>
            </p:cNvPr>
            <p:cNvSpPr>
              <a:spLocks noChangeShapeType="1"/>
            </p:cNvSpPr>
            <p:nvPr/>
          </p:nvSpPr>
          <p:spPr bwMode="auto">
            <a:xfrm>
              <a:off x="1394611" y="3168939"/>
              <a:ext cx="441073" cy="72716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 name="Group 24">
              <a:extLst>
                <a:ext uri="{FF2B5EF4-FFF2-40B4-BE49-F238E27FC236}">
                  <a16:creationId xmlns:a16="http://schemas.microsoft.com/office/drawing/2014/main" id="{7671E3A9-66A6-307C-60AE-3F64CFF92640}"/>
                </a:ext>
              </a:extLst>
            </p:cNvPr>
            <p:cNvGrpSpPr/>
            <p:nvPr/>
          </p:nvGrpSpPr>
          <p:grpSpPr>
            <a:xfrm>
              <a:off x="865123" y="1448206"/>
              <a:ext cx="3802721" cy="4002591"/>
              <a:chOff x="4469839" y="1397246"/>
              <a:chExt cx="4257646" cy="4895140"/>
            </a:xfrm>
          </p:grpSpPr>
          <p:sp>
            <p:nvSpPr>
              <p:cNvPr id="58" name="Line 121">
                <a:extLst>
                  <a:ext uri="{FF2B5EF4-FFF2-40B4-BE49-F238E27FC236}">
                    <a16:creationId xmlns:a16="http://schemas.microsoft.com/office/drawing/2014/main" id="{32E995EB-37F8-CF59-401B-C055451ADA74}"/>
                  </a:ext>
                </a:extLst>
              </p:cNvPr>
              <p:cNvSpPr>
                <a:spLocks noChangeShapeType="1"/>
              </p:cNvSpPr>
              <p:nvPr/>
            </p:nvSpPr>
            <p:spPr bwMode="auto">
              <a:xfrm flipH="1">
                <a:off x="7683088" y="4301037"/>
                <a:ext cx="813539" cy="5539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477D83E7-B271-2A5F-FC6F-C10C1B7C8FAB}"/>
                  </a:ext>
                </a:extLst>
              </p:cNvPr>
              <p:cNvGrpSpPr/>
              <p:nvPr/>
            </p:nvGrpSpPr>
            <p:grpSpPr>
              <a:xfrm>
                <a:off x="4469839" y="1397246"/>
                <a:ext cx="4257646" cy="4895140"/>
                <a:chOff x="4469839" y="1397246"/>
                <a:chExt cx="4257646" cy="4895140"/>
              </a:xfrm>
            </p:grpSpPr>
            <p:sp>
              <p:nvSpPr>
                <p:cNvPr id="63" name="Line 106">
                  <a:extLst>
                    <a:ext uri="{FF2B5EF4-FFF2-40B4-BE49-F238E27FC236}">
                      <a16:creationId xmlns:a16="http://schemas.microsoft.com/office/drawing/2014/main" id="{059FD1F0-DB78-3097-A3AD-01B8050CCC56}"/>
                    </a:ext>
                  </a:extLst>
                </p:cNvPr>
                <p:cNvSpPr>
                  <a:spLocks noChangeShapeType="1"/>
                </p:cNvSpPr>
                <p:nvPr/>
              </p:nvSpPr>
              <p:spPr bwMode="auto">
                <a:xfrm flipH="1" flipV="1">
                  <a:off x="5913468" y="1548572"/>
                  <a:ext cx="672475" cy="42071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448" name="Group 447">
                  <a:extLst>
                    <a:ext uri="{FF2B5EF4-FFF2-40B4-BE49-F238E27FC236}">
                      <a16:creationId xmlns:a16="http://schemas.microsoft.com/office/drawing/2014/main" id="{82632E99-AD74-5D2F-151C-EFFD3D62A3A3}"/>
                    </a:ext>
                  </a:extLst>
                </p:cNvPr>
                <p:cNvGrpSpPr/>
                <p:nvPr/>
              </p:nvGrpSpPr>
              <p:grpSpPr>
                <a:xfrm>
                  <a:off x="4469839" y="1397556"/>
                  <a:ext cx="4257646" cy="4894830"/>
                  <a:chOff x="4469839" y="1397556"/>
                  <a:chExt cx="4257646" cy="4894830"/>
                </a:xfrm>
              </p:grpSpPr>
              <p:grpSp>
                <p:nvGrpSpPr>
                  <p:cNvPr id="453" name="Group 452">
                    <a:extLst>
                      <a:ext uri="{FF2B5EF4-FFF2-40B4-BE49-F238E27FC236}">
                        <a16:creationId xmlns:a16="http://schemas.microsoft.com/office/drawing/2014/main" id="{C317695D-E46B-7740-380E-84B64C004276}"/>
                      </a:ext>
                    </a:extLst>
                  </p:cNvPr>
                  <p:cNvGrpSpPr/>
                  <p:nvPr/>
                </p:nvGrpSpPr>
                <p:grpSpPr>
                  <a:xfrm>
                    <a:off x="4469839" y="1557903"/>
                    <a:ext cx="4257646" cy="4734483"/>
                    <a:chOff x="4469839" y="1557903"/>
                    <a:chExt cx="4257646" cy="4734483"/>
                  </a:xfrm>
                </p:grpSpPr>
                <p:sp>
                  <p:nvSpPr>
                    <p:cNvPr id="460" name="Line 129">
                      <a:extLst>
                        <a:ext uri="{FF2B5EF4-FFF2-40B4-BE49-F238E27FC236}">
                          <a16:creationId xmlns:a16="http://schemas.microsoft.com/office/drawing/2014/main" id="{19A7C8C2-34F9-5C55-1130-AB177BDFA675}"/>
                        </a:ext>
                      </a:extLst>
                    </p:cNvPr>
                    <p:cNvSpPr>
                      <a:spLocks noChangeShapeType="1"/>
                    </p:cNvSpPr>
                    <p:nvPr/>
                  </p:nvSpPr>
                  <p:spPr bwMode="auto">
                    <a:xfrm flipV="1">
                      <a:off x="8139758" y="2027541"/>
                      <a:ext cx="587727" cy="41281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61" name="Line 130">
                      <a:extLst>
                        <a:ext uri="{FF2B5EF4-FFF2-40B4-BE49-F238E27FC236}">
                          <a16:creationId xmlns:a16="http://schemas.microsoft.com/office/drawing/2014/main" id="{4A75730A-0B1F-62D4-C704-6F06D6C0D721}"/>
                        </a:ext>
                      </a:extLst>
                    </p:cNvPr>
                    <p:cNvSpPr>
                      <a:spLocks noChangeShapeType="1"/>
                    </p:cNvSpPr>
                    <p:nvPr/>
                  </p:nvSpPr>
                  <p:spPr bwMode="auto">
                    <a:xfrm flipV="1">
                      <a:off x="8052348" y="2451709"/>
                      <a:ext cx="107381" cy="98562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462" name="Group 461">
                      <a:extLst>
                        <a:ext uri="{FF2B5EF4-FFF2-40B4-BE49-F238E27FC236}">
                          <a16:creationId xmlns:a16="http://schemas.microsoft.com/office/drawing/2014/main" id="{94E671BC-8512-2F3C-0CD7-B195AEF1E49E}"/>
                        </a:ext>
                      </a:extLst>
                    </p:cNvPr>
                    <p:cNvGrpSpPr/>
                    <p:nvPr/>
                  </p:nvGrpSpPr>
                  <p:grpSpPr>
                    <a:xfrm>
                      <a:off x="4469839" y="1557903"/>
                      <a:ext cx="4026788" cy="4734483"/>
                      <a:chOff x="4469839" y="1557903"/>
                      <a:chExt cx="4026788" cy="4734483"/>
                    </a:xfrm>
                  </p:grpSpPr>
                  <p:sp>
                    <p:nvSpPr>
                      <p:cNvPr id="463" name="Line 122">
                        <a:extLst>
                          <a:ext uri="{FF2B5EF4-FFF2-40B4-BE49-F238E27FC236}">
                            <a16:creationId xmlns:a16="http://schemas.microsoft.com/office/drawing/2014/main" id="{E02D4D15-3586-B0C6-3AFC-9C9DD3321474}"/>
                          </a:ext>
                        </a:extLst>
                      </p:cNvPr>
                      <p:cNvSpPr>
                        <a:spLocks noChangeShapeType="1"/>
                      </p:cNvSpPr>
                      <p:nvPr/>
                    </p:nvSpPr>
                    <p:spPr bwMode="auto">
                      <a:xfrm flipV="1">
                        <a:off x="6622536" y="4356433"/>
                        <a:ext cx="1060553" cy="6784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64" name="Line 140">
                        <a:extLst>
                          <a:ext uri="{FF2B5EF4-FFF2-40B4-BE49-F238E27FC236}">
                            <a16:creationId xmlns:a16="http://schemas.microsoft.com/office/drawing/2014/main" id="{7645FE4E-DA4E-38BC-237C-B5FE0FACF798}"/>
                          </a:ext>
                        </a:extLst>
                      </p:cNvPr>
                      <p:cNvSpPr>
                        <a:spLocks noChangeShapeType="1"/>
                      </p:cNvSpPr>
                      <p:nvPr/>
                    </p:nvSpPr>
                    <p:spPr bwMode="auto">
                      <a:xfrm>
                        <a:off x="6629224" y="4430744"/>
                        <a:ext cx="572778" cy="56532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65" name="Line 147">
                        <a:extLst>
                          <a:ext uri="{FF2B5EF4-FFF2-40B4-BE49-F238E27FC236}">
                            <a16:creationId xmlns:a16="http://schemas.microsoft.com/office/drawing/2014/main" id="{8C2064E2-B8B7-33DA-4454-855427E58CA8}"/>
                          </a:ext>
                        </a:extLst>
                      </p:cNvPr>
                      <p:cNvSpPr>
                        <a:spLocks noChangeShapeType="1"/>
                      </p:cNvSpPr>
                      <p:nvPr/>
                    </p:nvSpPr>
                    <p:spPr bwMode="auto">
                      <a:xfrm>
                        <a:off x="6093932" y="4938235"/>
                        <a:ext cx="528605" cy="60579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466" name="Group 465">
                        <a:extLst>
                          <a:ext uri="{FF2B5EF4-FFF2-40B4-BE49-F238E27FC236}">
                            <a16:creationId xmlns:a16="http://schemas.microsoft.com/office/drawing/2014/main" id="{E6F59EC9-2225-91D3-8032-870CC4EEBF3E}"/>
                          </a:ext>
                        </a:extLst>
                      </p:cNvPr>
                      <p:cNvGrpSpPr/>
                      <p:nvPr/>
                    </p:nvGrpSpPr>
                    <p:grpSpPr>
                      <a:xfrm>
                        <a:off x="4469839" y="1557903"/>
                        <a:ext cx="4026788" cy="4734483"/>
                        <a:chOff x="4469839" y="1557903"/>
                        <a:chExt cx="4026788" cy="4734483"/>
                      </a:xfrm>
                    </p:grpSpPr>
                    <p:sp>
                      <p:nvSpPr>
                        <p:cNvPr id="478" name="Line 164">
                          <a:extLst>
                            <a:ext uri="{FF2B5EF4-FFF2-40B4-BE49-F238E27FC236}">
                              <a16:creationId xmlns:a16="http://schemas.microsoft.com/office/drawing/2014/main" id="{C888D540-DA93-D96D-4847-9D96A508D231}"/>
                            </a:ext>
                          </a:extLst>
                        </p:cNvPr>
                        <p:cNvSpPr>
                          <a:spLocks noChangeShapeType="1"/>
                        </p:cNvSpPr>
                        <p:nvPr/>
                      </p:nvSpPr>
                      <p:spPr bwMode="auto">
                        <a:xfrm flipH="1" flipV="1">
                          <a:off x="4593838" y="3966269"/>
                          <a:ext cx="985737" cy="42477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9" name="Line 173">
                          <a:extLst>
                            <a:ext uri="{FF2B5EF4-FFF2-40B4-BE49-F238E27FC236}">
                              <a16:creationId xmlns:a16="http://schemas.microsoft.com/office/drawing/2014/main" id="{1211BE05-6916-622D-3E46-6AB50DBA8134}"/>
                            </a:ext>
                          </a:extLst>
                        </p:cNvPr>
                        <p:cNvSpPr>
                          <a:spLocks noChangeShapeType="1"/>
                        </p:cNvSpPr>
                        <p:nvPr/>
                      </p:nvSpPr>
                      <p:spPr bwMode="auto">
                        <a:xfrm>
                          <a:off x="5560811" y="4391043"/>
                          <a:ext cx="103186" cy="118907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0" name="Line 174">
                          <a:extLst>
                            <a:ext uri="{FF2B5EF4-FFF2-40B4-BE49-F238E27FC236}">
                              <a16:creationId xmlns:a16="http://schemas.microsoft.com/office/drawing/2014/main" id="{A1FAB426-8024-4AFA-09B3-4D36E7F4B3BC}"/>
                            </a:ext>
                          </a:extLst>
                        </p:cNvPr>
                        <p:cNvSpPr>
                          <a:spLocks noChangeShapeType="1"/>
                        </p:cNvSpPr>
                        <p:nvPr/>
                      </p:nvSpPr>
                      <p:spPr bwMode="auto">
                        <a:xfrm flipV="1">
                          <a:off x="5654389" y="5529645"/>
                          <a:ext cx="951998" cy="5047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1" name="Line 176">
                          <a:extLst>
                            <a:ext uri="{FF2B5EF4-FFF2-40B4-BE49-F238E27FC236}">
                              <a16:creationId xmlns:a16="http://schemas.microsoft.com/office/drawing/2014/main" id="{0ED515A0-BCB6-B977-8E56-FA655968B2DF}"/>
                            </a:ext>
                          </a:extLst>
                        </p:cNvPr>
                        <p:cNvSpPr>
                          <a:spLocks noChangeShapeType="1"/>
                        </p:cNvSpPr>
                        <p:nvPr/>
                      </p:nvSpPr>
                      <p:spPr bwMode="auto">
                        <a:xfrm flipH="1">
                          <a:off x="6605268" y="5544032"/>
                          <a:ext cx="1118" cy="74835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482" name="Group 481">
                          <a:extLst>
                            <a:ext uri="{FF2B5EF4-FFF2-40B4-BE49-F238E27FC236}">
                              <a16:creationId xmlns:a16="http://schemas.microsoft.com/office/drawing/2014/main" id="{E81E11A7-CF36-E0F6-FC0C-399D143ACD2E}"/>
                            </a:ext>
                          </a:extLst>
                        </p:cNvPr>
                        <p:cNvGrpSpPr/>
                        <p:nvPr/>
                      </p:nvGrpSpPr>
                      <p:grpSpPr>
                        <a:xfrm>
                          <a:off x="4469839" y="1557903"/>
                          <a:ext cx="4026788" cy="2743130"/>
                          <a:chOff x="4469839" y="1557903"/>
                          <a:chExt cx="4026788" cy="2743130"/>
                        </a:xfrm>
                      </p:grpSpPr>
                      <p:sp>
                        <p:nvSpPr>
                          <p:cNvPr id="491" name="Line 107">
                            <a:extLst>
                              <a:ext uri="{FF2B5EF4-FFF2-40B4-BE49-F238E27FC236}">
                                <a16:creationId xmlns:a16="http://schemas.microsoft.com/office/drawing/2014/main" id="{6096BFB9-F75C-4F99-3D37-BAC869DB733A}"/>
                              </a:ext>
                            </a:extLst>
                          </p:cNvPr>
                          <p:cNvSpPr>
                            <a:spLocks noChangeShapeType="1"/>
                          </p:cNvSpPr>
                          <p:nvPr/>
                        </p:nvSpPr>
                        <p:spPr bwMode="auto">
                          <a:xfrm flipH="1">
                            <a:off x="4469839" y="2413863"/>
                            <a:ext cx="589613" cy="38590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492" name="Group 491">
                            <a:extLst>
                              <a:ext uri="{FF2B5EF4-FFF2-40B4-BE49-F238E27FC236}">
                                <a16:creationId xmlns:a16="http://schemas.microsoft.com/office/drawing/2014/main" id="{DE6F33DB-0AE8-5674-1EA1-87BAB2D9D869}"/>
                              </a:ext>
                            </a:extLst>
                          </p:cNvPr>
                          <p:cNvGrpSpPr/>
                          <p:nvPr/>
                        </p:nvGrpSpPr>
                        <p:grpSpPr>
                          <a:xfrm>
                            <a:off x="4470637" y="1557903"/>
                            <a:ext cx="4025990" cy="2743130"/>
                            <a:chOff x="4470637" y="1557903"/>
                            <a:chExt cx="4025990" cy="2743130"/>
                          </a:xfrm>
                        </p:grpSpPr>
                        <p:sp>
                          <p:nvSpPr>
                            <p:cNvPr id="495" name="Line 111">
                              <a:extLst>
                                <a:ext uri="{FF2B5EF4-FFF2-40B4-BE49-F238E27FC236}">
                                  <a16:creationId xmlns:a16="http://schemas.microsoft.com/office/drawing/2014/main" id="{B8266EBE-F21F-5CA6-D1EC-DAEB2116A4A2}"/>
                                </a:ext>
                              </a:extLst>
                            </p:cNvPr>
                            <p:cNvSpPr>
                              <a:spLocks noChangeShapeType="1"/>
                            </p:cNvSpPr>
                            <p:nvPr/>
                          </p:nvSpPr>
                          <p:spPr bwMode="auto">
                            <a:xfrm flipH="1">
                              <a:off x="5052952" y="2403978"/>
                              <a:ext cx="9715" cy="109338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96" name="Line 115">
                              <a:extLst>
                                <a:ext uri="{FF2B5EF4-FFF2-40B4-BE49-F238E27FC236}">
                                  <a16:creationId xmlns:a16="http://schemas.microsoft.com/office/drawing/2014/main" id="{F5E14927-31B8-7AC4-486C-96BFD8243CED}"/>
                                </a:ext>
                              </a:extLst>
                            </p:cNvPr>
                            <p:cNvSpPr>
                              <a:spLocks noChangeShapeType="1"/>
                            </p:cNvSpPr>
                            <p:nvPr/>
                          </p:nvSpPr>
                          <p:spPr bwMode="auto">
                            <a:xfrm flipH="1" flipV="1">
                              <a:off x="8049829" y="3479948"/>
                              <a:ext cx="446798" cy="82108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497" name="Group 496">
                              <a:extLst>
                                <a:ext uri="{FF2B5EF4-FFF2-40B4-BE49-F238E27FC236}">
                                  <a16:creationId xmlns:a16="http://schemas.microsoft.com/office/drawing/2014/main" id="{1407830F-E9D4-D875-4506-DF9F319672E8}"/>
                                </a:ext>
                              </a:extLst>
                            </p:cNvPr>
                            <p:cNvGrpSpPr/>
                            <p:nvPr/>
                          </p:nvGrpSpPr>
                          <p:grpSpPr>
                            <a:xfrm>
                              <a:off x="4599126" y="1557903"/>
                              <a:ext cx="3441884" cy="2414685"/>
                              <a:chOff x="4599126" y="1557903"/>
                              <a:chExt cx="3441884" cy="2414685"/>
                            </a:xfrm>
                          </p:grpSpPr>
                          <p:sp>
                            <p:nvSpPr>
                              <p:cNvPr id="499" name="Line 117">
                                <a:extLst>
                                  <a:ext uri="{FF2B5EF4-FFF2-40B4-BE49-F238E27FC236}">
                                    <a16:creationId xmlns:a16="http://schemas.microsoft.com/office/drawing/2014/main" id="{54ED88B0-1E96-3A2E-0B9E-FD7CB2B70CE8}"/>
                                  </a:ext>
                                </a:extLst>
                              </p:cNvPr>
                              <p:cNvSpPr>
                                <a:spLocks noChangeShapeType="1"/>
                              </p:cNvSpPr>
                              <p:nvPr/>
                            </p:nvSpPr>
                            <p:spPr bwMode="auto">
                              <a:xfrm flipV="1">
                                <a:off x="5854417" y="1557903"/>
                                <a:ext cx="59051" cy="71135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500" name="Group 499">
                                <a:extLst>
                                  <a:ext uri="{FF2B5EF4-FFF2-40B4-BE49-F238E27FC236}">
                                    <a16:creationId xmlns:a16="http://schemas.microsoft.com/office/drawing/2014/main" id="{24D2C6C9-CC53-6459-00DF-D3A8DDC27C42}"/>
                                  </a:ext>
                                </a:extLst>
                              </p:cNvPr>
                              <p:cNvGrpSpPr/>
                              <p:nvPr/>
                            </p:nvGrpSpPr>
                            <p:grpSpPr>
                              <a:xfrm>
                                <a:off x="4599126" y="1962345"/>
                                <a:ext cx="3441884" cy="2010243"/>
                                <a:chOff x="4599126" y="1962345"/>
                                <a:chExt cx="3441884" cy="2010243"/>
                              </a:xfrm>
                            </p:grpSpPr>
                            <p:sp>
                              <p:nvSpPr>
                                <p:cNvPr id="504" name="Line 110">
                                  <a:extLst>
                                    <a:ext uri="{FF2B5EF4-FFF2-40B4-BE49-F238E27FC236}">
                                      <a16:creationId xmlns:a16="http://schemas.microsoft.com/office/drawing/2014/main" id="{EAB7535D-6694-9202-0C6D-9E7590EC8922}"/>
                                    </a:ext>
                                  </a:extLst>
                                </p:cNvPr>
                                <p:cNvSpPr>
                                  <a:spLocks noChangeShapeType="1"/>
                                </p:cNvSpPr>
                                <p:nvPr/>
                              </p:nvSpPr>
                              <p:spPr bwMode="auto">
                                <a:xfrm flipH="1">
                                  <a:off x="4599126" y="3497359"/>
                                  <a:ext cx="470945" cy="47522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5" name="Line 113">
                                  <a:extLst>
                                    <a:ext uri="{FF2B5EF4-FFF2-40B4-BE49-F238E27FC236}">
                                      <a16:creationId xmlns:a16="http://schemas.microsoft.com/office/drawing/2014/main" id="{DE20FBCC-C4EC-6755-3B08-6CBCB1F5B941}"/>
                                    </a:ext>
                                  </a:extLst>
                                </p:cNvPr>
                                <p:cNvSpPr>
                                  <a:spLocks noChangeShapeType="1"/>
                                </p:cNvSpPr>
                                <p:nvPr/>
                              </p:nvSpPr>
                              <p:spPr bwMode="auto">
                                <a:xfrm flipV="1">
                                  <a:off x="5067986" y="2298516"/>
                                  <a:ext cx="779305" cy="10546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6" name="Line 114">
                                  <a:extLst>
                                    <a:ext uri="{FF2B5EF4-FFF2-40B4-BE49-F238E27FC236}">
                                      <a16:creationId xmlns:a16="http://schemas.microsoft.com/office/drawing/2014/main" id="{6A200343-6F3A-5883-39B2-2EE291F6A0CE}"/>
                                    </a:ext>
                                  </a:extLst>
                                </p:cNvPr>
                                <p:cNvSpPr>
                                  <a:spLocks noChangeShapeType="1"/>
                                </p:cNvSpPr>
                                <p:nvPr/>
                              </p:nvSpPr>
                              <p:spPr bwMode="auto">
                                <a:xfrm flipH="1">
                                  <a:off x="5062462" y="3013384"/>
                                  <a:ext cx="885064" cy="48397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7" name="Line 182">
                                  <a:extLst>
                                    <a:ext uri="{FF2B5EF4-FFF2-40B4-BE49-F238E27FC236}">
                                      <a16:creationId xmlns:a16="http://schemas.microsoft.com/office/drawing/2014/main" id="{E89244CC-FE54-6604-6C66-6452410711F3}"/>
                                    </a:ext>
                                  </a:extLst>
                                </p:cNvPr>
                                <p:cNvSpPr>
                                  <a:spLocks noChangeShapeType="1"/>
                                </p:cNvSpPr>
                                <p:nvPr/>
                              </p:nvSpPr>
                              <p:spPr bwMode="auto">
                                <a:xfrm>
                                  <a:off x="7324292" y="3045206"/>
                                  <a:ext cx="716718" cy="39902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8" name="Line 113">
                                  <a:extLst>
                                    <a:ext uri="{FF2B5EF4-FFF2-40B4-BE49-F238E27FC236}">
                                      <a16:creationId xmlns:a16="http://schemas.microsoft.com/office/drawing/2014/main" id="{703F9203-F95B-DE67-30CC-7599F01C4F48}"/>
                                    </a:ext>
                                  </a:extLst>
                                </p:cNvPr>
                                <p:cNvSpPr>
                                  <a:spLocks noChangeShapeType="1"/>
                                </p:cNvSpPr>
                                <p:nvPr/>
                              </p:nvSpPr>
                              <p:spPr bwMode="auto">
                                <a:xfrm flipV="1">
                                  <a:off x="5850521" y="1962345"/>
                                  <a:ext cx="733353" cy="34405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9" name="Line 113">
                                  <a:extLst>
                                    <a:ext uri="{FF2B5EF4-FFF2-40B4-BE49-F238E27FC236}">
                                      <a16:creationId xmlns:a16="http://schemas.microsoft.com/office/drawing/2014/main" id="{99E16AF8-A443-81A3-6ACA-8265C4F1E281}"/>
                                    </a:ext>
                                  </a:extLst>
                                </p:cNvPr>
                                <p:cNvSpPr>
                                  <a:spLocks noChangeShapeType="1"/>
                                </p:cNvSpPr>
                                <p:nvPr/>
                              </p:nvSpPr>
                              <p:spPr bwMode="auto">
                                <a:xfrm>
                                  <a:off x="5881198" y="2285720"/>
                                  <a:ext cx="757344" cy="70264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01" name="Line 184">
                                <a:extLst>
                                  <a:ext uri="{FF2B5EF4-FFF2-40B4-BE49-F238E27FC236}">
                                    <a16:creationId xmlns:a16="http://schemas.microsoft.com/office/drawing/2014/main" id="{31AC82B7-2680-6E8A-EEAB-65F27E03855F}"/>
                                  </a:ext>
                                </a:extLst>
                              </p:cNvPr>
                              <p:cNvSpPr>
                                <a:spLocks noChangeShapeType="1"/>
                              </p:cNvSpPr>
                              <p:nvPr/>
                            </p:nvSpPr>
                            <p:spPr bwMode="auto">
                              <a:xfrm flipH="1" flipV="1">
                                <a:off x="5866780" y="2305249"/>
                                <a:ext cx="70384" cy="70603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2" name="Line 117">
                                <a:extLst>
                                  <a:ext uri="{FF2B5EF4-FFF2-40B4-BE49-F238E27FC236}">
                                    <a16:creationId xmlns:a16="http://schemas.microsoft.com/office/drawing/2014/main" id="{FDA703E8-171D-90B3-9032-3027DE9B4468}"/>
                                  </a:ext>
                                </a:extLst>
                              </p:cNvPr>
                              <p:cNvSpPr>
                                <a:spLocks noChangeShapeType="1"/>
                              </p:cNvSpPr>
                              <p:nvPr/>
                            </p:nvSpPr>
                            <p:spPr bwMode="auto">
                              <a:xfrm flipH="1" flipV="1">
                                <a:off x="5448898" y="1813984"/>
                                <a:ext cx="398393" cy="47986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3" name="Line 117">
                                <a:extLst>
                                  <a:ext uri="{FF2B5EF4-FFF2-40B4-BE49-F238E27FC236}">
                                    <a16:creationId xmlns:a16="http://schemas.microsoft.com/office/drawing/2014/main" id="{FE88D95A-B866-326E-AB72-0A6769F5C704}"/>
                                  </a:ext>
                                </a:extLst>
                              </p:cNvPr>
                              <p:cNvSpPr>
                                <a:spLocks noChangeShapeType="1"/>
                              </p:cNvSpPr>
                              <p:nvPr/>
                            </p:nvSpPr>
                            <p:spPr bwMode="auto">
                              <a:xfrm flipV="1">
                                <a:off x="5062228" y="1822871"/>
                                <a:ext cx="398392" cy="58485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98" name="Line 111">
                              <a:extLst>
                                <a:ext uri="{FF2B5EF4-FFF2-40B4-BE49-F238E27FC236}">
                                  <a16:creationId xmlns:a16="http://schemas.microsoft.com/office/drawing/2014/main" id="{71229695-2275-1E18-CFA8-DF5F39B40871}"/>
                                </a:ext>
                              </a:extLst>
                            </p:cNvPr>
                            <p:cNvSpPr>
                              <a:spLocks noChangeShapeType="1"/>
                            </p:cNvSpPr>
                            <p:nvPr/>
                          </p:nvSpPr>
                          <p:spPr bwMode="auto">
                            <a:xfrm>
                              <a:off x="4470637" y="2799014"/>
                              <a:ext cx="583770" cy="68883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93" name="Line 107">
                            <a:extLst>
                              <a:ext uri="{FF2B5EF4-FFF2-40B4-BE49-F238E27FC236}">
                                <a16:creationId xmlns:a16="http://schemas.microsoft.com/office/drawing/2014/main" id="{BEFC3D69-AE6E-2B22-0754-C5F48BAF659F}"/>
                              </a:ext>
                            </a:extLst>
                          </p:cNvPr>
                          <p:cNvSpPr>
                            <a:spLocks noChangeShapeType="1"/>
                          </p:cNvSpPr>
                          <p:nvPr/>
                        </p:nvSpPr>
                        <p:spPr bwMode="auto">
                          <a:xfrm>
                            <a:off x="5059453" y="2408629"/>
                            <a:ext cx="879242" cy="57327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94" name="Line 107">
                            <a:extLst>
                              <a:ext uri="{FF2B5EF4-FFF2-40B4-BE49-F238E27FC236}">
                                <a16:creationId xmlns:a16="http://schemas.microsoft.com/office/drawing/2014/main" id="{1C4DFAEE-71C1-18AC-7A29-7548D4AF4926}"/>
                              </a:ext>
                            </a:extLst>
                          </p:cNvPr>
                          <p:cNvSpPr>
                            <a:spLocks noChangeShapeType="1"/>
                          </p:cNvSpPr>
                          <p:nvPr/>
                        </p:nvSpPr>
                        <p:spPr bwMode="auto">
                          <a:xfrm flipH="1" flipV="1">
                            <a:off x="4489310" y="2010667"/>
                            <a:ext cx="572918" cy="39796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83" name="Line 188">
                          <a:extLst>
                            <a:ext uri="{FF2B5EF4-FFF2-40B4-BE49-F238E27FC236}">
                              <a16:creationId xmlns:a16="http://schemas.microsoft.com/office/drawing/2014/main" id="{4D9C5C65-336B-8B7B-D6C2-51002B874320}"/>
                            </a:ext>
                          </a:extLst>
                        </p:cNvPr>
                        <p:cNvSpPr>
                          <a:spLocks noChangeShapeType="1"/>
                        </p:cNvSpPr>
                        <p:nvPr/>
                      </p:nvSpPr>
                      <p:spPr bwMode="auto">
                        <a:xfrm flipV="1">
                          <a:off x="7318947" y="2436180"/>
                          <a:ext cx="826457" cy="58818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4" name="Line 142">
                          <a:extLst>
                            <a:ext uri="{FF2B5EF4-FFF2-40B4-BE49-F238E27FC236}">
                              <a16:creationId xmlns:a16="http://schemas.microsoft.com/office/drawing/2014/main" id="{B4618D8A-35AD-BCD9-9942-05C45DEC9AE7}"/>
                            </a:ext>
                          </a:extLst>
                        </p:cNvPr>
                        <p:cNvSpPr>
                          <a:spLocks noChangeShapeType="1"/>
                        </p:cNvSpPr>
                        <p:nvPr/>
                      </p:nvSpPr>
                      <p:spPr bwMode="auto">
                        <a:xfrm flipH="1">
                          <a:off x="6606386" y="5003441"/>
                          <a:ext cx="595614" cy="54059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5" name="Line 142">
                          <a:extLst>
                            <a:ext uri="{FF2B5EF4-FFF2-40B4-BE49-F238E27FC236}">
                              <a16:creationId xmlns:a16="http://schemas.microsoft.com/office/drawing/2014/main" id="{96F58F3B-26E6-699B-D213-36F6F4B9F24A}"/>
                            </a:ext>
                          </a:extLst>
                        </p:cNvPr>
                        <p:cNvSpPr>
                          <a:spLocks noChangeShapeType="1"/>
                        </p:cNvSpPr>
                        <p:nvPr/>
                      </p:nvSpPr>
                      <p:spPr bwMode="auto">
                        <a:xfrm>
                          <a:off x="7693572" y="4356430"/>
                          <a:ext cx="192249" cy="86021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6" name="Line 142">
                          <a:extLst>
                            <a:ext uri="{FF2B5EF4-FFF2-40B4-BE49-F238E27FC236}">
                              <a16:creationId xmlns:a16="http://schemas.microsoft.com/office/drawing/2014/main" id="{21ACDAF6-5700-8CCF-8069-7EF72798076C}"/>
                            </a:ext>
                          </a:extLst>
                        </p:cNvPr>
                        <p:cNvSpPr>
                          <a:spLocks noChangeShapeType="1"/>
                        </p:cNvSpPr>
                        <p:nvPr/>
                      </p:nvSpPr>
                      <p:spPr bwMode="auto">
                        <a:xfrm>
                          <a:off x="7256448" y="5037273"/>
                          <a:ext cx="164067" cy="65257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7" name="Line 142">
                          <a:extLst>
                            <a:ext uri="{FF2B5EF4-FFF2-40B4-BE49-F238E27FC236}">
                              <a16:creationId xmlns:a16="http://schemas.microsoft.com/office/drawing/2014/main" id="{837B6BDF-146A-5388-912A-19D34B0B8A37}"/>
                            </a:ext>
                          </a:extLst>
                        </p:cNvPr>
                        <p:cNvSpPr>
                          <a:spLocks noChangeShapeType="1"/>
                        </p:cNvSpPr>
                        <p:nvPr/>
                      </p:nvSpPr>
                      <p:spPr bwMode="auto">
                        <a:xfrm>
                          <a:off x="7271766" y="4990960"/>
                          <a:ext cx="614055" cy="22568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8" name="Line 142">
                          <a:extLst>
                            <a:ext uri="{FF2B5EF4-FFF2-40B4-BE49-F238E27FC236}">
                              <a16:creationId xmlns:a16="http://schemas.microsoft.com/office/drawing/2014/main" id="{A32283A9-C0D5-16CD-F029-09EEDC254C08}"/>
                            </a:ext>
                          </a:extLst>
                        </p:cNvPr>
                        <p:cNvSpPr>
                          <a:spLocks noChangeShapeType="1"/>
                        </p:cNvSpPr>
                        <p:nvPr/>
                      </p:nvSpPr>
                      <p:spPr bwMode="auto">
                        <a:xfrm flipH="1" flipV="1">
                          <a:off x="6606385" y="5544032"/>
                          <a:ext cx="814130" cy="14581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89" name="Line 142">
                          <a:extLst>
                            <a:ext uri="{FF2B5EF4-FFF2-40B4-BE49-F238E27FC236}">
                              <a16:creationId xmlns:a16="http://schemas.microsoft.com/office/drawing/2014/main" id="{C98F668B-F42C-5E46-3BA2-26DC3227EADD}"/>
                            </a:ext>
                          </a:extLst>
                        </p:cNvPr>
                        <p:cNvSpPr>
                          <a:spLocks noChangeShapeType="1"/>
                        </p:cNvSpPr>
                        <p:nvPr/>
                      </p:nvSpPr>
                      <p:spPr bwMode="auto">
                        <a:xfrm flipV="1">
                          <a:off x="7212486" y="4343222"/>
                          <a:ext cx="488900" cy="64127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90" name="Line 142">
                          <a:extLst>
                            <a:ext uri="{FF2B5EF4-FFF2-40B4-BE49-F238E27FC236}">
                              <a16:creationId xmlns:a16="http://schemas.microsoft.com/office/drawing/2014/main" id="{635837CD-BCE6-01FD-E1CC-240D1FF9C749}"/>
                            </a:ext>
                          </a:extLst>
                        </p:cNvPr>
                        <p:cNvSpPr>
                          <a:spLocks noChangeShapeType="1"/>
                        </p:cNvSpPr>
                        <p:nvPr/>
                      </p:nvSpPr>
                      <p:spPr bwMode="auto">
                        <a:xfrm flipH="1">
                          <a:off x="6605268" y="4469756"/>
                          <a:ext cx="5649" cy="105830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67" name="Line 147">
                        <a:extLst>
                          <a:ext uri="{FF2B5EF4-FFF2-40B4-BE49-F238E27FC236}">
                            <a16:creationId xmlns:a16="http://schemas.microsoft.com/office/drawing/2014/main" id="{EE1D06B6-42AC-6B06-F2F7-D1B317C4FECD}"/>
                          </a:ext>
                        </a:extLst>
                      </p:cNvPr>
                      <p:cNvSpPr>
                        <a:spLocks noChangeShapeType="1"/>
                      </p:cNvSpPr>
                      <p:nvPr/>
                    </p:nvSpPr>
                    <p:spPr bwMode="auto">
                      <a:xfrm flipH="1">
                        <a:off x="6082401" y="4434891"/>
                        <a:ext cx="542293" cy="47463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68" name="Line 147">
                        <a:extLst>
                          <a:ext uri="{FF2B5EF4-FFF2-40B4-BE49-F238E27FC236}">
                            <a16:creationId xmlns:a16="http://schemas.microsoft.com/office/drawing/2014/main" id="{DFEB51EA-BDE9-22FC-8894-C4A696F2BF5D}"/>
                          </a:ext>
                        </a:extLst>
                      </p:cNvPr>
                      <p:cNvSpPr>
                        <a:spLocks noChangeShapeType="1"/>
                      </p:cNvSpPr>
                      <p:nvPr/>
                    </p:nvSpPr>
                    <p:spPr bwMode="auto">
                      <a:xfrm>
                        <a:off x="5561039" y="4380479"/>
                        <a:ext cx="515729" cy="52396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69" name="Line 147">
                        <a:extLst>
                          <a:ext uri="{FF2B5EF4-FFF2-40B4-BE49-F238E27FC236}">
                            <a16:creationId xmlns:a16="http://schemas.microsoft.com/office/drawing/2014/main" id="{5EA11571-493E-0BFE-F9E0-6C9D6522CA53}"/>
                          </a:ext>
                        </a:extLst>
                      </p:cNvPr>
                      <p:cNvSpPr>
                        <a:spLocks noChangeShapeType="1"/>
                      </p:cNvSpPr>
                      <p:nvPr/>
                    </p:nvSpPr>
                    <p:spPr bwMode="auto">
                      <a:xfrm flipH="1" flipV="1">
                        <a:off x="5579537" y="4394529"/>
                        <a:ext cx="1042998" cy="3687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0" name="Line 147">
                        <a:extLst>
                          <a:ext uri="{FF2B5EF4-FFF2-40B4-BE49-F238E27FC236}">
                            <a16:creationId xmlns:a16="http://schemas.microsoft.com/office/drawing/2014/main" id="{F40EF896-D143-61B5-DAD0-B26BE5A24988}"/>
                          </a:ext>
                        </a:extLst>
                      </p:cNvPr>
                      <p:cNvSpPr>
                        <a:spLocks noChangeShapeType="1"/>
                      </p:cNvSpPr>
                      <p:nvPr/>
                    </p:nvSpPr>
                    <p:spPr bwMode="auto">
                      <a:xfrm flipH="1">
                        <a:off x="5654390" y="4904445"/>
                        <a:ext cx="417527" cy="69087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2" name="Line 147">
                        <a:extLst>
                          <a:ext uri="{FF2B5EF4-FFF2-40B4-BE49-F238E27FC236}">
                            <a16:creationId xmlns:a16="http://schemas.microsoft.com/office/drawing/2014/main" id="{7C227759-9A3E-683D-2FCF-A2E6090612FA}"/>
                          </a:ext>
                        </a:extLst>
                      </p:cNvPr>
                      <p:cNvSpPr>
                        <a:spLocks noChangeShapeType="1"/>
                      </p:cNvSpPr>
                      <p:nvPr/>
                    </p:nvSpPr>
                    <p:spPr bwMode="auto">
                      <a:xfrm flipH="1" flipV="1">
                        <a:off x="5967014" y="3016015"/>
                        <a:ext cx="628612" cy="1436849"/>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4" name="Line 147">
                        <a:extLst>
                          <a:ext uri="{FF2B5EF4-FFF2-40B4-BE49-F238E27FC236}">
                            <a16:creationId xmlns:a16="http://schemas.microsoft.com/office/drawing/2014/main" id="{0A5CBED6-174E-30BE-DBD6-78475321AD85}"/>
                          </a:ext>
                        </a:extLst>
                      </p:cNvPr>
                      <p:cNvSpPr>
                        <a:spLocks noChangeShapeType="1"/>
                      </p:cNvSpPr>
                      <p:nvPr/>
                    </p:nvSpPr>
                    <p:spPr bwMode="auto">
                      <a:xfrm flipV="1">
                        <a:off x="6622534" y="3016015"/>
                        <a:ext cx="691125" cy="1374133"/>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5" name="Line 147">
                        <a:extLst>
                          <a:ext uri="{FF2B5EF4-FFF2-40B4-BE49-F238E27FC236}">
                            <a16:creationId xmlns:a16="http://schemas.microsoft.com/office/drawing/2014/main" id="{4492B7BB-34FA-8A72-629C-EFDA9B3A94BC}"/>
                          </a:ext>
                        </a:extLst>
                      </p:cNvPr>
                      <p:cNvSpPr>
                        <a:spLocks noChangeShapeType="1"/>
                      </p:cNvSpPr>
                      <p:nvPr/>
                    </p:nvSpPr>
                    <p:spPr bwMode="auto">
                      <a:xfrm flipV="1">
                        <a:off x="5556508" y="2996957"/>
                        <a:ext cx="420314" cy="1359472"/>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6" name="Line 147">
                        <a:extLst>
                          <a:ext uri="{FF2B5EF4-FFF2-40B4-BE49-F238E27FC236}">
                            <a16:creationId xmlns:a16="http://schemas.microsoft.com/office/drawing/2014/main" id="{1F33D9F6-2EB9-3C25-7D46-4F58D82FD01B}"/>
                          </a:ext>
                        </a:extLst>
                      </p:cNvPr>
                      <p:cNvSpPr>
                        <a:spLocks noChangeShapeType="1"/>
                      </p:cNvSpPr>
                      <p:nvPr/>
                    </p:nvSpPr>
                    <p:spPr bwMode="auto">
                      <a:xfrm flipH="1" flipV="1">
                        <a:off x="7351766" y="3064112"/>
                        <a:ext cx="324318" cy="1247573"/>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77" name="Line 147">
                        <a:extLst>
                          <a:ext uri="{FF2B5EF4-FFF2-40B4-BE49-F238E27FC236}">
                            <a16:creationId xmlns:a16="http://schemas.microsoft.com/office/drawing/2014/main" id="{573DC165-4979-CE8C-E4E7-0EC4A82C9A8B}"/>
                          </a:ext>
                        </a:extLst>
                      </p:cNvPr>
                      <p:cNvSpPr>
                        <a:spLocks noChangeShapeType="1"/>
                      </p:cNvSpPr>
                      <p:nvPr/>
                    </p:nvSpPr>
                    <p:spPr bwMode="auto">
                      <a:xfrm flipV="1">
                        <a:off x="6607938" y="3016015"/>
                        <a:ext cx="17762" cy="1418566"/>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454" name="Line 179">
                    <a:extLst>
                      <a:ext uri="{FF2B5EF4-FFF2-40B4-BE49-F238E27FC236}">
                        <a16:creationId xmlns:a16="http://schemas.microsoft.com/office/drawing/2014/main" id="{C90A0D4D-0F1B-1FC0-D310-009896DEE21B}"/>
                      </a:ext>
                    </a:extLst>
                  </p:cNvPr>
                  <p:cNvSpPr>
                    <a:spLocks noChangeShapeType="1"/>
                  </p:cNvSpPr>
                  <p:nvPr/>
                </p:nvSpPr>
                <p:spPr bwMode="auto">
                  <a:xfrm>
                    <a:off x="6636017" y="2976425"/>
                    <a:ext cx="674636" cy="5025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5" name="Line 179">
                    <a:extLst>
                      <a:ext uri="{FF2B5EF4-FFF2-40B4-BE49-F238E27FC236}">
                        <a16:creationId xmlns:a16="http://schemas.microsoft.com/office/drawing/2014/main" id="{22CF76B1-AA32-152A-9E1C-AEED74B4532A}"/>
                      </a:ext>
                    </a:extLst>
                  </p:cNvPr>
                  <p:cNvSpPr>
                    <a:spLocks noChangeShapeType="1"/>
                  </p:cNvSpPr>
                  <p:nvPr/>
                </p:nvSpPr>
                <p:spPr bwMode="auto">
                  <a:xfrm flipV="1">
                    <a:off x="6642596" y="2358262"/>
                    <a:ext cx="802831" cy="61331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6" name="Line 179">
                    <a:extLst>
                      <a:ext uri="{FF2B5EF4-FFF2-40B4-BE49-F238E27FC236}">
                        <a16:creationId xmlns:a16="http://schemas.microsoft.com/office/drawing/2014/main" id="{1F8C5D60-9A92-D4BE-FF8F-11A475C4CC6A}"/>
                      </a:ext>
                    </a:extLst>
                  </p:cNvPr>
                  <p:cNvSpPr>
                    <a:spLocks noChangeShapeType="1"/>
                  </p:cNvSpPr>
                  <p:nvPr/>
                </p:nvSpPr>
                <p:spPr bwMode="auto">
                  <a:xfrm>
                    <a:off x="6599192" y="1962346"/>
                    <a:ext cx="845600" cy="36866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7" name="Line 179">
                    <a:extLst>
                      <a:ext uri="{FF2B5EF4-FFF2-40B4-BE49-F238E27FC236}">
                        <a16:creationId xmlns:a16="http://schemas.microsoft.com/office/drawing/2014/main" id="{0DCF91C9-1019-5B47-FFFF-70BD500769E9}"/>
                      </a:ext>
                    </a:extLst>
                  </p:cNvPr>
                  <p:cNvSpPr>
                    <a:spLocks noChangeShapeType="1"/>
                  </p:cNvSpPr>
                  <p:nvPr/>
                </p:nvSpPr>
                <p:spPr bwMode="auto">
                  <a:xfrm>
                    <a:off x="7448564" y="2347575"/>
                    <a:ext cx="708871" cy="9582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8" name="Line 179">
                    <a:extLst>
                      <a:ext uri="{FF2B5EF4-FFF2-40B4-BE49-F238E27FC236}">
                        <a16:creationId xmlns:a16="http://schemas.microsoft.com/office/drawing/2014/main" id="{696C5A41-42C4-D5A9-F3F8-158A0EAD63C5}"/>
                      </a:ext>
                    </a:extLst>
                  </p:cNvPr>
                  <p:cNvSpPr>
                    <a:spLocks noChangeShapeType="1"/>
                  </p:cNvSpPr>
                  <p:nvPr/>
                </p:nvSpPr>
                <p:spPr bwMode="auto">
                  <a:xfrm>
                    <a:off x="6934016" y="1397556"/>
                    <a:ext cx="513610" cy="93741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9" name="Line 179">
                    <a:extLst>
                      <a:ext uri="{FF2B5EF4-FFF2-40B4-BE49-F238E27FC236}">
                        <a16:creationId xmlns:a16="http://schemas.microsoft.com/office/drawing/2014/main" id="{4B1D5DA7-FC90-6F6D-EA46-CAEDD4BFE8C6}"/>
                      </a:ext>
                    </a:extLst>
                  </p:cNvPr>
                  <p:cNvSpPr>
                    <a:spLocks noChangeShapeType="1"/>
                  </p:cNvSpPr>
                  <p:nvPr/>
                </p:nvSpPr>
                <p:spPr bwMode="auto">
                  <a:xfrm flipV="1">
                    <a:off x="5950032" y="2988368"/>
                    <a:ext cx="683465" cy="1703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49" name="Line 106">
                  <a:extLst>
                    <a:ext uri="{FF2B5EF4-FFF2-40B4-BE49-F238E27FC236}">
                      <a16:creationId xmlns:a16="http://schemas.microsoft.com/office/drawing/2014/main" id="{0D509A1D-F354-19A2-6F0D-68E4B0682EA5}"/>
                    </a:ext>
                  </a:extLst>
                </p:cNvPr>
                <p:cNvSpPr>
                  <a:spLocks noChangeShapeType="1"/>
                </p:cNvSpPr>
                <p:nvPr/>
              </p:nvSpPr>
              <p:spPr bwMode="auto">
                <a:xfrm flipV="1">
                  <a:off x="7457649" y="1813983"/>
                  <a:ext cx="295074" cy="53064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0" name="Line 106">
                  <a:extLst>
                    <a:ext uri="{FF2B5EF4-FFF2-40B4-BE49-F238E27FC236}">
                      <a16:creationId xmlns:a16="http://schemas.microsoft.com/office/drawing/2014/main" id="{8A25A947-8924-7F33-76EA-AF04171FA020}"/>
                    </a:ext>
                  </a:extLst>
                </p:cNvPr>
                <p:cNvSpPr>
                  <a:spLocks noChangeShapeType="1"/>
                </p:cNvSpPr>
                <p:nvPr/>
              </p:nvSpPr>
              <p:spPr bwMode="auto">
                <a:xfrm flipV="1">
                  <a:off x="6587972" y="1397246"/>
                  <a:ext cx="346043" cy="55158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1" name="Line 106">
                  <a:extLst>
                    <a:ext uri="{FF2B5EF4-FFF2-40B4-BE49-F238E27FC236}">
                      <a16:creationId xmlns:a16="http://schemas.microsoft.com/office/drawing/2014/main" id="{569E9585-522C-FE91-BCF4-B6428EC11BD8}"/>
                    </a:ext>
                  </a:extLst>
                </p:cNvPr>
                <p:cNvSpPr>
                  <a:spLocks noChangeShapeType="1"/>
                </p:cNvSpPr>
                <p:nvPr/>
              </p:nvSpPr>
              <p:spPr bwMode="auto">
                <a:xfrm flipH="1" flipV="1">
                  <a:off x="6585317" y="1945408"/>
                  <a:ext cx="40237" cy="103649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452" name="Line 106">
                  <a:extLst>
                    <a:ext uri="{FF2B5EF4-FFF2-40B4-BE49-F238E27FC236}">
                      <a16:creationId xmlns:a16="http://schemas.microsoft.com/office/drawing/2014/main" id="{B2400666-DC6F-8842-E36A-5059DC96B5A8}"/>
                    </a:ext>
                  </a:extLst>
                </p:cNvPr>
                <p:cNvSpPr>
                  <a:spLocks noChangeShapeType="1"/>
                </p:cNvSpPr>
                <p:nvPr/>
              </p:nvSpPr>
              <p:spPr bwMode="auto">
                <a:xfrm flipV="1">
                  <a:off x="7337562" y="2353732"/>
                  <a:ext cx="116747" cy="68766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0" name="Line 121">
                <a:extLst>
                  <a:ext uri="{FF2B5EF4-FFF2-40B4-BE49-F238E27FC236}">
                    <a16:creationId xmlns:a16="http://schemas.microsoft.com/office/drawing/2014/main" id="{513A453E-329D-BF10-F05D-1819BAA30B12}"/>
                  </a:ext>
                </a:extLst>
              </p:cNvPr>
              <p:cNvSpPr>
                <a:spLocks noChangeShapeType="1"/>
              </p:cNvSpPr>
              <p:nvPr/>
            </p:nvSpPr>
            <p:spPr bwMode="auto">
              <a:xfrm flipH="1">
                <a:off x="8041010" y="2898548"/>
                <a:ext cx="686472" cy="55284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Line 121">
                <a:extLst>
                  <a:ext uri="{FF2B5EF4-FFF2-40B4-BE49-F238E27FC236}">
                    <a16:creationId xmlns:a16="http://schemas.microsoft.com/office/drawing/2014/main" id="{5AF0ABE4-ED44-CEB1-66E0-D4429554FC54}"/>
                  </a:ext>
                </a:extLst>
              </p:cNvPr>
              <p:cNvSpPr>
                <a:spLocks noChangeShapeType="1"/>
              </p:cNvSpPr>
              <p:nvPr/>
            </p:nvSpPr>
            <p:spPr bwMode="auto">
              <a:xfrm flipV="1">
                <a:off x="7687423" y="3457165"/>
                <a:ext cx="341120" cy="89926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Line 121">
                <a:extLst>
                  <a:ext uri="{FF2B5EF4-FFF2-40B4-BE49-F238E27FC236}">
                    <a16:creationId xmlns:a16="http://schemas.microsoft.com/office/drawing/2014/main" id="{C1B34067-5426-BE38-0FDE-B7B73CCC733E}"/>
                  </a:ext>
                </a:extLst>
              </p:cNvPr>
              <p:cNvSpPr>
                <a:spLocks noChangeShapeType="1"/>
              </p:cNvSpPr>
              <p:nvPr/>
            </p:nvSpPr>
            <p:spPr bwMode="auto">
              <a:xfrm flipH="1" flipV="1">
                <a:off x="8052346" y="3464326"/>
                <a:ext cx="656038" cy="6361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6" name="Oval 70">
              <a:extLst>
                <a:ext uri="{FF2B5EF4-FFF2-40B4-BE49-F238E27FC236}">
                  <a16:creationId xmlns:a16="http://schemas.microsoft.com/office/drawing/2014/main" id="{BBC0B9ED-6B72-2DBA-0D57-ED16F381B1BB}"/>
                </a:ext>
                <a:ext uri="{C183D7F6-B498-43B3-948B-1728B52AA6E4}">
                  <adec:decorative xmlns:adec="http://schemas.microsoft.com/office/drawing/2017/decorative" val="1"/>
                </a:ext>
              </a:extLst>
            </p:cNvPr>
            <p:cNvSpPr>
              <a:spLocks noChangeArrowheads="1"/>
            </p:cNvSpPr>
            <p:nvPr/>
          </p:nvSpPr>
          <p:spPr bwMode="auto">
            <a:xfrm>
              <a:off x="1321484" y="3088112"/>
              <a:ext cx="142810" cy="142810"/>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 name="Oval 124">
              <a:extLst>
                <a:ext uri="{FF2B5EF4-FFF2-40B4-BE49-F238E27FC236}">
                  <a16:creationId xmlns:a16="http://schemas.microsoft.com/office/drawing/2014/main" id="{395F9224-B9A2-7D23-FE93-1E7A1E840342}"/>
                </a:ext>
                <a:ext uri="{C183D7F6-B498-43B3-948B-1728B52AA6E4}">
                  <adec:decorative xmlns:adec="http://schemas.microsoft.com/office/drawing/2017/decorative" val="1"/>
                </a:ext>
              </a:extLst>
            </p:cNvPr>
            <p:cNvSpPr>
              <a:spLocks noChangeArrowheads="1"/>
            </p:cNvSpPr>
            <p:nvPr/>
          </p:nvSpPr>
          <p:spPr bwMode="auto">
            <a:xfrm>
              <a:off x="3456248" y="2157551"/>
              <a:ext cx="133368" cy="127466"/>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Oval 141">
              <a:extLst>
                <a:ext uri="{FF2B5EF4-FFF2-40B4-BE49-F238E27FC236}">
                  <a16:creationId xmlns:a16="http://schemas.microsoft.com/office/drawing/2014/main" id="{0BB0BE22-DBC2-353B-6C23-25D39169438E}"/>
                </a:ext>
                <a:ext uri="{C183D7F6-B498-43B3-948B-1728B52AA6E4}">
                  <adec:decorative xmlns:adec="http://schemas.microsoft.com/office/drawing/2017/decorative" val="1"/>
                </a:ext>
              </a:extLst>
            </p:cNvPr>
            <p:cNvSpPr>
              <a:spLocks noChangeArrowheads="1"/>
            </p:cNvSpPr>
            <p:nvPr/>
          </p:nvSpPr>
          <p:spPr bwMode="auto">
            <a:xfrm>
              <a:off x="2229564" y="4275273"/>
              <a:ext cx="121565" cy="121565"/>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Oval 124">
              <a:extLst>
                <a:ext uri="{FF2B5EF4-FFF2-40B4-BE49-F238E27FC236}">
                  <a16:creationId xmlns:a16="http://schemas.microsoft.com/office/drawing/2014/main" id="{4A8F30C9-C464-7AC8-6E1C-FCCEE343F01C}"/>
                </a:ext>
                <a:ext uri="{C183D7F6-B498-43B3-948B-1728B52AA6E4}">
                  <adec:decorative xmlns:adec="http://schemas.microsoft.com/office/drawing/2017/decorative" val="1"/>
                </a:ext>
              </a:extLst>
            </p:cNvPr>
            <p:cNvSpPr>
              <a:spLocks noChangeArrowheads="1"/>
            </p:cNvSpPr>
            <p:nvPr/>
          </p:nvSpPr>
          <p:spPr bwMode="auto">
            <a:xfrm>
              <a:off x="3988436" y="3072929"/>
              <a:ext cx="133368" cy="127466"/>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Oval 29">
              <a:extLst>
                <a:ext uri="{FF2B5EF4-FFF2-40B4-BE49-F238E27FC236}">
                  <a16:creationId xmlns:a16="http://schemas.microsoft.com/office/drawing/2014/main" id="{84888FC8-B685-2F84-C3CE-5842F65DA1A1}"/>
                </a:ext>
              </a:extLst>
            </p:cNvPr>
            <p:cNvSpPr/>
            <p:nvPr/>
          </p:nvSpPr>
          <p:spPr bwMode="auto">
            <a:xfrm>
              <a:off x="2540971" y="3736962"/>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31" name="Oval 30">
              <a:extLst>
                <a:ext uri="{FF2B5EF4-FFF2-40B4-BE49-F238E27FC236}">
                  <a16:creationId xmlns:a16="http://schemas.microsoft.com/office/drawing/2014/main" id="{873BBB6A-DC0B-F036-EB99-F34167F9DCD3}"/>
                </a:ext>
              </a:extLst>
            </p:cNvPr>
            <p:cNvSpPr/>
            <p:nvPr/>
          </p:nvSpPr>
          <p:spPr bwMode="auto">
            <a:xfrm>
              <a:off x="2519856" y="1692217"/>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32" name="Oval 31">
              <a:extLst>
                <a:ext uri="{FF2B5EF4-FFF2-40B4-BE49-F238E27FC236}">
                  <a16:creationId xmlns:a16="http://schemas.microsoft.com/office/drawing/2014/main" id="{9886577A-DCE3-7BBD-42D8-59A68AB74798}"/>
                </a:ext>
              </a:extLst>
            </p:cNvPr>
            <p:cNvSpPr/>
            <p:nvPr/>
          </p:nvSpPr>
          <p:spPr bwMode="auto">
            <a:xfrm>
              <a:off x="1580556" y="3642699"/>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33" name="Oval 74">
              <a:extLst>
                <a:ext uri="{FF2B5EF4-FFF2-40B4-BE49-F238E27FC236}">
                  <a16:creationId xmlns:a16="http://schemas.microsoft.com/office/drawing/2014/main" id="{6EABF2B5-62F1-D02F-CCFF-B4AFA54B3977}"/>
                </a:ext>
                <a:ext uri="{C183D7F6-B498-43B3-948B-1728B52AA6E4}">
                  <adec:decorative xmlns:adec="http://schemas.microsoft.com/office/drawing/2017/decorative" val="1"/>
                </a:ext>
              </a:extLst>
            </p:cNvPr>
            <p:cNvSpPr>
              <a:spLocks noChangeArrowheads="1"/>
            </p:cNvSpPr>
            <p:nvPr/>
          </p:nvSpPr>
          <p:spPr bwMode="auto">
            <a:xfrm>
              <a:off x="2701694" y="2650546"/>
              <a:ext cx="183508" cy="1806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4" name="Oval 74">
              <a:extLst>
                <a:ext uri="{FF2B5EF4-FFF2-40B4-BE49-F238E27FC236}">
                  <a16:creationId xmlns:a16="http://schemas.microsoft.com/office/drawing/2014/main" id="{37C53B0C-DA13-7994-0CD3-C4DE250AE58E}"/>
                </a:ext>
                <a:ext uri="{C183D7F6-B498-43B3-948B-1728B52AA6E4}">
                  <adec:decorative xmlns:adec="http://schemas.microsoft.com/office/drawing/2017/decorative" val="1"/>
                </a:ext>
              </a:extLst>
            </p:cNvPr>
            <p:cNvSpPr>
              <a:spLocks noChangeArrowheads="1"/>
            </p:cNvSpPr>
            <p:nvPr/>
          </p:nvSpPr>
          <p:spPr bwMode="auto">
            <a:xfrm>
              <a:off x="2039108" y="2110345"/>
              <a:ext cx="132618" cy="1305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Oval 124">
              <a:extLst>
                <a:ext uri="{FF2B5EF4-FFF2-40B4-BE49-F238E27FC236}">
                  <a16:creationId xmlns:a16="http://schemas.microsoft.com/office/drawing/2014/main" id="{EF75BED8-F131-E5E9-3AF8-8B6C2BFB92FC}"/>
                </a:ext>
                <a:ext uri="{C183D7F6-B498-43B3-948B-1728B52AA6E4}">
                  <adec:decorative xmlns:adec="http://schemas.microsoft.com/office/drawing/2017/decorative" val="1"/>
                </a:ext>
              </a:extLst>
            </p:cNvPr>
            <p:cNvSpPr>
              <a:spLocks noChangeArrowheads="1"/>
            </p:cNvSpPr>
            <p:nvPr/>
          </p:nvSpPr>
          <p:spPr bwMode="auto">
            <a:xfrm>
              <a:off x="3234754" y="4302639"/>
              <a:ext cx="179828" cy="171871"/>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6" name="04R">
              <a:extLst>
                <a:ext uri="{FF2B5EF4-FFF2-40B4-BE49-F238E27FC236}">
                  <a16:creationId xmlns:a16="http://schemas.microsoft.com/office/drawing/2014/main" id="{6DD39936-2248-7E87-D4FD-699D6B15308F}"/>
                </a:ext>
                <a:ext uri="{C183D7F6-B498-43B3-948B-1728B52AA6E4}">
                  <adec:decorative xmlns:adec="http://schemas.microsoft.com/office/drawing/2017/decorative" val="1"/>
                </a:ext>
              </a:extLst>
            </p:cNvPr>
            <p:cNvSpPr/>
            <p:nvPr/>
          </p:nvSpPr>
          <p:spPr bwMode="auto">
            <a:xfrm>
              <a:off x="996332" y="3066938"/>
              <a:ext cx="3488847" cy="556377"/>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1" tIns="89641" rIns="89641" bIns="89641" numCol="1" spcCol="0" rtlCol="0" fromWordArt="0" anchor="ctr" anchorCtr="0" forceAA="0" compatLnSpc="1">
              <a:prstTxWarp prst="textNoShape">
                <a:avLst/>
              </a:prstTxWarp>
              <a:noAutofit/>
            </a:bodyPr>
            <a:lstStyle/>
            <a:p>
              <a:pPr marL="0" marR="0" lvl="0" indent="0" algn="ctr" defTabSz="914378" rtl="0" eaLnBrk="1" fontAlgn="auto" latinLnBrk="0" hangingPunct="1">
                <a:lnSpc>
                  <a:spcPts val="2420"/>
                </a:lnSpc>
                <a:spcBef>
                  <a:spcPct val="0"/>
                </a:spcBef>
                <a:spcAft>
                  <a:spcPts val="0"/>
                </a:spcAft>
                <a:buClrTx/>
                <a:buSzTx/>
                <a:buFontTx/>
                <a:buNone/>
                <a:tabLst/>
                <a:defRPr/>
              </a:pPr>
              <a:r>
                <a:rPr kumimoji="0" lang="en-US" sz="1400" b="0" i="0" u="none" strike="noStrike" kern="1200" cap="none" spc="0" normalizeH="0" baseline="0" noProof="0">
                  <a:ln w="3175">
                    <a:noFill/>
                  </a:ln>
                  <a:gradFill>
                    <a:gsLst>
                      <a:gs pos="100000">
                        <a:srgbClr val="000000"/>
                      </a:gs>
                      <a:gs pos="83000">
                        <a:srgbClr val="000000"/>
                      </a:gs>
                    </a:gsLst>
                    <a:lin ang="5400000" scaled="1"/>
                  </a:gradFill>
                  <a:effectLst/>
                  <a:uLnTx/>
                  <a:uFillTx/>
                  <a:latin typeface="Segoe UI Semibold"/>
                  <a:ea typeface="Segoe UI Semibold" panose="020B0502040204020203" pitchFamily="34" charset="0"/>
                  <a:cs typeface="Segoe UI Semibold" panose="020B0502040204020203" pitchFamily="34" charset="0"/>
                </a:rPr>
                <a:t>Microsoft </a:t>
              </a:r>
              <a:r>
                <a:rPr kumimoji="0" lang="en-US" sz="1400" b="0" i="0" u="none" strike="noStrike" kern="1200" cap="none" spc="0" normalizeH="0" baseline="0" noProof="0">
                  <a:ln w="3175">
                    <a:noFill/>
                  </a:ln>
                  <a:gradFill>
                    <a:gsLst>
                      <a:gs pos="100000">
                        <a:srgbClr val="000000"/>
                      </a:gs>
                      <a:gs pos="83000">
                        <a:srgbClr val="000000"/>
                      </a:gs>
                    </a:gsLst>
                    <a:lin ang="5400000" scaled="1"/>
                  </a:gradFill>
                  <a:effectLst/>
                  <a:uLnTx/>
                  <a:uFillTx/>
                  <a:latin typeface="Segoe UI Semibold"/>
                  <a:ea typeface="+mn-ea"/>
                  <a:cs typeface="Segoe UI Semibold" panose="020B0502040204020203" pitchFamily="34" charset="0"/>
                </a:rPr>
                <a:t>Security</a:t>
              </a:r>
            </a:p>
          </p:txBody>
        </p:sp>
        <p:sp>
          <p:nvSpPr>
            <p:cNvPr id="37" name="house">
              <a:extLst>
                <a:ext uri="{FF2B5EF4-FFF2-40B4-BE49-F238E27FC236}">
                  <a16:creationId xmlns:a16="http://schemas.microsoft.com/office/drawing/2014/main" id="{C5B518DE-3E10-F1CE-D4FF-EA222ECF87FE}"/>
                </a:ext>
              </a:extLst>
            </p:cNvPr>
            <p:cNvSpPr>
              <a:spLocks noChangeAspect="1" noEditPoints="1"/>
            </p:cNvSpPr>
            <p:nvPr/>
          </p:nvSpPr>
          <p:spPr bwMode="auto">
            <a:xfrm>
              <a:off x="2619582" y="1803270"/>
              <a:ext cx="276423" cy="24521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8" name="Group 37">
              <a:extLst>
                <a:ext uri="{FF2B5EF4-FFF2-40B4-BE49-F238E27FC236}">
                  <a16:creationId xmlns:a16="http://schemas.microsoft.com/office/drawing/2014/main" id="{764AE5F0-D282-3A70-A144-3917548BC6E0}"/>
                </a:ext>
              </a:extLst>
            </p:cNvPr>
            <p:cNvGrpSpPr/>
            <p:nvPr/>
          </p:nvGrpSpPr>
          <p:grpSpPr>
            <a:xfrm>
              <a:off x="1136822" y="2060366"/>
              <a:ext cx="475874" cy="475874"/>
              <a:chOff x="1136822" y="2060366"/>
              <a:chExt cx="475874" cy="475874"/>
            </a:xfrm>
          </p:grpSpPr>
          <p:sp>
            <p:nvSpPr>
              <p:cNvPr id="56" name="Oval 55">
                <a:extLst>
                  <a:ext uri="{FF2B5EF4-FFF2-40B4-BE49-F238E27FC236}">
                    <a16:creationId xmlns:a16="http://schemas.microsoft.com/office/drawing/2014/main" id="{51F751F9-0ABA-A773-DED1-775B796EF1B4}"/>
                  </a:ext>
                </a:extLst>
              </p:cNvPr>
              <p:cNvSpPr/>
              <p:nvPr/>
            </p:nvSpPr>
            <p:spPr bwMode="auto">
              <a:xfrm>
                <a:off x="1136822" y="2060366"/>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57" name="monitor">
                <a:extLst>
                  <a:ext uri="{FF2B5EF4-FFF2-40B4-BE49-F238E27FC236}">
                    <a16:creationId xmlns:a16="http://schemas.microsoft.com/office/drawing/2014/main" id="{6D32616B-5D76-B6BC-5DC5-E1C91949552A}"/>
                  </a:ext>
                </a:extLst>
              </p:cNvPr>
              <p:cNvSpPr>
                <a:spLocks noChangeAspect="1" noEditPoints="1"/>
              </p:cNvSpPr>
              <p:nvPr/>
            </p:nvSpPr>
            <p:spPr bwMode="auto">
              <a:xfrm>
                <a:off x="1229253" y="2186788"/>
                <a:ext cx="291012" cy="2230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7950EB7E-5CA8-2AD8-3CD3-C14267A369C4}"/>
                </a:ext>
              </a:extLst>
            </p:cNvPr>
            <p:cNvGrpSpPr/>
            <p:nvPr/>
          </p:nvGrpSpPr>
          <p:grpSpPr>
            <a:xfrm>
              <a:off x="3161373" y="2562304"/>
              <a:ext cx="475874" cy="475874"/>
              <a:chOff x="3161373" y="2562304"/>
              <a:chExt cx="475874" cy="475874"/>
            </a:xfrm>
          </p:grpSpPr>
          <p:sp>
            <p:nvSpPr>
              <p:cNvPr id="54" name="Oval 53">
                <a:extLst>
                  <a:ext uri="{FF2B5EF4-FFF2-40B4-BE49-F238E27FC236}">
                    <a16:creationId xmlns:a16="http://schemas.microsoft.com/office/drawing/2014/main" id="{01D11FB4-6C01-D5F1-1B9C-F992E3E0F4E2}"/>
                  </a:ext>
                </a:extLst>
              </p:cNvPr>
              <p:cNvSpPr/>
              <p:nvPr/>
            </p:nvSpPr>
            <p:spPr bwMode="auto">
              <a:xfrm>
                <a:off x="3161373" y="2562304"/>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55" name="people_4">
                <a:extLst>
                  <a:ext uri="{FF2B5EF4-FFF2-40B4-BE49-F238E27FC236}">
                    <a16:creationId xmlns:a16="http://schemas.microsoft.com/office/drawing/2014/main" id="{40A3CB15-1740-9E08-30FD-9BAD71C3F5B7}"/>
                  </a:ext>
                </a:extLst>
              </p:cNvPr>
              <p:cNvSpPr>
                <a:spLocks noChangeAspect="1" noEditPoints="1"/>
              </p:cNvSpPr>
              <p:nvPr/>
            </p:nvSpPr>
            <p:spPr bwMode="auto">
              <a:xfrm>
                <a:off x="3312926" y="2703665"/>
                <a:ext cx="172769" cy="1931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0" name="Graphic 3">
              <a:extLst>
                <a:ext uri="{FF2B5EF4-FFF2-40B4-BE49-F238E27FC236}">
                  <a16:creationId xmlns:a16="http://schemas.microsoft.com/office/drawing/2014/main" id="{5CC4162C-FE75-0778-5E75-BC07595B66AD}"/>
                </a:ext>
              </a:extLst>
            </p:cNvPr>
            <p:cNvSpPr/>
            <p:nvPr/>
          </p:nvSpPr>
          <p:spPr>
            <a:xfrm>
              <a:off x="2630562" y="3874274"/>
              <a:ext cx="296693" cy="201250"/>
            </a:xfrm>
            <a:custGeom>
              <a:avLst/>
              <a:gdLst>
                <a:gd name="connsiteX0" fmla="*/ 392524 w 452820"/>
                <a:gd name="connsiteY0" fmla="*/ 214918 h 307153"/>
                <a:gd name="connsiteX1" fmla="*/ 60446 w 452820"/>
                <a:gd name="connsiteY1" fmla="*/ 214918 h 307153"/>
                <a:gd name="connsiteX2" fmla="*/ 60446 w 452820"/>
                <a:gd name="connsiteY2" fmla="*/ 0 h 307153"/>
                <a:gd name="connsiteX3" fmla="*/ 392524 w 452820"/>
                <a:gd name="connsiteY3" fmla="*/ 0 h 307153"/>
                <a:gd name="connsiteX4" fmla="*/ 392524 w 452820"/>
                <a:gd name="connsiteY4" fmla="*/ 214918 h 307153"/>
                <a:gd name="connsiteX5" fmla="*/ 392524 w 452820"/>
                <a:gd name="connsiteY5" fmla="*/ 214918 h 307153"/>
                <a:gd name="connsiteX6" fmla="*/ 392524 w 452820"/>
                <a:gd name="connsiteY6" fmla="*/ 214918 h 307153"/>
                <a:gd name="connsiteX7" fmla="*/ 0 w 452820"/>
                <a:gd name="connsiteY7" fmla="*/ 291781 h 307153"/>
                <a:gd name="connsiteX8" fmla="*/ 15074 w 452820"/>
                <a:gd name="connsiteY8" fmla="*/ 307154 h 307153"/>
                <a:gd name="connsiteX9" fmla="*/ 437746 w 452820"/>
                <a:gd name="connsiteY9" fmla="*/ 307154 h 307153"/>
                <a:gd name="connsiteX10" fmla="*/ 452821 w 452820"/>
                <a:gd name="connsiteY10" fmla="*/ 291781 h 307153"/>
                <a:gd name="connsiteX11" fmla="*/ 445358 w 452820"/>
                <a:gd name="connsiteY11" fmla="*/ 268648 h 307153"/>
                <a:gd name="connsiteX12" fmla="*/ 392524 w 452820"/>
                <a:gd name="connsiteY12" fmla="*/ 214918 h 307153"/>
                <a:gd name="connsiteX13" fmla="*/ 60446 w 452820"/>
                <a:gd name="connsiteY13" fmla="*/ 214918 h 307153"/>
                <a:gd name="connsiteX14" fmla="*/ 7612 w 452820"/>
                <a:gd name="connsiteY14" fmla="*/ 268648 h 307153"/>
                <a:gd name="connsiteX15" fmla="*/ 0 w 452820"/>
                <a:gd name="connsiteY15" fmla="*/ 291781 h 307153"/>
                <a:gd name="connsiteX16" fmla="*/ 0 w 452820"/>
                <a:gd name="connsiteY16" fmla="*/ 291781 h 307153"/>
                <a:gd name="connsiteX0" fmla="*/ 392524 w 452821"/>
                <a:gd name="connsiteY0" fmla="*/ 214918 h 307154"/>
                <a:gd name="connsiteX1" fmla="*/ 60446 w 452821"/>
                <a:gd name="connsiteY1" fmla="*/ 214918 h 307154"/>
                <a:gd name="connsiteX2" fmla="*/ 60446 w 452821"/>
                <a:gd name="connsiteY2" fmla="*/ 0 h 307154"/>
                <a:gd name="connsiteX3" fmla="*/ 392524 w 452821"/>
                <a:gd name="connsiteY3" fmla="*/ 0 h 307154"/>
                <a:gd name="connsiteX4" fmla="*/ 392524 w 452821"/>
                <a:gd name="connsiteY4" fmla="*/ 214918 h 307154"/>
                <a:gd name="connsiteX5" fmla="*/ 392524 w 452821"/>
                <a:gd name="connsiteY5" fmla="*/ 214918 h 307154"/>
                <a:gd name="connsiteX6" fmla="*/ 392524 w 452821"/>
                <a:gd name="connsiteY6" fmla="*/ 214918 h 307154"/>
                <a:gd name="connsiteX7" fmla="*/ 0 w 452821"/>
                <a:gd name="connsiteY7" fmla="*/ 291781 h 307154"/>
                <a:gd name="connsiteX8" fmla="*/ 15074 w 452821"/>
                <a:gd name="connsiteY8" fmla="*/ 307154 h 307154"/>
                <a:gd name="connsiteX9" fmla="*/ 437746 w 452821"/>
                <a:gd name="connsiteY9" fmla="*/ 307154 h 307154"/>
                <a:gd name="connsiteX10" fmla="*/ 452821 w 452821"/>
                <a:gd name="connsiteY10" fmla="*/ 291781 h 307154"/>
                <a:gd name="connsiteX11" fmla="*/ 445358 w 452821"/>
                <a:gd name="connsiteY11" fmla="*/ 268648 h 307154"/>
                <a:gd name="connsiteX12" fmla="*/ 392524 w 452821"/>
                <a:gd name="connsiteY12" fmla="*/ 214918 h 307154"/>
                <a:gd name="connsiteX13" fmla="*/ 60446 w 452821"/>
                <a:gd name="connsiteY13" fmla="*/ 214918 h 307154"/>
                <a:gd name="connsiteX14" fmla="*/ 7612 w 452821"/>
                <a:gd name="connsiteY14" fmla="*/ 268648 h 307154"/>
                <a:gd name="connsiteX15" fmla="*/ 0 w 452821"/>
                <a:gd name="connsiteY15" fmla="*/ 291781 h 307154"/>
                <a:gd name="connsiteX16" fmla="*/ 0 w 452821"/>
                <a:gd name="connsiteY16" fmla="*/ 291781 h 30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821" h="307154">
                  <a:moveTo>
                    <a:pt x="392524" y="214918"/>
                  </a:moveTo>
                  <a:lnTo>
                    <a:pt x="60446" y="214918"/>
                  </a:lnTo>
                  <a:lnTo>
                    <a:pt x="60446" y="0"/>
                  </a:lnTo>
                  <a:lnTo>
                    <a:pt x="392524" y="0"/>
                  </a:lnTo>
                  <a:lnTo>
                    <a:pt x="392524" y="214918"/>
                  </a:lnTo>
                  <a:lnTo>
                    <a:pt x="392524" y="214918"/>
                  </a:lnTo>
                  <a:lnTo>
                    <a:pt x="392524" y="214918"/>
                  </a:lnTo>
                  <a:close/>
                  <a:moveTo>
                    <a:pt x="0" y="291781"/>
                  </a:moveTo>
                  <a:cubicBezTo>
                    <a:pt x="0" y="300288"/>
                    <a:pt x="6716" y="307154"/>
                    <a:pt x="15074" y="307154"/>
                  </a:cubicBezTo>
                  <a:lnTo>
                    <a:pt x="437746" y="307154"/>
                  </a:lnTo>
                  <a:cubicBezTo>
                    <a:pt x="446104" y="307154"/>
                    <a:pt x="452821" y="300288"/>
                    <a:pt x="452821" y="291781"/>
                  </a:cubicBezTo>
                  <a:cubicBezTo>
                    <a:pt x="452821" y="282826"/>
                    <a:pt x="449985" y="274618"/>
                    <a:pt x="445358" y="268648"/>
                  </a:cubicBezTo>
                  <a:lnTo>
                    <a:pt x="392524" y="214918"/>
                  </a:lnTo>
                  <a:lnTo>
                    <a:pt x="60446" y="214918"/>
                  </a:lnTo>
                  <a:lnTo>
                    <a:pt x="7612" y="268648"/>
                  </a:lnTo>
                  <a:cubicBezTo>
                    <a:pt x="2985" y="274618"/>
                    <a:pt x="0" y="282826"/>
                    <a:pt x="0" y="291781"/>
                  </a:cubicBezTo>
                  <a:lnTo>
                    <a:pt x="0" y="291781"/>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1" name="Group 40">
              <a:extLst>
                <a:ext uri="{FF2B5EF4-FFF2-40B4-BE49-F238E27FC236}">
                  <a16:creationId xmlns:a16="http://schemas.microsoft.com/office/drawing/2014/main" id="{D95C2685-E103-F7F5-33DB-09B5585ACD1E}"/>
                </a:ext>
              </a:extLst>
            </p:cNvPr>
            <p:cNvGrpSpPr/>
            <p:nvPr/>
          </p:nvGrpSpPr>
          <p:grpSpPr>
            <a:xfrm>
              <a:off x="3935297" y="2072453"/>
              <a:ext cx="475874" cy="475874"/>
              <a:chOff x="3935297" y="2072453"/>
              <a:chExt cx="475874" cy="475874"/>
            </a:xfrm>
          </p:grpSpPr>
          <p:sp>
            <p:nvSpPr>
              <p:cNvPr id="52" name="Oval 51">
                <a:extLst>
                  <a:ext uri="{FF2B5EF4-FFF2-40B4-BE49-F238E27FC236}">
                    <a16:creationId xmlns:a16="http://schemas.microsoft.com/office/drawing/2014/main" id="{670D7B24-5234-3E39-D867-2546CBC65825}"/>
                  </a:ext>
                </a:extLst>
              </p:cNvPr>
              <p:cNvSpPr/>
              <p:nvPr/>
            </p:nvSpPr>
            <p:spPr bwMode="auto">
              <a:xfrm>
                <a:off x="3935297" y="2072453"/>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53" name="watch">
                <a:extLst>
                  <a:ext uri="{FF2B5EF4-FFF2-40B4-BE49-F238E27FC236}">
                    <a16:creationId xmlns:a16="http://schemas.microsoft.com/office/drawing/2014/main" id="{61B4070A-FEA3-CF93-AD73-ADB17A13F091}"/>
                  </a:ext>
                </a:extLst>
              </p:cNvPr>
              <p:cNvSpPr>
                <a:spLocks noChangeAspect="1" noEditPoints="1"/>
              </p:cNvSpPr>
              <p:nvPr/>
            </p:nvSpPr>
            <p:spPr bwMode="auto">
              <a:xfrm>
                <a:off x="4101401" y="2189172"/>
                <a:ext cx="143666" cy="242437"/>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FFCF7260-DD02-1D52-3EA7-EE0CB2FFE494}"/>
                </a:ext>
              </a:extLst>
            </p:cNvPr>
            <p:cNvGrpSpPr/>
            <p:nvPr/>
          </p:nvGrpSpPr>
          <p:grpSpPr>
            <a:xfrm>
              <a:off x="1956311" y="2546529"/>
              <a:ext cx="475874" cy="475874"/>
              <a:chOff x="1956311" y="2546529"/>
              <a:chExt cx="475874" cy="475874"/>
            </a:xfrm>
          </p:grpSpPr>
          <p:sp>
            <p:nvSpPr>
              <p:cNvPr id="50" name="Oval 49">
                <a:extLst>
                  <a:ext uri="{FF2B5EF4-FFF2-40B4-BE49-F238E27FC236}">
                    <a16:creationId xmlns:a16="http://schemas.microsoft.com/office/drawing/2014/main" id="{F3BDFE76-2DB6-9644-E5D6-2EC6FDF8BFB4}"/>
                  </a:ext>
                </a:extLst>
              </p:cNvPr>
              <p:cNvSpPr/>
              <p:nvPr/>
            </p:nvSpPr>
            <p:spPr bwMode="auto">
              <a:xfrm>
                <a:off x="1956311" y="2546529"/>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51" name="POI_ECAF">
                <a:extLst>
                  <a:ext uri="{FF2B5EF4-FFF2-40B4-BE49-F238E27FC236}">
                    <a16:creationId xmlns:a16="http://schemas.microsoft.com/office/drawing/2014/main" id="{D7D9C5FB-6A37-D380-8100-42DED049B47D}"/>
                  </a:ext>
                </a:extLst>
              </p:cNvPr>
              <p:cNvSpPr>
                <a:spLocks noChangeAspect="1" noEditPoints="1"/>
              </p:cNvSpPr>
              <p:nvPr/>
            </p:nvSpPr>
            <p:spPr bwMode="auto">
              <a:xfrm>
                <a:off x="2090436" y="2618351"/>
                <a:ext cx="207624" cy="332231"/>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7322F844-5064-1EE7-AD7D-87AFBA284CDD}"/>
                </a:ext>
              </a:extLst>
            </p:cNvPr>
            <p:cNvGrpSpPr/>
            <p:nvPr/>
          </p:nvGrpSpPr>
          <p:grpSpPr>
            <a:xfrm>
              <a:off x="2551578" y="4652274"/>
              <a:ext cx="475874" cy="475874"/>
              <a:chOff x="2551578" y="4652274"/>
              <a:chExt cx="475874" cy="475874"/>
            </a:xfrm>
          </p:grpSpPr>
          <p:sp>
            <p:nvSpPr>
              <p:cNvPr id="48" name="Oval 47">
                <a:extLst>
                  <a:ext uri="{FF2B5EF4-FFF2-40B4-BE49-F238E27FC236}">
                    <a16:creationId xmlns:a16="http://schemas.microsoft.com/office/drawing/2014/main" id="{E0DC2318-0A4A-FC26-2302-E1D4538D5A4D}"/>
                  </a:ext>
                </a:extLst>
              </p:cNvPr>
              <p:cNvSpPr/>
              <p:nvPr/>
            </p:nvSpPr>
            <p:spPr bwMode="auto">
              <a:xfrm>
                <a:off x="2551578" y="4652274"/>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49" name="CellPhone_E8EA">
                <a:extLst>
                  <a:ext uri="{FF2B5EF4-FFF2-40B4-BE49-F238E27FC236}">
                    <a16:creationId xmlns:a16="http://schemas.microsoft.com/office/drawing/2014/main" id="{5D9D2FF8-511F-B934-56A6-01B5C9BEF34E}"/>
                  </a:ext>
                </a:extLst>
              </p:cNvPr>
              <p:cNvSpPr>
                <a:spLocks noChangeAspect="1" noEditPoints="1"/>
              </p:cNvSpPr>
              <p:nvPr/>
            </p:nvSpPr>
            <p:spPr bwMode="auto">
              <a:xfrm>
                <a:off x="2708195" y="4754700"/>
                <a:ext cx="162640" cy="27102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4" name="Graphic 6">
              <a:extLst>
                <a:ext uri="{FF2B5EF4-FFF2-40B4-BE49-F238E27FC236}">
                  <a16:creationId xmlns:a16="http://schemas.microsoft.com/office/drawing/2014/main" id="{00D3075C-8FB8-63A5-4EE0-6A7B684FEE48}"/>
                </a:ext>
              </a:extLst>
            </p:cNvPr>
            <p:cNvSpPr/>
            <p:nvPr/>
          </p:nvSpPr>
          <p:spPr>
            <a:xfrm>
              <a:off x="1675400" y="3775533"/>
              <a:ext cx="286186" cy="210206"/>
            </a:xfrm>
            <a:custGeom>
              <a:avLst/>
              <a:gdLst>
                <a:gd name="connsiteX0" fmla="*/ 166949 w 500997"/>
                <a:gd name="connsiteY0" fmla="*/ 367987 h 367986"/>
                <a:gd name="connsiteX1" fmla="*/ 0 w 500997"/>
                <a:gd name="connsiteY1" fmla="*/ 367987 h 367986"/>
                <a:gd name="connsiteX2" fmla="*/ 0 w 500997"/>
                <a:gd name="connsiteY2" fmla="*/ 100443 h 367986"/>
                <a:gd name="connsiteX3" fmla="*/ 166949 w 500997"/>
                <a:gd name="connsiteY3" fmla="*/ 100443 h 367986"/>
                <a:gd name="connsiteX4" fmla="*/ 166949 w 500997"/>
                <a:gd name="connsiteY4" fmla="*/ 367987 h 367986"/>
                <a:gd name="connsiteX5" fmla="*/ 166949 w 500997"/>
                <a:gd name="connsiteY5" fmla="*/ 367987 h 367986"/>
                <a:gd name="connsiteX6" fmla="*/ 166949 w 500997"/>
                <a:gd name="connsiteY6" fmla="*/ 367987 h 367986"/>
                <a:gd name="connsiteX7" fmla="*/ 50069 w 500997"/>
                <a:gd name="connsiteY7" fmla="*/ 301025 h 367986"/>
                <a:gd name="connsiteX8" fmla="*/ 116879 w 500997"/>
                <a:gd name="connsiteY8" fmla="*/ 301025 h 367986"/>
                <a:gd name="connsiteX9" fmla="*/ 250347 w 500997"/>
                <a:gd name="connsiteY9" fmla="*/ 234215 h 367986"/>
                <a:gd name="connsiteX10" fmla="*/ 317157 w 500997"/>
                <a:gd name="connsiteY10" fmla="*/ 234215 h 367986"/>
                <a:gd name="connsiteX11" fmla="*/ 166949 w 500997"/>
                <a:gd name="connsiteY11" fmla="*/ 301025 h 367986"/>
                <a:gd name="connsiteX12" fmla="*/ 484257 w 500997"/>
                <a:gd name="connsiteY12" fmla="*/ 301025 h 367986"/>
                <a:gd name="connsiteX13" fmla="*/ 500998 w 500997"/>
                <a:gd name="connsiteY13" fmla="*/ 284284 h 367986"/>
                <a:gd name="connsiteX14" fmla="*/ 500998 w 500997"/>
                <a:gd name="connsiteY14" fmla="*/ 16741 h 367986"/>
                <a:gd name="connsiteX15" fmla="*/ 484257 w 500997"/>
                <a:gd name="connsiteY15" fmla="*/ 0 h 367986"/>
                <a:gd name="connsiteX16" fmla="*/ 83398 w 500997"/>
                <a:gd name="connsiteY16" fmla="*/ 0 h 367986"/>
                <a:gd name="connsiteX17" fmla="*/ 66658 w 500997"/>
                <a:gd name="connsiteY17" fmla="*/ 16741 h 367986"/>
                <a:gd name="connsiteX18" fmla="*/ 66658 w 500997"/>
                <a:gd name="connsiteY18" fmla="*/ 100291 h 367986"/>
                <a:gd name="connsiteX0" fmla="*/ 166949 w 500998"/>
                <a:gd name="connsiteY0" fmla="*/ 367987 h 367987"/>
                <a:gd name="connsiteX1" fmla="*/ 0 w 500998"/>
                <a:gd name="connsiteY1" fmla="*/ 367987 h 367987"/>
                <a:gd name="connsiteX2" fmla="*/ 0 w 500998"/>
                <a:gd name="connsiteY2" fmla="*/ 100443 h 367987"/>
                <a:gd name="connsiteX3" fmla="*/ 166949 w 500998"/>
                <a:gd name="connsiteY3" fmla="*/ 100443 h 367987"/>
                <a:gd name="connsiteX4" fmla="*/ 166949 w 500998"/>
                <a:gd name="connsiteY4" fmla="*/ 367987 h 367987"/>
                <a:gd name="connsiteX5" fmla="*/ 166949 w 500998"/>
                <a:gd name="connsiteY5" fmla="*/ 367987 h 367987"/>
                <a:gd name="connsiteX6" fmla="*/ 166949 w 500998"/>
                <a:gd name="connsiteY6" fmla="*/ 367987 h 367987"/>
                <a:gd name="connsiteX7" fmla="*/ 50069 w 500998"/>
                <a:gd name="connsiteY7" fmla="*/ 301025 h 367987"/>
                <a:gd name="connsiteX8" fmla="*/ 116879 w 500998"/>
                <a:gd name="connsiteY8" fmla="*/ 301025 h 367987"/>
                <a:gd name="connsiteX9" fmla="*/ 250347 w 500998"/>
                <a:gd name="connsiteY9" fmla="*/ 234215 h 367987"/>
                <a:gd name="connsiteX10" fmla="*/ 317157 w 500998"/>
                <a:gd name="connsiteY10" fmla="*/ 234215 h 367987"/>
                <a:gd name="connsiteX11" fmla="*/ 166949 w 500998"/>
                <a:gd name="connsiteY11" fmla="*/ 301025 h 367987"/>
                <a:gd name="connsiteX12" fmla="*/ 484257 w 500998"/>
                <a:gd name="connsiteY12" fmla="*/ 301025 h 367987"/>
                <a:gd name="connsiteX13" fmla="*/ 500998 w 500998"/>
                <a:gd name="connsiteY13" fmla="*/ 284284 h 367987"/>
                <a:gd name="connsiteX14" fmla="*/ 500998 w 500998"/>
                <a:gd name="connsiteY14" fmla="*/ 16741 h 367987"/>
                <a:gd name="connsiteX15" fmla="*/ 484257 w 500998"/>
                <a:gd name="connsiteY15" fmla="*/ 0 h 367987"/>
                <a:gd name="connsiteX16" fmla="*/ 83398 w 500998"/>
                <a:gd name="connsiteY16" fmla="*/ 0 h 367987"/>
                <a:gd name="connsiteX17" fmla="*/ 66658 w 500998"/>
                <a:gd name="connsiteY17" fmla="*/ 16741 h 367987"/>
                <a:gd name="connsiteX18" fmla="*/ 66658 w 500998"/>
                <a:gd name="connsiteY18" fmla="*/ 100291 h 36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998" h="367987">
                  <a:moveTo>
                    <a:pt x="166949" y="367987"/>
                  </a:moveTo>
                  <a:lnTo>
                    <a:pt x="0" y="367987"/>
                  </a:lnTo>
                  <a:lnTo>
                    <a:pt x="0" y="100443"/>
                  </a:lnTo>
                  <a:lnTo>
                    <a:pt x="166949" y="100443"/>
                  </a:lnTo>
                  <a:lnTo>
                    <a:pt x="166949" y="367987"/>
                  </a:lnTo>
                  <a:lnTo>
                    <a:pt x="166949" y="367987"/>
                  </a:lnTo>
                  <a:lnTo>
                    <a:pt x="166949" y="367987"/>
                  </a:lnTo>
                  <a:close/>
                  <a:moveTo>
                    <a:pt x="50069" y="301025"/>
                  </a:moveTo>
                  <a:lnTo>
                    <a:pt x="116879" y="301025"/>
                  </a:lnTo>
                  <a:moveTo>
                    <a:pt x="250347" y="234215"/>
                  </a:moveTo>
                  <a:lnTo>
                    <a:pt x="317157" y="234215"/>
                  </a:lnTo>
                  <a:moveTo>
                    <a:pt x="166949" y="301025"/>
                  </a:moveTo>
                  <a:lnTo>
                    <a:pt x="484257" y="301025"/>
                  </a:lnTo>
                  <a:cubicBezTo>
                    <a:pt x="493541" y="301025"/>
                    <a:pt x="500998" y="293568"/>
                    <a:pt x="500998" y="284284"/>
                  </a:cubicBezTo>
                  <a:lnTo>
                    <a:pt x="500998" y="16741"/>
                  </a:lnTo>
                  <a:cubicBezTo>
                    <a:pt x="500998" y="7457"/>
                    <a:pt x="493541" y="0"/>
                    <a:pt x="484257" y="0"/>
                  </a:cubicBezTo>
                  <a:lnTo>
                    <a:pt x="83398" y="0"/>
                  </a:lnTo>
                  <a:cubicBezTo>
                    <a:pt x="74115" y="0"/>
                    <a:pt x="66658" y="7457"/>
                    <a:pt x="66658" y="16741"/>
                  </a:cubicBezTo>
                  <a:lnTo>
                    <a:pt x="66658" y="10029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5" name="Group 44">
              <a:extLst>
                <a:ext uri="{FF2B5EF4-FFF2-40B4-BE49-F238E27FC236}">
                  <a16:creationId xmlns:a16="http://schemas.microsoft.com/office/drawing/2014/main" id="{E0342D9F-6A52-06A9-4F3D-E3D6A6FA05FB}"/>
                </a:ext>
              </a:extLst>
            </p:cNvPr>
            <p:cNvGrpSpPr/>
            <p:nvPr/>
          </p:nvGrpSpPr>
          <p:grpSpPr>
            <a:xfrm>
              <a:off x="3520287" y="3642699"/>
              <a:ext cx="475874" cy="475874"/>
              <a:chOff x="3520287" y="3642699"/>
              <a:chExt cx="475874" cy="475874"/>
            </a:xfrm>
          </p:grpSpPr>
          <p:sp>
            <p:nvSpPr>
              <p:cNvPr id="46" name="Oval 45">
                <a:extLst>
                  <a:ext uri="{FF2B5EF4-FFF2-40B4-BE49-F238E27FC236}">
                    <a16:creationId xmlns:a16="http://schemas.microsoft.com/office/drawing/2014/main" id="{899FB9CC-9C35-B786-C122-2B4E1101B1B6}"/>
                  </a:ext>
                </a:extLst>
              </p:cNvPr>
              <p:cNvSpPr/>
              <p:nvPr/>
            </p:nvSpPr>
            <p:spPr bwMode="auto">
              <a:xfrm>
                <a:off x="3520287" y="3642699"/>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47" name="Commitments_EC4D">
                <a:extLst>
                  <a:ext uri="{FF2B5EF4-FFF2-40B4-BE49-F238E27FC236}">
                    <a16:creationId xmlns:a16="http://schemas.microsoft.com/office/drawing/2014/main" id="{767C47BC-320A-7E92-B556-28E1509CBCCA}"/>
                  </a:ext>
                </a:extLst>
              </p:cNvPr>
              <p:cNvSpPr>
                <a:spLocks noChangeAspect="1" noEditPoints="1"/>
              </p:cNvSpPr>
              <p:nvPr/>
            </p:nvSpPr>
            <p:spPr bwMode="auto">
              <a:xfrm>
                <a:off x="3599489" y="3725077"/>
                <a:ext cx="317471" cy="29766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64" name="Rectangle 63">
            <a:extLst>
              <a:ext uri="{FF2B5EF4-FFF2-40B4-BE49-F238E27FC236}">
                <a16:creationId xmlns:a16="http://schemas.microsoft.com/office/drawing/2014/main" id="{B8873F97-A696-752D-668A-ED5F0ED13C9F}"/>
              </a:ext>
            </a:extLst>
          </p:cNvPr>
          <p:cNvSpPr/>
          <p:nvPr/>
        </p:nvSpPr>
        <p:spPr>
          <a:xfrm>
            <a:off x="5199062" y="969867"/>
            <a:ext cx="3141833" cy="44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107C10"/>
                </a:solidFill>
                <a:effectLst/>
                <a:uLnTx/>
                <a:uFillTx/>
                <a:latin typeface="Segoe UI Semibold"/>
                <a:ea typeface="+mn-ea"/>
                <a:cs typeface="+mn-cs"/>
              </a:rPr>
              <a:t>60%</a:t>
            </a:r>
          </a:p>
        </p:txBody>
      </p:sp>
      <p:sp>
        <p:nvSpPr>
          <p:cNvPr id="4" name="Rectangle 3">
            <a:extLst>
              <a:ext uri="{FF2B5EF4-FFF2-40B4-BE49-F238E27FC236}">
                <a16:creationId xmlns:a16="http://schemas.microsoft.com/office/drawing/2014/main" id="{F218C518-01EE-B733-1A13-35EB6C752098}"/>
              </a:ext>
            </a:extLst>
          </p:cNvPr>
          <p:cNvSpPr/>
          <p:nvPr/>
        </p:nvSpPr>
        <p:spPr>
          <a:xfrm>
            <a:off x="5300662" y="1340711"/>
            <a:ext cx="3083913" cy="30777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reduced risk of material breach</a:t>
            </a:r>
          </a:p>
        </p:txBody>
      </p:sp>
      <p:sp>
        <p:nvSpPr>
          <p:cNvPr id="86" name="Rectangle 85">
            <a:extLst>
              <a:ext uri="{FF2B5EF4-FFF2-40B4-BE49-F238E27FC236}">
                <a16:creationId xmlns:a16="http://schemas.microsoft.com/office/drawing/2014/main" id="{81E1DFBE-DDFC-C688-8E6D-BE0A3A5CB6F9}"/>
              </a:ext>
            </a:extLst>
          </p:cNvPr>
          <p:cNvSpPr/>
          <p:nvPr/>
        </p:nvSpPr>
        <p:spPr>
          <a:xfrm>
            <a:off x="5215849" y="1666209"/>
            <a:ext cx="3083914" cy="441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107C10"/>
                </a:solidFill>
                <a:effectLst/>
                <a:uLnTx/>
                <a:uFillTx/>
                <a:latin typeface="Segoe UI Semibold"/>
                <a:ea typeface="+mn-ea"/>
                <a:cs typeface="+mn-cs"/>
              </a:rPr>
              <a:t>65%</a:t>
            </a:r>
          </a:p>
        </p:txBody>
      </p:sp>
      <p:sp>
        <p:nvSpPr>
          <p:cNvPr id="88" name="Rectangle 87">
            <a:extLst>
              <a:ext uri="{FF2B5EF4-FFF2-40B4-BE49-F238E27FC236}">
                <a16:creationId xmlns:a16="http://schemas.microsoft.com/office/drawing/2014/main" id="{F4433930-103D-F76E-6330-E1F5E0EC8B47}"/>
              </a:ext>
            </a:extLst>
          </p:cNvPr>
          <p:cNvSpPr/>
          <p:nvPr/>
        </p:nvSpPr>
        <p:spPr>
          <a:xfrm>
            <a:off x="5273770" y="2063346"/>
            <a:ext cx="3083912" cy="30777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2424"/>
                </a:solidFill>
                <a:effectLst/>
                <a:uLnTx/>
                <a:uFillTx/>
                <a:latin typeface="Segoe UI Semibold"/>
                <a:ea typeface="+mn-ea"/>
                <a:cs typeface="+mn-cs"/>
              </a:rPr>
              <a:t> less time to investigate threats</a:t>
            </a:r>
            <a:endParaRPr kumimoji="0" lang="en-US" sz="14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sp>
        <p:nvSpPr>
          <p:cNvPr id="90" name="Rectangle 89">
            <a:extLst>
              <a:ext uri="{FF2B5EF4-FFF2-40B4-BE49-F238E27FC236}">
                <a16:creationId xmlns:a16="http://schemas.microsoft.com/office/drawing/2014/main" id="{C862669C-49A5-9676-4078-160C922BD86E}"/>
              </a:ext>
            </a:extLst>
          </p:cNvPr>
          <p:cNvSpPr/>
          <p:nvPr/>
        </p:nvSpPr>
        <p:spPr>
          <a:xfrm>
            <a:off x="5215849" y="2368491"/>
            <a:ext cx="3083914" cy="441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107C10"/>
                </a:solidFill>
                <a:effectLst/>
                <a:uLnTx/>
                <a:uFillTx/>
                <a:latin typeface="Segoe UI Semibold"/>
                <a:ea typeface="+mn-ea"/>
                <a:cs typeface="+mn-cs"/>
              </a:rPr>
              <a:t>88%</a:t>
            </a:r>
          </a:p>
        </p:txBody>
      </p:sp>
      <p:sp>
        <p:nvSpPr>
          <p:cNvPr id="92" name="Rectangle 91">
            <a:extLst>
              <a:ext uri="{FF2B5EF4-FFF2-40B4-BE49-F238E27FC236}">
                <a16:creationId xmlns:a16="http://schemas.microsoft.com/office/drawing/2014/main" id="{55E1E263-71CD-ED85-46B8-59B2A97722E3}"/>
              </a:ext>
            </a:extLst>
          </p:cNvPr>
          <p:cNvSpPr/>
          <p:nvPr/>
        </p:nvSpPr>
        <p:spPr>
          <a:xfrm>
            <a:off x="5335416" y="2752591"/>
            <a:ext cx="3318020" cy="95410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2424"/>
                </a:solidFill>
                <a:effectLst/>
                <a:uLnTx/>
                <a:uFillTx/>
                <a:latin typeface="Segoe UI Semibold"/>
                <a:ea typeface="+mn-ea"/>
                <a:cs typeface="+mn-cs"/>
              </a:rPr>
              <a:t>less time responding to threats with Microsoft Sentinel, Microsoft 365 Defender, and Microsoft Defender for Cloud</a:t>
            </a:r>
            <a:r>
              <a:rPr kumimoji="0" lang="en-US" sz="14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a:t>
            </a:r>
            <a:endParaRPr kumimoji="0" lang="en-US" sz="14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cxnSp>
        <p:nvCxnSpPr>
          <p:cNvPr id="6" name="Straight Connector 5">
            <a:extLst>
              <a:ext uri="{FF2B5EF4-FFF2-40B4-BE49-F238E27FC236}">
                <a16:creationId xmlns:a16="http://schemas.microsoft.com/office/drawing/2014/main" id="{725A49D0-3694-C66E-296A-696E49FB6B10}"/>
              </a:ext>
              <a:ext uri="{C183D7F6-B498-43B3-948B-1728B52AA6E4}">
                <adec:decorative xmlns:adec="http://schemas.microsoft.com/office/drawing/2017/decorative" val="1"/>
              </a:ext>
            </a:extLst>
          </p:cNvPr>
          <p:cNvCxnSpPr>
            <a:cxnSpLocks/>
          </p:cNvCxnSpPr>
          <p:nvPr/>
        </p:nvCxnSpPr>
        <p:spPr>
          <a:xfrm>
            <a:off x="5310328" y="3860420"/>
            <a:ext cx="592650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BE2E8EF7-E4A0-A941-215F-9D1AF45FE75C}"/>
              </a:ext>
            </a:extLst>
          </p:cNvPr>
          <p:cNvSpPr/>
          <p:nvPr/>
        </p:nvSpPr>
        <p:spPr>
          <a:xfrm>
            <a:off x="8788190" y="969867"/>
            <a:ext cx="2274806" cy="845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107C10"/>
                </a:solidFill>
                <a:effectLst/>
                <a:uLnTx/>
                <a:uFillTx/>
                <a:latin typeface="Segoe UI Semibold"/>
                <a:ea typeface="+mn-ea"/>
                <a:cs typeface="+mn-cs"/>
              </a:rPr>
              <a:t>$10.5 </a:t>
            </a:r>
          </a:p>
        </p:txBody>
      </p:sp>
      <p:sp>
        <p:nvSpPr>
          <p:cNvPr id="66" name="TextBox 65">
            <a:extLst>
              <a:ext uri="{FF2B5EF4-FFF2-40B4-BE49-F238E27FC236}">
                <a16:creationId xmlns:a16="http://schemas.microsoft.com/office/drawing/2014/main" id="{84ADE099-8082-5033-7DA4-3BF3902E27D9}"/>
              </a:ext>
            </a:extLst>
          </p:cNvPr>
          <p:cNvSpPr txBox="1"/>
          <p:nvPr/>
        </p:nvSpPr>
        <p:spPr>
          <a:xfrm>
            <a:off x="8899350" y="2078578"/>
            <a:ext cx="3125315"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million additional end user productivity from automation and process improvements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Microsoft 365 Defender</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2</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sp>
        <p:nvSpPr>
          <p:cNvPr id="8" name="Rectangle 7">
            <a:extLst>
              <a:ext uri="{FF2B5EF4-FFF2-40B4-BE49-F238E27FC236}">
                <a16:creationId xmlns:a16="http://schemas.microsoft.com/office/drawing/2014/main" id="{4E5E86FD-C47D-F68A-7845-7E18F15DD32E}"/>
              </a:ext>
            </a:extLst>
          </p:cNvPr>
          <p:cNvSpPr/>
          <p:nvPr/>
        </p:nvSpPr>
        <p:spPr>
          <a:xfrm>
            <a:off x="5190594" y="3968698"/>
            <a:ext cx="2462396"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107C10"/>
                </a:solidFill>
                <a:effectLst/>
                <a:uLnTx/>
                <a:uFillTx/>
                <a:latin typeface="Segoe UI Semibold"/>
                <a:ea typeface="+mn-ea"/>
                <a:cs typeface="+mn-cs"/>
              </a:rPr>
              <a:t>96%</a:t>
            </a:r>
          </a:p>
        </p:txBody>
      </p:sp>
      <p:sp>
        <p:nvSpPr>
          <p:cNvPr id="510" name="Rectangle 509">
            <a:extLst>
              <a:ext uri="{FF2B5EF4-FFF2-40B4-BE49-F238E27FC236}">
                <a16:creationId xmlns:a16="http://schemas.microsoft.com/office/drawing/2014/main" id="{2687B24D-6ABA-CEB5-6BCD-0C1A5AE17D3D}"/>
              </a:ext>
            </a:extLst>
          </p:cNvPr>
          <p:cNvSpPr/>
          <p:nvPr/>
        </p:nvSpPr>
        <p:spPr>
          <a:xfrm>
            <a:off x="5300662" y="4946800"/>
            <a:ext cx="3352774" cy="83099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less time spent monitoring potential suspicious activity with Microsoft Purview</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3</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sp>
        <p:nvSpPr>
          <p:cNvPr id="72" name="Rectangle 71">
            <a:extLst>
              <a:ext uri="{FF2B5EF4-FFF2-40B4-BE49-F238E27FC236}">
                <a16:creationId xmlns:a16="http://schemas.microsoft.com/office/drawing/2014/main" id="{57450EC6-B338-9BE1-AA7A-1091850DA375}"/>
              </a:ext>
            </a:extLst>
          </p:cNvPr>
          <p:cNvSpPr/>
          <p:nvPr/>
        </p:nvSpPr>
        <p:spPr>
          <a:xfrm>
            <a:off x="8788190" y="3972554"/>
            <a:ext cx="2462396"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107C10"/>
                </a:solidFill>
                <a:effectLst/>
                <a:uLnTx/>
                <a:uFillTx/>
                <a:latin typeface="Segoe UI Semibold"/>
                <a:ea typeface="+mn-ea"/>
                <a:cs typeface="+mn-cs"/>
              </a:rPr>
              <a:t>90%</a:t>
            </a:r>
          </a:p>
        </p:txBody>
      </p:sp>
      <p:sp>
        <p:nvSpPr>
          <p:cNvPr id="74" name="Rectangle 73">
            <a:extLst>
              <a:ext uri="{FF2B5EF4-FFF2-40B4-BE49-F238E27FC236}">
                <a16:creationId xmlns:a16="http://schemas.microsoft.com/office/drawing/2014/main" id="{8509A1EC-CEF2-3A6B-5425-F59FA345BF53}"/>
              </a:ext>
            </a:extLst>
          </p:cNvPr>
          <p:cNvSpPr/>
          <p:nvPr/>
        </p:nvSpPr>
        <p:spPr>
          <a:xfrm>
            <a:off x="8899350" y="4908696"/>
            <a:ext cx="2960679" cy="83099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reduction in noise, elevating the most critical issues with </a:t>
            </a:r>
            <a:b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b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Microsoft Sentinel</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4</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cxnSp>
        <p:nvCxnSpPr>
          <p:cNvPr id="76" name="Straight Connector 75">
            <a:extLst>
              <a:ext uri="{FF2B5EF4-FFF2-40B4-BE49-F238E27FC236}">
                <a16:creationId xmlns:a16="http://schemas.microsoft.com/office/drawing/2014/main" id="{CF385AF5-BA10-D56A-F978-C73B64909558}"/>
              </a:ext>
              <a:ext uri="{C183D7F6-B498-43B3-948B-1728B52AA6E4}">
                <adec:decorative xmlns:adec="http://schemas.microsoft.com/office/drawing/2017/decorative" val="1"/>
              </a:ext>
            </a:extLst>
          </p:cNvPr>
          <p:cNvCxnSpPr>
            <a:cxnSpLocks/>
          </p:cNvCxnSpPr>
          <p:nvPr/>
        </p:nvCxnSpPr>
        <p:spPr>
          <a:xfrm>
            <a:off x="5310328" y="5994755"/>
            <a:ext cx="592650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4" name="TextBox 1">
            <a:extLst>
              <a:ext uri="{FF2B5EF4-FFF2-40B4-BE49-F238E27FC236}">
                <a16:creationId xmlns:a16="http://schemas.microsoft.com/office/drawing/2014/main" id="{FBF0B978-B536-43A9-89C8-D1A585BBBA78}"/>
              </a:ext>
            </a:extLst>
          </p:cNvPr>
          <p:cNvSpPr txBox="1"/>
          <p:nvPr/>
        </p:nvSpPr>
        <p:spPr>
          <a:xfrm>
            <a:off x="5273770" y="6284068"/>
            <a:ext cx="5563105" cy="430887"/>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525252"/>
                </a:solidFill>
                <a:effectLst/>
                <a:uLnTx/>
                <a:uFillTx/>
                <a:latin typeface="Segoe UI" panose="020B0502040204020203" pitchFamily="34" charset="0"/>
                <a:ea typeface="+mn-ea"/>
                <a:cs typeface="+mn-cs"/>
              </a:rPr>
              <a:t>1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 </a:t>
            </a:r>
            <a:r>
              <a:rPr kumimoji="0" lang="en-US" sz="700" b="0" i="0" u="none" strike="noStrike" kern="1200" cap="none" spc="0" normalizeH="0" baseline="0" noProof="0" dirty="0">
                <a:ln>
                  <a:noFill/>
                </a:ln>
                <a:solidFill>
                  <a:srgbClr val="000000"/>
                </a:solidFill>
                <a:effectLst/>
                <a:uLnTx/>
                <a:uFillTx/>
                <a:latin typeface="Segoe UI"/>
                <a:ea typeface="+mn-ea"/>
                <a:cs typeface="+mn-cs"/>
              </a:rPr>
              <a:t> SIEM and XDR”, August 2022,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525252"/>
                </a:solidFill>
                <a:effectLst/>
                <a:uLnTx/>
                <a:uFillTx/>
                <a:latin typeface="Segoe UI" panose="020B0502040204020203" pitchFamily="34" charset="0"/>
                <a:ea typeface="+mn-ea"/>
                <a:cs typeface="+mn-cs"/>
              </a:rPr>
              <a:t>2</a:t>
            </a:r>
            <a:r>
              <a:rPr kumimoji="0" lang="en-US" sz="700" b="0" i="0" u="none" strike="noStrike" kern="0" cap="none" spc="0" normalizeH="0" baseline="0" noProof="0" dirty="0">
                <a:ln>
                  <a:noFill/>
                </a:ln>
                <a:solidFill>
                  <a:srgbClr val="525252"/>
                </a:solidFill>
                <a:effectLst/>
                <a:uLnTx/>
                <a:uFillTx/>
                <a:latin typeface="Segoe UI"/>
                <a:ea typeface="+mn-ea"/>
                <a:cs typeface="+mn-cs"/>
              </a:rPr>
              <a:t>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a:t>
            </a:r>
            <a:r>
              <a:rPr kumimoji="0" lang="en-US" sz="700" b="0" i="0" u="none" strike="noStrike" kern="1200" cap="none" spc="0" normalizeH="0" baseline="0" noProof="0" dirty="0">
                <a:ln>
                  <a:noFill/>
                </a:ln>
                <a:solidFill>
                  <a:srgbClr val="000000"/>
                </a:solidFill>
                <a:effectLst/>
                <a:uLnTx/>
                <a:uFillTx/>
                <a:latin typeface="Segoe UI"/>
                <a:ea typeface="+mn-ea"/>
                <a:cs typeface="+mn-cs"/>
              </a:rPr>
              <a:t> 365 Defender”, April 2022,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525252"/>
                </a:solidFill>
                <a:effectLst/>
                <a:uLnTx/>
                <a:uFillTx/>
                <a:latin typeface="Segoe UI" panose="020B0502040204020203" pitchFamily="34" charset="0"/>
                <a:ea typeface="+mn-ea"/>
                <a:cs typeface="+mn-cs"/>
              </a:rPr>
              <a:t>3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The Total Economic Impact</a:t>
            </a:r>
            <a:r>
              <a:rPr kumimoji="0" lang="en-US" sz="700" b="0" i="0" u="none" strike="noStrike" kern="1200" cap="none" spc="0" normalizeH="0" baseline="0" noProof="0" dirty="0">
                <a:ln>
                  <a:noFill/>
                </a:ln>
                <a:solidFill>
                  <a:srgbClr val="000000"/>
                </a:solidFill>
                <a:effectLst/>
                <a:uLnTx/>
                <a:uFillTx/>
                <a:latin typeface="Segoe UI"/>
                <a:ea typeface="+mn-ea"/>
                <a:cs typeface="+mn-cs"/>
              </a:rPr>
              <a:t>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365 E5 Compliance,” February, 2021, commissioned by Microsoft</a:t>
            </a:r>
            <a:endParaRPr kumimoji="0" lang="en-US" sz="700" b="0" i="0" u="none" strike="noStrike" kern="1200" cap="none" spc="0" normalizeH="0" baseline="30000" noProof="0" dirty="0">
              <a:ln>
                <a:noFill/>
              </a:ln>
              <a:solidFill>
                <a:srgbClr val="525252"/>
              </a:solidFill>
              <a:effectLst/>
              <a:uLnTx/>
              <a:uFillTx/>
              <a:latin typeface="Segoe UI" panose="020B0502040204020203" pitchFamily="34" charset="0"/>
              <a:ea typeface="+mn-ea"/>
              <a:cs typeface="+mn-cs"/>
            </a:endParaRP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525252"/>
                </a:solidFill>
                <a:effectLst/>
                <a:uLnTx/>
                <a:uFillTx/>
                <a:latin typeface="Segoe UI" panose="020B0502040204020203" pitchFamily="34" charset="0"/>
                <a:ea typeface="+mn-ea"/>
                <a:cs typeface="+mn-cs"/>
              </a:rPr>
              <a:t>4 </a:t>
            </a:r>
            <a:r>
              <a:rPr kumimoji="0" lang="en-US" sz="7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hlinkClick r:id="rId3"/>
              </a:rPr>
              <a:t>Microsoft blog: Azure Sentinel uncovers the real threats hidden in billions of low fidelity signals</a:t>
            </a:r>
            <a:r>
              <a:rPr kumimoji="0" lang="en-US" sz="7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rPr>
              <a:t>, Feb 2020</a:t>
            </a:r>
            <a:endPar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340728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BC2A-E0AE-6646-B262-332BA5F67435}"/>
              </a:ext>
            </a:extLst>
          </p:cNvPr>
          <p:cNvSpPr>
            <a:spLocks noGrp="1"/>
          </p:cNvSpPr>
          <p:nvPr>
            <p:ph type="title"/>
          </p:nvPr>
        </p:nvSpPr>
        <p:spPr>
          <a:xfrm>
            <a:off x="512681" y="337777"/>
            <a:ext cx="9871353" cy="984885"/>
          </a:xfrm>
        </p:spPr>
        <p:txBody>
          <a:bodyPr/>
          <a:lstStyle/>
          <a:p>
            <a:r>
              <a:rPr lang="en-US" sz="3200" dirty="0"/>
              <a:t>Additional cost savings through AI and </a:t>
            </a:r>
            <a:br>
              <a:rPr lang="en-US" sz="3200" dirty="0"/>
            </a:br>
            <a:r>
              <a:rPr lang="en-US" sz="3200" dirty="0"/>
              <a:t>Automation</a:t>
            </a:r>
          </a:p>
        </p:txBody>
      </p:sp>
      <p:sp>
        <p:nvSpPr>
          <p:cNvPr id="15" name="Rectangle 14">
            <a:extLst>
              <a:ext uri="{FF2B5EF4-FFF2-40B4-BE49-F238E27FC236}">
                <a16:creationId xmlns:a16="http://schemas.microsoft.com/office/drawing/2014/main" id="{8DF31958-23D0-8615-4FCA-B57B639B956A}"/>
              </a:ext>
              <a:ext uri="{C183D7F6-B498-43B3-948B-1728B52AA6E4}">
                <adec:decorative xmlns:adec="http://schemas.microsoft.com/office/drawing/2017/decorative" val="1"/>
              </a:ext>
            </a:extLst>
          </p:cNvPr>
          <p:cNvSpPr/>
          <p:nvPr/>
        </p:nvSpPr>
        <p:spPr bwMode="auto">
          <a:xfrm>
            <a:off x="9367935" y="0"/>
            <a:ext cx="283756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5" name="TextBox 4">
            <a:extLst>
              <a:ext uri="{FF2B5EF4-FFF2-40B4-BE49-F238E27FC236}">
                <a16:creationId xmlns:a16="http://schemas.microsoft.com/office/drawing/2014/main" id="{16A1A046-D401-F469-C49D-A80CE46EDCAE}"/>
              </a:ext>
            </a:extLst>
          </p:cNvPr>
          <p:cNvSpPr txBox="1"/>
          <p:nvPr/>
        </p:nvSpPr>
        <p:spPr>
          <a:xfrm>
            <a:off x="437417" y="1563026"/>
            <a:ext cx="6804212"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lang="en-US" sz="1800" b="0" kern="1200" noProof="0" dirty="0">
                <a:solidFill>
                  <a:schemeClr val="tx1"/>
                </a:solidFill>
                <a:latin typeface="+mj-lt"/>
                <a:ea typeface="+mn-ea"/>
                <a:cs typeface="+mn-cs"/>
              </a:rPr>
              <a:t>Reduce Total Cost of Risk</a:t>
            </a:r>
          </a:p>
        </p:txBody>
      </p:sp>
      <p:graphicFrame>
        <p:nvGraphicFramePr>
          <p:cNvPr id="31" name="Table 9">
            <a:extLst>
              <a:ext uri="{FF2B5EF4-FFF2-40B4-BE49-F238E27FC236}">
                <a16:creationId xmlns:a16="http://schemas.microsoft.com/office/drawing/2014/main" id="{B6F83CA8-E750-440E-9329-5975864ED928}"/>
              </a:ext>
            </a:extLst>
          </p:cNvPr>
          <p:cNvGraphicFramePr>
            <a:graphicFrameLocks noGrp="1"/>
          </p:cNvGraphicFramePr>
          <p:nvPr>
            <p:extLst>
              <p:ext uri="{D42A27DB-BD31-4B8C-83A1-F6EECF244321}">
                <p14:modId xmlns:p14="http://schemas.microsoft.com/office/powerpoint/2010/main" val="2363556934"/>
              </p:ext>
            </p:extLst>
          </p:nvPr>
        </p:nvGraphicFramePr>
        <p:xfrm>
          <a:off x="507402" y="1932358"/>
          <a:ext cx="8603144" cy="1645920"/>
        </p:xfrm>
        <a:graphic>
          <a:graphicData uri="http://schemas.openxmlformats.org/drawingml/2006/table">
            <a:tbl>
              <a:tblPr firstRow="1" bandRow="1">
                <a:tableStyleId>{5C22544A-7EE6-4342-B048-85BDC9FD1C3A}</a:tableStyleId>
              </a:tblPr>
              <a:tblGrid>
                <a:gridCol w="3167801">
                  <a:extLst>
                    <a:ext uri="{9D8B030D-6E8A-4147-A177-3AD203B41FA5}">
                      <a16:colId xmlns:a16="http://schemas.microsoft.com/office/drawing/2014/main" val="1806426583"/>
                    </a:ext>
                  </a:extLst>
                </a:gridCol>
                <a:gridCol w="5435343">
                  <a:extLst>
                    <a:ext uri="{9D8B030D-6E8A-4147-A177-3AD203B41FA5}">
                      <a16:colId xmlns:a16="http://schemas.microsoft.com/office/drawing/2014/main" val="777568896"/>
                    </a:ext>
                  </a:extLst>
                </a:gridCol>
              </a:tblGrid>
              <a:tr h="23284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Security solutions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rPr>
                        <a:t>Enhanced security reduced the risk of a data breach by </a:t>
                      </a:r>
                      <a:r>
                        <a:rPr lang="en-US" sz="1200" dirty="0">
                          <a:solidFill>
                            <a:schemeClr val="accent3"/>
                          </a:solidFill>
                          <a:latin typeface="+mj-lt"/>
                        </a:rPr>
                        <a:t>50%</a:t>
                      </a:r>
                      <a:r>
                        <a:rPr kumimoji="0" lang="en-US" sz="1200" b="0" i="0" u="none" strike="noStrike" kern="1200" cap="none" spc="0" normalizeH="0" baseline="30000" noProof="0" dirty="0">
                          <a:ln>
                            <a:noFill/>
                          </a:ln>
                          <a:solidFill>
                            <a:schemeClr val="tx1"/>
                          </a:solidFill>
                          <a:effectLst/>
                          <a:uLnTx/>
                          <a:uFillTx/>
                          <a:latin typeface="+mn-lt"/>
                          <a:ea typeface="+mn-ea"/>
                          <a:cs typeface="Calibri" panose="020F0502020204030204" pitchFamily="34" charset="0"/>
                        </a:rPr>
                        <a:t>1</a:t>
                      </a:r>
                      <a:endPar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523244429"/>
                  </a:ext>
                </a:extLst>
              </a:tr>
              <a:tr h="23284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w="3175">
                            <a:noFill/>
                          </a:ln>
                          <a:solidFill>
                            <a:schemeClr val="tx1"/>
                          </a:solidFill>
                          <a:effectLst/>
                          <a:uLnTx/>
                          <a:uFillTx/>
                          <a:latin typeface="Segoe UI Semibold"/>
                          <a:ea typeface="+mn-ea"/>
                          <a:cs typeface="Segoe UI Semilight" panose="020B0402040204020203" pitchFamily="34" charset="0"/>
                        </a:rPr>
                        <a:t>Microsoft Purview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Reduced costs from data beaches by </a:t>
                      </a:r>
                      <a:r>
                        <a:rPr kumimoji="0" lang="en-US" sz="1200" b="0" i="0" u="none" strike="noStrike" kern="1200" cap="none" spc="0" normalizeH="0" baseline="0" noProof="0" dirty="0">
                          <a:ln>
                            <a:noFill/>
                          </a:ln>
                          <a:solidFill>
                            <a:schemeClr val="accent3"/>
                          </a:solidFill>
                          <a:effectLst/>
                          <a:uLnTx/>
                          <a:uFillTx/>
                          <a:latin typeface="+mj-lt"/>
                          <a:ea typeface="+mn-ea"/>
                          <a:cs typeface="Calibri" panose="020F0502020204030204" pitchFamily="34" charset="0"/>
                        </a:rPr>
                        <a:t>40-50</a:t>
                      </a:r>
                      <a:r>
                        <a:rPr kumimoji="0" lang="en-US" sz="1200" b="1" i="0" u="none" strike="noStrike" kern="1200" cap="none" spc="0" normalizeH="0" baseline="0" noProof="0" dirty="0">
                          <a:ln>
                            <a:noFill/>
                          </a:ln>
                          <a:solidFill>
                            <a:schemeClr val="accent3"/>
                          </a:solidFill>
                          <a:effectLst/>
                          <a:uLnTx/>
                          <a:uFillTx/>
                          <a:latin typeface="+mn-lt"/>
                          <a:ea typeface="+mn-ea"/>
                          <a:cs typeface="Calibri" panose="020F0502020204030204" pitchFamily="34" charset="0"/>
                        </a:rPr>
                        <a:t>%</a:t>
                      </a:r>
                      <a:r>
                        <a:rPr kumimoji="0" lang="en-US" sz="1200" b="0" i="0" u="none" strike="noStrike" kern="1200" cap="none" spc="0" normalizeH="0" baseline="30000" noProof="0" dirty="0">
                          <a:ln>
                            <a:noFill/>
                          </a:ln>
                          <a:solidFill>
                            <a:schemeClr val="tx1"/>
                          </a:solidFill>
                          <a:effectLst/>
                          <a:uLnTx/>
                          <a:uFillTx/>
                          <a:latin typeface="+mn-lt"/>
                          <a:ea typeface="+mn-ea"/>
                          <a:cs typeface="Calibri" panose="020F0502020204030204" pitchFamily="34" charset="0"/>
                        </a:rPr>
                        <a:t>2</a:t>
                      </a:r>
                      <a:endParaRPr kumimoji="0" lang="en-US" sz="1200" b="1" i="0"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2854936674"/>
                  </a:ext>
                </a:extLst>
              </a:tr>
              <a:tr h="54330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nn-NO" sz="1200" b="1"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Sentinel, Microsoft 365 Defender, and Microsoft Defender for Cloud</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noProof="0" dirty="0">
                          <a:solidFill>
                            <a:srgbClr val="000000"/>
                          </a:solidFill>
                          <a:latin typeface="+mn-lt"/>
                          <a:ea typeface="+mn-ea"/>
                          <a:cs typeface="+mn-cs"/>
                        </a:rPr>
                        <a:t>R</a:t>
                      </a:r>
                      <a:r>
                        <a:rPr lang="en-US" sz="1200" kern="1200" dirty="0">
                          <a:solidFill>
                            <a:srgbClr val="000000"/>
                          </a:solidFill>
                          <a:latin typeface="+mn-lt"/>
                          <a:ea typeface="+mn-ea"/>
                          <a:cs typeface="+mn-cs"/>
                        </a:rPr>
                        <a:t>educed risk </a:t>
                      </a:r>
                      <a:r>
                        <a:rPr lang="en-US" sz="1200" dirty="0">
                          <a:solidFill>
                            <a:srgbClr val="000000"/>
                          </a:solidFill>
                          <a:latin typeface="+mn-lt"/>
                        </a:rPr>
                        <a:t>of material breach by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60%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t>Reduced time to investigate threats by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65% </a:t>
                      </a:r>
                      <a:endParaRPr lang="en-US" sz="1200" dirty="0"/>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t>Reduced </a:t>
                      </a:r>
                      <a:r>
                        <a:rPr lang="en-US" sz="1200" b="0" kern="1200" dirty="0">
                          <a:solidFill>
                            <a:schemeClr val="dk1"/>
                          </a:solidFill>
                          <a:latin typeface="+mn-lt"/>
                          <a:ea typeface="+mn-ea"/>
                          <a:cs typeface="+mn-cs"/>
                        </a:rPr>
                        <a:t>time to respond </a:t>
                      </a:r>
                      <a:r>
                        <a:rPr lang="en-US" sz="1200" dirty="0"/>
                        <a:t>to threats by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88%</a:t>
                      </a:r>
                      <a:r>
                        <a:rPr lang="en-US" sz="800" dirty="0">
                          <a:solidFill>
                            <a:srgbClr val="000000"/>
                          </a:solidFill>
                          <a:latin typeface="+mn-lt"/>
                        </a:rPr>
                        <a:t>3</a:t>
                      </a:r>
                      <a:endParaRPr kumimoji="0" lang="en-US" sz="8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3147746460"/>
                  </a:ext>
                </a:extLst>
              </a:tr>
              <a:tr h="38807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Segoe UI Semibold"/>
                          <a:ea typeface="+mn-ea"/>
                          <a:cs typeface="+mn-cs"/>
                        </a:rPr>
                        <a:t>Azure Active Directory</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Reducing the complexity of IAM solutions reduced risk of a security breach b</a:t>
                      </a:r>
                      <a:r>
                        <a:rPr kumimoji="0" lang="en-US" sz="1200" b="0" i="0" u="none" strike="noStrike" kern="1200" cap="none" spc="0" normalizeH="0" baseline="0" noProof="0" dirty="0">
                          <a:ln>
                            <a:noFill/>
                          </a:ln>
                          <a:solidFill>
                            <a:schemeClr val="accent3"/>
                          </a:solidFill>
                          <a:effectLst/>
                          <a:uLnTx/>
                          <a:uFillTx/>
                          <a:latin typeface="+mj-lt"/>
                          <a:ea typeface="+mn-ea"/>
                          <a:cs typeface="Calibri" panose="020F0502020204030204" pitchFamily="34" charset="0"/>
                        </a:rPr>
                        <a:t>y 45%</a:t>
                      </a:r>
                      <a:r>
                        <a:rPr kumimoji="0" lang="en-US" sz="1200" b="0" i="0" u="none" strike="noStrike" kern="1200" cap="none" spc="0" normalizeH="0" baseline="30000" noProof="0" dirty="0">
                          <a:ln>
                            <a:noFill/>
                          </a:ln>
                          <a:solidFill>
                            <a:schemeClr val="tx1"/>
                          </a:solidFill>
                          <a:effectLst/>
                          <a:uLnTx/>
                          <a:uFillTx/>
                          <a:latin typeface="+mn-lt"/>
                          <a:ea typeface="+mn-ea"/>
                          <a:cs typeface="Calibri" panose="020F0502020204030204" pitchFamily="34" charset="0"/>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2013934948"/>
                  </a:ext>
                </a:extLst>
              </a:tr>
            </a:tbl>
          </a:graphicData>
        </a:graphic>
      </p:graphicFrame>
      <p:sp>
        <p:nvSpPr>
          <p:cNvPr id="10" name="TextBox 9">
            <a:extLst>
              <a:ext uri="{FF2B5EF4-FFF2-40B4-BE49-F238E27FC236}">
                <a16:creationId xmlns:a16="http://schemas.microsoft.com/office/drawing/2014/main" id="{72570DA4-7AD3-87CB-8BE2-65552A38F724}"/>
              </a:ext>
            </a:extLst>
          </p:cNvPr>
          <p:cNvSpPr txBox="1"/>
          <p:nvPr/>
        </p:nvSpPr>
        <p:spPr>
          <a:xfrm>
            <a:off x="437417" y="3541307"/>
            <a:ext cx="6804212"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lang="en-US" sz="1800" b="0" kern="1200" noProof="0" dirty="0">
                <a:solidFill>
                  <a:schemeClr val="tx1"/>
                </a:solidFill>
                <a:latin typeface="+mj-lt"/>
                <a:ea typeface="+mn-ea"/>
                <a:cs typeface="+mn-cs"/>
              </a:rPr>
              <a:t>Save On Automation and Process Improvements </a:t>
            </a:r>
          </a:p>
        </p:txBody>
      </p:sp>
      <p:graphicFrame>
        <p:nvGraphicFramePr>
          <p:cNvPr id="6" name="Table 5">
            <a:extLst>
              <a:ext uri="{FF2B5EF4-FFF2-40B4-BE49-F238E27FC236}">
                <a16:creationId xmlns:a16="http://schemas.microsoft.com/office/drawing/2014/main" id="{2F11C1CF-099D-A38E-679B-DA90267AF5A8}"/>
              </a:ext>
            </a:extLst>
          </p:cNvPr>
          <p:cNvGraphicFramePr>
            <a:graphicFrameLocks noGrp="1"/>
          </p:cNvGraphicFramePr>
          <p:nvPr>
            <p:extLst>
              <p:ext uri="{D42A27DB-BD31-4B8C-83A1-F6EECF244321}">
                <p14:modId xmlns:p14="http://schemas.microsoft.com/office/powerpoint/2010/main" val="4250675876"/>
              </p:ext>
            </p:extLst>
          </p:nvPr>
        </p:nvGraphicFramePr>
        <p:xfrm>
          <a:off x="507402" y="3910639"/>
          <a:ext cx="8603144" cy="2071842"/>
        </p:xfrm>
        <a:graphic>
          <a:graphicData uri="http://schemas.openxmlformats.org/drawingml/2006/table">
            <a:tbl>
              <a:tblPr firstRow="1" bandRow="1">
                <a:tableStyleId>{5C22544A-7EE6-4342-B048-85BDC9FD1C3A}</a:tableStyleId>
              </a:tblPr>
              <a:tblGrid>
                <a:gridCol w="3167801">
                  <a:extLst>
                    <a:ext uri="{9D8B030D-6E8A-4147-A177-3AD203B41FA5}">
                      <a16:colId xmlns:a16="http://schemas.microsoft.com/office/drawing/2014/main" val="3860656383"/>
                    </a:ext>
                  </a:extLst>
                </a:gridCol>
                <a:gridCol w="5435343">
                  <a:extLst>
                    <a:ext uri="{9D8B030D-6E8A-4147-A177-3AD203B41FA5}">
                      <a16:colId xmlns:a16="http://schemas.microsoft.com/office/drawing/2014/main" val="4123990108"/>
                    </a:ext>
                  </a:extLst>
                </a:gridCol>
              </a:tblGrid>
              <a:tr h="38807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Sentinel</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Reduced false positives </a:t>
                      </a:r>
                      <a:r>
                        <a:rPr kumimoji="0" lang="en-US" sz="1200" b="0" i="0" u="none" strike="noStrike" kern="1200" cap="none" spc="0" normalizeH="0" baseline="0" noProof="0" dirty="0">
                          <a:ln>
                            <a:noFill/>
                          </a:ln>
                          <a:solidFill>
                            <a:schemeClr val="accent3"/>
                          </a:solidFill>
                          <a:effectLst/>
                          <a:uLnTx/>
                          <a:uFillTx/>
                          <a:latin typeface="+mj-lt"/>
                          <a:ea typeface="+mn-ea"/>
                          <a:cs typeface="Calibri" panose="020F0502020204030204" pitchFamily="34" charset="0"/>
                        </a:rPr>
                        <a:t>79%</a:t>
                      </a:r>
                      <a:r>
                        <a:rPr kumimoji="0" lang="en-US" sz="1200" b="0" i="0" u="none" strike="noStrike" kern="1200" cap="none" spc="0" normalizeH="0" baseline="30000" noProof="0" dirty="0">
                          <a:ln>
                            <a:noFill/>
                          </a:ln>
                          <a:solidFill>
                            <a:schemeClr val="tx1"/>
                          </a:solidFill>
                          <a:effectLst/>
                          <a:uLnTx/>
                          <a:uFillTx/>
                          <a:latin typeface="+mn-lt"/>
                          <a:ea typeface="+mn-ea"/>
                          <a:cs typeface="Calibri" panose="020F0502020204030204" pitchFamily="34" charset="0"/>
                        </a:rPr>
                        <a:t>5</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a:gradFill>
                            <a:gsLst>
                              <a:gs pos="1000">
                                <a:srgbClr val="000000"/>
                              </a:gs>
                              <a:gs pos="99000">
                                <a:srgbClr val="000000">
                                  <a:alpha val="83000"/>
                                </a:srgbClr>
                              </a:gs>
                            </a:gsLst>
                            <a:lin ang="16200000" scaled="1"/>
                          </a:gradFill>
                          <a:latin typeface="+mn-lt"/>
                          <a:ea typeface="+mn-ea"/>
                          <a:cs typeface="Calibri" panose="020F0502020204030204" pitchFamily="34" charset="0"/>
                        </a:rPr>
                        <a:t>Reduced noise by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90%</a:t>
                      </a:r>
                      <a:r>
                        <a:rPr lang="en-US" sz="1200" b="1" kern="1200" dirty="0">
                          <a:gradFill>
                            <a:gsLst>
                              <a:gs pos="1000">
                                <a:srgbClr val="000000"/>
                              </a:gs>
                              <a:gs pos="99000">
                                <a:srgbClr val="000000">
                                  <a:alpha val="83000"/>
                                </a:srgbClr>
                              </a:gs>
                            </a:gsLst>
                            <a:lin ang="16200000" scaled="1"/>
                          </a:gradFill>
                          <a:latin typeface="+mn-lt"/>
                          <a:ea typeface="+mn-ea"/>
                          <a:cs typeface="Calibri" panose="020F0502020204030204" pitchFamily="34" charset="0"/>
                        </a:rPr>
                        <a:t>, </a:t>
                      </a:r>
                      <a:r>
                        <a:rPr lang="en-US" sz="1200" kern="1200" dirty="0">
                          <a:gradFill>
                            <a:gsLst>
                              <a:gs pos="1000">
                                <a:srgbClr val="000000"/>
                              </a:gs>
                              <a:gs pos="99000">
                                <a:srgbClr val="000000">
                                  <a:alpha val="83000"/>
                                </a:srgbClr>
                              </a:gs>
                            </a:gsLst>
                            <a:lin ang="16200000" scaled="1"/>
                          </a:gradFill>
                          <a:latin typeface="+mn-lt"/>
                          <a:ea typeface="+mn-ea"/>
                          <a:cs typeface="Calibri" panose="020F0502020204030204" pitchFamily="34" charset="0"/>
                        </a:rPr>
                        <a:t>elevating the most critical issues</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6</a:t>
                      </a:r>
                      <a:endParaRPr lang="en-US" sz="1200" kern="1200" noProof="0" dirty="0">
                        <a:gradFill>
                          <a:gsLst>
                            <a:gs pos="1000">
                              <a:srgbClr val="000000"/>
                            </a:gs>
                            <a:gs pos="99000">
                              <a:srgbClr val="000000">
                                <a:alpha val="83000"/>
                              </a:srgbClr>
                            </a:gs>
                          </a:gsLst>
                          <a:lin ang="16200000" scaled="1"/>
                        </a:gradFill>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319342861"/>
                  </a:ext>
                </a:extLst>
              </a:tr>
              <a:tr h="38807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Azure Network Security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Automated upgrades and improved visibility reduced risk of a </a:t>
                      </a:r>
                      <a:br>
                        <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br>
                      <a:r>
                        <a:rPr kumimoji="0" lang="en-US" sz="12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security breach o</a:t>
                      </a:r>
                      <a:r>
                        <a:rPr kumimoji="0" lang="en-US" sz="1200" b="0" i="0" u="none" strike="noStrike" kern="1200" cap="none" spc="0" normalizeH="0" baseline="0" noProof="0" dirty="0">
                          <a:ln>
                            <a:noFill/>
                          </a:ln>
                          <a:solidFill>
                            <a:schemeClr val="accent3"/>
                          </a:solidFill>
                          <a:effectLst/>
                          <a:uLnTx/>
                          <a:uFillTx/>
                          <a:latin typeface="+mj-lt"/>
                          <a:ea typeface="+mn-ea"/>
                          <a:cs typeface="Calibri" panose="020F0502020204030204" pitchFamily="34" charset="0"/>
                        </a:rPr>
                        <a:t>f 30%</a:t>
                      </a:r>
                      <a:r>
                        <a:rPr kumimoji="0" lang="en-US" sz="1200" b="0" i="0" u="none" strike="noStrike" kern="1200" cap="none" spc="0" normalizeH="0" baseline="30000" noProof="0" dirty="0">
                          <a:ln>
                            <a:noFill/>
                          </a:ln>
                          <a:solidFill>
                            <a:schemeClr val="tx1"/>
                          </a:solidFill>
                          <a:effectLst/>
                          <a:uLnTx/>
                          <a:uFillTx/>
                          <a:latin typeface="+mn-lt"/>
                          <a:ea typeface="+mn-ea"/>
                          <a:cs typeface="Calibri" panose="020F0502020204030204" pitchFamily="34" charset="0"/>
                        </a:rPr>
                        <a:t>7</a:t>
                      </a:r>
                      <a:endParaRPr kumimoji="0" lang="en-US" sz="1200" b="1" i="0" u="none" strike="noStrike" kern="1200" cap="none" spc="0" normalizeH="0" baseline="0" noProof="0" dirty="0">
                        <a:ln>
                          <a:noFill/>
                        </a:ln>
                        <a:solidFill>
                          <a:schemeClr val="tx1"/>
                        </a:soli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3985401858"/>
                  </a:ext>
                </a:extLst>
              </a:tr>
              <a:tr h="38807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w="3175">
                            <a:noFill/>
                          </a:ln>
                          <a:solidFill>
                            <a:schemeClr val="tx1"/>
                          </a:solidFill>
                          <a:effectLst/>
                          <a:uLnTx/>
                          <a:uFillTx/>
                          <a:latin typeface="Segoe UI Semibold"/>
                          <a:ea typeface="+mn-ea"/>
                          <a:cs typeface="Segoe UI Semilight" panose="020B0402040204020203" pitchFamily="34" charset="0"/>
                        </a:rPr>
                        <a:t>Microsoft 365 Defender </a:t>
                      </a:r>
                      <a:endPar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mn-lt"/>
                          <a:ea typeface="+mn-ea"/>
                          <a:cs typeface="Calibri" panose="020F0502020204030204" pitchFamily="34" charset="0"/>
                        </a:rPr>
                        <a:t>Increased end user productivity from automation and process improvements valued at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10.5 million</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8</a:t>
                      </a:r>
                      <a:endParaRPr kumimoji="0" lang="en-US" sz="12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4231492435"/>
                  </a:ext>
                </a:extLst>
              </a:tr>
              <a:tr h="350121">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Cloud App Security</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t>Automated </a:t>
                      </a:r>
                      <a:r>
                        <a:rPr lang="en-US" sz="1200" kern="1200" dirty="0">
                          <a:solidFill>
                            <a:schemeClr val="dk1"/>
                          </a:solidFill>
                          <a:latin typeface="+mn-lt"/>
                          <a:ea typeface="+mn-ea"/>
                          <a:cs typeface="+mn-cs"/>
                        </a:rPr>
                        <a:t>processes eliminated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75% </a:t>
                      </a:r>
                      <a:r>
                        <a:rPr lang="en-US" sz="1200" dirty="0"/>
                        <a:t>of threats automatically</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9</a:t>
                      </a:r>
                      <a:endParaRPr lang="en-US" sz="1200" kern="1200" noProof="0" dirty="0">
                        <a:gradFill>
                          <a:gsLst>
                            <a:gs pos="1000">
                              <a:srgbClr val="000000"/>
                            </a:gs>
                            <a:gs pos="99000">
                              <a:srgbClr val="000000">
                                <a:alpha val="83000"/>
                              </a:srgbClr>
                            </a:gs>
                          </a:gsLst>
                          <a:lin ang="16200000" scaled="1"/>
                        </a:gradFill>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336481463"/>
                  </a:ext>
                </a:extLst>
              </a:tr>
              <a:tr h="350121">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Security solutions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t>Reduced </a:t>
                      </a:r>
                      <a:r>
                        <a:rPr lang="en-US" sz="1200" kern="1200" dirty="0">
                          <a:solidFill>
                            <a:schemeClr val="dk1"/>
                          </a:solidFill>
                          <a:latin typeface="+mn-lt"/>
                          <a:ea typeface="+mn-ea"/>
                          <a:cs typeface="+mn-cs"/>
                        </a:rPr>
                        <a:t>resources required for audit and compliance management by </a:t>
                      </a:r>
                      <a:r>
                        <a:rPr kumimoji="0" lang="en-US" sz="1200" b="0" i="0" u="none" strike="noStrike" kern="1200" cap="none" spc="0" normalizeH="0" baseline="0" dirty="0">
                          <a:ln>
                            <a:noFill/>
                          </a:ln>
                          <a:solidFill>
                            <a:schemeClr val="accent3"/>
                          </a:solidFill>
                          <a:effectLst/>
                          <a:uLnTx/>
                          <a:uFillTx/>
                          <a:latin typeface="+mj-lt"/>
                          <a:ea typeface="+mn-ea"/>
                          <a:cs typeface="Calibri" panose="020F0502020204030204" pitchFamily="34" charset="0"/>
                        </a:rPr>
                        <a:t>25%</a:t>
                      </a:r>
                      <a:r>
                        <a:rPr kumimoji="0" lang="en-US" sz="1200" b="0" i="0" u="none" strike="noStrike" kern="1200" cap="none" spc="0" normalizeH="0" baseline="30000" noProof="0" dirty="0">
                          <a:ln>
                            <a:noFill/>
                          </a:ln>
                          <a:solidFill>
                            <a:schemeClr val="tx1"/>
                          </a:solidFill>
                          <a:effectLst/>
                          <a:uLnTx/>
                          <a:uFillTx/>
                          <a:latin typeface="+mn-lt"/>
                          <a:ea typeface="+mn-ea"/>
                          <a:cs typeface="Calibri" panose="020F0502020204030204" pitchFamily="34" charset="0"/>
                        </a:rPr>
                        <a:t>1</a:t>
                      </a:r>
                      <a:r>
                        <a:rPr lang="en-US" sz="1200" kern="1200" dirty="0">
                          <a:solidFill>
                            <a:schemeClr val="dk1"/>
                          </a:solidFill>
                          <a:latin typeface="+mn-lt"/>
                          <a:ea typeface="+mn-ea"/>
                          <a:cs typeface="+mn-cs"/>
                        </a:rPr>
                        <a:t> </a:t>
                      </a:r>
                      <a:endParaRPr lang="en-US" sz="1200" kern="1200" noProof="0" dirty="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768054938"/>
                  </a:ext>
                </a:extLst>
              </a:tr>
            </a:tbl>
          </a:graphicData>
        </a:graphic>
      </p:graphicFrame>
      <p:sp>
        <p:nvSpPr>
          <p:cNvPr id="4" name="Text Placeholder 2">
            <a:extLst>
              <a:ext uri="{FF2B5EF4-FFF2-40B4-BE49-F238E27FC236}">
                <a16:creationId xmlns:a16="http://schemas.microsoft.com/office/drawing/2014/main" id="{D46345FE-8299-1FDF-7B05-F83953572701}"/>
              </a:ext>
            </a:extLst>
          </p:cNvPr>
          <p:cNvSpPr txBox="1">
            <a:spLocks/>
          </p:cNvSpPr>
          <p:nvPr/>
        </p:nvSpPr>
        <p:spPr>
          <a:xfrm>
            <a:off x="717954" y="6049338"/>
            <a:ext cx="8542834"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Forrester Consulting showed organizations saved substantially by moving to Microsoft Security  </a:t>
            </a:r>
          </a:p>
        </p:txBody>
      </p:sp>
      <p:sp>
        <p:nvSpPr>
          <p:cNvPr id="32" name="TextBox 31">
            <a:extLst>
              <a:ext uri="{FF2B5EF4-FFF2-40B4-BE49-F238E27FC236}">
                <a16:creationId xmlns:a16="http://schemas.microsoft.com/office/drawing/2014/main" id="{501EBFFE-E897-49A7-A122-7760B43AB6CA}"/>
              </a:ext>
            </a:extLst>
          </p:cNvPr>
          <p:cNvSpPr txBox="1"/>
          <p:nvPr/>
        </p:nvSpPr>
        <p:spPr>
          <a:xfrm>
            <a:off x="9456245" y="1879077"/>
            <a:ext cx="2660939" cy="2849691"/>
          </a:xfrm>
          <a:prstGeom prst="rect">
            <a:avLst/>
          </a:prstGeom>
          <a:noFill/>
        </p:spPr>
        <p:txBody>
          <a:bodyPr wrap="square" lIns="91440" tIns="45720" rIns="91440" bIns="45720" anchor="t">
            <a:spAutoFit/>
          </a:bodyPr>
          <a:lstStyle/>
          <a:p>
            <a:pPr marL="0" marR="0" lvl="0" indent="-85725" algn="l" defTabSz="914367" rtl="0" eaLnBrk="1" fontAlgn="auto" latinLnBrk="0" hangingPunct="1">
              <a:lnSpc>
                <a:spcPct val="107000"/>
              </a:lnSpc>
              <a:spcBef>
                <a:spcPts val="0"/>
              </a:spcBef>
              <a:spcAft>
                <a:spcPts val="0"/>
              </a:spcAft>
              <a:buClrTx/>
              <a:buSzTx/>
              <a:buFontTx/>
              <a:buNone/>
              <a:tabLst/>
              <a:defRPr/>
            </a:pPr>
            <a:r>
              <a:rPr kumimoji="0" lang="en-US" sz="1600" b="0" i="1" u="none" strike="noStrike" kern="1200" cap="none" spc="0" normalizeH="0" baseline="0" noProof="0">
                <a:ln>
                  <a:noFill/>
                </a:ln>
                <a:solidFill>
                  <a:srgbClr val="107C10"/>
                </a:solidFill>
                <a:effectLst/>
                <a:uLnTx/>
                <a:uFillTx/>
                <a:latin typeface="Segoe UI"/>
                <a:ea typeface="+mn-ea"/>
                <a:cs typeface="Times New Roman"/>
              </a:rPr>
              <a:t>“The </a:t>
            </a:r>
            <a:r>
              <a:rPr kumimoji="0" lang="en-US" sz="1600" b="0" i="1" u="none" strike="noStrike" kern="1200" cap="none" spc="0" normalizeH="0" baseline="0" noProof="0">
                <a:ln>
                  <a:noFill/>
                </a:ln>
                <a:solidFill>
                  <a:srgbClr val="107C10"/>
                </a:solidFill>
                <a:effectLst/>
                <a:uLnTx/>
                <a:uFillTx/>
                <a:latin typeface="Segoe UI Semibold"/>
                <a:ea typeface="+mn-ea"/>
                <a:cs typeface="Times New Roman"/>
              </a:rPr>
              <a:t>automation and orchestration</a:t>
            </a:r>
            <a:r>
              <a:rPr kumimoji="0" lang="en-US" sz="1600" b="0" i="1" u="none" strike="noStrike" kern="1200" cap="none" spc="0" normalizeH="0" baseline="0" noProof="0">
                <a:ln>
                  <a:noFill/>
                </a:ln>
                <a:solidFill>
                  <a:srgbClr val="107C10"/>
                </a:solidFill>
                <a:effectLst/>
                <a:uLnTx/>
                <a:uFillTx/>
                <a:latin typeface="Segoe UI"/>
                <a:ea typeface="+mn-ea"/>
                <a:cs typeface="Times New Roman"/>
              </a:rPr>
              <a:t> inherent in the Microsoft 365 platform combined with the </a:t>
            </a:r>
            <a:r>
              <a:rPr kumimoji="0" lang="en-US" sz="1600" b="0" i="1" u="none" strike="noStrike" kern="1200" cap="none" spc="0" normalizeH="0" baseline="0" noProof="0">
                <a:ln>
                  <a:noFill/>
                </a:ln>
                <a:solidFill>
                  <a:srgbClr val="107C10"/>
                </a:solidFill>
                <a:effectLst/>
                <a:uLnTx/>
                <a:uFillTx/>
                <a:latin typeface="Segoe UI Semibold"/>
                <a:ea typeface="+mn-ea"/>
                <a:cs typeface="Times New Roman"/>
              </a:rPr>
              <a:t>security of the tools </a:t>
            </a:r>
            <a:r>
              <a:rPr kumimoji="0" lang="en-US" sz="1600" b="0" i="1" u="none" strike="noStrike" kern="1200" cap="none" spc="0" normalizeH="0" baseline="0" noProof="0">
                <a:ln>
                  <a:noFill/>
                </a:ln>
                <a:solidFill>
                  <a:srgbClr val="107C10"/>
                </a:solidFill>
                <a:effectLst/>
                <a:uLnTx/>
                <a:uFillTx/>
                <a:latin typeface="Segoe UI"/>
                <a:ea typeface="+mn-ea"/>
                <a:cs typeface="Times New Roman"/>
              </a:rPr>
              <a:t>was a </a:t>
            </a:r>
            <a:r>
              <a:rPr kumimoji="0" lang="en-US" sz="1600" b="0" i="1" u="none" strike="noStrike" kern="1200" cap="none" spc="0" normalizeH="0" baseline="0" noProof="0">
                <a:ln>
                  <a:noFill/>
                </a:ln>
                <a:solidFill>
                  <a:srgbClr val="107C10"/>
                </a:solidFill>
                <a:effectLst/>
                <a:uLnTx/>
                <a:uFillTx/>
                <a:latin typeface="Segoe UI Semibold"/>
                <a:ea typeface="+mn-ea"/>
                <a:cs typeface="Times New Roman"/>
              </a:rPr>
              <a:t>differentiator</a:t>
            </a:r>
            <a:r>
              <a:rPr kumimoji="0" lang="en-US" sz="1600" b="0" i="1" u="none" strike="noStrike" kern="1200" cap="none" spc="0" normalizeH="0" baseline="0" noProof="0">
                <a:ln>
                  <a:noFill/>
                </a:ln>
                <a:solidFill>
                  <a:srgbClr val="107C10"/>
                </a:solidFill>
                <a:effectLst/>
                <a:uLnTx/>
                <a:uFillTx/>
                <a:latin typeface="Segoe UI"/>
                <a:ea typeface="+mn-ea"/>
                <a:cs typeface="Times New Roman"/>
              </a:rPr>
              <a:t> </a:t>
            </a:r>
            <a:br>
              <a:rPr kumimoji="0" lang="en-US" sz="1600" b="0" i="1" u="none" strike="noStrike" kern="1200" cap="none" spc="0" normalizeH="0" baseline="0" noProof="0">
                <a:ln>
                  <a:noFill/>
                </a:ln>
                <a:solidFill>
                  <a:srgbClr val="107C10"/>
                </a:solidFill>
                <a:effectLst/>
                <a:uLnTx/>
                <a:uFillTx/>
                <a:latin typeface="Segoe UI"/>
                <a:ea typeface="+mn-ea"/>
                <a:cs typeface="Times New Roman" panose="02020603050405020304" pitchFamily="18" charset="0"/>
              </a:rPr>
            </a:br>
            <a:r>
              <a:rPr kumimoji="0" lang="en-US" sz="1600" b="0" i="1" u="none" strike="noStrike" kern="1200" cap="none" spc="0" normalizeH="0" baseline="0" noProof="0">
                <a:ln>
                  <a:noFill/>
                </a:ln>
                <a:solidFill>
                  <a:srgbClr val="107C10"/>
                </a:solidFill>
                <a:effectLst/>
                <a:uLnTx/>
                <a:uFillTx/>
                <a:latin typeface="Segoe UI"/>
                <a:ea typeface="+mn-ea"/>
                <a:cs typeface="Times New Roman"/>
              </a:rPr>
              <a:t>for us.” </a:t>
            </a:r>
            <a:endParaRPr kumimoji="0" lang="en-US" sz="1600" b="0" i="1" u="none" strike="noStrike" kern="1200" cap="none" spc="0" normalizeH="0" baseline="0" noProof="0">
              <a:ln>
                <a:noFill/>
              </a:ln>
              <a:solidFill>
                <a:srgbClr val="107C10"/>
              </a:solidFill>
              <a:effectLst/>
              <a:uLnTx/>
              <a:uFillTx/>
              <a:latin typeface="Segoe UI"/>
              <a:ea typeface="+mn-ea"/>
              <a:cs typeface="Times New Roman" panose="02020603050405020304" pitchFamily="18" charset="0"/>
            </a:endParaRPr>
          </a:p>
          <a:p>
            <a:pPr marL="112395" marR="0" lvl="0" indent="4445" algn="l" defTabSz="913144" rtl="0" eaLnBrk="1" fontAlgn="auto" latinLnBrk="0" hangingPunct="1">
              <a:lnSpc>
                <a:spcPct val="100000"/>
              </a:lnSpc>
              <a:spcBef>
                <a:spcPts val="0"/>
              </a:spcBef>
              <a:spcAft>
                <a:spcPts val="0"/>
              </a:spcAft>
              <a:buClrTx/>
              <a:buSzTx/>
              <a:buFontTx/>
              <a:buNone/>
              <a:tabLst/>
              <a:defRPr b="1">
                <a:gradFill flip="none" rotWithShape="1">
                  <a:gsLst>
                    <a:gs pos="0">
                      <a:srgbClr val="282828"/>
                    </a:gs>
                    <a:gs pos="100000">
                      <a:srgbClr val="282828"/>
                    </a:gs>
                  </a:gsLst>
                  <a:lin ang="5400000" scaled="0"/>
                </a:gradFill>
              </a:defRPr>
            </a:pPr>
            <a:endParaRPr kumimoji="0" lang="en-US" sz="1400" b="1" i="0" u="none" strike="noStrike" kern="1200" cap="none" spc="0" normalizeH="0" baseline="0" noProof="0">
              <a:ln>
                <a:noFill/>
              </a:ln>
              <a:solidFill>
                <a:srgbClr val="107C10"/>
              </a:solidFill>
              <a:effectLst/>
              <a:uLnTx/>
              <a:uFillTx/>
              <a:latin typeface="Segoe UI"/>
              <a:ea typeface="+mn-ea"/>
              <a:cs typeface="Segoe UI"/>
            </a:endParaRPr>
          </a:p>
          <a:p>
            <a:pPr marL="0" marR="0" lvl="0" indent="4445" algn="l" defTabSz="913144" rtl="0" eaLnBrk="1" fontAlgn="auto" latinLnBrk="0" hangingPunct="1">
              <a:lnSpc>
                <a:spcPct val="100000"/>
              </a:lnSpc>
              <a:spcBef>
                <a:spcPts val="0"/>
              </a:spcBef>
              <a:spcAft>
                <a:spcPts val="0"/>
              </a:spcAft>
              <a:buClrTx/>
              <a:buSzTx/>
              <a:buFontTx/>
              <a:buNone/>
              <a:tabLst/>
              <a:defRPr b="1">
                <a:gradFill flip="none" rotWithShape="1">
                  <a:gsLst>
                    <a:gs pos="0">
                      <a:srgbClr val="282828"/>
                    </a:gs>
                    <a:gs pos="100000">
                      <a:srgbClr val="282828"/>
                    </a:gs>
                  </a:gsLst>
                  <a:lin ang="5400000" scaled="0"/>
                </a:gradFill>
              </a:defRPr>
            </a:pPr>
            <a:r>
              <a:rPr kumimoji="0" lang="en-US" sz="1600" b="1" i="0" u="none" strike="noStrike" kern="1200" cap="none" spc="0" normalizeH="0" baseline="0" noProof="0">
                <a:ln>
                  <a:noFill/>
                </a:ln>
                <a:solidFill>
                  <a:srgbClr val="107C10"/>
                </a:solidFill>
                <a:effectLst/>
                <a:uLnTx/>
                <a:uFillTx/>
                <a:latin typeface="Segoe UI Semibold"/>
                <a:ea typeface="+mn-ea"/>
                <a:cs typeface="+mn-cs"/>
              </a:rPr>
              <a:t>Lawrance Zorio</a:t>
            </a:r>
            <a:endParaRPr kumimoji="0" lang="en-US" sz="1600" b="1" i="0" u="none" strike="noStrike" kern="1200" cap="none" spc="0" normalizeH="0" baseline="0" noProof="0">
              <a:ln>
                <a:noFill/>
              </a:ln>
              <a:solidFill>
                <a:srgbClr val="107C10"/>
              </a:solidFill>
              <a:effectLst/>
              <a:uLnTx/>
              <a:uFillTx/>
              <a:latin typeface="Segoe UI Semibold"/>
              <a:ea typeface="+mn-ea"/>
              <a:cs typeface="Segoe UI Semibold"/>
            </a:endParaRPr>
          </a:p>
          <a:p>
            <a:pPr marL="0" marR="0" lvl="0" indent="4445" algn="l" defTabSz="913144" rtl="0" eaLnBrk="1" fontAlgn="auto" latinLnBrk="0" hangingPunct="1">
              <a:lnSpc>
                <a:spcPct val="100000"/>
              </a:lnSpc>
              <a:spcBef>
                <a:spcPts val="400"/>
              </a:spcBef>
              <a:spcAft>
                <a:spcPts val="0"/>
              </a:spcAft>
              <a:buClrTx/>
              <a:buSzTx/>
              <a:buFontTx/>
              <a:buNone/>
              <a:tabLst/>
              <a:defRPr sz="1300">
                <a:gradFill flip="none" rotWithShape="1">
                  <a:gsLst>
                    <a:gs pos="0">
                      <a:srgbClr val="282828"/>
                    </a:gs>
                    <a:gs pos="100000">
                      <a:srgbClr val="282828"/>
                    </a:gs>
                  </a:gsLst>
                  <a:lin ang="5400000" scaled="0"/>
                </a:gradFill>
              </a:defRPr>
            </a:pPr>
            <a:r>
              <a:rPr kumimoji="0" lang="en-US" sz="1200" b="0" i="0" u="none" strike="noStrike" kern="1200" cap="none" spc="0" normalizeH="0" baseline="0" noProof="0">
                <a:ln>
                  <a:noFill/>
                </a:ln>
                <a:solidFill>
                  <a:srgbClr val="107C10"/>
                </a:solidFill>
                <a:effectLst/>
                <a:uLnTx/>
                <a:uFillTx/>
                <a:latin typeface="Segoe UI"/>
                <a:ea typeface="+mn-ea"/>
                <a:cs typeface="+mn-cs"/>
              </a:rPr>
              <a:t>Vice President IT Information, Smith+Nephew</a:t>
            </a:r>
            <a:endParaRPr kumimoji="0" lang="en-US" sz="1200" b="0" i="0" u="none" strike="noStrike" kern="1200" cap="none" spc="0" normalizeH="0" baseline="0" noProof="0">
              <a:ln>
                <a:noFill/>
              </a:ln>
              <a:solidFill>
                <a:srgbClr val="107C10"/>
              </a:solidFill>
              <a:effectLst/>
              <a:uLnTx/>
              <a:uFillTx/>
              <a:latin typeface="Segoe UI"/>
              <a:ea typeface="+mn-ea"/>
              <a:cs typeface="Segoe UI"/>
            </a:endParaRPr>
          </a:p>
        </p:txBody>
      </p:sp>
      <p:sp>
        <p:nvSpPr>
          <p:cNvPr id="7" name="Title 7">
            <a:extLst>
              <a:ext uri="{FF2B5EF4-FFF2-40B4-BE49-F238E27FC236}">
                <a16:creationId xmlns:a16="http://schemas.microsoft.com/office/drawing/2014/main" id="{9A2D0BC5-47AA-479D-8DA6-BC598DAEACA6}"/>
              </a:ext>
              <a:ext uri="{C183D7F6-B498-43B3-948B-1728B52AA6E4}">
                <adec:decorative xmlns:adec="http://schemas.microsoft.com/office/drawing/2017/decorative" val="1"/>
              </a:ext>
            </a:extLst>
          </p:cNvPr>
          <p:cNvSpPr txBox="1">
            <a:spLocks/>
          </p:cNvSpPr>
          <p:nvPr/>
        </p:nvSpPr>
        <p:spPr>
          <a:xfrm>
            <a:off x="437417" y="-543981"/>
            <a:ext cx="11333080" cy="742300"/>
          </a:xfrm>
          <a:prstGeom prst="rect">
            <a:avLst/>
          </a:prstGeom>
        </p:spPr>
        <p:txBody>
          <a:bodyPr vert="horz" wrap="square" lIns="0" tIns="164592" rIns="0" bIns="0" rtlCol="0" anchor="t">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sp>
        <p:nvSpPr>
          <p:cNvPr id="8" name="TextBox 7">
            <a:extLst>
              <a:ext uri="{FF2B5EF4-FFF2-40B4-BE49-F238E27FC236}">
                <a16:creationId xmlns:a16="http://schemas.microsoft.com/office/drawing/2014/main" id="{B19FD859-3B31-4535-8AF6-6B07A7AFDF88}"/>
              </a:ext>
            </a:extLst>
          </p:cNvPr>
          <p:cNvSpPr txBox="1"/>
          <p:nvPr/>
        </p:nvSpPr>
        <p:spPr>
          <a:xfrm>
            <a:off x="507402" y="6398497"/>
            <a:ext cx="5499122" cy="430887"/>
          </a:xfrm>
          <a:prstGeom prst="rect">
            <a:avLst/>
          </a:prstGeom>
          <a:noFill/>
        </p:spPr>
        <p:txBody>
          <a:bodyPr wrap="square" lIns="0" tIns="0" rIns="0" bIns="0" rtlCol="0" anchor="b" anchorCtr="0">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1</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Zero Trust Solutions From Microsoft”,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December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2 </a:t>
            </a:r>
            <a:r>
              <a:rPr kumimoji="0" lang="en-US" sz="700" b="0" i="0" u="none" strike="noStrike" kern="0" cap="none" spc="0" normalizeH="0" baseline="0" noProof="0" dirty="0">
                <a:ln>
                  <a:noFill/>
                </a:ln>
                <a:solidFill>
                  <a:srgbClr val="525252"/>
                </a:solidFill>
                <a:effectLst/>
                <a:uLnTx/>
                <a:uFillTx/>
                <a:latin typeface="Segoe UI"/>
                <a:ea typeface="+mn-ea"/>
                <a:cs typeface="+mn-cs"/>
              </a:rPr>
              <a:t>Forrester Consulting, “The Total Economic Impact Of Microsoft 365 E5 Compliance,” February,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31</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Microsoft SIEM and XDR”, August 2022,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endParaRPr kumimoji="0" lang="en-US" sz="700" b="0" i="0" u="none" strike="noStrike" kern="0" cap="none" spc="0" normalizeH="0" baseline="0" noProof="0" dirty="0">
              <a:ln>
                <a:noFill/>
              </a:ln>
              <a:solidFill>
                <a:srgbClr val="525252"/>
              </a:solidFill>
              <a:effectLst/>
              <a:uLnTx/>
              <a:uFillTx/>
              <a:latin typeface="Segoe UI"/>
              <a:ea typeface="+mn-ea"/>
              <a:cs typeface="+mn-cs"/>
            </a:endParaRP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4 </a:t>
            </a:r>
            <a:r>
              <a:rPr kumimoji="0" lang="en-US" sz="700" b="0" i="0" u="none" strike="noStrike" kern="0" cap="none" spc="0" normalizeH="0" baseline="0" noProof="0" dirty="0">
                <a:ln>
                  <a:noFill/>
                </a:ln>
                <a:solidFill>
                  <a:srgbClr val="525252"/>
                </a:solidFill>
                <a:effectLst/>
                <a:uLnTx/>
                <a:uFillTx/>
                <a:latin typeface="Segoe UI"/>
                <a:ea typeface="+mn-ea"/>
                <a:cs typeface="+mn-cs"/>
              </a:rPr>
              <a:t>Forrester Consulting, “The Total Economic Impact Of Microsoft Azure Active Directory,” August, 2020, commissioned by Microsoft</a:t>
            </a:r>
          </a:p>
        </p:txBody>
      </p:sp>
      <p:sp>
        <p:nvSpPr>
          <p:cNvPr id="11" name="TextBox 10">
            <a:extLst>
              <a:ext uri="{FF2B5EF4-FFF2-40B4-BE49-F238E27FC236}">
                <a16:creationId xmlns:a16="http://schemas.microsoft.com/office/drawing/2014/main" id="{D9D57EFA-9705-23E0-F8A1-0B31966390A7}"/>
              </a:ext>
            </a:extLst>
          </p:cNvPr>
          <p:cNvSpPr txBox="1"/>
          <p:nvPr/>
        </p:nvSpPr>
        <p:spPr>
          <a:xfrm>
            <a:off x="6526619" y="6264782"/>
            <a:ext cx="7084268" cy="630942"/>
          </a:xfrm>
          <a:prstGeom prst="rect">
            <a:avLst/>
          </a:prstGeom>
          <a:noFill/>
        </p:spPr>
        <p:txBody>
          <a:bodyPr wrap="square">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5 </a:t>
            </a:r>
            <a:r>
              <a:rPr kumimoji="0" lang="en-US" sz="700" b="0" i="0" u="none" strike="noStrike" kern="0" cap="none" spc="0" normalizeH="0" baseline="0" noProof="0" dirty="0">
                <a:ln>
                  <a:noFill/>
                </a:ln>
                <a:solidFill>
                  <a:srgbClr val="525252"/>
                </a:solidFill>
                <a:effectLst/>
                <a:uLnTx/>
                <a:uFillTx/>
                <a:latin typeface="Segoe UI"/>
                <a:ea typeface="+mn-ea"/>
                <a:cs typeface="+mn-cs"/>
              </a:rPr>
              <a:t>Forrester Consulting, “The Total Economic Impact Of Microsoft Azure Sentinel,” November, 2020,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6</a:t>
            </a:r>
            <a:r>
              <a:rPr kumimoji="0" lang="en-US" sz="700" b="0" i="0" u="none" strike="noStrike" kern="0" cap="none" spc="0" normalizeH="0" baseline="30000" noProof="0" dirty="0">
                <a:ln>
                  <a:noFill/>
                </a:ln>
                <a:solidFill>
                  <a:srgbClr val="525252"/>
                </a:solidFill>
                <a:effectLst/>
                <a:uLnTx/>
                <a:uFillTx/>
                <a:latin typeface="Segoe UI"/>
                <a:ea typeface="+mn-ea"/>
                <a:cs typeface="+mn-cs"/>
              </a:rPr>
              <a:t> </a:t>
            </a:r>
            <a:r>
              <a:rPr kumimoji="0" lang="en-US" sz="7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hlinkClick r:id="rId3"/>
              </a:rPr>
              <a:t>Microsoft blog: Azure Sentinel uncovers the real threats hidden in billions of low fidelity signals</a:t>
            </a:r>
            <a:r>
              <a:rPr kumimoji="0" lang="en-US" sz="7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rPr>
              <a:t>, Feb 2020</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7 </a:t>
            </a:r>
            <a:r>
              <a:rPr kumimoji="0" lang="en-US" sz="700" b="0" i="0" u="none" strike="noStrike" kern="0" cap="none" spc="0" normalizeH="0" baseline="0" noProof="0" dirty="0">
                <a:ln>
                  <a:noFill/>
                </a:ln>
                <a:solidFill>
                  <a:srgbClr val="525252"/>
                </a:solidFill>
                <a:effectLst/>
                <a:uLnTx/>
                <a:uFillTx/>
                <a:latin typeface="Segoe UI"/>
                <a:ea typeface="+mn-ea"/>
                <a:cs typeface="+mn-cs"/>
              </a:rPr>
              <a:t>Forrester Consulting, “The Total Economic Impact Of Microsoft Azure Network Security” May, 2021,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8</a:t>
            </a:r>
            <a:r>
              <a:rPr kumimoji="0" lang="en-US" sz="700" b="0" i="0" u="none" strike="noStrike" kern="0" cap="none" spc="0" normalizeH="0" baseline="0" noProof="0" dirty="0">
                <a:ln>
                  <a:noFill/>
                </a:ln>
                <a:solidFill>
                  <a:srgbClr val="525252"/>
                </a:solidFill>
                <a:effectLst/>
                <a:uLnTx/>
                <a:uFillTx/>
                <a:latin typeface="Segoe UI"/>
                <a:ea typeface="+mn-ea"/>
                <a:cs typeface="+mn-cs"/>
              </a:rPr>
              <a:t>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MICROSOFT 365 DEFENDER”, April 2022,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9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a:t>
            </a:r>
            <a:r>
              <a:rPr kumimoji="0" lang="en-US" sz="700" b="0" i="0" u="none" strike="noStrike" kern="1200" cap="none" spc="0" normalizeH="0" baseline="0" noProof="0" dirty="0">
                <a:ln>
                  <a:noFill/>
                </a:ln>
                <a:solidFill>
                  <a:srgbClr val="000000"/>
                </a:solidFill>
                <a:effectLst/>
                <a:uLnTx/>
                <a:uFillTx/>
                <a:latin typeface="Segoe UI"/>
                <a:ea typeface="+mn-ea"/>
                <a:cs typeface="+mn-cs"/>
              </a:rPr>
              <a:t> Cloud App Security”, May 2020,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p:txBody>
      </p:sp>
      <p:pic>
        <p:nvPicPr>
          <p:cNvPr id="13" name="Graphic 12">
            <a:extLst>
              <a:ext uri="{FF2B5EF4-FFF2-40B4-BE49-F238E27FC236}">
                <a16:creationId xmlns:a16="http://schemas.microsoft.com/office/drawing/2014/main" id="{FA1E2A7E-7C70-73FD-D2D6-BB344B61CC92}"/>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515282" y="6074322"/>
            <a:ext cx="149715" cy="165475"/>
          </a:xfrm>
          <a:prstGeom prst="rect">
            <a:avLst/>
          </a:prstGeom>
        </p:spPr>
      </p:pic>
      <p:pic>
        <p:nvPicPr>
          <p:cNvPr id="17" name="Picture 16">
            <a:extLst>
              <a:ext uri="{FF2B5EF4-FFF2-40B4-BE49-F238E27FC236}">
                <a16:creationId xmlns:a16="http://schemas.microsoft.com/office/drawing/2014/main" id="{EDE15E4D-2A4A-8554-6423-4CA3E4D87165}"/>
              </a:ext>
              <a:ext uri="{C183D7F6-B498-43B3-948B-1728B52AA6E4}">
                <adec:decorative xmlns:adec="http://schemas.microsoft.com/office/drawing/2017/decorative" val="1"/>
              </a:ext>
            </a:extLst>
          </p:cNvPr>
          <p:cNvPicPr>
            <a:picLocks noChangeAspect="1"/>
          </p:cNvPicPr>
          <p:nvPr/>
        </p:nvPicPr>
        <p:blipFill rotWithShape="1">
          <a:blip r:embed="rId6"/>
          <a:srcRect r="21023" b="23518"/>
          <a:stretch/>
        </p:blipFill>
        <p:spPr>
          <a:xfrm flipV="1">
            <a:off x="10646229" y="-191064"/>
            <a:ext cx="1559268" cy="1640501"/>
          </a:xfrm>
          <a:prstGeom prst="rect">
            <a:avLst/>
          </a:prstGeom>
        </p:spPr>
      </p:pic>
    </p:spTree>
    <p:extLst>
      <p:ext uri="{BB962C8B-B14F-4D97-AF65-F5344CB8AC3E}">
        <p14:creationId xmlns:p14="http://schemas.microsoft.com/office/powerpoint/2010/main" val="99911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FBF529-F7AC-6FBD-1547-3259E7F20087}"/>
              </a:ext>
              <a:ext uri="{C183D7F6-B498-43B3-948B-1728B52AA6E4}">
                <adec:decorative xmlns:adec="http://schemas.microsoft.com/office/drawing/2017/decorative" val="1"/>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dirty="0"/>
              <a:t>. </a:t>
            </a:r>
          </a:p>
        </p:txBody>
      </p:sp>
      <p:grpSp>
        <p:nvGrpSpPr>
          <p:cNvPr id="5" name="Group 4">
            <a:extLst>
              <a:ext uri="{FF2B5EF4-FFF2-40B4-BE49-F238E27FC236}">
                <a16:creationId xmlns:a16="http://schemas.microsoft.com/office/drawing/2014/main" id="{0A4AB8E9-7D59-E3DF-3F9B-89CFC7B16546}"/>
              </a:ext>
              <a:ext uri="{C183D7F6-B498-43B3-948B-1728B52AA6E4}">
                <adec:decorative xmlns:adec="http://schemas.microsoft.com/office/drawing/2017/decorative" val="1"/>
              </a:ext>
            </a:extLst>
          </p:cNvPr>
          <p:cNvGrpSpPr/>
          <p:nvPr/>
        </p:nvGrpSpPr>
        <p:grpSpPr>
          <a:xfrm>
            <a:off x="4356098" y="1130792"/>
            <a:ext cx="6597652" cy="3949208"/>
            <a:chOff x="5172931" y="2452800"/>
            <a:chExt cx="6436457" cy="3164198"/>
          </a:xfrm>
        </p:grpSpPr>
        <p:cxnSp>
          <p:nvCxnSpPr>
            <p:cNvPr id="7" name="Straight Connector 6">
              <a:extLst>
                <a:ext uri="{FF2B5EF4-FFF2-40B4-BE49-F238E27FC236}">
                  <a16:creationId xmlns:a16="http://schemas.microsoft.com/office/drawing/2014/main" id="{B06DFB7D-AE5B-8475-529D-274F5486D1B7}"/>
                </a:ext>
                <a:ext uri="{C183D7F6-B498-43B3-948B-1728B52AA6E4}">
                  <adec:decorative xmlns:adec="http://schemas.microsoft.com/office/drawing/2017/decorative" val="1"/>
                </a:ext>
              </a:extLst>
            </p:cNvPr>
            <p:cNvCxnSpPr>
              <a:cxnSpLocks/>
            </p:cNvCxnSpPr>
            <p:nvPr/>
          </p:nvCxnSpPr>
          <p:spPr>
            <a:xfrm>
              <a:off x="5172931" y="4123567"/>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4A95125-EC9C-BB3F-4E90-3733F5151C5A}"/>
                </a:ext>
                <a:ext uri="{C183D7F6-B498-43B3-948B-1728B52AA6E4}">
                  <adec:decorative xmlns:adec="http://schemas.microsoft.com/office/drawing/2017/decorative" val="1"/>
                </a:ext>
              </a:extLst>
            </p:cNvPr>
            <p:cNvCxnSpPr>
              <a:cxnSpLocks/>
            </p:cNvCxnSpPr>
            <p:nvPr/>
          </p:nvCxnSpPr>
          <p:spPr>
            <a:xfrm>
              <a:off x="5172932" y="5616998"/>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EA284B-7449-B687-4863-940731C4FD8A}"/>
                </a:ext>
                <a:ext uri="{C183D7F6-B498-43B3-948B-1728B52AA6E4}">
                  <adec:decorative xmlns:adec="http://schemas.microsoft.com/office/drawing/2017/decorative" val="1"/>
                </a:ext>
              </a:extLst>
            </p:cNvPr>
            <p:cNvCxnSpPr>
              <a:cxnSpLocks/>
            </p:cNvCxnSpPr>
            <p:nvPr/>
          </p:nvCxnSpPr>
          <p:spPr>
            <a:xfrm>
              <a:off x="5172932" y="2452800"/>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descr="150% increase in ransomware attacks in 2021 1&#10;&#10;">
            <a:extLst>
              <a:ext uri="{FF2B5EF4-FFF2-40B4-BE49-F238E27FC236}">
                <a16:creationId xmlns:a16="http://schemas.microsoft.com/office/drawing/2014/main" id="{131A80EA-87DD-59B3-5D02-A805492F9D90}"/>
              </a:ext>
            </a:extLst>
          </p:cNvPr>
          <p:cNvGrpSpPr/>
          <p:nvPr/>
        </p:nvGrpSpPr>
        <p:grpSpPr>
          <a:xfrm>
            <a:off x="4349752" y="1407424"/>
            <a:ext cx="3099560" cy="1381020"/>
            <a:chOff x="7699113" y="1913726"/>
            <a:chExt cx="4147342" cy="1381020"/>
          </a:xfrm>
        </p:grpSpPr>
        <p:sp>
          <p:nvSpPr>
            <p:cNvPr id="24" name="TextBox 23">
              <a:extLst>
                <a:ext uri="{FF2B5EF4-FFF2-40B4-BE49-F238E27FC236}">
                  <a16:creationId xmlns:a16="http://schemas.microsoft.com/office/drawing/2014/main" id="{50F90C14-C986-A0CC-E7A2-7E3D46FB4953}"/>
                </a:ext>
              </a:extLst>
            </p:cNvPr>
            <p:cNvSpPr txBox="1"/>
            <p:nvPr/>
          </p:nvSpPr>
          <p:spPr>
            <a:xfrm>
              <a:off x="7707607" y="2709971"/>
              <a:ext cx="4138848" cy="584775"/>
            </a:xfrm>
            <a:prstGeom prst="rect">
              <a:avLst/>
            </a:prstGeom>
            <a:noFill/>
          </p:spPr>
          <p:txBody>
            <a:bodyPr wrap="square" lIns="0">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increase in ransomware attacks in 2021</a:t>
              </a:r>
              <a:r>
                <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1</a:t>
              </a:r>
            </a:p>
          </p:txBody>
        </p:sp>
        <p:sp>
          <p:nvSpPr>
            <p:cNvPr id="25" name="Rectangle 24">
              <a:extLst>
                <a:ext uri="{FF2B5EF4-FFF2-40B4-BE49-F238E27FC236}">
                  <a16:creationId xmlns:a16="http://schemas.microsoft.com/office/drawing/2014/main" id="{CCD8CB08-AECE-C780-07D2-3E1A7CB10A68}"/>
                </a:ext>
              </a:extLst>
            </p:cNvPr>
            <p:cNvSpPr/>
            <p:nvPr/>
          </p:nvSpPr>
          <p:spPr>
            <a:xfrm>
              <a:off x="7699113" y="1913726"/>
              <a:ext cx="1920044"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a:solidFill>
                    <a:srgbClr val="505050"/>
                  </a:solidFill>
                  <a:latin typeface="Segoe UI Semibold"/>
                </a:rPr>
                <a:t>150</a:t>
              </a:r>
              <a:r>
                <a:rPr kumimoji="0" lang="en-US" sz="4400" b="0" i="0" u="none" strike="noStrike" kern="1200" cap="none" spc="0" normalizeH="0" baseline="0" noProof="0">
                  <a:ln>
                    <a:noFill/>
                  </a:ln>
                  <a:solidFill>
                    <a:srgbClr val="505050"/>
                  </a:solidFill>
                  <a:effectLst/>
                  <a:uLnTx/>
                  <a:uFillTx/>
                  <a:latin typeface="Segoe UI Semibold"/>
                  <a:ea typeface="+mn-ea"/>
                  <a:cs typeface="+mn-cs"/>
                </a:rPr>
                <a:t>%</a:t>
              </a:r>
            </a:p>
          </p:txBody>
        </p:sp>
      </p:grpSp>
      <p:grpSp>
        <p:nvGrpSpPr>
          <p:cNvPr id="19" name="Group 18" descr="$1.07m cost difference where remote work was a factor in causing the breach 2&#10;">
            <a:extLst>
              <a:ext uri="{FF2B5EF4-FFF2-40B4-BE49-F238E27FC236}">
                <a16:creationId xmlns:a16="http://schemas.microsoft.com/office/drawing/2014/main" id="{688FFF28-1099-4E8F-8424-39AB4B626DC6}"/>
              </a:ext>
            </a:extLst>
          </p:cNvPr>
          <p:cNvGrpSpPr/>
          <p:nvPr/>
        </p:nvGrpSpPr>
        <p:grpSpPr>
          <a:xfrm>
            <a:off x="7806681" y="1427228"/>
            <a:ext cx="3522355" cy="1394408"/>
            <a:chOff x="7707608" y="1900338"/>
            <a:chExt cx="3522355" cy="1394408"/>
          </a:xfrm>
        </p:grpSpPr>
        <p:sp>
          <p:nvSpPr>
            <p:cNvPr id="21" name="TextBox 20" descr="&#10;">
              <a:extLst>
                <a:ext uri="{FF2B5EF4-FFF2-40B4-BE49-F238E27FC236}">
                  <a16:creationId xmlns:a16="http://schemas.microsoft.com/office/drawing/2014/main" id="{F528A801-84B2-67A1-9142-BAE0BD7148C7}"/>
                </a:ext>
              </a:extLst>
            </p:cNvPr>
            <p:cNvSpPr txBox="1"/>
            <p:nvPr/>
          </p:nvSpPr>
          <p:spPr>
            <a:xfrm>
              <a:off x="7707608" y="2709971"/>
              <a:ext cx="3522355" cy="584775"/>
            </a:xfrm>
            <a:prstGeom prst="rect">
              <a:avLst/>
            </a:prstGeom>
            <a:noFill/>
          </p:spPr>
          <p:txBody>
            <a:bodyPr wrap="square" lIns="0">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cost difference where remote work </a:t>
              </a:r>
              <a:b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b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was a factor in causing the breach</a:t>
              </a:r>
              <a:r>
                <a:rPr lang="en-US" sz="1600" baseline="30000" dirty="0">
                  <a:ln w="3175">
                    <a:noFill/>
                  </a:ln>
                  <a:gradFill>
                    <a:gsLst>
                      <a:gs pos="0">
                        <a:srgbClr val="282828"/>
                      </a:gs>
                      <a:gs pos="100000">
                        <a:srgbClr val="282828"/>
                      </a:gs>
                    </a:gsLst>
                    <a:lin ang="5400000" scaled="0"/>
                  </a:gradFill>
                  <a:latin typeface="Segoe UI"/>
                  <a:cs typeface="Segoe UI Semilight" panose="020B0402040204020203" pitchFamily="34" charset="0"/>
                </a:rPr>
                <a:t>2</a:t>
              </a:r>
              <a:endPar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endParaRPr>
            </a:p>
          </p:txBody>
        </p:sp>
        <p:sp>
          <p:nvSpPr>
            <p:cNvPr id="22" name="Rectangle 21">
              <a:extLst>
                <a:ext uri="{FF2B5EF4-FFF2-40B4-BE49-F238E27FC236}">
                  <a16:creationId xmlns:a16="http://schemas.microsoft.com/office/drawing/2014/main" id="{6B3B8D04-2355-C239-14D0-D4F907B6AD0C}"/>
                </a:ext>
              </a:extLst>
            </p:cNvPr>
            <p:cNvSpPr/>
            <p:nvPr/>
          </p:nvSpPr>
          <p:spPr>
            <a:xfrm>
              <a:off x="7707609" y="1900338"/>
              <a:ext cx="1920044"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505050"/>
                  </a:solidFill>
                  <a:effectLst/>
                  <a:uLnTx/>
                  <a:uFillTx/>
                  <a:latin typeface="Segoe UI Semibold"/>
                  <a:ea typeface="+mn-ea"/>
                  <a:cs typeface="+mn-cs"/>
                </a:rPr>
                <a:t>$1.07m</a:t>
              </a:r>
            </a:p>
          </p:txBody>
        </p:sp>
      </p:grpSp>
      <p:grpSp>
        <p:nvGrpSpPr>
          <p:cNvPr id="26" name="Group 25" descr="579 password attacks are carried out every second 1&#10;">
            <a:extLst>
              <a:ext uri="{FF2B5EF4-FFF2-40B4-BE49-F238E27FC236}">
                <a16:creationId xmlns:a16="http://schemas.microsoft.com/office/drawing/2014/main" id="{F0669A1B-8876-0F5E-29A1-8AFA457F7FA8}"/>
              </a:ext>
            </a:extLst>
          </p:cNvPr>
          <p:cNvGrpSpPr/>
          <p:nvPr/>
        </p:nvGrpSpPr>
        <p:grpSpPr>
          <a:xfrm>
            <a:off x="4251112" y="3378564"/>
            <a:ext cx="3198200" cy="1307778"/>
            <a:chOff x="7946156" y="5304424"/>
            <a:chExt cx="3198200" cy="1307778"/>
          </a:xfrm>
        </p:grpSpPr>
        <p:sp>
          <p:nvSpPr>
            <p:cNvPr id="27" name="TextBox 26">
              <a:extLst>
                <a:ext uri="{FF2B5EF4-FFF2-40B4-BE49-F238E27FC236}">
                  <a16:creationId xmlns:a16="http://schemas.microsoft.com/office/drawing/2014/main" id="{533F2586-4418-AE21-21EF-2447D55242CA}"/>
                </a:ext>
              </a:extLst>
            </p:cNvPr>
            <p:cNvSpPr txBox="1"/>
            <p:nvPr/>
          </p:nvSpPr>
          <p:spPr>
            <a:xfrm>
              <a:off x="7955682" y="6027427"/>
              <a:ext cx="3188674" cy="584775"/>
            </a:xfrm>
            <a:prstGeom prst="rect">
              <a:avLst/>
            </a:prstGeom>
            <a:noFill/>
          </p:spPr>
          <p:txBody>
            <a:bodyPr wrap="square">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password attacks are carried out every second</a:t>
              </a:r>
              <a:r>
                <a:rPr lang="en-US" sz="1600" baseline="300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1</a:t>
              </a:r>
              <a:endPar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endParaRPr>
            </a:p>
          </p:txBody>
        </p:sp>
        <p:sp>
          <p:nvSpPr>
            <p:cNvPr id="28" name="TextBox 27">
              <a:extLst>
                <a:ext uri="{FF2B5EF4-FFF2-40B4-BE49-F238E27FC236}">
                  <a16:creationId xmlns:a16="http://schemas.microsoft.com/office/drawing/2014/main" id="{2ABFCE98-46E2-8A49-4466-EDA9BFA3DEB7}"/>
                </a:ext>
              </a:extLst>
            </p:cNvPr>
            <p:cNvSpPr txBox="1"/>
            <p:nvPr/>
          </p:nvSpPr>
          <p:spPr>
            <a:xfrm>
              <a:off x="7946156" y="5304424"/>
              <a:ext cx="167907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505050"/>
                  </a:solidFill>
                  <a:effectLst/>
                  <a:uLnTx/>
                  <a:uFillTx/>
                  <a:latin typeface="Segoe UI Semibold"/>
                  <a:ea typeface="+mn-ea"/>
                  <a:cs typeface="+mn-cs"/>
                </a:rPr>
                <a:t>579</a:t>
              </a:r>
            </a:p>
          </p:txBody>
        </p:sp>
      </p:grpSp>
      <p:grpSp>
        <p:nvGrpSpPr>
          <p:cNvPr id="12" name="Group 11" descr="$1.76m higher costs without mature zero trust deployed 2&#10;">
            <a:extLst>
              <a:ext uri="{FF2B5EF4-FFF2-40B4-BE49-F238E27FC236}">
                <a16:creationId xmlns:a16="http://schemas.microsoft.com/office/drawing/2014/main" id="{D4EF2104-A62A-61D0-D7EB-9939939E06C9}"/>
              </a:ext>
            </a:extLst>
          </p:cNvPr>
          <p:cNvGrpSpPr/>
          <p:nvPr/>
        </p:nvGrpSpPr>
        <p:grpSpPr>
          <a:xfrm>
            <a:off x="7710390" y="3442217"/>
            <a:ext cx="3322154" cy="1257944"/>
            <a:chOff x="7094157" y="3245850"/>
            <a:chExt cx="3322154" cy="1257944"/>
          </a:xfrm>
        </p:grpSpPr>
        <p:sp>
          <p:nvSpPr>
            <p:cNvPr id="13" name="Rectangle 12">
              <a:extLst>
                <a:ext uri="{FF2B5EF4-FFF2-40B4-BE49-F238E27FC236}">
                  <a16:creationId xmlns:a16="http://schemas.microsoft.com/office/drawing/2014/main" id="{38E48A05-B612-BAA0-B483-A43B5EE9F86B}"/>
                </a:ext>
              </a:extLst>
            </p:cNvPr>
            <p:cNvSpPr/>
            <p:nvPr/>
          </p:nvSpPr>
          <p:spPr>
            <a:xfrm>
              <a:off x="7094157" y="3245850"/>
              <a:ext cx="1857469" cy="701727"/>
            </a:xfrm>
            <a:prstGeom prst="rect">
              <a:avLst/>
            </a:prstGeom>
          </p:spPr>
          <p:txBody>
            <a:bodyPr wrap="square" lIns="91438" tIns="45718" rIns="91438" bIns="45718">
              <a:spAutoFit/>
            </a:bodyPr>
            <a:lstStyle/>
            <a:p>
              <a:pPr marL="0" marR="0" lvl="3" indent="0" algn="l" defTabSz="950430" rtl="0" eaLnBrk="1" fontAlgn="base" latinLnBrk="0" hangingPunct="1">
                <a:lnSpc>
                  <a:spcPct val="90000"/>
                </a:lnSpc>
                <a:spcBef>
                  <a:spcPts val="1836"/>
                </a:spcBef>
                <a:spcAft>
                  <a:spcPts val="0"/>
                </a:spcAft>
                <a:buClrTx/>
                <a:buSzTx/>
                <a:buFontTx/>
                <a:buNone/>
                <a:tabLst/>
                <a:defRPr/>
              </a:pPr>
              <a:r>
                <a:rPr kumimoji="0" lang="en-US" sz="4400" b="0" i="0" u="none" strike="noStrike" kern="1200" cap="none" spc="-204" normalizeH="0" baseline="0" noProof="0">
                  <a:ln>
                    <a:noFill/>
                  </a:ln>
                  <a:solidFill>
                    <a:srgbClr val="505050"/>
                  </a:solidFill>
                  <a:effectLst/>
                  <a:uLnTx/>
                  <a:uFillTx/>
                  <a:latin typeface="Segoe UI Semibold"/>
                  <a:ea typeface="ＭＳ Ｐゴシック" charset="0"/>
                  <a:cs typeface="Segoe UI Semibold" panose="020B0702040204020203" pitchFamily="34" charset="0"/>
                </a:rPr>
                <a:t>$1.76m</a:t>
              </a:r>
            </a:p>
          </p:txBody>
        </p:sp>
        <p:sp>
          <p:nvSpPr>
            <p:cNvPr id="14" name="Rectangle 13">
              <a:extLst>
                <a:ext uri="{FF2B5EF4-FFF2-40B4-BE49-F238E27FC236}">
                  <a16:creationId xmlns:a16="http://schemas.microsoft.com/office/drawing/2014/main" id="{25ABC8EF-6C33-5969-5765-8B6DF8FD3876}"/>
                </a:ext>
              </a:extLst>
            </p:cNvPr>
            <p:cNvSpPr/>
            <p:nvPr/>
          </p:nvSpPr>
          <p:spPr>
            <a:xfrm>
              <a:off x="7122733" y="3919019"/>
              <a:ext cx="3293578" cy="584775"/>
            </a:xfrm>
            <a:prstGeom prst="rect">
              <a:avLst/>
            </a:prstGeom>
          </p:spPr>
          <p:txBody>
            <a:bodyPr wrap="square">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higher costs without mature zero trust deployed</a:t>
              </a:r>
              <a:r>
                <a:rPr lang="en-US" sz="1600" baseline="30000" dirty="0">
                  <a:ln w="3175">
                    <a:noFill/>
                  </a:ln>
                  <a:gradFill>
                    <a:gsLst>
                      <a:gs pos="0">
                        <a:srgbClr val="282828"/>
                      </a:gs>
                      <a:gs pos="100000">
                        <a:srgbClr val="282828"/>
                      </a:gs>
                    </a:gsLst>
                    <a:lin ang="5400000" scaled="0"/>
                  </a:gradFill>
                  <a:latin typeface="Segoe Pro Display" panose="020B0502040504020203" pitchFamily="34" charset="0"/>
                  <a:cs typeface="Segoe UI Semilight" panose="020B0402040204020203" pitchFamily="34" charset="0"/>
                </a:rPr>
                <a:t>2</a:t>
              </a:r>
              <a:endPar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endParaRPr>
            </a:p>
          </p:txBody>
        </p:sp>
      </p:grpSp>
      <p:sp>
        <p:nvSpPr>
          <p:cNvPr id="8" name="TextBox 1">
            <a:extLst>
              <a:ext uri="{FF2B5EF4-FFF2-40B4-BE49-F238E27FC236}">
                <a16:creationId xmlns:a16="http://schemas.microsoft.com/office/drawing/2014/main" id="{9AB8B7C7-37C1-5115-4156-ED497E3BD22C}"/>
              </a:ext>
            </a:extLst>
          </p:cNvPr>
          <p:cNvSpPr txBox="1"/>
          <p:nvPr/>
        </p:nvSpPr>
        <p:spPr>
          <a:xfrm>
            <a:off x="4349749" y="6321164"/>
            <a:ext cx="6118083" cy="270843"/>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742">
              <a:spcBef>
                <a:spcPct val="20000"/>
              </a:spcBef>
              <a:buSzPct val="90000"/>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1</a:t>
            </a:r>
            <a:r>
              <a:rPr lang="en-US" sz="800">
                <a:solidFill>
                  <a:srgbClr val="525252"/>
                </a:solidFill>
                <a:latin typeface="Segoe UI" panose="020B0502040204020203" pitchFamily="34" charset="0"/>
              </a:rPr>
              <a:t> https://www.bloomberg.com/news/videos/2021-12-09/microsoft-fires-back-at-crowdstrike-on-cybersecurity-video</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2 </a:t>
            </a:r>
            <a:r>
              <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rPr>
              <a:t>Ponemon Institute Cost of Breach Data 2021</a:t>
            </a:r>
            <a:r>
              <a:rPr kumimoji="0" lang="en-US" sz="800" b="0" i="0" u="none" strike="noStrike" kern="1200" cap="none" spc="0" normalizeH="0" baseline="0" noProof="0">
                <a:ln>
                  <a:noFill/>
                </a:ln>
                <a:solidFill>
                  <a:srgbClr val="525252"/>
                </a:solidFill>
                <a:effectLst/>
                <a:uLnTx/>
                <a:uFillTx/>
                <a:latin typeface="Segoe UI"/>
                <a:ea typeface="+mn-ea"/>
                <a:cs typeface="+mn-cs"/>
              </a:rPr>
              <a:t>. </a:t>
            </a:r>
            <a:endPar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064525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94C295-D2D9-46E1-A408-A8B51ABBFE6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auto">
          <a:xfrm>
            <a:off x="-86667" y="16232"/>
            <a:ext cx="483843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Title 2">
            <a:extLst>
              <a:ext uri="{FF2B5EF4-FFF2-40B4-BE49-F238E27FC236}">
                <a16:creationId xmlns:a16="http://schemas.microsoft.com/office/drawing/2014/main" id="{DD8EE86B-8097-8B71-BE5E-894488965C59}"/>
              </a:ext>
            </a:extLst>
          </p:cNvPr>
          <p:cNvSpPr txBox="1">
            <a:spLocks noGrp="1"/>
          </p:cNvSpPr>
          <p:nvPr>
            <p:ph type="title" idx="4294967295"/>
          </p:nvPr>
        </p:nvSpPr>
        <p:spPr>
          <a:xfrm>
            <a:off x="588263" y="689487"/>
            <a:ext cx="3288296" cy="17911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mj-lt"/>
                <a:ea typeface="Segoe UI" pitchFamily="34" charset="0"/>
                <a:cs typeface="Segoe UI"/>
              </a:rPr>
              <a:t>Improve Operational Efficiency</a:t>
            </a:r>
          </a:p>
        </p:txBody>
      </p:sp>
      <p:grpSp>
        <p:nvGrpSpPr>
          <p:cNvPr id="10" name="Group 9" descr="Microsoft Security badge">
            <a:extLst>
              <a:ext uri="{FF2B5EF4-FFF2-40B4-BE49-F238E27FC236}">
                <a16:creationId xmlns:a16="http://schemas.microsoft.com/office/drawing/2014/main" id="{75718EDF-700C-465F-8456-374D3F906B6D}"/>
              </a:ext>
            </a:extLst>
          </p:cNvPr>
          <p:cNvGrpSpPr/>
          <p:nvPr/>
        </p:nvGrpSpPr>
        <p:grpSpPr>
          <a:xfrm>
            <a:off x="1017119" y="2862423"/>
            <a:ext cx="3001888" cy="3140507"/>
            <a:chOff x="773278" y="1407244"/>
            <a:chExt cx="3896815" cy="4043553"/>
          </a:xfrm>
        </p:grpSpPr>
        <p:sp>
          <p:nvSpPr>
            <p:cNvPr id="172" name="Freeform 171">
              <a:extLst>
                <a:ext uri="{FF2B5EF4-FFF2-40B4-BE49-F238E27FC236}">
                  <a16:creationId xmlns:a16="http://schemas.microsoft.com/office/drawing/2014/main" id="{C873EDD4-ACC0-7E4B-997C-939A0B2D407C}"/>
                </a:ext>
                <a:ext uri="{C183D7F6-B498-43B3-948B-1728B52AA6E4}">
                  <adec:decorative xmlns:adec="http://schemas.microsoft.com/office/drawing/2017/decorative" val="1"/>
                </a:ext>
              </a:extLst>
            </p:cNvPr>
            <p:cNvSpPr/>
            <p:nvPr/>
          </p:nvSpPr>
          <p:spPr>
            <a:xfrm>
              <a:off x="870343" y="1407244"/>
              <a:ext cx="3799750" cy="4043513"/>
            </a:xfrm>
            <a:custGeom>
              <a:avLst/>
              <a:gdLst>
                <a:gd name="connsiteX0" fmla="*/ 2278743 w 4726995"/>
                <a:gd name="connsiteY0" fmla="*/ 4981459 h 5030241"/>
                <a:gd name="connsiteX1" fmla="*/ 1729702 w 4726995"/>
                <a:gd name="connsiteY1" fmla="*/ 4630622 h 5030241"/>
                <a:gd name="connsiteX2" fmla="*/ 1202128 w 4726995"/>
                <a:gd name="connsiteY2" fmla="*/ 4209745 h 5030241"/>
                <a:gd name="connsiteX3" fmla="*/ 733314 w 4726995"/>
                <a:gd name="connsiteY3" fmla="*/ 3724195 h 5030241"/>
                <a:gd name="connsiteX4" fmla="*/ 350368 w 4726995"/>
                <a:gd name="connsiteY4" fmla="*/ 3168877 h 5030241"/>
                <a:gd name="connsiteX5" fmla="*/ 94585 w 4726995"/>
                <a:gd name="connsiteY5" fmla="*/ 2547067 h 5030241"/>
                <a:gd name="connsiteX6" fmla="*/ -378 w 4726995"/>
                <a:gd name="connsiteY6" fmla="*/ 1857127 h 5030241"/>
                <a:gd name="connsiteX7" fmla="*/ -378 w 4726995"/>
                <a:gd name="connsiteY7" fmla="*/ 678816 h 5030241"/>
                <a:gd name="connsiteX8" fmla="*/ 159349 w 4726995"/>
                <a:gd name="connsiteY8" fmla="*/ 670630 h 5030241"/>
                <a:gd name="connsiteX9" fmla="*/ 874031 w 4726995"/>
                <a:gd name="connsiteY9" fmla="*/ 550652 h 5030241"/>
                <a:gd name="connsiteX10" fmla="*/ 1522674 w 4726995"/>
                <a:gd name="connsiteY10" fmla="*/ 251299 h 5030241"/>
                <a:gd name="connsiteX11" fmla="*/ 1922175 w 4726995"/>
                <a:gd name="connsiteY11" fmla="*/ 61190 h 5030241"/>
                <a:gd name="connsiteX12" fmla="*/ 2803862 w 4726995"/>
                <a:gd name="connsiteY12" fmla="*/ 61190 h 5030241"/>
                <a:gd name="connsiteX13" fmla="*/ 3204090 w 4726995"/>
                <a:gd name="connsiteY13" fmla="*/ 251117 h 5030241"/>
                <a:gd name="connsiteX14" fmla="*/ 3852370 w 4726995"/>
                <a:gd name="connsiteY14" fmla="*/ 550197 h 5030241"/>
                <a:gd name="connsiteX15" fmla="*/ 4566870 w 4726995"/>
                <a:gd name="connsiteY15" fmla="*/ 670630 h 5030241"/>
                <a:gd name="connsiteX16" fmla="*/ 4726598 w 4726995"/>
                <a:gd name="connsiteY16" fmla="*/ 679726 h 5030241"/>
                <a:gd name="connsiteX17" fmla="*/ 4726598 w 4726995"/>
                <a:gd name="connsiteY17" fmla="*/ 1857127 h 5030241"/>
                <a:gd name="connsiteX18" fmla="*/ 4631725 w 4726995"/>
                <a:gd name="connsiteY18" fmla="*/ 2547067 h 5030241"/>
                <a:gd name="connsiteX19" fmla="*/ 4376125 w 4726995"/>
                <a:gd name="connsiteY19" fmla="*/ 3168877 h 5030241"/>
                <a:gd name="connsiteX20" fmla="*/ 3992905 w 4726995"/>
                <a:gd name="connsiteY20" fmla="*/ 3724195 h 5030241"/>
                <a:gd name="connsiteX21" fmla="*/ 3523728 w 4726995"/>
                <a:gd name="connsiteY21" fmla="*/ 4209745 h 5030241"/>
                <a:gd name="connsiteX22" fmla="*/ 2996153 w 4726995"/>
                <a:gd name="connsiteY22" fmla="*/ 4630622 h 5030241"/>
                <a:gd name="connsiteX23" fmla="*/ 2447112 w 4726995"/>
                <a:gd name="connsiteY23" fmla="*/ 4981459 h 5030241"/>
                <a:gd name="connsiteX24" fmla="*/ 2362519 w 4726995"/>
                <a:gd name="connsiteY24" fmla="*/ 5030215 h 503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26995" h="5030241">
                  <a:moveTo>
                    <a:pt x="2278743" y="4981459"/>
                  </a:moveTo>
                  <a:cubicBezTo>
                    <a:pt x="2095275" y="4875216"/>
                    <a:pt x="1910533" y="4757240"/>
                    <a:pt x="1729702" y="4630622"/>
                  </a:cubicBezTo>
                  <a:cubicBezTo>
                    <a:pt x="1545124" y="4501621"/>
                    <a:pt x="1368914" y="4361041"/>
                    <a:pt x="1202128" y="4209745"/>
                  </a:cubicBezTo>
                  <a:cubicBezTo>
                    <a:pt x="1035432" y="4058295"/>
                    <a:pt x="878824" y="3896102"/>
                    <a:pt x="733314" y="3724195"/>
                  </a:cubicBezTo>
                  <a:cubicBezTo>
                    <a:pt x="587458" y="3552333"/>
                    <a:pt x="459166" y="3366299"/>
                    <a:pt x="350368" y="3168877"/>
                  </a:cubicBezTo>
                  <a:cubicBezTo>
                    <a:pt x="242151" y="2971810"/>
                    <a:pt x="156356" y="2763236"/>
                    <a:pt x="94585" y="2547067"/>
                  </a:cubicBezTo>
                  <a:cubicBezTo>
                    <a:pt x="30967" y="2322629"/>
                    <a:pt x="-997" y="2090406"/>
                    <a:pt x="-378" y="1857127"/>
                  </a:cubicBezTo>
                  <a:lnTo>
                    <a:pt x="-378" y="678816"/>
                  </a:lnTo>
                  <a:lnTo>
                    <a:pt x="159349" y="670630"/>
                  </a:lnTo>
                  <a:cubicBezTo>
                    <a:pt x="401406" y="658314"/>
                    <a:pt x="641225" y="618054"/>
                    <a:pt x="874031" y="550652"/>
                  </a:cubicBezTo>
                  <a:cubicBezTo>
                    <a:pt x="1103426" y="482340"/>
                    <a:pt x="1321859" y="381537"/>
                    <a:pt x="1522674" y="251299"/>
                  </a:cubicBezTo>
                  <a:cubicBezTo>
                    <a:pt x="1646400" y="169745"/>
                    <a:pt x="1780849" y="105765"/>
                    <a:pt x="1922175" y="61190"/>
                  </a:cubicBezTo>
                  <a:cubicBezTo>
                    <a:pt x="2210404" y="-20433"/>
                    <a:pt x="2515634" y="-20433"/>
                    <a:pt x="2803862" y="61190"/>
                  </a:cubicBezTo>
                  <a:cubicBezTo>
                    <a:pt x="2945388" y="105755"/>
                    <a:pt x="3080074" y="169669"/>
                    <a:pt x="3204090" y="251117"/>
                  </a:cubicBezTo>
                  <a:cubicBezTo>
                    <a:pt x="3404769" y="381294"/>
                    <a:pt x="3623085" y="482013"/>
                    <a:pt x="3852370" y="550197"/>
                  </a:cubicBezTo>
                  <a:cubicBezTo>
                    <a:pt x="4085104" y="617745"/>
                    <a:pt x="4324859" y="658150"/>
                    <a:pt x="4566870" y="670630"/>
                  </a:cubicBezTo>
                  <a:lnTo>
                    <a:pt x="4726598" y="679726"/>
                  </a:lnTo>
                  <a:lnTo>
                    <a:pt x="4726598" y="1857127"/>
                  </a:lnTo>
                  <a:cubicBezTo>
                    <a:pt x="4727298" y="2090406"/>
                    <a:pt x="4695362" y="2322638"/>
                    <a:pt x="4631725" y="2547067"/>
                  </a:cubicBezTo>
                  <a:cubicBezTo>
                    <a:pt x="4569981" y="2763218"/>
                    <a:pt x="4484250" y="2971792"/>
                    <a:pt x="4376125" y="3168877"/>
                  </a:cubicBezTo>
                  <a:cubicBezTo>
                    <a:pt x="4267107" y="3366226"/>
                    <a:pt x="4138734" y="3552251"/>
                    <a:pt x="3992905" y="3724195"/>
                  </a:cubicBezTo>
                  <a:cubicBezTo>
                    <a:pt x="3847277" y="3896111"/>
                    <a:pt x="3690541" y="4058304"/>
                    <a:pt x="3523728" y="4209745"/>
                  </a:cubicBezTo>
                  <a:cubicBezTo>
                    <a:pt x="3356987" y="4361104"/>
                    <a:pt x="3180777" y="4501676"/>
                    <a:pt x="2996153" y="4630622"/>
                  </a:cubicBezTo>
                  <a:cubicBezTo>
                    <a:pt x="2814868" y="4757967"/>
                    <a:pt x="2629944" y="4875581"/>
                    <a:pt x="2447112" y="4981459"/>
                  </a:cubicBezTo>
                  <a:lnTo>
                    <a:pt x="2362519" y="5030215"/>
                  </a:lnTo>
                  <a:close/>
                </a:path>
              </a:pathLst>
            </a:custGeom>
            <a:solidFill>
              <a:srgbClr val="FFFFFF"/>
            </a:solidFill>
            <a:ln w="22225" cap="flat">
              <a:solidFill>
                <a:srgbClr val="D2D2D2">
                  <a:alpha val="61000"/>
                </a:srgbClr>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Line 127">
              <a:extLst>
                <a:ext uri="{FF2B5EF4-FFF2-40B4-BE49-F238E27FC236}">
                  <a16:creationId xmlns:a16="http://schemas.microsoft.com/office/drawing/2014/main" id="{C01CC13F-8DC8-3C42-BBF2-DC91E55BBD81}"/>
                </a:ext>
                <a:ext uri="{C183D7F6-B498-43B3-948B-1728B52AA6E4}">
                  <adec:decorative xmlns:adec="http://schemas.microsoft.com/office/drawing/2017/decorative" val="1"/>
                </a:ext>
              </a:extLst>
            </p:cNvPr>
            <p:cNvSpPr>
              <a:spLocks noChangeShapeType="1"/>
            </p:cNvSpPr>
            <p:nvPr/>
          </p:nvSpPr>
          <p:spPr bwMode="auto">
            <a:xfrm>
              <a:off x="4539219" y="3805504"/>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6" name="Line 136">
              <a:extLst>
                <a:ext uri="{FF2B5EF4-FFF2-40B4-BE49-F238E27FC236}">
                  <a16:creationId xmlns:a16="http://schemas.microsoft.com/office/drawing/2014/main" id="{4626FAB1-C88D-9645-BDD7-1DA7BF8D5B75}"/>
                </a:ext>
                <a:ext uri="{C183D7F6-B498-43B3-948B-1728B52AA6E4}">
                  <adec:decorative xmlns:adec="http://schemas.microsoft.com/office/drawing/2017/decorative" val="1"/>
                </a:ext>
              </a:extLst>
            </p:cNvPr>
            <p:cNvSpPr>
              <a:spLocks noChangeShapeType="1"/>
            </p:cNvSpPr>
            <p:nvPr/>
          </p:nvSpPr>
          <p:spPr bwMode="auto">
            <a:xfrm>
              <a:off x="4287496" y="4133593"/>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Line 153">
              <a:extLst>
                <a:ext uri="{FF2B5EF4-FFF2-40B4-BE49-F238E27FC236}">
                  <a16:creationId xmlns:a16="http://schemas.microsoft.com/office/drawing/2014/main" id="{511282C8-47DD-3342-84B8-4FC36F50A8D0}"/>
                </a:ext>
                <a:ext uri="{C183D7F6-B498-43B3-948B-1728B52AA6E4}">
                  <adec:decorative xmlns:adec="http://schemas.microsoft.com/office/drawing/2017/decorative" val="1"/>
                </a:ext>
              </a:extLst>
            </p:cNvPr>
            <p:cNvSpPr>
              <a:spLocks noChangeShapeType="1"/>
            </p:cNvSpPr>
            <p:nvPr/>
          </p:nvSpPr>
          <p:spPr bwMode="auto">
            <a:xfrm>
              <a:off x="3216968" y="4629967"/>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8" name="Line 154">
              <a:extLst>
                <a:ext uri="{FF2B5EF4-FFF2-40B4-BE49-F238E27FC236}">
                  <a16:creationId xmlns:a16="http://schemas.microsoft.com/office/drawing/2014/main" id="{CCB83108-DB4B-9C48-B024-125E0E7E0608}"/>
                </a:ext>
                <a:ext uri="{C183D7F6-B498-43B3-948B-1728B52AA6E4}">
                  <adec:decorative xmlns:adec="http://schemas.microsoft.com/office/drawing/2017/decorative" val="1"/>
                </a:ext>
              </a:extLst>
            </p:cNvPr>
            <p:cNvSpPr>
              <a:spLocks noChangeShapeType="1"/>
            </p:cNvSpPr>
            <p:nvPr/>
          </p:nvSpPr>
          <p:spPr bwMode="auto">
            <a:xfrm>
              <a:off x="2539579" y="4629967"/>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9" name="Line 167">
              <a:extLst>
                <a:ext uri="{FF2B5EF4-FFF2-40B4-BE49-F238E27FC236}">
                  <a16:creationId xmlns:a16="http://schemas.microsoft.com/office/drawing/2014/main" id="{B3ADC923-26DE-9341-9F84-ED0525C372E6}"/>
                </a:ext>
                <a:ext uri="{C183D7F6-B498-43B3-948B-1728B52AA6E4}">
                  <adec:decorative xmlns:adec="http://schemas.microsoft.com/office/drawing/2017/decorative" val="1"/>
                </a:ext>
              </a:extLst>
            </p:cNvPr>
            <p:cNvSpPr>
              <a:spLocks noChangeShapeType="1"/>
            </p:cNvSpPr>
            <p:nvPr/>
          </p:nvSpPr>
          <p:spPr bwMode="auto">
            <a:xfrm>
              <a:off x="773278" y="3627554"/>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49" name="Line 148">
              <a:extLst>
                <a:ext uri="{FF2B5EF4-FFF2-40B4-BE49-F238E27FC236}">
                  <a16:creationId xmlns:a16="http://schemas.microsoft.com/office/drawing/2014/main" id="{9D70BD66-9943-B348-8B78-F86457D06990}"/>
                </a:ext>
              </a:extLst>
            </p:cNvPr>
            <p:cNvSpPr>
              <a:spLocks noChangeShapeType="1"/>
            </p:cNvSpPr>
            <p:nvPr/>
          </p:nvSpPr>
          <p:spPr bwMode="auto">
            <a:xfrm flipV="1">
              <a:off x="1261393" y="3901122"/>
              <a:ext cx="574292" cy="23557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50" name="Line 152">
              <a:extLst>
                <a:ext uri="{FF2B5EF4-FFF2-40B4-BE49-F238E27FC236}">
                  <a16:creationId xmlns:a16="http://schemas.microsoft.com/office/drawing/2014/main" id="{26FB4FDE-1E8C-C440-A1D1-DCA58C128E9E}"/>
                </a:ext>
              </a:extLst>
            </p:cNvPr>
            <p:cNvSpPr>
              <a:spLocks noChangeShapeType="1"/>
            </p:cNvSpPr>
            <p:nvPr/>
          </p:nvSpPr>
          <p:spPr bwMode="auto">
            <a:xfrm>
              <a:off x="1394611" y="3168939"/>
              <a:ext cx="441073" cy="72716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1" name="Group 250">
              <a:extLst>
                <a:ext uri="{FF2B5EF4-FFF2-40B4-BE49-F238E27FC236}">
                  <a16:creationId xmlns:a16="http://schemas.microsoft.com/office/drawing/2014/main" id="{2A926CE3-2825-5C4E-8C81-0255A25D9729}"/>
                </a:ext>
              </a:extLst>
            </p:cNvPr>
            <p:cNvGrpSpPr/>
            <p:nvPr/>
          </p:nvGrpSpPr>
          <p:grpSpPr>
            <a:xfrm>
              <a:off x="865123" y="1448206"/>
              <a:ext cx="3802721" cy="4002591"/>
              <a:chOff x="4469839" y="1397246"/>
              <a:chExt cx="4257646" cy="4895140"/>
            </a:xfrm>
          </p:grpSpPr>
          <p:sp>
            <p:nvSpPr>
              <p:cNvPr id="252" name="Line 121">
                <a:extLst>
                  <a:ext uri="{FF2B5EF4-FFF2-40B4-BE49-F238E27FC236}">
                    <a16:creationId xmlns:a16="http://schemas.microsoft.com/office/drawing/2014/main" id="{33671A74-F241-C64F-821B-A7BA84E136E0}"/>
                  </a:ext>
                </a:extLst>
              </p:cNvPr>
              <p:cNvSpPr>
                <a:spLocks noChangeShapeType="1"/>
              </p:cNvSpPr>
              <p:nvPr/>
            </p:nvSpPr>
            <p:spPr bwMode="auto">
              <a:xfrm flipH="1">
                <a:off x="7683088" y="4301037"/>
                <a:ext cx="813539" cy="5539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3" name="Group 252">
                <a:extLst>
                  <a:ext uri="{FF2B5EF4-FFF2-40B4-BE49-F238E27FC236}">
                    <a16:creationId xmlns:a16="http://schemas.microsoft.com/office/drawing/2014/main" id="{46A539A2-2F6C-8046-A27B-E3007DD2FF8C}"/>
                  </a:ext>
                </a:extLst>
              </p:cNvPr>
              <p:cNvGrpSpPr/>
              <p:nvPr/>
            </p:nvGrpSpPr>
            <p:grpSpPr>
              <a:xfrm>
                <a:off x="4469839" y="1397246"/>
                <a:ext cx="4257646" cy="4895140"/>
                <a:chOff x="4469839" y="1397246"/>
                <a:chExt cx="4257646" cy="4895140"/>
              </a:xfrm>
            </p:grpSpPr>
            <p:sp>
              <p:nvSpPr>
                <p:cNvPr id="257" name="Line 106">
                  <a:extLst>
                    <a:ext uri="{FF2B5EF4-FFF2-40B4-BE49-F238E27FC236}">
                      <a16:creationId xmlns:a16="http://schemas.microsoft.com/office/drawing/2014/main" id="{ACEF8E01-38C3-1045-B9F6-A7E6B5B58914}"/>
                    </a:ext>
                  </a:extLst>
                </p:cNvPr>
                <p:cNvSpPr>
                  <a:spLocks noChangeShapeType="1"/>
                </p:cNvSpPr>
                <p:nvPr/>
              </p:nvSpPr>
              <p:spPr bwMode="auto">
                <a:xfrm flipH="1" flipV="1">
                  <a:off x="5913468" y="1548572"/>
                  <a:ext cx="672475" cy="42071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8" name="Group 257">
                  <a:extLst>
                    <a:ext uri="{FF2B5EF4-FFF2-40B4-BE49-F238E27FC236}">
                      <a16:creationId xmlns:a16="http://schemas.microsoft.com/office/drawing/2014/main" id="{C988B9E5-BDA3-CD40-9D19-24B811936731}"/>
                    </a:ext>
                  </a:extLst>
                </p:cNvPr>
                <p:cNvGrpSpPr/>
                <p:nvPr/>
              </p:nvGrpSpPr>
              <p:grpSpPr>
                <a:xfrm>
                  <a:off x="4469839" y="1397556"/>
                  <a:ext cx="4257646" cy="4894830"/>
                  <a:chOff x="4469839" y="1397556"/>
                  <a:chExt cx="4257646" cy="4894830"/>
                </a:xfrm>
              </p:grpSpPr>
              <p:grpSp>
                <p:nvGrpSpPr>
                  <p:cNvPr id="263" name="Group 262">
                    <a:extLst>
                      <a:ext uri="{FF2B5EF4-FFF2-40B4-BE49-F238E27FC236}">
                        <a16:creationId xmlns:a16="http://schemas.microsoft.com/office/drawing/2014/main" id="{D228BB70-6370-F34B-BB3E-4B1AB27D0D03}"/>
                      </a:ext>
                    </a:extLst>
                  </p:cNvPr>
                  <p:cNvGrpSpPr/>
                  <p:nvPr/>
                </p:nvGrpSpPr>
                <p:grpSpPr>
                  <a:xfrm>
                    <a:off x="4469839" y="1557903"/>
                    <a:ext cx="4257646" cy="4734483"/>
                    <a:chOff x="4469839" y="1557903"/>
                    <a:chExt cx="4257646" cy="4734483"/>
                  </a:xfrm>
                </p:grpSpPr>
                <p:sp>
                  <p:nvSpPr>
                    <p:cNvPr id="270" name="Line 129">
                      <a:extLst>
                        <a:ext uri="{FF2B5EF4-FFF2-40B4-BE49-F238E27FC236}">
                          <a16:creationId xmlns:a16="http://schemas.microsoft.com/office/drawing/2014/main" id="{E06B933C-274B-6741-9AC8-E88DAD20EF33}"/>
                        </a:ext>
                      </a:extLst>
                    </p:cNvPr>
                    <p:cNvSpPr>
                      <a:spLocks noChangeShapeType="1"/>
                    </p:cNvSpPr>
                    <p:nvPr/>
                  </p:nvSpPr>
                  <p:spPr bwMode="auto">
                    <a:xfrm flipV="1">
                      <a:off x="8139758" y="2027541"/>
                      <a:ext cx="587727" cy="41281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1" name="Line 130">
                      <a:extLst>
                        <a:ext uri="{FF2B5EF4-FFF2-40B4-BE49-F238E27FC236}">
                          <a16:creationId xmlns:a16="http://schemas.microsoft.com/office/drawing/2014/main" id="{A3F52D4F-EB68-1542-AE56-D2D9C7FE5ECC}"/>
                        </a:ext>
                      </a:extLst>
                    </p:cNvPr>
                    <p:cNvSpPr>
                      <a:spLocks noChangeShapeType="1"/>
                    </p:cNvSpPr>
                    <p:nvPr/>
                  </p:nvSpPr>
                  <p:spPr bwMode="auto">
                    <a:xfrm flipV="1">
                      <a:off x="8052348" y="2451709"/>
                      <a:ext cx="107381" cy="98562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72" name="Group 271">
                      <a:extLst>
                        <a:ext uri="{FF2B5EF4-FFF2-40B4-BE49-F238E27FC236}">
                          <a16:creationId xmlns:a16="http://schemas.microsoft.com/office/drawing/2014/main" id="{59E7B3B8-9D80-7645-9A04-8218F482F186}"/>
                        </a:ext>
                      </a:extLst>
                    </p:cNvPr>
                    <p:cNvGrpSpPr/>
                    <p:nvPr/>
                  </p:nvGrpSpPr>
                  <p:grpSpPr>
                    <a:xfrm>
                      <a:off x="4469839" y="1557903"/>
                      <a:ext cx="4026788" cy="4734483"/>
                      <a:chOff x="4469839" y="1557903"/>
                      <a:chExt cx="4026788" cy="4734483"/>
                    </a:xfrm>
                  </p:grpSpPr>
                  <p:sp>
                    <p:nvSpPr>
                      <p:cNvPr id="273" name="Line 122">
                        <a:extLst>
                          <a:ext uri="{FF2B5EF4-FFF2-40B4-BE49-F238E27FC236}">
                            <a16:creationId xmlns:a16="http://schemas.microsoft.com/office/drawing/2014/main" id="{0B822E6C-8237-3847-8500-6981CD998059}"/>
                          </a:ext>
                        </a:extLst>
                      </p:cNvPr>
                      <p:cNvSpPr>
                        <a:spLocks noChangeShapeType="1"/>
                      </p:cNvSpPr>
                      <p:nvPr/>
                    </p:nvSpPr>
                    <p:spPr bwMode="auto">
                      <a:xfrm flipV="1">
                        <a:off x="6622536" y="4356433"/>
                        <a:ext cx="1060553" cy="6784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4" name="Line 140">
                        <a:extLst>
                          <a:ext uri="{FF2B5EF4-FFF2-40B4-BE49-F238E27FC236}">
                            <a16:creationId xmlns:a16="http://schemas.microsoft.com/office/drawing/2014/main" id="{B7F233F6-D07B-0342-9E94-5DA1210BC99E}"/>
                          </a:ext>
                        </a:extLst>
                      </p:cNvPr>
                      <p:cNvSpPr>
                        <a:spLocks noChangeShapeType="1"/>
                      </p:cNvSpPr>
                      <p:nvPr/>
                    </p:nvSpPr>
                    <p:spPr bwMode="auto">
                      <a:xfrm>
                        <a:off x="6629224" y="4430744"/>
                        <a:ext cx="572778" cy="56532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5" name="Line 147">
                        <a:extLst>
                          <a:ext uri="{FF2B5EF4-FFF2-40B4-BE49-F238E27FC236}">
                            <a16:creationId xmlns:a16="http://schemas.microsoft.com/office/drawing/2014/main" id="{B05B3E72-7FC1-A54D-9546-AEE259054653}"/>
                          </a:ext>
                        </a:extLst>
                      </p:cNvPr>
                      <p:cNvSpPr>
                        <a:spLocks noChangeShapeType="1"/>
                      </p:cNvSpPr>
                      <p:nvPr/>
                    </p:nvSpPr>
                    <p:spPr bwMode="auto">
                      <a:xfrm>
                        <a:off x="6093932" y="4938235"/>
                        <a:ext cx="528605" cy="60579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76" name="Group 275">
                        <a:extLst>
                          <a:ext uri="{FF2B5EF4-FFF2-40B4-BE49-F238E27FC236}">
                            <a16:creationId xmlns:a16="http://schemas.microsoft.com/office/drawing/2014/main" id="{4233A1BD-D0AC-A94C-BF43-9A0D559AB32C}"/>
                          </a:ext>
                        </a:extLst>
                      </p:cNvPr>
                      <p:cNvGrpSpPr/>
                      <p:nvPr/>
                    </p:nvGrpSpPr>
                    <p:grpSpPr>
                      <a:xfrm>
                        <a:off x="4469839" y="1557903"/>
                        <a:ext cx="4026788" cy="4734483"/>
                        <a:chOff x="4469839" y="1557903"/>
                        <a:chExt cx="4026788" cy="4734483"/>
                      </a:xfrm>
                    </p:grpSpPr>
                    <p:sp>
                      <p:nvSpPr>
                        <p:cNvPr id="286" name="Line 164">
                          <a:extLst>
                            <a:ext uri="{FF2B5EF4-FFF2-40B4-BE49-F238E27FC236}">
                              <a16:creationId xmlns:a16="http://schemas.microsoft.com/office/drawing/2014/main" id="{E7993F73-7E45-FE46-B46B-58C4653DF702}"/>
                            </a:ext>
                          </a:extLst>
                        </p:cNvPr>
                        <p:cNvSpPr>
                          <a:spLocks noChangeShapeType="1"/>
                        </p:cNvSpPr>
                        <p:nvPr/>
                      </p:nvSpPr>
                      <p:spPr bwMode="auto">
                        <a:xfrm flipH="1" flipV="1">
                          <a:off x="4593838" y="3966269"/>
                          <a:ext cx="985737" cy="42477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7" name="Line 173">
                          <a:extLst>
                            <a:ext uri="{FF2B5EF4-FFF2-40B4-BE49-F238E27FC236}">
                              <a16:creationId xmlns:a16="http://schemas.microsoft.com/office/drawing/2014/main" id="{38655FBA-4C42-C345-88C0-8F9A867D883F}"/>
                            </a:ext>
                          </a:extLst>
                        </p:cNvPr>
                        <p:cNvSpPr>
                          <a:spLocks noChangeShapeType="1"/>
                        </p:cNvSpPr>
                        <p:nvPr/>
                      </p:nvSpPr>
                      <p:spPr bwMode="auto">
                        <a:xfrm>
                          <a:off x="5560811" y="4391043"/>
                          <a:ext cx="103186" cy="118907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8" name="Line 174">
                          <a:extLst>
                            <a:ext uri="{FF2B5EF4-FFF2-40B4-BE49-F238E27FC236}">
                              <a16:creationId xmlns:a16="http://schemas.microsoft.com/office/drawing/2014/main" id="{0516BDE4-2247-2741-8746-023E4F719E06}"/>
                            </a:ext>
                          </a:extLst>
                        </p:cNvPr>
                        <p:cNvSpPr>
                          <a:spLocks noChangeShapeType="1"/>
                        </p:cNvSpPr>
                        <p:nvPr/>
                      </p:nvSpPr>
                      <p:spPr bwMode="auto">
                        <a:xfrm flipV="1">
                          <a:off x="5654389" y="5529645"/>
                          <a:ext cx="951998" cy="5047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9" name="Line 176">
                          <a:extLst>
                            <a:ext uri="{FF2B5EF4-FFF2-40B4-BE49-F238E27FC236}">
                              <a16:creationId xmlns:a16="http://schemas.microsoft.com/office/drawing/2014/main" id="{5F13FEF2-8854-D14A-B93B-619AB809FAD5}"/>
                            </a:ext>
                          </a:extLst>
                        </p:cNvPr>
                        <p:cNvSpPr>
                          <a:spLocks noChangeShapeType="1"/>
                        </p:cNvSpPr>
                        <p:nvPr/>
                      </p:nvSpPr>
                      <p:spPr bwMode="auto">
                        <a:xfrm flipH="1">
                          <a:off x="6605268" y="5544032"/>
                          <a:ext cx="1118" cy="74835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90" name="Group 289">
                          <a:extLst>
                            <a:ext uri="{FF2B5EF4-FFF2-40B4-BE49-F238E27FC236}">
                              <a16:creationId xmlns:a16="http://schemas.microsoft.com/office/drawing/2014/main" id="{B1ADEB8F-F8E0-5641-B726-99387F797825}"/>
                            </a:ext>
                          </a:extLst>
                        </p:cNvPr>
                        <p:cNvGrpSpPr/>
                        <p:nvPr/>
                      </p:nvGrpSpPr>
                      <p:grpSpPr>
                        <a:xfrm>
                          <a:off x="4469839" y="1557903"/>
                          <a:ext cx="4026788" cy="2743130"/>
                          <a:chOff x="4469839" y="1557903"/>
                          <a:chExt cx="4026788" cy="2743130"/>
                        </a:xfrm>
                      </p:grpSpPr>
                      <p:sp>
                        <p:nvSpPr>
                          <p:cNvPr id="299" name="Line 107">
                            <a:extLst>
                              <a:ext uri="{FF2B5EF4-FFF2-40B4-BE49-F238E27FC236}">
                                <a16:creationId xmlns:a16="http://schemas.microsoft.com/office/drawing/2014/main" id="{D9B6FCA8-7FEB-1A4E-959F-1F419908DEE1}"/>
                              </a:ext>
                            </a:extLst>
                          </p:cNvPr>
                          <p:cNvSpPr>
                            <a:spLocks noChangeShapeType="1"/>
                          </p:cNvSpPr>
                          <p:nvPr/>
                        </p:nvSpPr>
                        <p:spPr bwMode="auto">
                          <a:xfrm flipH="1">
                            <a:off x="4469839" y="2413863"/>
                            <a:ext cx="589613" cy="38590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00" name="Group 299">
                            <a:extLst>
                              <a:ext uri="{FF2B5EF4-FFF2-40B4-BE49-F238E27FC236}">
                                <a16:creationId xmlns:a16="http://schemas.microsoft.com/office/drawing/2014/main" id="{E662341F-8C7A-8C4E-A8A1-DA105B4699AC}"/>
                              </a:ext>
                            </a:extLst>
                          </p:cNvPr>
                          <p:cNvGrpSpPr/>
                          <p:nvPr/>
                        </p:nvGrpSpPr>
                        <p:grpSpPr>
                          <a:xfrm>
                            <a:off x="4470637" y="1557903"/>
                            <a:ext cx="4025990" cy="2743130"/>
                            <a:chOff x="4470637" y="1557903"/>
                            <a:chExt cx="4025990" cy="2743130"/>
                          </a:xfrm>
                        </p:grpSpPr>
                        <p:sp>
                          <p:nvSpPr>
                            <p:cNvPr id="303" name="Line 111">
                              <a:extLst>
                                <a:ext uri="{FF2B5EF4-FFF2-40B4-BE49-F238E27FC236}">
                                  <a16:creationId xmlns:a16="http://schemas.microsoft.com/office/drawing/2014/main" id="{B0B05125-ED10-DE4B-8324-768DA3A2A68F}"/>
                                </a:ext>
                              </a:extLst>
                            </p:cNvPr>
                            <p:cNvSpPr>
                              <a:spLocks noChangeShapeType="1"/>
                            </p:cNvSpPr>
                            <p:nvPr/>
                          </p:nvSpPr>
                          <p:spPr bwMode="auto">
                            <a:xfrm flipH="1">
                              <a:off x="5052952" y="2403978"/>
                              <a:ext cx="9715" cy="109338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04" name="Line 115">
                              <a:extLst>
                                <a:ext uri="{FF2B5EF4-FFF2-40B4-BE49-F238E27FC236}">
                                  <a16:creationId xmlns:a16="http://schemas.microsoft.com/office/drawing/2014/main" id="{C16FD17B-6B6C-6B4D-8E72-239D442D2E8D}"/>
                                </a:ext>
                              </a:extLst>
                            </p:cNvPr>
                            <p:cNvSpPr>
                              <a:spLocks noChangeShapeType="1"/>
                            </p:cNvSpPr>
                            <p:nvPr/>
                          </p:nvSpPr>
                          <p:spPr bwMode="auto">
                            <a:xfrm flipH="1" flipV="1">
                              <a:off x="8049829" y="3479948"/>
                              <a:ext cx="446798" cy="82108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05" name="Group 304">
                              <a:extLst>
                                <a:ext uri="{FF2B5EF4-FFF2-40B4-BE49-F238E27FC236}">
                                  <a16:creationId xmlns:a16="http://schemas.microsoft.com/office/drawing/2014/main" id="{82C35BB3-B187-CB44-A2EE-818247DD6681}"/>
                                </a:ext>
                              </a:extLst>
                            </p:cNvPr>
                            <p:cNvGrpSpPr/>
                            <p:nvPr/>
                          </p:nvGrpSpPr>
                          <p:grpSpPr>
                            <a:xfrm>
                              <a:off x="4599126" y="1557903"/>
                              <a:ext cx="3441884" cy="2414685"/>
                              <a:chOff x="4599126" y="1557903"/>
                              <a:chExt cx="3441884" cy="2414685"/>
                            </a:xfrm>
                          </p:grpSpPr>
                          <p:sp>
                            <p:nvSpPr>
                              <p:cNvPr id="307" name="Line 117">
                                <a:extLst>
                                  <a:ext uri="{FF2B5EF4-FFF2-40B4-BE49-F238E27FC236}">
                                    <a16:creationId xmlns:a16="http://schemas.microsoft.com/office/drawing/2014/main" id="{E331C3F1-32A9-E348-8CB5-BC973C0857AA}"/>
                                  </a:ext>
                                </a:extLst>
                              </p:cNvPr>
                              <p:cNvSpPr>
                                <a:spLocks noChangeShapeType="1"/>
                              </p:cNvSpPr>
                              <p:nvPr/>
                            </p:nvSpPr>
                            <p:spPr bwMode="auto">
                              <a:xfrm flipV="1">
                                <a:off x="5854417" y="1557903"/>
                                <a:ext cx="59051" cy="71135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08" name="Group 307">
                                <a:extLst>
                                  <a:ext uri="{FF2B5EF4-FFF2-40B4-BE49-F238E27FC236}">
                                    <a16:creationId xmlns:a16="http://schemas.microsoft.com/office/drawing/2014/main" id="{5B3AE94A-2FD0-BB4C-8776-64C759FE13F2}"/>
                                  </a:ext>
                                </a:extLst>
                              </p:cNvPr>
                              <p:cNvGrpSpPr/>
                              <p:nvPr/>
                            </p:nvGrpSpPr>
                            <p:grpSpPr>
                              <a:xfrm>
                                <a:off x="4599126" y="1962345"/>
                                <a:ext cx="3441884" cy="2010243"/>
                                <a:chOff x="4599126" y="1962345"/>
                                <a:chExt cx="3441884" cy="2010243"/>
                              </a:xfrm>
                            </p:grpSpPr>
                            <p:sp>
                              <p:nvSpPr>
                                <p:cNvPr id="312" name="Line 110">
                                  <a:extLst>
                                    <a:ext uri="{FF2B5EF4-FFF2-40B4-BE49-F238E27FC236}">
                                      <a16:creationId xmlns:a16="http://schemas.microsoft.com/office/drawing/2014/main" id="{F92947D1-0A3D-F44A-9243-10B89F8B6620}"/>
                                    </a:ext>
                                  </a:extLst>
                                </p:cNvPr>
                                <p:cNvSpPr>
                                  <a:spLocks noChangeShapeType="1"/>
                                </p:cNvSpPr>
                                <p:nvPr/>
                              </p:nvSpPr>
                              <p:spPr bwMode="auto">
                                <a:xfrm flipH="1">
                                  <a:off x="4599126" y="3497359"/>
                                  <a:ext cx="470945" cy="47522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3" name="Line 113">
                                  <a:extLst>
                                    <a:ext uri="{FF2B5EF4-FFF2-40B4-BE49-F238E27FC236}">
                                      <a16:creationId xmlns:a16="http://schemas.microsoft.com/office/drawing/2014/main" id="{55C423E7-1DB3-0C46-8853-7FA3B5C8F673}"/>
                                    </a:ext>
                                  </a:extLst>
                                </p:cNvPr>
                                <p:cNvSpPr>
                                  <a:spLocks noChangeShapeType="1"/>
                                </p:cNvSpPr>
                                <p:nvPr/>
                              </p:nvSpPr>
                              <p:spPr bwMode="auto">
                                <a:xfrm flipV="1">
                                  <a:off x="5067986" y="2298516"/>
                                  <a:ext cx="779305" cy="10546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4" name="Line 114">
                                  <a:extLst>
                                    <a:ext uri="{FF2B5EF4-FFF2-40B4-BE49-F238E27FC236}">
                                      <a16:creationId xmlns:a16="http://schemas.microsoft.com/office/drawing/2014/main" id="{849DEA2B-17BB-A14A-A631-D233F58DE15D}"/>
                                    </a:ext>
                                  </a:extLst>
                                </p:cNvPr>
                                <p:cNvSpPr>
                                  <a:spLocks noChangeShapeType="1"/>
                                </p:cNvSpPr>
                                <p:nvPr/>
                              </p:nvSpPr>
                              <p:spPr bwMode="auto">
                                <a:xfrm flipH="1">
                                  <a:off x="5062462" y="3013384"/>
                                  <a:ext cx="885064" cy="48397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Line 182">
                                  <a:extLst>
                                    <a:ext uri="{FF2B5EF4-FFF2-40B4-BE49-F238E27FC236}">
                                      <a16:creationId xmlns:a16="http://schemas.microsoft.com/office/drawing/2014/main" id="{6DCFDFFF-20BA-FF4B-8B0A-B9F9FFFB5946}"/>
                                    </a:ext>
                                  </a:extLst>
                                </p:cNvPr>
                                <p:cNvSpPr>
                                  <a:spLocks noChangeShapeType="1"/>
                                </p:cNvSpPr>
                                <p:nvPr/>
                              </p:nvSpPr>
                              <p:spPr bwMode="auto">
                                <a:xfrm>
                                  <a:off x="7324292" y="3045206"/>
                                  <a:ext cx="716718" cy="39902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6" name="Line 113">
                                  <a:extLst>
                                    <a:ext uri="{FF2B5EF4-FFF2-40B4-BE49-F238E27FC236}">
                                      <a16:creationId xmlns:a16="http://schemas.microsoft.com/office/drawing/2014/main" id="{A0594591-4B80-A944-8413-0EBC1919ECDA}"/>
                                    </a:ext>
                                  </a:extLst>
                                </p:cNvPr>
                                <p:cNvSpPr>
                                  <a:spLocks noChangeShapeType="1"/>
                                </p:cNvSpPr>
                                <p:nvPr/>
                              </p:nvSpPr>
                              <p:spPr bwMode="auto">
                                <a:xfrm flipV="1">
                                  <a:off x="5850521" y="1962345"/>
                                  <a:ext cx="733353" cy="34405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7" name="Line 113">
                                  <a:extLst>
                                    <a:ext uri="{FF2B5EF4-FFF2-40B4-BE49-F238E27FC236}">
                                      <a16:creationId xmlns:a16="http://schemas.microsoft.com/office/drawing/2014/main" id="{6976FB61-323E-1A48-A376-2EE02E836E6E}"/>
                                    </a:ext>
                                  </a:extLst>
                                </p:cNvPr>
                                <p:cNvSpPr>
                                  <a:spLocks noChangeShapeType="1"/>
                                </p:cNvSpPr>
                                <p:nvPr/>
                              </p:nvSpPr>
                              <p:spPr bwMode="auto">
                                <a:xfrm>
                                  <a:off x="5881198" y="2285720"/>
                                  <a:ext cx="757344" cy="70264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09" name="Line 184">
                                <a:extLst>
                                  <a:ext uri="{FF2B5EF4-FFF2-40B4-BE49-F238E27FC236}">
                                    <a16:creationId xmlns:a16="http://schemas.microsoft.com/office/drawing/2014/main" id="{7D483A7E-FC74-8143-A363-3D41856BD876}"/>
                                  </a:ext>
                                </a:extLst>
                              </p:cNvPr>
                              <p:cNvSpPr>
                                <a:spLocks noChangeShapeType="1"/>
                              </p:cNvSpPr>
                              <p:nvPr/>
                            </p:nvSpPr>
                            <p:spPr bwMode="auto">
                              <a:xfrm flipH="1" flipV="1">
                                <a:off x="5866780" y="2305249"/>
                                <a:ext cx="70384" cy="70603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0" name="Line 117">
                                <a:extLst>
                                  <a:ext uri="{FF2B5EF4-FFF2-40B4-BE49-F238E27FC236}">
                                    <a16:creationId xmlns:a16="http://schemas.microsoft.com/office/drawing/2014/main" id="{1FB4DC1F-CFBB-EF4F-B61A-EF1325A3ACE1}"/>
                                  </a:ext>
                                </a:extLst>
                              </p:cNvPr>
                              <p:cNvSpPr>
                                <a:spLocks noChangeShapeType="1"/>
                              </p:cNvSpPr>
                              <p:nvPr/>
                            </p:nvSpPr>
                            <p:spPr bwMode="auto">
                              <a:xfrm flipH="1" flipV="1">
                                <a:off x="5448898" y="1813984"/>
                                <a:ext cx="398393" cy="47986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1" name="Line 117">
                                <a:extLst>
                                  <a:ext uri="{FF2B5EF4-FFF2-40B4-BE49-F238E27FC236}">
                                    <a16:creationId xmlns:a16="http://schemas.microsoft.com/office/drawing/2014/main" id="{FB26ACED-2CE6-AB40-8A1D-FDBE6E5B7E0D}"/>
                                  </a:ext>
                                </a:extLst>
                              </p:cNvPr>
                              <p:cNvSpPr>
                                <a:spLocks noChangeShapeType="1"/>
                              </p:cNvSpPr>
                              <p:nvPr/>
                            </p:nvSpPr>
                            <p:spPr bwMode="auto">
                              <a:xfrm flipV="1">
                                <a:off x="5062228" y="1822871"/>
                                <a:ext cx="398392" cy="58485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06" name="Line 111">
                              <a:extLst>
                                <a:ext uri="{FF2B5EF4-FFF2-40B4-BE49-F238E27FC236}">
                                  <a16:creationId xmlns:a16="http://schemas.microsoft.com/office/drawing/2014/main" id="{86AD17E8-D363-BD4A-AD59-9723169E5EC4}"/>
                                </a:ext>
                              </a:extLst>
                            </p:cNvPr>
                            <p:cNvSpPr>
                              <a:spLocks noChangeShapeType="1"/>
                            </p:cNvSpPr>
                            <p:nvPr/>
                          </p:nvSpPr>
                          <p:spPr bwMode="auto">
                            <a:xfrm>
                              <a:off x="4470637" y="2799014"/>
                              <a:ext cx="583770" cy="68883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01" name="Line 107">
                            <a:extLst>
                              <a:ext uri="{FF2B5EF4-FFF2-40B4-BE49-F238E27FC236}">
                                <a16:creationId xmlns:a16="http://schemas.microsoft.com/office/drawing/2014/main" id="{CB99062A-A58F-F243-B050-358B54A03E80}"/>
                              </a:ext>
                            </a:extLst>
                          </p:cNvPr>
                          <p:cNvSpPr>
                            <a:spLocks noChangeShapeType="1"/>
                          </p:cNvSpPr>
                          <p:nvPr/>
                        </p:nvSpPr>
                        <p:spPr bwMode="auto">
                          <a:xfrm>
                            <a:off x="5059453" y="2408629"/>
                            <a:ext cx="879242" cy="57327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02" name="Line 107">
                            <a:extLst>
                              <a:ext uri="{FF2B5EF4-FFF2-40B4-BE49-F238E27FC236}">
                                <a16:creationId xmlns:a16="http://schemas.microsoft.com/office/drawing/2014/main" id="{E8DFD264-B60C-954C-A76F-6520F8335B73}"/>
                              </a:ext>
                            </a:extLst>
                          </p:cNvPr>
                          <p:cNvSpPr>
                            <a:spLocks noChangeShapeType="1"/>
                          </p:cNvSpPr>
                          <p:nvPr/>
                        </p:nvSpPr>
                        <p:spPr bwMode="auto">
                          <a:xfrm flipH="1" flipV="1">
                            <a:off x="4489310" y="2010667"/>
                            <a:ext cx="572918" cy="39796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91" name="Line 188">
                          <a:extLst>
                            <a:ext uri="{FF2B5EF4-FFF2-40B4-BE49-F238E27FC236}">
                              <a16:creationId xmlns:a16="http://schemas.microsoft.com/office/drawing/2014/main" id="{86A77FB3-626B-0A49-8062-4C5CE8C792AC}"/>
                            </a:ext>
                          </a:extLst>
                        </p:cNvPr>
                        <p:cNvSpPr>
                          <a:spLocks noChangeShapeType="1"/>
                        </p:cNvSpPr>
                        <p:nvPr/>
                      </p:nvSpPr>
                      <p:spPr bwMode="auto">
                        <a:xfrm flipV="1">
                          <a:off x="7318947" y="2436180"/>
                          <a:ext cx="826457" cy="58818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2" name="Line 142">
                          <a:extLst>
                            <a:ext uri="{FF2B5EF4-FFF2-40B4-BE49-F238E27FC236}">
                              <a16:creationId xmlns:a16="http://schemas.microsoft.com/office/drawing/2014/main" id="{AE5B8B12-A1B0-0648-8183-B94178DBF743}"/>
                            </a:ext>
                          </a:extLst>
                        </p:cNvPr>
                        <p:cNvSpPr>
                          <a:spLocks noChangeShapeType="1"/>
                        </p:cNvSpPr>
                        <p:nvPr/>
                      </p:nvSpPr>
                      <p:spPr bwMode="auto">
                        <a:xfrm flipH="1">
                          <a:off x="6606386" y="5003441"/>
                          <a:ext cx="595614" cy="54059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3" name="Line 142">
                          <a:extLst>
                            <a:ext uri="{FF2B5EF4-FFF2-40B4-BE49-F238E27FC236}">
                              <a16:creationId xmlns:a16="http://schemas.microsoft.com/office/drawing/2014/main" id="{4519DC84-84E6-1143-B392-98D9C2424E86}"/>
                            </a:ext>
                          </a:extLst>
                        </p:cNvPr>
                        <p:cNvSpPr>
                          <a:spLocks noChangeShapeType="1"/>
                        </p:cNvSpPr>
                        <p:nvPr/>
                      </p:nvSpPr>
                      <p:spPr bwMode="auto">
                        <a:xfrm>
                          <a:off x="7693572" y="4356430"/>
                          <a:ext cx="192249" cy="86021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Line 142">
                          <a:extLst>
                            <a:ext uri="{FF2B5EF4-FFF2-40B4-BE49-F238E27FC236}">
                              <a16:creationId xmlns:a16="http://schemas.microsoft.com/office/drawing/2014/main" id="{96CD0836-6000-0240-8BAE-E7F990932861}"/>
                            </a:ext>
                          </a:extLst>
                        </p:cNvPr>
                        <p:cNvSpPr>
                          <a:spLocks noChangeShapeType="1"/>
                        </p:cNvSpPr>
                        <p:nvPr/>
                      </p:nvSpPr>
                      <p:spPr bwMode="auto">
                        <a:xfrm>
                          <a:off x="7256448" y="5037273"/>
                          <a:ext cx="164067" cy="65257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5" name="Line 142">
                          <a:extLst>
                            <a:ext uri="{FF2B5EF4-FFF2-40B4-BE49-F238E27FC236}">
                              <a16:creationId xmlns:a16="http://schemas.microsoft.com/office/drawing/2014/main" id="{C6364454-322A-8442-8C50-B2F272519B7C}"/>
                            </a:ext>
                          </a:extLst>
                        </p:cNvPr>
                        <p:cNvSpPr>
                          <a:spLocks noChangeShapeType="1"/>
                        </p:cNvSpPr>
                        <p:nvPr/>
                      </p:nvSpPr>
                      <p:spPr bwMode="auto">
                        <a:xfrm>
                          <a:off x="7271766" y="4990960"/>
                          <a:ext cx="614055" cy="22568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6" name="Line 142">
                          <a:extLst>
                            <a:ext uri="{FF2B5EF4-FFF2-40B4-BE49-F238E27FC236}">
                              <a16:creationId xmlns:a16="http://schemas.microsoft.com/office/drawing/2014/main" id="{ACE5A0D1-3425-EF4E-B238-8BA1939119E3}"/>
                            </a:ext>
                          </a:extLst>
                        </p:cNvPr>
                        <p:cNvSpPr>
                          <a:spLocks noChangeShapeType="1"/>
                        </p:cNvSpPr>
                        <p:nvPr/>
                      </p:nvSpPr>
                      <p:spPr bwMode="auto">
                        <a:xfrm flipH="1" flipV="1">
                          <a:off x="6606385" y="5544032"/>
                          <a:ext cx="814130" cy="14581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7" name="Line 142">
                          <a:extLst>
                            <a:ext uri="{FF2B5EF4-FFF2-40B4-BE49-F238E27FC236}">
                              <a16:creationId xmlns:a16="http://schemas.microsoft.com/office/drawing/2014/main" id="{E020A8AF-8DCC-C846-9E8C-5ECB18508D47}"/>
                            </a:ext>
                          </a:extLst>
                        </p:cNvPr>
                        <p:cNvSpPr>
                          <a:spLocks noChangeShapeType="1"/>
                        </p:cNvSpPr>
                        <p:nvPr/>
                      </p:nvSpPr>
                      <p:spPr bwMode="auto">
                        <a:xfrm flipV="1">
                          <a:off x="7212486" y="4343222"/>
                          <a:ext cx="488900" cy="64127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8" name="Line 142">
                          <a:extLst>
                            <a:ext uri="{FF2B5EF4-FFF2-40B4-BE49-F238E27FC236}">
                              <a16:creationId xmlns:a16="http://schemas.microsoft.com/office/drawing/2014/main" id="{9F3411AD-E480-B94A-94A7-711CF5A141C6}"/>
                            </a:ext>
                          </a:extLst>
                        </p:cNvPr>
                        <p:cNvSpPr>
                          <a:spLocks noChangeShapeType="1"/>
                        </p:cNvSpPr>
                        <p:nvPr/>
                      </p:nvSpPr>
                      <p:spPr bwMode="auto">
                        <a:xfrm flipH="1">
                          <a:off x="6605268" y="4469756"/>
                          <a:ext cx="5649" cy="105830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77" name="Line 147">
                        <a:extLst>
                          <a:ext uri="{FF2B5EF4-FFF2-40B4-BE49-F238E27FC236}">
                            <a16:creationId xmlns:a16="http://schemas.microsoft.com/office/drawing/2014/main" id="{528653FF-E912-704C-9302-1E7BDCDC2783}"/>
                          </a:ext>
                        </a:extLst>
                      </p:cNvPr>
                      <p:cNvSpPr>
                        <a:spLocks noChangeShapeType="1"/>
                      </p:cNvSpPr>
                      <p:nvPr/>
                    </p:nvSpPr>
                    <p:spPr bwMode="auto">
                      <a:xfrm flipH="1">
                        <a:off x="6082401" y="4434891"/>
                        <a:ext cx="542293" cy="47463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8" name="Line 147">
                        <a:extLst>
                          <a:ext uri="{FF2B5EF4-FFF2-40B4-BE49-F238E27FC236}">
                            <a16:creationId xmlns:a16="http://schemas.microsoft.com/office/drawing/2014/main" id="{2C05E863-313F-1140-A8AB-D744AA0AC4A7}"/>
                          </a:ext>
                        </a:extLst>
                      </p:cNvPr>
                      <p:cNvSpPr>
                        <a:spLocks noChangeShapeType="1"/>
                      </p:cNvSpPr>
                      <p:nvPr/>
                    </p:nvSpPr>
                    <p:spPr bwMode="auto">
                      <a:xfrm>
                        <a:off x="5561039" y="4380479"/>
                        <a:ext cx="515729" cy="52396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9" name="Line 147">
                        <a:extLst>
                          <a:ext uri="{FF2B5EF4-FFF2-40B4-BE49-F238E27FC236}">
                            <a16:creationId xmlns:a16="http://schemas.microsoft.com/office/drawing/2014/main" id="{D34EB7FF-36A7-DE4E-81D5-8D9FC7B1FD96}"/>
                          </a:ext>
                        </a:extLst>
                      </p:cNvPr>
                      <p:cNvSpPr>
                        <a:spLocks noChangeShapeType="1"/>
                      </p:cNvSpPr>
                      <p:nvPr/>
                    </p:nvSpPr>
                    <p:spPr bwMode="auto">
                      <a:xfrm flipH="1" flipV="1">
                        <a:off x="5579537" y="4394529"/>
                        <a:ext cx="1042998" cy="3687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0" name="Line 147">
                        <a:extLst>
                          <a:ext uri="{FF2B5EF4-FFF2-40B4-BE49-F238E27FC236}">
                            <a16:creationId xmlns:a16="http://schemas.microsoft.com/office/drawing/2014/main" id="{58A87C5D-D597-3944-9C49-CA5DA2EF553F}"/>
                          </a:ext>
                        </a:extLst>
                      </p:cNvPr>
                      <p:cNvSpPr>
                        <a:spLocks noChangeShapeType="1"/>
                      </p:cNvSpPr>
                      <p:nvPr/>
                    </p:nvSpPr>
                    <p:spPr bwMode="auto">
                      <a:xfrm flipH="1">
                        <a:off x="5654390" y="4904445"/>
                        <a:ext cx="417527" cy="69087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1" name="Line 147">
                        <a:extLst>
                          <a:ext uri="{FF2B5EF4-FFF2-40B4-BE49-F238E27FC236}">
                            <a16:creationId xmlns:a16="http://schemas.microsoft.com/office/drawing/2014/main" id="{1DD0BC0C-2237-EF41-8A39-0597DA34ACFB}"/>
                          </a:ext>
                        </a:extLst>
                      </p:cNvPr>
                      <p:cNvSpPr>
                        <a:spLocks noChangeShapeType="1"/>
                      </p:cNvSpPr>
                      <p:nvPr/>
                    </p:nvSpPr>
                    <p:spPr bwMode="auto">
                      <a:xfrm flipH="1" flipV="1">
                        <a:off x="5967014" y="3016015"/>
                        <a:ext cx="628612" cy="1436849"/>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2" name="Line 147">
                        <a:extLst>
                          <a:ext uri="{FF2B5EF4-FFF2-40B4-BE49-F238E27FC236}">
                            <a16:creationId xmlns:a16="http://schemas.microsoft.com/office/drawing/2014/main" id="{E057FDB3-1703-8F4C-9F3C-21BC5A97FFC7}"/>
                          </a:ext>
                        </a:extLst>
                      </p:cNvPr>
                      <p:cNvSpPr>
                        <a:spLocks noChangeShapeType="1"/>
                      </p:cNvSpPr>
                      <p:nvPr/>
                    </p:nvSpPr>
                    <p:spPr bwMode="auto">
                      <a:xfrm flipV="1">
                        <a:off x="6622534" y="3016015"/>
                        <a:ext cx="691125" cy="1374133"/>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3" name="Line 147">
                        <a:extLst>
                          <a:ext uri="{FF2B5EF4-FFF2-40B4-BE49-F238E27FC236}">
                            <a16:creationId xmlns:a16="http://schemas.microsoft.com/office/drawing/2014/main" id="{D42E1764-C064-BA4A-82CE-068ACC09FA0F}"/>
                          </a:ext>
                        </a:extLst>
                      </p:cNvPr>
                      <p:cNvSpPr>
                        <a:spLocks noChangeShapeType="1"/>
                      </p:cNvSpPr>
                      <p:nvPr/>
                    </p:nvSpPr>
                    <p:spPr bwMode="auto">
                      <a:xfrm flipV="1">
                        <a:off x="5556508" y="2996957"/>
                        <a:ext cx="420314" cy="1359472"/>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4" name="Line 147">
                        <a:extLst>
                          <a:ext uri="{FF2B5EF4-FFF2-40B4-BE49-F238E27FC236}">
                            <a16:creationId xmlns:a16="http://schemas.microsoft.com/office/drawing/2014/main" id="{B6A7DBF5-2637-4440-9210-F7EC7C466F07}"/>
                          </a:ext>
                        </a:extLst>
                      </p:cNvPr>
                      <p:cNvSpPr>
                        <a:spLocks noChangeShapeType="1"/>
                      </p:cNvSpPr>
                      <p:nvPr/>
                    </p:nvSpPr>
                    <p:spPr bwMode="auto">
                      <a:xfrm flipH="1" flipV="1">
                        <a:off x="7351766" y="3064112"/>
                        <a:ext cx="324318" cy="1247573"/>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5" name="Line 147">
                        <a:extLst>
                          <a:ext uri="{FF2B5EF4-FFF2-40B4-BE49-F238E27FC236}">
                            <a16:creationId xmlns:a16="http://schemas.microsoft.com/office/drawing/2014/main" id="{515B4EBF-93DD-4144-B1B9-0482D4D62595}"/>
                          </a:ext>
                        </a:extLst>
                      </p:cNvPr>
                      <p:cNvSpPr>
                        <a:spLocks noChangeShapeType="1"/>
                      </p:cNvSpPr>
                      <p:nvPr/>
                    </p:nvSpPr>
                    <p:spPr bwMode="auto">
                      <a:xfrm flipV="1">
                        <a:off x="6607938" y="3016015"/>
                        <a:ext cx="17762" cy="1418566"/>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64" name="Line 179">
                    <a:extLst>
                      <a:ext uri="{FF2B5EF4-FFF2-40B4-BE49-F238E27FC236}">
                        <a16:creationId xmlns:a16="http://schemas.microsoft.com/office/drawing/2014/main" id="{0B657336-AC1D-4C40-BE1B-5C9C1AF120B8}"/>
                      </a:ext>
                    </a:extLst>
                  </p:cNvPr>
                  <p:cNvSpPr>
                    <a:spLocks noChangeShapeType="1"/>
                  </p:cNvSpPr>
                  <p:nvPr/>
                </p:nvSpPr>
                <p:spPr bwMode="auto">
                  <a:xfrm>
                    <a:off x="6636017" y="2976425"/>
                    <a:ext cx="674636" cy="5025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5" name="Line 179">
                    <a:extLst>
                      <a:ext uri="{FF2B5EF4-FFF2-40B4-BE49-F238E27FC236}">
                        <a16:creationId xmlns:a16="http://schemas.microsoft.com/office/drawing/2014/main" id="{BA874A87-BE31-BA42-B17D-6090F942D24B}"/>
                      </a:ext>
                    </a:extLst>
                  </p:cNvPr>
                  <p:cNvSpPr>
                    <a:spLocks noChangeShapeType="1"/>
                  </p:cNvSpPr>
                  <p:nvPr/>
                </p:nvSpPr>
                <p:spPr bwMode="auto">
                  <a:xfrm flipV="1">
                    <a:off x="6642596" y="2358262"/>
                    <a:ext cx="802831" cy="61331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6" name="Line 179">
                    <a:extLst>
                      <a:ext uri="{FF2B5EF4-FFF2-40B4-BE49-F238E27FC236}">
                        <a16:creationId xmlns:a16="http://schemas.microsoft.com/office/drawing/2014/main" id="{5B5AA426-E2C2-C04C-A391-27355B1BEA3E}"/>
                      </a:ext>
                    </a:extLst>
                  </p:cNvPr>
                  <p:cNvSpPr>
                    <a:spLocks noChangeShapeType="1"/>
                  </p:cNvSpPr>
                  <p:nvPr/>
                </p:nvSpPr>
                <p:spPr bwMode="auto">
                  <a:xfrm>
                    <a:off x="6599192" y="1962346"/>
                    <a:ext cx="845600" cy="36866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7" name="Line 179">
                    <a:extLst>
                      <a:ext uri="{FF2B5EF4-FFF2-40B4-BE49-F238E27FC236}">
                        <a16:creationId xmlns:a16="http://schemas.microsoft.com/office/drawing/2014/main" id="{04AC0E7A-924C-8841-9E68-BB5C977948DA}"/>
                      </a:ext>
                    </a:extLst>
                  </p:cNvPr>
                  <p:cNvSpPr>
                    <a:spLocks noChangeShapeType="1"/>
                  </p:cNvSpPr>
                  <p:nvPr/>
                </p:nvSpPr>
                <p:spPr bwMode="auto">
                  <a:xfrm>
                    <a:off x="7448564" y="2347575"/>
                    <a:ext cx="708871" cy="9582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8" name="Line 179">
                    <a:extLst>
                      <a:ext uri="{FF2B5EF4-FFF2-40B4-BE49-F238E27FC236}">
                        <a16:creationId xmlns:a16="http://schemas.microsoft.com/office/drawing/2014/main" id="{2DAA85DE-E6F3-D84B-937D-C0F872F39520}"/>
                      </a:ext>
                    </a:extLst>
                  </p:cNvPr>
                  <p:cNvSpPr>
                    <a:spLocks noChangeShapeType="1"/>
                  </p:cNvSpPr>
                  <p:nvPr/>
                </p:nvSpPr>
                <p:spPr bwMode="auto">
                  <a:xfrm>
                    <a:off x="6934016" y="1397556"/>
                    <a:ext cx="513610" cy="93741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Line 179">
                    <a:extLst>
                      <a:ext uri="{FF2B5EF4-FFF2-40B4-BE49-F238E27FC236}">
                        <a16:creationId xmlns:a16="http://schemas.microsoft.com/office/drawing/2014/main" id="{1CDC67C7-B7D8-D446-88FC-31EF158B39B9}"/>
                      </a:ext>
                    </a:extLst>
                  </p:cNvPr>
                  <p:cNvSpPr>
                    <a:spLocks noChangeShapeType="1"/>
                  </p:cNvSpPr>
                  <p:nvPr/>
                </p:nvSpPr>
                <p:spPr bwMode="auto">
                  <a:xfrm flipV="1">
                    <a:off x="5950032" y="2988368"/>
                    <a:ext cx="683465" cy="1703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59" name="Line 106">
                  <a:extLst>
                    <a:ext uri="{FF2B5EF4-FFF2-40B4-BE49-F238E27FC236}">
                      <a16:creationId xmlns:a16="http://schemas.microsoft.com/office/drawing/2014/main" id="{20621B05-088E-F247-B36A-DA9ADD543CD5}"/>
                    </a:ext>
                  </a:extLst>
                </p:cNvPr>
                <p:cNvSpPr>
                  <a:spLocks noChangeShapeType="1"/>
                </p:cNvSpPr>
                <p:nvPr/>
              </p:nvSpPr>
              <p:spPr bwMode="auto">
                <a:xfrm flipV="1">
                  <a:off x="7457649" y="1813983"/>
                  <a:ext cx="295074" cy="53064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0" name="Line 106">
                  <a:extLst>
                    <a:ext uri="{FF2B5EF4-FFF2-40B4-BE49-F238E27FC236}">
                      <a16:creationId xmlns:a16="http://schemas.microsoft.com/office/drawing/2014/main" id="{469F7C57-CF54-1C49-9840-85FDCA929CC3}"/>
                    </a:ext>
                  </a:extLst>
                </p:cNvPr>
                <p:cNvSpPr>
                  <a:spLocks noChangeShapeType="1"/>
                </p:cNvSpPr>
                <p:nvPr/>
              </p:nvSpPr>
              <p:spPr bwMode="auto">
                <a:xfrm flipV="1">
                  <a:off x="6587972" y="1397246"/>
                  <a:ext cx="346043" cy="55158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1" name="Line 106">
                  <a:extLst>
                    <a:ext uri="{FF2B5EF4-FFF2-40B4-BE49-F238E27FC236}">
                      <a16:creationId xmlns:a16="http://schemas.microsoft.com/office/drawing/2014/main" id="{47AD161B-E41F-7747-8AB8-C5943D2C7461}"/>
                    </a:ext>
                  </a:extLst>
                </p:cNvPr>
                <p:cNvSpPr>
                  <a:spLocks noChangeShapeType="1"/>
                </p:cNvSpPr>
                <p:nvPr/>
              </p:nvSpPr>
              <p:spPr bwMode="auto">
                <a:xfrm flipH="1" flipV="1">
                  <a:off x="6585317" y="1945408"/>
                  <a:ext cx="40237" cy="103649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Line 106">
                  <a:extLst>
                    <a:ext uri="{FF2B5EF4-FFF2-40B4-BE49-F238E27FC236}">
                      <a16:creationId xmlns:a16="http://schemas.microsoft.com/office/drawing/2014/main" id="{A405F921-D407-A04F-ACED-8601C17E518F}"/>
                    </a:ext>
                  </a:extLst>
                </p:cNvPr>
                <p:cNvSpPr>
                  <a:spLocks noChangeShapeType="1"/>
                </p:cNvSpPr>
                <p:nvPr/>
              </p:nvSpPr>
              <p:spPr bwMode="auto">
                <a:xfrm flipV="1">
                  <a:off x="7337562" y="2353732"/>
                  <a:ext cx="116747" cy="68766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54" name="Line 121">
                <a:extLst>
                  <a:ext uri="{FF2B5EF4-FFF2-40B4-BE49-F238E27FC236}">
                    <a16:creationId xmlns:a16="http://schemas.microsoft.com/office/drawing/2014/main" id="{84545B4B-DD80-3B49-AC27-7C507FE1494F}"/>
                  </a:ext>
                </a:extLst>
              </p:cNvPr>
              <p:cNvSpPr>
                <a:spLocks noChangeShapeType="1"/>
              </p:cNvSpPr>
              <p:nvPr/>
            </p:nvSpPr>
            <p:spPr bwMode="auto">
              <a:xfrm flipH="1">
                <a:off x="8041010" y="2898548"/>
                <a:ext cx="686472" cy="55284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55" name="Line 121">
                <a:extLst>
                  <a:ext uri="{FF2B5EF4-FFF2-40B4-BE49-F238E27FC236}">
                    <a16:creationId xmlns:a16="http://schemas.microsoft.com/office/drawing/2014/main" id="{9818DB0A-3A70-1D46-872F-40C18E47E429}"/>
                  </a:ext>
                </a:extLst>
              </p:cNvPr>
              <p:cNvSpPr>
                <a:spLocks noChangeShapeType="1"/>
              </p:cNvSpPr>
              <p:nvPr/>
            </p:nvSpPr>
            <p:spPr bwMode="auto">
              <a:xfrm flipV="1">
                <a:off x="7687423" y="3457165"/>
                <a:ext cx="341120" cy="89926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56" name="Line 121">
                <a:extLst>
                  <a:ext uri="{FF2B5EF4-FFF2-40B4-BE49-F238E27FC236}">
                    <a16:creationId xmlns:a16="http://schemas.microsoft.com/office/drawing/2014/main" id="{AC776D12-B1B8-3E49-AE65-EA360F091B11}"/>
                  </a:ext>
                </a:extLst>
              </p:cNvPr>
              <p:cNvSpPr>
                <a:spLocks noChangeShapeType="1"/>
              </p:cNvSpPr>
              <p:nvPr/>
            </p:nvSpPr>
            <p:spPr bwMode="auto">
              <a:xfrm flipH="1" flipV="1">
                <a:off x="8052346" y="3464326"/>
                <a:ext cx="656038" cy="6361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84" name="Oval 70">
              <a:extLst>
                <a:ext uri="{FF2B5EF4-FFF2-40B4-BE49-F238E27FC236}">
                  <a16:creationId xmlns:a16="http://schemas.microsoft.com/office/drawing/2014/main" id="{4B14A4D7-BEFF-CE41-8057-CF70B32BCF73}"/>
                </a:ext>
                <a:ext uri="{C183D7F6-B498-43B3-948B-1728B52AA6E4}">
                  <adec:decorative xmlns:adec="http://schemas.microsoft.com/office/drawing/2017/decorative" val="1"/>
                </a:ext>
              </a:extLst>
            </p:cNvPr>
            <p:cNvSpPr>
              <a:spLocks noChangeArrowheads="1"/>
            </p:cNvSpPr>
            <p:nvPr/>
          </p:nvSpPr>
          <p:spPr bwMode="auto">
            <a:xfrm>
              <a:off x="1321484" y="3088112"/>
              <a:ext cx="142810" cy="142810"/>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Oval 124">
              <a:extLst>
                <a:ext uri="{FF2B5EF4-FFF2-40B4-BE49-F238E27FC236}">
                  <a16:creationId xmlns:a16="http://schemas.microsoft.com/office/drawing/2014/main" id="{C2B004BD-DCCA-D64D-9437-405484106D1D}"/>
                </a:ext>
                <a:ext uri="{C183D7F6-B498-43B3-948B-1728B52AA6E4}">
                  <adec:decorative xmlns:adec="http://schemas.microsoft.com/office/drawing/2017/decorative" val="1"/>
                </a:ext>
              </a:extLst>
            </p:cNvPr>
            <p:cNvSpPr>
              <a:spLocks noChangeArrowheads="1"/>
            </p:cNvSpPr>
            <p:nvPr/>
          </p:nvSpPr>
          <p:spPr bwMode="auto">
            <a:xfrm>
              <a:off x="3456248" y="2157551"/>
              <a:ext cx="133368" cy="127466"/>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Oval 141">
              <a:extLst>
                <a:ext uri="{FF2B5EF4-FFF2-40B4-BE49-F238E27FC236}">
                  <a16:creationId xmlns:a16="http://schemas.microsoft.com/office/drawing/2014/main" id="{A59C3785-0B4B-A74D-A4BD-C178A2F873E6}"/>
                </a:ext>
                <a:ext uri="{C183D7F6-B498-43B3-948B-1728B52AA6E4}">
                  <adec:decorative xmlns:adec="http://schemas.microsoft.com/office/drawing/2017/decorative" val="1"/>
                </a:ext>
              </a:extLst>
            </p:cNvPr>
            <p:cNvSpPr>
              <a:spLocks noChangeArrowheads="1"/>
            </p:cNvSpPr>
            <p:nvPr/>
          </p:nvSpPr>
          <p:spPr bwMode="auto">
            <a:xfrm>
              <a:off x="2229564" y="4275273"/>
              <a:ext cx="121565" cy="121565"/>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87" name="Oval 124">
              <a:extLst>
                <a:ext uri="{FF2B5EF4-FFF2-40B4-BE49-F238E27FC236}">
                  <a16:creationId xmlns:a16="http://schemas.microsoft.com/office/drawing/2014/main" id="{977A1C9C-EB90-3140-AF8B-B13DE3566FFE}"/>
                </a:ext>
                <a:ext uri="{C183D7F6-B498-43B3-948B-1728B52AA6E4}">
                  <adec:decorative xmlns:adec="http://schemas.microsoft.com/office/drawing/2017/decorative" val="1"/>
                </a:ext>
              </a:extLst>
            </p:cNvPr>
            <p:cNvSpPr>
              <a:spLocks noChangeArrowheads="1"/>
            </p:cNvSpPr>
            <p:nvPr/>
          </p:nvSpPr>
          <p:spPr bwMode="auto">
            <a:xfrm>
              <a:off x="3988436" y="3072929"/>
              <a:ext cx="133368" cy="127466"/>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38" name="Oval 237">
              <a:extLst>
                <a:ext uri="{FF2B5EF4-FFF2-40B4-BE49-F238E27FC236}">
                  <a16:creationId xmlns:a16="http://schemas.microsoft.com/office/drawing/2014/main" id="{EA7FE36F-02C0-6943-9E22-D40E82C8493A}"/>
                </a:ext>
              </a:extLst>
            </p:cNvPr>
            <p:cNvSpPr/>
            <p:nvPr/>
          </p:nvSpPr>
          <p:spPr bwMode="auto">
            <a:xfrm>
              <a:off x="2540971" y="3736962"/>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231" name="Oval 230">
              <a:extLst>
                <a:ext uri="{FF2B5EF4-FFF2-40B4-BE49-F238E27FC236}">
                  <a16:creationId xmlns:a16="http://schemas.microsoft.com/office/drawing/2014/main" id="{8E3D782B-48F2-AD43-A682-FB81C6D09580}"/>
                </a:ext>
              </a:extLst>
            </p:cNvPr>
            <p:cNvSpPr/>
            <p:nvPr/>
          </p:nvSpPr>
          <p:spPr bwMode="auto">
            <a:xfrm>
              <a:off x="2519856" y="1692217"/>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227" name="Oval 226">
              <a:extLst>
                <a:ext uri="{FF2B5EF4-FFF2-40B4-BE49-F238E27FC236}">
                  <a16:creationId xmlns:a16="http://schemas.microsoft.com/office/drawing/2014/main" id="{C9B9E07B-3537-364C-95F0-F961FD10C3EA}"/>
                </a:ext>
              </a:extLst>
            </p:cNvPr>
            <p:cNvSpPr/>
            <p:nvPr/>
          </p:nvSpPr>
          <p:spPr bwMode="auto">
            <a:xfrm>
              <a:off x="1580556" y="3642699"/>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97" name="Oval 74">
              <a:extLst>
                <a:ext uri="{FF2B5EF4-FFF2-40B4-BE49-F238E27FC236}">
                  <a16:creationId xmlns:a16="http://schemas.microsoft.com/office/drawing/2014/main" id="{56807D61-44A8-5345-B511-E288488F6BC1}"/>
                </a:ext>
                <a:ext uri="{C183D7F6-B498-43B3-948B-1728B52AA6E4}">
                  <adec:decorative xmlns:adec="http://schemas.microsoft.com/office/drawing/2017/decorative" val="1"/>
                </a:ext>
              </a:extLst>
            </p:cNvPr>
            <p:cNvSpPr>
              <a:spLocks noChangeArrowheads="1"/>
            </p:cNvSpPr>
            <p:nvPr/>
          </p:nvSpPr>
          <p:spPr bwMode="auto">
            <a:xfrm>
              <a:off x="2701694" y="2650546"/>
              <a:ext cx="183508" cy="1806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8" name="Oval 74">
              <a:extLst>
                <a:ext uri="{FF2B5EF4-FFF2-40B4-BE49-F238E27FC236}">
                  <a16:creationId xmlns:a16="http://schemas.microsoft.com/office/drawing/2014/main" id="{6B90DECB-0121-024F-947E-B92C72CFCB2E}"/>
                </a:ext>
                <a:ext uri="{C183D7F6-B498-43B3-948B-1728B52AA6E4}">
                  <adec:decorative xmlns:adec="http://schemas.microsoft.com/office/drawing/2017/decorative" val="1"/>
                </a:ext>
              </a:extLst>
            </p:cNvPr>
            <p:cNvSpPr>
              <a:spLocks noChangeArrowheads="1"/>
            </p:cNvSpPr>
            <p:nvPr/>
          </p:nvSpPr>
          <p:spPr bwMode="auto">
            <a:xfrm>
              <a:off x="2039108" y="2110345"/>
              <a:ext cx="132618" cy="1305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9" name="Oval 124">
              <a:extLst>
                <a:ext uri="{FF2B5EF4-FFF2-40B4-BE49-F238E27FC236}">
                  <a16:creationId xmlns:a16="http://schemas.microsoft.com/office/drawing/2014/main" id="{2FD5D520-314F-1D46-A96C-BBE1CFBD95D3}"/>
                </a:ext>
                <a:ext uri="{C183D7F6-B498-43B3-948B-1728B52AA6E4}">
                  <adec:decorative xmlns:adec="http://schemas.microsoft.com/office/drawing/2017/decorative" val="1"/>
                </a:ext>
              </a:extLst>
            </p:cNvPr>
            <p:cNvSpPr>
              <a:spLocks noChangeArrowheads="1"/>
            </p:cNvSpPr>
            <p:nvPr/>
          </p:nvSpPr>
          <p:spPr bwMode="auto">
            <a:xfrm>
              <a:off x="3234754" y="4302639"/>
              <a:ext cx="179828" cy="171871"/>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00" name="04R">
              <a:extLst>
                <a:ext uri="{FF2B5EF4-FFF2-40B4-BE49-F238E27FC236}">
                  <a16:creationId xmlns:a16="http://schemas.microsoft.com/office/drawing/2014/main" id="{30102537-7A1E-274C-8861-3FC17564F637}"/>
                </a:ext>
                <a:ext uri="{C183D7F6-B498-43B3-948B-1728B52AA6E4}">
                  <adec:decorative xmlns:adec="http://schemas.microsoft.com/office/drawing/2017/decorative" val="1"/>
                </a:ext>
              </a:extLst>
            </p:cNvPr>
            <p:cNvSpPr/>
            <p:nvPr/>
          </p:nvSpPr>
          <p:spPr bwMode="auto">
            <a:xfrm>
              <a:off x="996332" y="3066938"/>
              <a:ext cx="3488847" cy="556377"/>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1" tIns="89641" rIns="89641" bIns="89641" numCol="1" spcCol="0" rtlCol="0" fromWordArt="0" anchor="ctr" anchorCtr="0" forceAA="0" compatLnSpc="1">
              <a:prstTxWarp prst="textNoShape">
                <a:avLst/>
              </a:prstTxWarp>
              <a:noAutofit/>
            </a:bodyPr>
            <a:lstStyle/>
            <a:p>
              <a:pPr marL="0" marR="0" lvl="0" indent="0" algn="ctr" defTabSz="914378" rtl="0" eaLnBrk="1" fontAlgn="auto" latinLnBrk="0" hangingPunct="1">
                <a:lnSpc>
                  <a:spcPts val="2420"/>
                </a:lnSpc>
                <a:spcBef>
                  <a:spcPct val="0"/>
                </a:spcBef>
                <a:spcAft>
                  <a:spcPts val="0"/>
                </a:spcAft>
                <a:buClrTx/>
                <a:buSzTx/>
                <a:buFontTx/>
                <a:buNone/>
                <a:tabLst/>
                <a:defRPr/>
              </a:pPr>
              <a:r>
                <a:rPr kumimoji="0" lang="en-US" sz="1400" b="0" i="0" u="none" strike="noStrike" kern="1200" cap="none" spc="0" normalizeH="0" baseline="0" noProof="0">
                  <a:ln w="3175">
                    <a:noFill/>
                  </a:ln>
                  <a:gradFill>
                    <a:gsLst>
                      <a:gs pos="100000">
                        <a:srgbClr val="000000"/>
                      </a:gs>
                      <a:gs pos="83000">
                        <a:srgbClr val="000000"/>
                      </a:gs>
                    </a:gsLst>
                    <a:lin ang="5400000" scaled="1"/>
                  </a:gradFill>
                  <a:effectLst/>
                  <a:uLnTx/>
                  <a:uFillTx/>
                  <a:latin typeface="Segoe UI Semibold"/>
                  <a:ea typeface="Segoe UI Semibold" panose="020B0502040204020203" pitchFamily="34" charset="0"/>
                  <a:cs typeface="Segoe UI Semibold" panose="020B0502040204020203" pitchFamily="34" charset="0"/>
                </a:rPr>
                <a:t>Microsoft </a:t>
              </a:r>
              <a:r>
                <a:rPr kumimoji="0" lang="en-US" sz="1400" b="0" i="0" u="none" strike="noStrike" kern="1200" cap="none" spc="0" normalizeH="0" baseline="0" noProof="0">
                  <a:ln w="3175">
                    <a:noFill/>
                  </a:ln>
                  <a:gradFill>
                    <a:gsLst>
                      <a:gs pos="100000">
                        <a:srgbClr val="000000"/>
                      </a:gs>
                      <a:gs pos="83000">
                        <a:srgbClr val="000000"/>
                      </a:gs>
                    </a:gsLst>
                    <a:lin ang="5400000" scaled="1"/>
                  </a:gradFill>
                  <a:effectLst/>
                  <a:uLnTx/>
                  <a:uFillTx/>
                  <a:latin typeface="Segoe UI Semibold"/>
                  <a:ea typeface="+mn-ea"/>
                  <a:cs typeface="Segoe UI Semibold" panose="020B0502040204020203" pitchFamily="34" charset="0"/>
                </a:rPr>
                <a:t>Security</a:t>
              </a:r>
            </a:p>
          </p:txBody>
        </p:sp>
        <p:sp>
          <p:nvSpPr>
            <p:cNvPr id="148" name="house">
              <a:extLst>
                <a:ext uri="{FF2B5EF4-FFF2-40B4-BE49-F238E27FC236}">
                  <a16:creationId xmlns:a16="http://schemas.microsoft.com/office/drawing/2014/main" id="{85F8E2FD-FC2C-4D9F-90FB-04D2024D48A3}"/>
                </a:ext>
              </a:extLst>
            </p:cNvPr>
            <p:cNvSpPr>
              <a:spLocks noChangeAspect="1" noEditPoints="1"/>
            </p:cNvSpPr>
            <p:nvPr/>
          </p:nvSpPr>
          <p:spPr bwMode="auto">
            <a:xfrm>
              <a:off x="2619582" y="1803270"/>
              <a:ext cx="276423" cy="24521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 name="Group 2">
              <a:extLst>
                <a:ext uri="{FF2B5EF4-FFF2-40B4-BE49-F238E27FC236}">
                  <a16:creationId xmlns:a16="http://schemas.microsoft.com/office/drawing/2014/main" id="{A47F2D80-853A-474F-BAC3-72F0F252F1A9}"/>
                </a:ext>
              </a:extLst>
            </p:cNvPr>
            <p:cNvGrpSpPr/>
            <p:nvPr/>
          </p:nvGrpSpPr>
          <p:grpSpPr>
            <a:xfrm>
              <a:off x="1136822" y="2060366"/>
              <a:ext cx="475874" cy="475874"/>
              <a:chOff x="1136822" y="2060366"/>
              <a:chExt cx="475874" cy="475874"/>
            </a:xfrm>
          </p:grpSpPr>
          <p:sp>
            <p:nvSpPr>
              <p:cNvPr id="201" name="Oval 200">
                <a:extLst>
                  <a:ext uri="{FF2B5EF4-FFF2-40B4-BE49-F238E27FC236}">
                    <a16:creationId xmlns:a16="http://schemas.microsoft.com/office/drawing/2014/main" id="{9FC4186E-5EBD-2147-8F5F-5CC51D3C8915}"/>
                  </a:ext>
                </a:extLst>
              </p:cNvPr>
              <p:cNvSpPr/>
              <p:nvPr/>
            </p:nvSpPr>
            <p:spPr bwMode="auto">
              <a:xfrm>
                <a:off x="1136822" y="2060366"/>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49" name="monitor">
                <a:extLst>
                  <a:ext uri="{FF2B5EF4-FFF2-40B4-BE49-F238E27FC236}">
                    <a16:creationId xmlns:a16="http://schemas.microsoft.com/office/drawing/2014/main" id="{589BCAC4-F9F9-4C38-81A4-488FE29974E7}"/>
                  </a:ext>
                </a:extLst>
              </p:cNvPr>
              <p:cNvSpPr>
                <a:spLocks noChangeAspect="1" noEditPoints="1"/>
              </p:cNvSpPr>
              <p:nvPr/>
            </p:nvSpPr>
            <p:spPr bwMode="auto">
              <a:xfrm>
                <a:off x="1229253" y="2186788"/>
                <a:ext cx="291012" cy="2230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18ECFF74-C972-4856-BE4E-4E7E9EF2D873}"/>
                </a:ext>
              </a:extLst>
            </p:cNvPr>
            <p:cNvGrpSpPr/>
            <p:nvPr/>
          </p:nvGrpSpPr>
          <p:grpSpPr>
            <a:xfrm>
              <a:off x="3161373" y="2562304"/>
              <a:ext cx="475874" cy="475874"/>
              <a:chOff x="3161373" y="2562304"/>
              <a:chExt cx="475874" cy="475874"/>
            </a:xfrm>
          </p:grpSpPr>
          <p:sp>
            <p:nvSpPr>
              <p:cNvPr id="222" name="Oval 221">
                <a:extLst>
                  <a:ext uri="{FF2B5EF4-FFF2-40B4-BE49-F238E27FC236}">
                    <a16:creationId xmlns:a16="http://schemas.microsoft.com/office/drawing/2014/main" id="{E8E10DC8-F915-7C48-8FF0-8561FFD423A7}"/>
                  </a:ext>
                </a:extLst>
              </p:cNvPr>
              <p:cNvSpPr/>
              <p:nvPr/>
            </p:nvSpPr>
            <p:spPr bwMode="auto">
              <a:xfrm>
                <a:off x="3161373" y="2562304"/>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0" name="people_4">
                <a:extLst>
                  <a:ext uri="{FF2B5EF4-FFF2-40B4-BE49-F238E27FC236}">
                    <a16:creationId xmlns:a16="http://schemas.microsoft.com/office/drawing/2014/main" id="{FC59DC79-FA8D-492A-9993-C8EE80867F9E}"/>
                  </a:ext>
                </a:extLst>
              </p:cNvPr>
              <p:cNvSpPr>
                <a:spLocks noChangeAspect="1" noEditPoints="1"/>
              </p:cNvSpPr>
              <p:nvPr/>
            </p:nvSpPr>
            <p:spPr bwMode="auto">
              <a:xfrm>
                <a:off x="3312926" y="2703665"/>
                <a:ext cx="172769" cy="1931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1" name="Graphic 3">
              <a:extLst>
                <a:ext uri="{FF2B5EF4-FFF2-40B4-BE49-F238E27FC236}">
                  <a16:creationId xmlns:a16="http://schemas.microsoft.com/office/drawing/2014/main" id="{9808B1D5-902C-47E6-9FE0-83D9E00BA5C5}"/>
                </a:ext>
              </a:extLst>
            </p:cNvPr>
            <p:cNvSpPr/>
            <p:nvPr/>
          </p:nvSpPr>
          <p:spPr>
            <a:xfrm>
              <a:off x="2630562" y="3874274"/>
              <a:ext cx="296693" cy="201250"/>
            </a:xfrm>
            <a:custGeom>
              <a:avLst/>
              <a:gdLst>
                <a:gd name="connsiteX0" fmla="*/ 392524 w 452820"/>
                <a:gd name="connsiteY0" fmla="*/ 214918 h 307153"/>
                <a:gd name="connsiteX1" fmla="*/ 60446 w 452820"/>
                <a:gd name="connsiteY1" fmla="*/ 214918 h 307153"/>
                <a:gd name="connsiteX2" fmla="*/ 60446 w 452820"/>
                <a:gd name="connsiteY2" fmla="*/ 0 h 307153"/>
                <a:gd name="connsiteX3" fmla="*/ 392524 w 452820"/>
                <a:gd name="connsiteY3" fmla="*/ 0 h 307153"/>
                <a:gd name="connsiteX4" fmla="*/ 392524 w 452820"/>
                <a:gd name="connsiteY4" fmla="*/ 214918 h 307153"/>
                <a:gd name="connsiteX5" fmla="*/ 392524 w 452820"/>
                <a:gd name="connsiteY5" fmla="*/ 214918 h 307153"/>
                <a:gd name="connsiteX6" fmla="*/ 392524 w 452820"/>
                <a:gd name="connsiteY6" fmla="*/ 214918 h 307153"/>
                <a:gd name="connsiteX7" fmla="*/ 0 w 452820"/>
                <a:gd name="connsiteY7" fmla="*/ 291781 h 307153"/>
                <a:gd name="connsiteX8" fmla="*/ 15074 w 452820"/>
                <a:gd name="connsiteY8" fmla="*/ 307154 h 307153"/>
                <a:gd name="connsiteX9" fmla="*/ 437746 w 452820"/>
                <a:gd name="connsiteY9" fmla="*/ 307154 h 307153"/>
                <a:gd name="connsiteX10" fmla="*/ 452821 w 452820"/>
                <a:gd name="connsiteY10" fmla="*/ 291781 h 307153"/>
                <a:gd name="connsiteX11" fmla="*/ 445358 w 452820"/>
                <a:gd name="connsiteY11" fmla="*/ 268648 h 307153"/>
                <a:gd name="connsiteX12" fmla="*/ 392524 w 452820"/>
                <a:gd name="connsiteY12" fmla="*/ 214918 h 307153"/>
                <a:gd name="connsiteX13" fmla="*/ 60446 w 452820"/>
                <a:gd name="connsiteY13" fmla="*/ 214918 h 307153"/>
                <a:gd name="connsiteX14" fmla="*/ 7612 w 452820"/>
                <a:gd name="connsiteY14" fmla="*/ 268648 h 307153"/>
                <a:gd name="connsiteX15" fmla="*/ 0 w 452820"/>
                <a:gd name="connsiteY15" fmla="*/ 291781 h 307153"/>
                <a:gd name="connsiteX16" fmla="*/ 0 w 452820"/>
                <a:gd name="connsiteY16" fmla="*/ 291781 h 307153"/>
                <a:gd name="connsiteX0" fmla="*/ 392524 w 452821"/>
                <a:gd name="connsiteY0" fmla="*/ 214918 h 307154"/>
                <a:gd name="connsiteX1" fmla="*/ 60446 w 452821"/>
                <a:gd name="connsiteY1" fmla="*/ 214918 h 307154"/>
                <a:gd name="connsiteX2" fmla="*/ 60446 w 452821"/>
                <a:gd name="connsiteY2" fmla="*/ 0 h 307154"/>
                <a:gd name="connsiteX3" fmla="*/ 392524 w 452821"/>
                <a:gd name="connsiteY3" fmla="*/ 0 h 307154"/>
                <a:gd name="connsiteX4" fmla="*/ 392524 w 452821"/>
                <a:gd name="connsiteY4" fmla="*/ 214918 h 307154"/>
                <a:gd name="connsiteX5" fmla="*/ 392524 w 452821"/>
                <a:gd name="connsiteY5" fmla="*/ 214918 h 307154"/>
                <a:gd name="connsiteX6" fmla="*/ 392524 w 452821"/>
                <a:gd name="connsiteY6" fmla="*/ 214918 h 307154"/>
                <a:gd name="connsiteX7" fmla="*/ 0 w 452821"/>
                <a:gd name="connsiteY7" fmla="*/ 291781 h 307154"/>
                <a:gd name="connsiteX8" fmla="*/ 15074 w 452821"/>
                <a:gd name="connsiteY8" fmla="*/ 307154 h 307154"/>
                <a:gd name="connsiteX9" fmla="*/ 437746 w 452821"/>
                <a:gd name="connsiteY9" fmla="*/ 307154 h 307154"/>
                <a:gd name="connsiteX10" fmla="*/ 452821 w 452821"/>
                <a:gd name="connsiteY10" fmla="*/ 291781 h 307154"/>
                <a:gd name="connsiteX11" fmla="*/ 445358 w 452821"/>
                <a:gd name="connsiteY11" fmla="*/ 268648 h 307154"/>
                <a:gd name="connsiteX12" fmla="*/ 392524 w 452821"/>
                <a:gd name="connsiteY12" fmla="*/ 214918 h 307154"/>
                <a:gd name="connsiteX13" fmla="*/ 60446 w 452821"/>
                <a:gd name="connsiteY13" fmla="*/ 214918 h 307154"/>
                <a:gd name="connsiteX14" fmla="*/ 7612 w 452821"/>
                <a:gd name="connsiteY14" fmla="*/ 268648 h 307154"/>
                <a:gd name="connsiteX15" fmla="*/ 0 w 452821"/>
                <a:gd name="connsiteY15" fmla="*/ 291781 h 307154"/>
                <a:gd name="connsiteX16" fmla="*/ 0 w 452821"/>
                <a:gd name="connsiteY16" fmla="*/ 291781 h 30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821" h="307154">
                  <a:moveTo>
                    <a:pt x="392524" y="214918"/>
                  </a:moveTo>
                  <a:lnTo>
                    <a:pt x="60446" y="214918"/>
                  </a:lnTo>
                  <a:lnTo>
                    <a:pt x="60446" y="0"/>
                  </a:lnTo>
                  <a:lnTo>
                    <a:pt x="392524" y="0"/>
                  </a:lnTo>
                  <a:lnTo>
                    <a:pt x="392524" y="214918"/>
                  </a:lnTo>
                  <a:lnTo>
                    <a:pt x="392524" y="214918"/>
                  </a:lnTo>
                  <a:lnTo>
                    <a:pt x="392524" y="214918"/>
                  </a:lnTo>
                  <a:close/>
                  <a:moveTo>
                    <a:pt x="0" y="291781"/>
                  </a:moveTo>
                  <a:cubicBezTo>
                    <a:pt x="0" y="300288"/>
                    <a:pt x="6716" y="307154"/>
                    <a:pt x="15074" y="307154"/>
                  </a:cubicBezTo>
                  <a:lnTo>
                    <a:pt x="437746" y="307154"/>
                  </a:lnTo>
                  <a:cubicBezTo>
                    <a:pt x="446104" y="307154"/>
                    <a:pt x="452821" y="300288"/>
                    <a:pt x="452821" y="291781"/>
                  </a:cubicBezTo>
                  <a:cubicBezTo>
                    <a:pt x="452821" y="282826"/>
                    <a:pt x="449985" y="274618"/>
                    <a:pt x="445358" y="268648"/>
                  </a:cubicBezTo>
                  <a:lnTo>
                    <a:pt x="392524" y="214918"/>
                  </a:lnTo>
                  <a:lnTo>
                    <a:pt x="60446" y="214918"/>
                  </a:lnTo>
                  <a:lnTo>
                    <a:pt x="7612" y="268648"/>
                  </a:lnTo>
                  <a:cubicBezTo>
                    <a:pt x="2985" y="274618"/>
                    <a:pt x="0" y="282826"/>
                    <a:pt x="0" y="291781"/>
                  </a:cubicBezTo>
                  <a:lnTo>
                    <a:pt x="0" y="291781"/>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EFEA0710-EC8F-49BB-B68B-69AB1B61F60A}"/>
                </a:ext>
              </a:extLst>
            </p:cNvPr>
            <p:cNvGrpSpPr/>
            <p:nvPr/>
          </p:nvGrpSpPr>
          <p:grpSpPr>
            <a:xfrm>
              <a:off x="3935297" y="2072453"/>
              <a:ext cx="475874" cy="475874"/>
              <a:chOff x="3935297" y="2072453"/>
              <a:chExt cx="475874" cy="475874"/>
            </a:xfrm>
          </p:grpSpPr>
          <p:sp>
            <p:nvSpPr>
              <p:cNvPr id="243" name="Oval 242">
                <a:extLst>
                  <a:ext uri="{FF2B5EF4-FFF2-40B4-BE49-F238E27FC236}">
                    <a16:creationId xmlns:a16="http://schemas.microsoft.com/office/drawing/2014/main" id="{9002340B-B700-BD48-BA4C-EACE50E2D672}"/>
                  </a:ext>
                </a:extLst>
              </p:cNvPr>
              <p:cNvSpPr/>
              <p:nvPr/>
            </p:nvSpPr>
            <p:spPr bwMode="auto">
              <a:xfrm>
                <a:off x="3935297" y="2072453"/>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2" name="watch">
                <a:extLst>
                  <a:ext uri="{FF2B5EF4-FFF2-40B4-BE49-F238E27FC236}">
                    <a16:creationId xmlns:a16="http://schemas.microsoft.com/office/drawing/2014/main" id="{D8A2A85A-AC82-4CDB-82FE-A3CEBADC2557}"/>
                  </a:ext>
                </a:extLst>
              </p:cNvPr>
              <p:cNvSpPr>
                <a:spLocks noChangeAspect="1" noEditPoints="1"/>
              </p:cNvSpPr>
              <p:nvPr/>
            </p:nvSpPr>
            <p:spPr bwMode="auto">
              <a:xfrm>
                <a:off x="4101401" y="2189172"/>
                <a:ext cx="143666" cy="242437"/>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EA76A4C7-9A31-4776-A109-9C233E37E098}"/>
                </a:ext>
              </a:extLst>
            </p:cNvPr>
            <p:cNvGrpSpPr/>
            <p:nvPr/>
          </p:nvGrpSpPr>
          <p:grpSpPr>
            <a:xfrm>
              <a:off x="1956311" y="2546529"/>
              <a:ext cx="475874" cy="475874"/>
              <a:chOff x="1956311" y="2546529"/>
              <a:chExt cx="475874" cy="475874"/>
            </a:xfrm>
          </p:grpSpPr>
          <p:sp>
            <p:nvSpPr>
              <p:cNvPr id="213" name="Oval 212">
                <a:extLst>
                  <a:ext uri="{FF2B5EF4-FFF2-40B4-BE49-F238E27FC236}">
                    <a16:creationId xmlns:a16="http://schemas.microsoft.com/office/drawing/2014/main" id="{BE40DD28-3EDC-9544-B430-6FBB21A16AAE}"/>
                  </a:ext>
                </a:extLst>
              </p:cNvPr>
              <p:cNvSpPr/>
              <p:nvPr/>
            </p:nvSpPr>
            <p:spPr bwMode="auto">
              <a:xfrm>
                <a:off x="1956311" y="2546529"/>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3" name="POI_ECAF">
                <a:extLst>
                  <a:ext uri="{FF2B5EF4-FFF2-40B4-BE49-F238E27FC236}">
                    <a16:creationId xmlns:a16="http://schemas.microsoft.com/office/drawing/2014/main" id="{C2844017-AFE2-434B-B9A3-DB49BB024B82}"/>
                  </a:ext>
                </a:extLst>
              </p:cNvPr>
              <p:cNvSpPr>
                <a:spLocks noChangeAspect="1" noEditPoints="1"/>
              </p:cNvSpPr>
              <p:nvPr/>
            </p:nvSpPr>
            <p:spPr bwMode="auto">
              <a:xfrm>
                <a:off x="2090436" y="2618351"/>
                <a:ext cx="207624" cy="332231"/>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38566EB2-00ED-44F8-914F-D0716E995BAF}"/>
                </a:ext>
              </a:extLst>
            </p:cNvPr>
            <p:cNvGrpSpPr/>
            <p:nvPr/>
          </p:nvGrpSpPr>
          <p:grpSpPr>
            <a:xfrm>
              <a:off x="2551578" y="4652274"/>
              <a:ext cx="475874" cy="475874"/>
              <a:chOff x="2551578" y="4652274"/>
              <a:chExt cx="475874" cy="475874"/>
            </a:xfrm>
          </p:grpSpPr>
          <p:sp>
            <p:nvSpPr>
              <p:cNvPr id="211" name="Oval 210">
                <a:extLst>
                  <a:ext uri="{FF2B5EF4-FFF2-40B4-BE49-F238E27FC236}">
                    <a16:creationId xmlns:a16="http://schemas.microsoft.com/office/drawing/2014/main" id="{115351BE-C27B-7546-94B9-DEA9B2D2E5E8}"/>
                  </a:ext>
                </a:extLst>
              </p:cNvPr>
              <p:cNvSpPr/>
              <p:nvPr/>
            </p:nvSpPr>
            <p:spPr bwMode="auto">
              <a:xfrm>
                <a:off x="2551578" y="4652274"/>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4" name="CellPhone_E8EA">
                <a:extLst>
                  <a:ext uri="{FF2B5EF4-FFF2-40B4-BE49-F238E27FC236}">
                    <a16:creationId xmlns:a16="http://schemas.microsoft.com/office/drawing/2014/main" id="{438035DA-C3E2-494E-B3C8-9A2B81272F4F}"/>
                  </a:ext>
                </a:extLst>
              </p:cNvPr>
              <p:cNvSpPr>
                <a:spLocks noChangeAspect="1" noEditPoints="1"/>
              </p:cNvSpPr>
              <p:nvPr/>
            </p:nvSpPr>
            <p:spPr bwMode="auto">
              <a:xfrm>
                <a:off x="2708195" y="4754700"/>
                <a:ext cx="162640" cy="27102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56" name="Graphic 6">
              <a:extLst>
                <a:ext uri="{FF2B5EF4-FFF2-40B4-BE49-F238E27FC236}">
                  <a16:creationId xmlns:a16="http://schemas.microsoft.com/office/drawing/2014/main" id="{CAD19AC4-6A8E-48CC-AA84-5FE0DC98A9B7}"/>
                </a:ext>
              </a:extLst>
            </p:cNvPr>
            <p:cNvSpPr/>
            <p:nvPr/>
          </p:nvSpPr>
          <p:spPr>
            <a:xfrm>
              <a:off x="1675400" y="3775533"/>
              <a:ext cx="286186" cy="210206"/>
            </a:xfrm>
            <a:custGeom>
              <a:avLst/>
              <a:gdLst>
                <a:gd name="connsiteX0" fmla="*/ 166949 w 500997"/>
                <a:gd name="connsiteY0" fmla="*/ 367987 h 367986"/>
                <a:gd name="connsiteX1" fmla="*/ 0 w 500997"/>
                <a:gd name="connsiteY1" fmla="*/ 367987 h 367986"/>
                <a:gd name="connsiteX2" fmla="*/ 0 w 500997"/>
                <a:gd name="connsiteY2" fmla="*/ 100443 h 367986"/>
                <a:gd name="connsiteX3" fmla="*/ 166949 w 500997"/>
                <a:gd name="connsiteY3" fmla="*/ 100443 h 367986"/>
                <a:gd name="connsiteX4" fmla="*/ 166949 w 500997"/>
                <a:gd name="connsiteY4" fmla="*/ 367987 h 367986"/>
                <a:gd name="connsiteX5" fmla="*/ 166949 w 500997"/>
                <a:gd name="connsiteY5" fmla="*/ 367987 h 367986"/>
                <a:gd name="connsiteX6" fmla="*/ 166949 w 500997"/>
                <a:gd name="connsiteY6" fmla="*/ 367987 h 367986"/>
                <a:gd name="connsiteX7" fmla="*/ 50069 w 500997"/>
                <a:gd name="connsiteY7" fmla="*/ 301025 h 367986"/>
                <a:gd name="connsiteX8" fmla="*/ 116879 w 500997"/>
                <a:gd name="connsiteY8" fmla="*/ 301025 h 367986"/>
                <a:gd name="connsiteX9" fmla="*/ 250347 w 500997"/>
                <a:gd name="connsiteY9" fmla="*/ 234215 h 367986"/>
                <a:gd name="connsiteX10" fmla="*/ 317157 w 500997"/>
                <a:gd name="connsiteY10" fmla="*/ 234215 h 367986"/>
                <a:gd name="connsiteX11" fmla="*/ 166949 w 500997"/>
                <a:gd name="connsiteY11" fmla="*/ 301025 h 367986"/>
                <a:gd name="connsiteX12" fmla="*/ 484257 w 500997"/>
                <a:gd name="connsiteY12" fmla="*/ 301025 h 367986"/>
                <a:gd name="connsiteX13" fmla="*/ 500998 w 500997"/>
                <a:gd name="connsiteY13" fmla="*/ 284284 h 367986"/>
                <a:gd name="connsiteX14" fmla="*/ 500998 w 500997"/>
                <a:gd name="connsiteY14" fmla="*/ 16741 h 367986"/>
                <a:gd name="connsiteX15" fmla="*/ 484257 w 500997"/>
                <a:gd name="connsiteY15" fmla="*/ 0 h 367986"/>
                <a:gd name="connsiteX16" fmla="*/ 83398 w 500997"/>
                <a:gd name="connsiteY16" fmla="*/ 0 h 367986"/>
                <a:gd name="connsiteX17" fmla="*/ 66658 w 500997"/>
                <a:gd name="connsiteY17" fmla="*/ 16741 h 367986"/>
                <a:gd name="connsiteX18" fmla="*/ 66658 w 500997"/>
                <a:gd name="connsiteY18" fmla="*/ 100291 h 367986"/>
                <a:gd name="connsiteX0" fmla="*/ 166949 w 500998"/>
                <a:gd name="connsiteY0" fmla="*/ 367987 h 367987"/>
                <a:gd name="connsiteX1" fmla="*/ 0 w 500998"/>
                <a:gd name="connsiteY1" fmla="*/ 367987 h 367987"/>
                <a:gd name="connsiteX2" fmla="*/ 0 w 500998"/>
                <a:gd name="connsiteY2" fmla="*/ 100443 h 367987"/>
                <a:gd name="connsiteX3" fmla="*/ 166949 w 500998"/>
                <a:gd name="connsiteY3" fmla="*/ 100443 h 367987"/>
                <a:gd name="connsiteX4" fmla="*/ 166949 w 500998"/>
                <a:gd name="connsiteY4" fmla="*/ 367987 h 367987"/>
                <a:gd name="connsiteX5" fmla="*/ 166949 w 500998"/>
                <a:gd name="connsiteY5" fmla="*/ 367987 h 367987"/>
                <a:gd name="connsiteX6" fmla="*/ 166949 w 500998"/>
                <a:gd name="connsiteY6" fmla="*/ 367987 h 367987"/>
                <a:gd name="connsiteX7" fmla="*/ 50069 w 500998"/>
                <a:gd name="connsiteY7" fmla="*/ 301025 h 367987"/>
                <a:gd name="connsiteX8" fmla="*/ 116879 w 500998"/>
                <a:gd name="connsiteY8" fmla="*/ 301025 h 367987"/>
                <a:gd name="connsiteX9" fmla="*/ 250347 w 500998"/>
                <a:gd name="connsiteY9" fmla="*/ 234215 h 367987"/>
                <a:gd name="connsiteX10" fmla="*/ 317157 w 500998"/>
                <a:gd name="connsiteY10" fmla="*/ 234215 h 367987"/>
                <a:gd name="connsiteX11" fmla="*/ 166949 w 500998"/>
                <a:gd name="connsiteY11" fmla="*/ 301025 h 367987"/>
                <a:gd name="connsiteX12" fmla="*/ 484257 w 500998"/>
                <a:gd name="connsiteY12" fmla="*/ 301025 h 367987"/>
                <a:gd name="connsiteX13" fmla="*/ 500998 w 500998"/>
                <a:gd name="connsiteY13" fmla="*/ 284284 h 367987"/>
                <a:gd name="connsiteX14" fmla="*/ 500998 w 500998"/>
                <a:gd name="connsiteY14" fmla="*/ 16741 h 367987"/>
                <a:gd name="connsiteX15" fmla="*/ 484257 w 500998"/>
                <a:gd name="connsiteY15" fmla="*/ 0 h 367987"/>
                <a:gd name="connsiteX16" fmla="*/ 83398 w 500998"/>
                <a:gd name="connsiteY16" fmla="*/ 0 h 367987"/>
                <a:gd name="connsiteX17" fmla="*/ 66658 w 500998"/>
                <a:gd name="connsiteY17" fmla="*/ 16741 h 367987"/>
                <a:gd name="connsiteX18" fmla="*/ 66658 w 500998"/>
                <a:gd name="connsiteY18" fmla="*/ 100291 h 36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998" h="367987">
                  <a:moveTo>
                    <a:pt x="166949" y="367987"/>
                  </a:moveTo>
                  <a:lnTo>
                    <a:pt x="0" y="367987"/>
                  </a:lnTo>
                  <a:lnTo>
                    <a:pt x="0" y="100443"/>
                  </a:lnTo>
                  <a:lnTo>
                    <a:pt x="166949" y="100443"/>
                  </a:lnTo>
                  <a:lnTo>
                    <a:pt x="166949" y="367987"/>
                  </a:lnTo>
                  <a:lnTo>
                    <a:pt x="166949" y="367987"/>
                  </a:lnTo>
                  <a:lnTo>
                    <a:pt x="166949" y="367987"/>
                  </a:lnTo>
                  <a:close/>
                  <a:moveTo>
                    <a:pt x="50069" y="301025"/>
                  </a:moveTo>
                  <a:lnTo>
                    <a:pt x="116879" y="301025"/>
                  </a:lnTo>
                  <a:moveTo>
                    <a:pt x="250347" y="234215"/>
                  </a:moveTo>
                  <a:lnTo>
                    <a:pt x="317157" y="234215"/>
                  </a:lnTo>
                  <a:moveTo>
                    <a:pt x="166949" y="301025"/>
                  </a:moveTo>
                  <a:lnTo>
                    <a:pt x="484257" y="301025"/>
                  </a:lnTo>
                  <a:cubicBezTo>
                    <a:pt x="493541" y="301025"/>
                    <a:pt x="500998" y="293568"/>
                    <a:pt x="500998" y="284284"/>
                  </a:cubicBezTo>
                  <a:lnTo>
                    <a:pt x="500998" y="16741"/>
                  </a:lnTo>
                  <a:cubicBezTo>
                    <a:pt x="500998" y="7457"/>
                    <a:pt x="493541" y="0"/>
                    <a:pt x="484257" y="0"/>
                  </a:cubicBezTo>
                  <a:lnTo>
                    <a:pt x="83398" y="0"/>
                  </a:lnTo>
                  <a:cubicBezTo>
                    <a:pt x="74115" y="0"/>
                    <a:pt x="66658" y="7457"/>
                    <a:pt x="66658" y="16741"/>
                  </a:cubicBezTo>
                  <a:lnTo>
                    <a:pt x="66658" y="10029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0A8F846B-7B16-453B-A0FB-BA4B4E833E92}"/>
                </a:ext>
              </a:extLst>
            </p:cNvPr>
            <p:cNvGrpSpPr/>
            <p:nvPr/>
          </p:nvGrpSpPr>
          <p:grpSpPr>
            <a:xfrm>
              <a:off x="3520287" y="3642699"/>
              <a:ext cx="475874" cy="475874"/>
              <a:chOff x="3520287" y="3642699"/>
              <a:chExt cx="475874" cy="475874"/>
            </a:xfrm>
          </p:grpSpPr>
          <p:sp>
            <p:nvSpPr>
              <p:cNvPr id="203" name="Oval 202">
                <a:extLst>
                  <a:ext uri="{FF2B5EF4-FFF2-40B4-BE49-F238E27FC236}">
                    <a16:creationId xmlns:a16="http://schemas.microsoft.com/office/drawing/2014/main" id="{B364B280-AFCB-2747-ADDD-0F34EE7F1B68}"/>
                  </a:ext>
                </a:extLst>
              </p:cNvPr>
              <p:cNvSpPr/>
              <p:nvPr/>
            </p:nvSpPr>
            <p:spPr bwMode="auto">
              <a:xfrm>
                <a:off x="3520287" y="3642699"/>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9" name="Commitments_EC4D">
                <a:extLst>
                  <a:ext uri="{FF2B5EF4-FFF2-40B4-BE49-F238E27FC236}">
                    <a16:creationId xmlns:a16="http://schemas.microsoft.com/office/drawing/2014/main" id="{147DADE1-11DE-49B3-B259-B3AA70F3A4DC}"/>
                  </a:ext>
                </a:extLst>
              </p:cNvPr>
              <p:cNvSpPr>
                <a:spLocks noChangeAspect="1" noEditPoints="1"/>
              </p:cNvSpPr>
              <p:nvPr/>
            </p:nvSpPr>
            <p:spPr bwMode="auto">
              <a:xfrm>
                <a:off x="3599489" y="3725077"/>
                <a:ext cx="317471" cy="29766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3" name="Group 12" descr="67% reduced time to deployment with Microsoft Sentinel1&#10;">
            <a:extLst>
              <a:ext uri="{FF2B5EF4-FFF2-40B4-BE49-F238E27FC236}">
                <a16:creationId xmlns:a16="http://schemas.microsoft.com/office/drawing/2014/main" id="{CE063298-D356-4A9F-857F-05F1F1A66184}"/>
              </a:ext>
            </a:extLst>
          </p:cNvPr>
          <p:cNvGrpSpPr/>
          <p:nvPr/>
        </p:nvGrpSpPr>
        <p:grpSpPr>
          <a:xfrm>
            <a:off x="5426698" y="936703"/>
            <a:ext cx="2873047" cy="1753820"/>
            <a:chOff x="6163003" y="566681"/>
            <a:chExt cx="1922520" cy="1753820"/>
          </a:xfrm>
        </p:grpSpPr>
        <p:sp>
          <p:nvSpPr>
            <p:cNvPr id="471" name="Rectangle 470">
              <a:extLst>
                <a:ext uri="{FF2B5EF4-FFF2-40B4-BE49-F238E27FC236}">
                  <a16:creationId xmlns:a16="http://schemas.microsoft.com/office/drawing/2014/main" id="{8E4D13FA-837D-0243-9114-A241055DCCE0}"/>
                </a:ext>
              </a:extLst>
            </p:cNvPr>
            <p:cNvSpPr/>
            <p:nvPr/>
          </p:nvSpPr>
          <p:spPr>
            <a:xfrm>
              <a:off x="6163003" y="566681"/>
              <a:ext cx="1922520"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dirty="0">
                  <a:solidFill>
                    <a:srgbClr val="505050"/>
                  </a:solidFill>
                  <a:latin typeface="Segoe UI Semibold"/>
                </a:rPr>
                <a:t>67%</a:t>
              </a:r>
              <a:endParaRPr kumimoji="0" lang="en-US" sz="6000" b="0" i="0" u="none" strike="noStrike" kern="1200" cap="none" spc="0" normalizeH="0" baseline="0" noProof="0" dirty="0">
                <a:ln>
                  <a:noFill/>
                </a:ln>
                <a:gradFill>
                  <a:gsLst>
                    <a:gs pos="100000">
                      <a:srgbClr val="0078D4"/>
                    </a:gs>
                    <a:gs pos="83000">
                      <a:srgbClr val="0078D4"/>
                    </a:gs>
                  </a:gsLst>
                  <a:lin ang="5400000" scaled="1"/>
                </a:gradFill>
                <a:effectLst/>
                <a:uLnTx/>
                <a:uFillTx/>
                <a:latin typeface="Segoe UI Semibold"/>
                <a:ea typeface="+mn-ea"/>
                <a:cs typeface="+mn-cs"/>
              </a:endParaRPr>
            </a:p>
          </p:txBody>
        </p:sp>
        <p:sp>
          <p:nvSpPr>
            <p:cNvPr id="473" name="Rectangle 472">
              <a:extLst>
                <a:ext uri="{FF2B5EF4-FFF2-40B4-BE49-F238E27FC236}">
                  <a16:creationId xmlns:a16="http://schemas.microsoft.com/office/drawing/2014/main" id="{6973335A-9648-9645-ABD1-BBDBB3BA50F7}"/>
                </a:ext>
              </a:extLst>
            </p:cNvPr>
            <p:cNvSpPr/>
            <p:nvPr/>
          </p:nvSpPr>
          <p:spPr>
            <a:xfrm>
              <a:off x="6258181" y="1489504"/>
              <a:ext cx="1701205" cy="830997"/>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reduced time to deployment with Microsoft Sentinel</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grpSp>
      <p:grpSp>
        <p:nvGrpSpPr>
          <p:cNvPr id="15" name="Group 14" descr="73% improved efficiency of network-related IT work with Azure Network Security2 ">
            <a:extLst>
              <a:ext uri="{FF2B5EF4-FFF2-40B4-BE49-F238E27FC236}">
                <a16:creationId xmlns:a16="http://schemas.microsoft.com/office/drawing/2014/main" id="{0AB883D0-9277-4E56-A016-D2C31C2649C6}"/>
              </a:ext>
            </a:extLst>
          </p:cNvPr>
          <p:cNvGrpSpPr/>
          <p:nvPr/>
        </p:nvGrpSpPr>
        <p:grpSpPr>
          <a:xfrm>
            <a:off x="8748194" y="813152"/>
            <a:ext cx="3139429" cy="1813375"/>
            <a:chOff x="6130135" y="4578680"/>
            <a:chExt cx="5628483" cy="1435596"/>
          </a:xfrm>
        </p:grpSpPr>
        <p:sp>
          <p:nvSpPr>
            <p:cNvPr id="181" name="Rectangle 180">
              <a:extLst>
                <a:ext uri="{FF2B5EF4-FFF2-40B4-BE49-F238E27FC236}">
                  <a16:creationId xmlns:a16="http://schemas.microsoft.com/office/drawing/2014/main" id="{945C7D47-940D-CB47-93C2-D0A8C2FBD545}"/>
                </a:ext>
              </a:extLst>
            </p:cNvPr>
            <p:cNvSpPr/>
            <p:nvPr/>
          </p:nvSpPr>
          <p:spPr>
            <a:xfrm>
              <a:off x="6130135" y="4578680"/>
              <a:ext cx="3545178"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a:solidFill>
                    <a:srgbClr val="505050"/>
                  </a:solidFill>
                  <a:latin typeface="Segoe UI Semibold"/>
                </a:rPr>
                <a:t>73%</a:t>
              </a:r>
            </a:p>
          </p:txBody>
        </p:sp>
        <p:sp>
          <p:nvSpPr>
            <p:cNvPr id="182" name="TextBox 181" descr="&#10;">
              <a:extLst>
                <a:ext uri="{FF2B5EF4-FFF2-40B4-BE49-F238E27FC236}">
                  <a16:creationId xmlns:a16="http://schemas.microsoft.com/office/drawing/2014/main" id="{8192E25A-F659-B548-A876-2698BEFE25AE}"/>
                </a:ext>
              </a:extLst>
            </p:cNvPr>
            <p:cNvSpPr txBox="1"/>
            <p:nvPr/>
          </p:nvSpPr>
          <p:spPr>
            <a:xfrm>
              <a:off x="6306079" y="5429498"/>
              <a:ext cx="5452539" cy="58477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improved efficiency of network-related IT work with Azure Network Security</a:t>
              </a:r>
              <a:r>
                <a:rPr lang="en-US" sz="1600" b="1" baseline="30000" dirty="0">
                  <a:solidFill>
                    <a:srgbClr val="000000"/>
                  </a:solidFill>
                  <a:latin typeface="Segoe UI" panose="020B0502040204020203" pitchFamily="34" charset="0"/>
                </a:rPr>
                <a:t>2</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 </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grpSp>
      <p:grpSp>
        <p:nvGrpSpPr>
          <p:cNvPr id="14" name="Group 13" descr="75% reduction in password requests after introducing Self-service Single-Sign-On (SSO) with Azure Active Directory3&#10;">
            <a:extLst>
              <a:ext uri="{FF2B5EF4-FFF2-40B4-BE49-F238E27FC236}">
                <a16:creationId xmlns:a16="http://schemas.microsoft.com/office/drawing/2014/main" id="{268755B8-6986-4368-B5A5-E7BBB89948B2}"/>
              </a:ext>
            </a:extLst>
          </p:cNvPr>
          <p:cNvGrpSpPr/>
          <p:nvPr/>
        </p:nvGrpSpPr>
        <p:grpSpPr>
          <a:xfrm>
            <a:off x="5386536" y="3247629"/>
            <a:ext cx="2703644" cy="2332097"/>
            <a:chOff x="6163003" y="2241341"/>
            <a:chExt cx="2098503" cy="2332097"/>
          </a:xfrm>
        </p:grpSpPr>
        <p:sp>
          <p:nvSpPr>
            <p:cNvPr id="180" name="Rectangle 179">
              <a:extLst>
                <a:ext uri="{FF2B5EF4-FFF2-40B4-BE49-F238E27FC236}">
                  <a16:creationId xmlns:a16="http://schemas.microsoft.com/office/drawing/2014/main" id="{08F47049-2811-49A8-932E-B7CCE01A56AE}"/>
                </a:ext>
              </a:extLst>
            </p:cNvPr>
            <p:cNvSpPr/>
            <p:nvPr/>
          </p:nvSpPr>
          <p:spPr>
            <a:xfrm>
              <a:off x="6163003" y="2241341"/>
              <a:ext cx="1922520"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6000" dirty="0">
                  <a:solidFill>
                    <a:srgbClr val="505050"/>
                  </a:solidFill>
                  <a:latin typeface="Segoe UI Semibold"/>
                </a:rPr>
                <a:t>75%</a:t>
              </a:r>
            </a:p>
          </p:txBody>
        </p:sp>
        <p:sp>
          <p:nvSpPr>
            <p:cNvPr id="9" name="Rectangle 8">
              <a:extLst>
                <a:ext uri="{FF2B5EF4-FFF2-40B4-BE49-F238E27FC236}">
                  <a16:creationId xmlns:a16="http://schemas.microsoft.com/office/drawing/2014/main" id="{808146A2-53F8-4A58-85D7-05828864F325}"/>
                </a:ext>
              </a:extLst>
            </p:cNvPr>
            <p:cNvSpPr/>
            <p:nvPr/>
          </p:nvSpPr>
          <p:spPr>
            <a:xfrm>
              <a:off x="6300090" y="3249999"/>
              <a:ext cx="1961416" cy="1323439"/>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gradFill>
                    <a:gsLst>
                      <a:gs pos="83000">
                        <a:srgbClr val="000000"/>
                      </a:gs>
                      <a:gs pos="100000">
                        <a:srgbClr val="000000"/>
                      </a:gs>
                    </a:gsLst>
                    <a:lin ang="5400000" scaled="1"/>
                  </a:gradFill>
                  <a:latin typeface="Segoe UI Semibold"/>
                </a:rPr>
                <a:t>reduction in password requests after introduc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gradFill>
                    <a:gsLst>
                      <a:gs pos="83000">
                        <a:srgbClr val="000000"/>
                      </a:gs>
                      <a:gs pos="100000">
                        <a:srgbClr val="000000"/>
                      </a:gs>
                    </a:gsLst>
                    <a:lin ang="5400000" scaled="1"/>
                  </a:gradFill>
                  <a:latin typeface="Segoe UI Semibold"/>
                </a:rPr>
                <a:t>Self-service Single-Sign-On (SSO) wit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gradFill>
                    <a:gsLst>
                      <a:gs pos="83000">
                        <a:srgbClr val="000000"/>
                      </a:gs>
                      <a:gs pos="100000">
                        <a:srgbClr val="000000"/>
                      </a:gs>
                    </a:gsLst>
                    <a:lin ang="5400000" scaled="1"/>
                  </a:gradFill>
                  <a:latin typeface="Segoe UI Semibold"/>
                </a:rPr>
                <a:t>Azure Active Directory</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3</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grpSp>
      <p:cxnSp>
        <p:nvCxnSpPr>
          <p:cNvPr id="174" name="Straight Connector 173">
            <a:extLst>
              <a:ext uri="{FF2B5EF4-FFF2-40B4-BE49-F238E27FC236}">
                <a16:creationId xmlns:a16="http://schemas.microsoft.com/office/drawing/2014/main" id="{67EA428A-86AE-42DB-8D4F-21D60D786053}"/>
              </a:ext>
              <a:ext uri="{C183D7F6-B498-43B3-948B-1728B52AA6E4}">
                <adec:decorative xmlns:adec="http://schemas.microsoft.com/office/drawing/2017/decorative" val="1"/>
              </a:ext>
            </a:extLst>
          </p:cNvPr>
          <p:cNvCxnSpPr>
            <a:cxnSpLocks/>
          </p:cNvCxnSpPr>
          <p:nvPr/>
        </p:nvCxnSpPr>
        <p:spPr>
          <a:xfrm>
            <a:off x="5386536" y="2931390"/>
            <a:ext cx="592650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descr="$479k in human capital freed up by redeploying IT time with Microsoft Endpoint Manager4">
            <a:extLst>
              <a:ext uri="{FF2B5EF4-FFF2-40B4-BE49-F238E27FC236}">
                <a16:creationId xmlns:a16="http://schemas.microsoft.com/office/drawing/2014/main" id="{D44EE45B-56AF-F51F-A194-78181894BADB}"/>
              </a:ext>
            </a:extLst>
          </p:cNvPr>
          <p:cNvGrpSpPr/>
          <p:nvPr/>
        </p:nvGrpSpPr>
        <p:grpSpPr>
          <a:xfrm>
            <a:off x="8748194" y="3253107"/>
            <a:ext cx="2956910" cy="2089329"/>
            <a:chOff x="6163003" y="2186346"/>
            <a:chExt cx="2562821" cy="2089329"/>
          </a:xfrm>
        </p:grpSpPr>
        <p:sp>
          <p:nvSpPr>
            <p:cNvPr id="19" name="Rectangle 18">
              <a:extLst>
                <a:ext uri="{FF2B5EF4-FFF2-40B4-BE49-F238E27FC236}">
                  <a16:creationId xmlns:a16="http://schemas.microsoft.com/office/drawing/2014/main" id="{971A913E-B150-95FA-98EE-5F4A7F97EA77}"/>
                </a:ext>
              </a:extLst>
            </p:cNvPr>
            <p:cNvSpPr/>
            <p:nvPr/>
          </p:nvSpPr>
          <p:spPr>
            <a:xfrm>
              <a:off x="6163003" y="2186346"/>
              <a:ext cx="2339209"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fontAlgn="auto">
                <a:lnSpc>
                  <a:spcPct val="100000"/>
                </a:lnSpc>
                <a:spcBef>
                  <a:spcPts val="0"/>
                </a:spcBef>
                <a:spcAft>
                  <a:spcPts val="0"/>
                </a:spcAft>
                <a:buClrTx/>
                <a:buSzTx/>
                <a:buFontTx/>
                <a:buNone/>
                <a:tabLst/>
                <a:defRPr/>
              </a:pPr>
              <a:r>
                <a:rPr lang="en-US" sz="6000" dirty="0">
                  <a:solidFill>
                    <a:srgbClr val="505050"/>
                  </a:solidFill>
                  <a:latin typeface="Segoe UI Semibold"/>
                </a:rPr>
                <a:t>$479k</a:t>
              </a:r>
            </a:p>
          </p:txBody>
        </p:sp>
        <p:sp>
          <p:nvSpPr>
            <p:cNvPr id="20" name="Rectangle 19">
              <a:extLst>
                <a:ext uri="{FF2B5EF4-FFF2-40B4-BE49-F238E27FC236}">
                  <a16:creationId xmlns:a16="http://schemas.microsoft.com/office/drawing/2014/main" id="{9A98EC56-0CD4-BF1C-2955-45C4D467D2CF}"/>
                </a:ext>
              </a:extLst>
            </p:cNvPr>
            <p:cNvSpPr/>
            <p:nvPr/>
          </p:nvSpPr>
          <p:spPr>
            <a:xfrm>
              <a:off x="6300090" y="3198457"/>
              <a:ext cx="2425734" cy="1077218"/>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gradFill>
                    <a:gsLst>
                      <a:gs pos="83000">
                        <a:srgbClr val="000000"/>
                      </a:gs>
                      <a:gs pos="100000">
                        <a:srgbClr val="000000"/>
                      </a:gs>
                    </a:gsLst>
                    <a:lin ang="5400000" scaled="1"/>
                  </a:gradFill>
                  <a:latin typeface="Segoe UI Semibold"/>
                </a:rPr>
                <a:t>in human capital freed up by redeploying IT time with Microsoft Endpoint Manager</a:t>
              </a:r>
              <a:r>
                <a:rPr lang="en-US" sz="1600" b="1" baseline="30000" dirty="0">
                  <a:solidFill>
                    <a:srgbClr val="000000"/>
                  </a:solidFill>
                  <a:latin typeface="Segoe UI" panose="020B0502040204020203" pitchFamily="34" charset="0"/>
                </a:rPr>
                <a:t>4</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grpSp>
      <p:sp>
        <p:nvSpPr>
          <p:cNvPr id="124" name="TextBox 1">
            <a:extLst>
              <a:ext uri="{FF2B5EF4-FFF2-40B4-BE49-F238E27FC236}">
                <a16:creationId xmlns:a16="http://schemas.microsoft.com/office/drawing/2014/main" id="{FBF0B978-B536-43A9-89C8-D1A585BBBA78}"/>
              </a:ext>
            </a:extLst>
          </p:cNvPr>
          <p:cNvSpPr txBox="1"/>
          <p:nvPr/>
        </p:nvSpPr>
        <p:spPr>
          <a:xfrm>
            <a:off x="4896430" y="6227621"/>
            <a:ext cx="7703527" cy="566309"/>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742">
              <a:spcBef>
                <a:spcPct val="20000"/>
              </a:spcBef>
              <a:buSzPct val="90000"/>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1</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 Forrester Consulting, “The Total Economic Impact</a:t>
            </a:r>
            <a:r>
              <a:rPr kumimoji="0" lang="en-US" sz="800" b="0" i="0" u="none" strike="noStrike" kern="1200" cap="none" spc="0" normalizeH="0" baseline="0" noProof="0">
                <a:ln>
                  <a:noFill/>
                </a:ln>
                <a:solidFill>
                  <a:srgbClr val="000000"/>
                </a:solidFill>
                <a:effectLst/>
                <a:uLnTx/>
                <a:uFillTx/>
                <a:latin typeface="Segoe UI"/>
                <a:ea typeface="+mn-ea"/>
                <a:cs typeface="+mn-cs"/>
              </a:rPr>
              <a:t>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 Of Microsoft Azure Sentinel,” November, 2020, commissioned by Microsoft </a:t>
            </a:r>
          </a:p>
          <a:p>
            <a:pPr marR="0" lvl="0" algn="l" defTabSz="932742" rtl="0" eaLnBrk="1" fontAlgn="auto" latinLnBrk="0" hangingPunct="1">
              <a:lnSpc>
                <a:spcPct val="100000"/>
              </a:lnSpc>
              <a:spcBef>
                <a:spcPct val="20000"/>
              </a:spcBef>
              <a:spcAft>
                <a:spcPts val="0"/>
              </a:spcAft>
              <a:buClrTx/>
              <a:buSzPct val="90000"/>
              <a:tabLst/>
              <a:defRPr/>
            </a:pPr>
            <a:r>
              <a:rPr lang="en-US" sz="900" baseline="30000">
                <a:solidFill>
                  <a:srgbClr val="525252"/>
                </a:solidFill>
                <a:latin typeface="Segoe UI" panose="020B0502040204020203" pitchFamily="34" charset="0"/>
              </a:rPr>
              <a:t>2</a:t>
            </a:r>
            <a:r>
              <a:rPr kumimoji="0" lang="en-US" sz="9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Forrester Consulting, “The Total Economic Impact</a:t>
            </a:r>
            <a:r>
              <a:rPr kumimoji="0" lang="en-US" sz="800" b="0" i="0" u="none" strike="noStrike" kern="1200" cap="none" spc="0" normalizeH="0" baseline="0" noProof="0">
                <a:ln>
                  <a:noFill/>
                </a:ln>
                <a:solidFill>
                  <a:srgbClr val="000000"/>
                </a:solidFill>
                <a:effectLst/>
                <a:uLnTx/>
                <a:uFillTx/>
                <a:latin typeface="Segoe UI"/>
                <a:ea typeface="+mn-ea"/>
                <a:cs typeface="+mn-cs"/>
              </a:rPr>
              <a:t>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 Of Microsoft Azure Network Security” May, 2021, commissioned by Microsoft</a:t>
            </a:r>
          </a:p>
          <a:p>
            <a:pPr defTabSz="932742">
              <a:spcBef>
                <a:spcPct val="20000"/>
              </a:spcBef>
              <a:buSzPct val="90000"/>
              <a:defRPr/>
            </a:pPr>
            <a:r>
              <a:rPr lang="en-US" sz="900" baseline="30000">
                <a:solidFill>
                  <a:srgbClr val="525252"/>
                </a:solidFill>
                <a:latin typeface="Segoe UI" panose="020B0502040204020203" pitchFamily="34" charset="0"/>
              </a:rPr>
              <a:t>3</a:t>
            </a:r>
            <a:r>
              <a:rPr kumimoji="0" lang="en-US" sz="9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800" b="0" i="0" u="none" strike="noStrike" kern="1200" cap="none" spc="0" normalizeH="0" baseline="0" noProof="0">
                <a:ln>
                  <a:noFill/>
                </a:ln>
                <a:solidFill>
                  <a:srgbClr val="000000"/>
                </a:solidFill>
                <a:effectLst/>
                <a:uLnTx/>
                <a:uFillTx/>
                <a:latin typeface="Segoe UI"/>
                <a:ea typeface="+mn-ea"/>
                <a:cs typeface="+mn-cs"/>
              </a:rPr>
              <a:t>The Total Economic Impact™ Of Zero Trust Solutions From Microsoft”,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December 2021, commissioned by Microsoft</a:t>
            </a:r>
            <a:endParaRPr kumimoji="0" lang="en-US" sz="9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a:p>
            <a:pPr defTabSz="932742">
              <a:spcBef>
                <a:spcPct val="20000"/>
              </a:spcBef>
              <a:buSzPct val="90000"/>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4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Forrester Consulting, “The Total Economic Impact</a:t>
            </a:r>
            <a:r>
              <a:rPr kumimoji="0" lang="en-US" sz="800" b="0" i="0" u="none" strike="noStrike" kern="1200" cap="none" spc="0" normalizeH="0" baseline="0" noProof="0">
                <a:ln>
                  <a:noFill/>
                </a:ln>
                <a:solidFill>
                  <a:srgbClr val="000000"/>
                </a:solidFill>
                <a:effectLst/>
                <a:uLnTx/>
                <a:uFillTx/>
                <a:latin typeface="Segoe UI"/>
                <a:ea typeface="+mn-ea"/>
                <a:cs typeface="+mn-cs"/>
              </a:rPr>
              <a:t> ™</a:t>
            </a:r>
            <a:r>
              <a:rPr kumimoji="0" lang="en-US" sz="800" b="0" i="0" u="none" strike="noStrike" kern="0" cap="none" spc="0" normalizeH="0" baseline="0" noProof="0">
                <a:ln>
                  <a:noFill/>
                </a:ln>
                <a:gradFill>
                  <a:gsLst>
                    <a:gs pos="83000">
                      <a:srgbClr val="282828"/>
                    </a:gs>
                    <a:gs pos="100000">
                      <a:srgbClr val="282828"/>
                    </a:gs>
                  </a:gsLst>
                  <a:lin ang="5400000" scaled="1"/>
                </a:gradFill>
                <a:effectLst/>
                <a:uLnTx/>
                <a:uFillTx/>
                <a:latin typeface="Segoe UI"/>
                <a:ea typeface="+mn-ea"/>
                <a:cs typeface="+mn-cs"/>
              </a:rPr>
              <a:t> Of Microsoft Endpoint Manager,” April 2021, commissioned by Microsoft </a:t>
            </a:r>
          </a:p>
        </p:txBody>
      </p:sp>
    </p:spTree>
    <p:extLst>
      <p:ext uri="{BB962C8B-B14F-4D97-AF65-F5344CB8AC3E}">
        <p14:creationId xmlns:p14="http://schemas.microsoft.com/office/powerpoint/2010/main" val="270303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BC2A-E0AE-6646-B262-332BA5F67435}"/>
              </a:ext>
            </a:extLst>
          </p:cNvPr>
          <p:cNvSpPr>
            <a:spLocks noGrp="1"/>
          </p:cNvSpPr>
          <p:nvPr>
            <p:ph type="title"/>
          </p:nvPr>
        </p:nvSpPr>
        <p:spPr>
          <a:xfrm>
            <a:off x="410912" y="217591"/>
            <a:ext cx="8957023" cy="984885"/>
          </a:xfrm>
        </p:spPr>
        <p:txBody>
          <a:bodyPr/>
          <a:lstStyle/>
          <a:p>
            <a:r>
              <a:rPr lang="en-US" sz="3200" dirty="0"/>
              <a:t>Additional cost savings through improved operational efficiency</a:t>
            </a:r>
          </a:p>
        </p:txBody>
      </p:sp>
      <p:sp>
        <p:nvSpPr>
          <p:cNvPr id="4" name="Rectangle 3">
            <a:extLst>
              <a:ext uri="{FF2B5EF4-FFF2-40B4-BE49-F238E27FC236}">
                <a16:creationId xmlns:a16="http://schemas.microsoft.com/office/drawing/2014/main" id="{C67D987B-C095-8888-9FD1-70DF83F5E9B4}"/>
              </a:ext>
              <a:ext uri="{C183D7F6-B498-43B3-948B-1728B52AA6E4}">
                <adec:decorative xmlns:adec="http://schemas.microsoft.com/office/drawing/2017/decorative" val="1"/>
              </a:ext>
            </a:extLst>
          </p:cNvPr>
          <p:cNvSpPr/>
          <p:nvPr/>
        </p:nvSpPr>
        <p:spPr bwMode="auto">
          <a:xfrm>
            <a:off x="9367935" y="0"/>
            <a:ext cx="283756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5" name="TextBox 4">
            <a:extLst>
              <a:ext uri="{FF2B5EF4-FFF2-40B4-BE49-F238E27FC236}">
                <a16:creationId xmlns:a16="http://schemas.microsoft.com/office/drawing/2014/main" id="{E9D59EA1-8434-08DD-A67C-2284D3422BDA}"/>
              </a:ext>
            </a:extLst>
          </p:cNvPr>
          <p:cNvSpPr txBox="1"/>
          <p:nvPr/>
        </p:nvSpPr>
        <p:spPr>
          <a:xfrm>
            <a:off x="303904" y="1374002"/>
            <a:ext cx="6761180"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lang="en-US" sz="1800" b="1" kern="1200" noProof="0" dirty="0">
                <a:gradFill>
                  <a:gsLst>
                    <a:gs pos="1000">
                      <a:schemeClr val="tx1"/>
                    </a:gs>
                    <a:gs pos="99000">
                      <a:schemeClr val="tx1">
                        <a:alpha val="83000"/>
                      </a:schemeClr>
                    </a:gs>
                  </a:gsLst>
                  <a:lin ang="16200000" scaled="1"/>
                </a:gradFill>
                <a:latin typeface="+mj-lt"/>
                <a:ea typeface="+mn-ea"/>
                <a:cs typeface="+mn-cs"/>
              </a:rPr>
              <a:t>IT Admin and Deployment Savings</a:t>
            </a:r>
          </a:p>
        </p:txBody>
      </p:sp>
      <p:graphicFrame>
        <p:nvGraphicFramePr>
          <p:cNvPr id="22" name="Table 9">
            <a:extLst>
              <a:ext uri="{FF2B5EF4-FFF2-40B4-BE49-F238E27FC236}">
                <a16:creationId xmlns:a16="http://schemas.microsoft.com/office/drawing/2014/main" id="{14392F83-E3E4-4A96-8B63-598768FC8145}"/>
              </a:ext>
            </a:extLst>
          </p:cNvPr>
          <p:cNvGraphicFramePr>
            <a:graphicFrameLocks noGrp="1"/>
          </p:cNvGraphicFramePr>
          <p:nvPr>
            <p:extLst>
              <p:ext uri="{D42A27DB-BD31-4B8C-83A1-F6EECF244321}">
                <p14:modId xmlns:p14="http://schemas.microsoft.com/office/powerpoint/2010/main" val="1171188635"/>
              </p:ext>
            </p:extLst>
          </p:nvPr>
        </p:nvGraphicFramePr>
        <p:xfrm>
          <a:off x="410912" y="1754884"/>
          <a:ext cx="8434508" cy="4008120"/>
        </p:xfrm>
        <a:graphic>
          <a:graphicData uri="http://schemas.openxmlformats.org/drawingml/2006/table">
            <a:tbl>
              <a:tblPr firstRow="1" bandRow="1">
                <a:tableStyleId>{5C22544A-7EE6-4342-B048-85BDC9FD1C3A}</a:tableStyleId>
              </a:tblPr>
              <a:tblGrid>
                <a:gridCol w="2612206">
                  <a:extLst>
                    <a:ext uri="{9D8B030D-6E8A-4147-A177-3AD203B41FA5}">
                      <a16:colId xmlns:a16="http://schemas.microsoft.com/office/drawing/2014/main" val="1806426583"/>
                    </a:ext>
                  </a:extLst>
                </a:gridCol>
                <a:gridCol w="5822302">
                  <a:extLst>
                    <a:ext uri="{9D8B030D-6E8A-4147-A177-3AD203B41FA5}">
                      <a16:colId xmlns:a16="http://schemas.microsoft.com/office/drawing/2014/main" val="777568896"/>
                    </a:ext>
                  </a:extLst>
                </a:gridCol>
              </a:tblGrid>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w="3175">
                            <a:noFill/>
                          </a:ln>
                          <a:solidFill>
                            <a:schemeClr val="tx1"/>
                          </a:solidFill>
                          <a:effectLst/>
                          <a:uLnTx/>
                          <a:uFillTx/>
                          <a:latin typeface="Segoe UI Semibold"/>
                          <a:ea typeface="+mn-ea"/>
                          <a:cs typeface="Segoe UI Semilight" panose="020B0402040204020203" pitchFamily="34" charset="0"/>
                        </a:rPr>
                        <a:t>Microsoft Endpoint Manager</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duced support needs saved the organization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1.5 million</a:t>
                      </a:r>
                      <a:endParaRPr kumimoji="0" lang="en-US" sz="11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mn-lt"/>
                        <a:ea typeface="+mn-ea"/>
                        <a:cs typeface="Calibri" panose="020F0502020204030204"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deployed IT time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frees up $479,000 in human capital</a:t>
                      </a: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to be applied </a:t>
                      </a:r>
                      <a:b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b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to under-resourced projects</a:t>
                      </a:r>
                      <a:r>
                        <a:rPr kumimoji="0" lang="en-US" sz="11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mn-lt"/>
                          <a:ea typeface="+mn-ea"/>
                          <a:cs typeface="Calibri" panose="020F0502020204030204" pitchFamily="34" charset="0"/>
                        </a:rPr>
                        <a:t>1</a:t>
                      </a:r>
                      <a:endPar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23244429"/>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Microsoft Security solutions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Reduced the effort required to provision and secure new infrastructure by</a:t>
                      </a:r>
                      <a:r>
                        <a:rPr lang="en-US" sz="1100" b="1" dirty="0"/>
                        <a:t> 80%</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2</a:t>
                      </a:r>
                      <a:endParaRPr kumimoji="0" lang="en-US" sz="1100" b="1"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73033025"/>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nn-NO" sz="1100" b="0" i="0" u="none" strike="noStrike" kern="1200" cap="none" spc="0" normalizeH="0" baseline="0">
                          <a:ln>
                            <a:noFill/>
                          </a:ln>
                          <a:solidFill>
                            <a:schemeClr val="tx1"/>
                          </a:solidFill>
                          <a:effectLst/>
                          <a:uLnTx/>
                          <a:uFillTx/>
                          <a:latin typeface="Segoe UI Semibold"/>
                          <a:ea typeface="+mn-ea"/>
                          <a:cs typeface="+mn-cs"/>
                        </a:rPr>
                        <a:t>Microsoft Sentinel, Microsoft 365 Defender,</a:t>
                      </a:r>
                      <a:r>
                        <a:rPr kumimoji="0" lang="nn-NO" sz="1100" b="0" i="0" u="none" strike="noStrike" kern="1200" cap="none" spc="0" normalizeH="0" baseline="0" noProof="0">
                          <a:ln>
                            <a:noFill/>
                          </a:ln>
                          <a:solidFill>
                            <a:schemeClr val="tx1"/>
                          </a:solidFill>
                          <a:effectLst/>
                          <a:uLnTx/>
                          <a:uFillTx/>
                          <a:latin typeface="Segoe UI Semibold"/>
                          <a:ea typeface="+mn-ea"/>
                          <a:cs typeface="+mn-cs"/>
                        </a:rPr>
                        <a:t> </a:t>
                      </a:r>
                      <a:r>
                        <a:rPr kumimoji="0" lang="nn-NO" sz="11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nd </a:t>
                      </a:r>
                      <a:r>
                        <a:rPr kumimoji="0" lang="en-US" sz="1100" b="0" i="0" u="none" strike="noStrike" kern="1200" cap="none" spc="0" normalizeH="0" baseline="0" noProof="0">
                          <a:ln>
                            <a:noFill/>
                          </a:ln>
                          <a:solidFill>
                            <a:schemeClr val="tx1"/>
                          </a:solidFill>
                          <a:effectLst/>
                          <a:uLnTx/>
                          <a:uFillTx/>
                          <a:latin typeface="Segoe UI Semibold"/>
                          <a:ea typeface="+mn-ea"/>
                          <a:cs typeface="+mn-cs"/>
                        </a:rPr>
                        <a:t>Microsoft Defender for Cloud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Reduced time to create a new workbook by </a:t>
                      </a:r>
                      <a:r>
                        <a:rPr lang="en-US" sz="1100" b="1" dirty="0"/>
                        <a:t>90%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Reduced time </a:t>
                      </a:r>
                      <a:r>
                        <a:rPr lang="en-US" sz="1100" dirty="0"/>
                        <a:t>to onboard new security professionals by </a:t>
                      </a:r>
                      <a:r>
                        <a:rPr lang="en-US" sz="1100" b="1" dirty="0"/>
                        <a:t>91%</a:t>
                      </a:r>
                      <a:endPar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Improved productivity of other employees by almost </a:t>
                      </a:r>
                      <a:r>
                        <a:rPr lang="en-US" sz="1100" b="1" dirty="0"/>
                        <a:t>68,000 hours </a:t>
                      </a:r>
                      <a:r>
                        <a:rPr lang="en-US" sz="1100" dirty="0"/>
                        <a:t>annually</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3</a:t>
                      </a:r>
                      <a:endParaRPr lang="en-US" sz="11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013934948"/>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Azure Active Directory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Self-service Single-Sign-On (SSO) reduced password reset requests by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75%, </a:t>
                      </a: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saving $2.9 million/year and users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10 minutes per week</a:t>
                      </a: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4</a:t>
                      </a:r>
                      <a:endPar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746725293"/>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Azure Network Security</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Improved efficiency of network-related IT work by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73%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Reduced the number of security and IAM-related help desk calls by </a:t>
                      </a:r>
                      <a:r>
                        <a:rPr lang="en-US" sz="1100" b="1" dirty="0"/>
                        <a:t>50%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Accelerated the process to set up end users on new devices by </a:t>
                      </a:r>
                      <a:r>
                        <a:rPr lang="en-US" sz="1100" b="1" dirty="0"/>
                        <a:t>75%</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5</a:t>
                      </a:r>
                      <a:endParaRPr kumimoji="0" lang="en-US" sz="1100" b="1"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1527887"/>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Microsoft Purview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Decreased the time spent on ongoing monitoring and checking indicators of potential suspicious activity by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96%</a:t>
                      </a:r>
                      <a:endPar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Improved process efficiency valued at </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3.1 million</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6</a:t>
                      </a:r>
                      <a:r>
                        <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a:t>
                      </a: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a:t>
                      </a:r>
                      <a:endParaRPr kumimoji="0" lang="en-US" sz="1100" b="1" i="0" u="none" strike="noStrike" kern="1200" cap="none" spc="0" normalizeH="0" baseline="0" noProof="0" dirty="0">
                        <a:ln w="3175">
                          <a:noFill/>
                        </a:ln>
                        <a:gradFill>
                          <a:gsLst>
                            <a:gs pos="1000">
                              <a:schemeClr val="accent1"/>
                            </a:gs>
                            <a:gs pos="99000">
                              <a:schemeClr val="accent1"/>
                            </a:gs>
                          </a:gsLst>
                          <a:lin ang="16200000" scaled="1"/>
                        </a:gradFill>
                        <a:effectLst/>
                        <a:uLnTx/>
                        <a:uFillTx/>
                        <a:latin typeface="Segoe UI Semibold"/>
                        <a:ea typeface="+mn-ea"/>
                        <a:cs typeface="Segoe UI Semilight" panose="020B04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26618136"/>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Microsoft Defender ATP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Reduced SecOps and IT efforts for efficiency gains of </a:t>
                      </a:r>
                      <a:r>
                        <a:rPr lang="en-US" sz="1100" b="1" kern="1200" dirty="0">
                          <a:solidFill>
                            <a:schemeClr val="dk1"/>
                          </a:solidFill>
                          <a:latin typeface="+mn-lt"/>
                          <a:ea typeface="+mn-ea"/>
                          <a:cs typeface="+mn-cs"/>
                        </a:rPr>
                        <a:t>$601,792  </a:t>
                      </a:r>
                      <a:endParaRPr lang="en-US" sz="1100" kern="1200" noProof="0" dirty="0">
                        <a:solidFill>
                          <a:schemeClr val="dk1"/>
                        </a:soli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covered business end user productivity valued at </a:t>
                      </a:r>
                      <a:r>
                        <a:rPr kumimoji="0" lang="en-US" sz="1100" b="1"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3,135,789</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7</a:t>
                      </a:r>
                      <a:endParaRPr kumimoji="0" lang="en-US" sz="1100" b="1"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54347974"/>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Microsoft 365 Defender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Increased the efficiency of security teams by </a:t>
                      </a:r>
                      <a:r>
                        <a:rPr lang="en-US" sz="1100" b="1" dirty="0"/>
                        <a:t>50%</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2</a:t>
                      </a:r>
                      <a:r>
                        <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242156142"/>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Semibold"/>
                          <a:ea typeface="+mn-ea"/>
                          <a:cs typeface="+mn-cs"/>
                        </a:rPr>
                        <a:t>Microsoft Cloud App Security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Reduced time and effort to remediate incidents by </a:t>
                      </a:r>
                      <a:r>
                        <a:rPr lang="en-US" sz="1100" b="1" dirty="0"/>
                        <a:t>80%</a:t>
                      </a:r>
                      <a:r>
                        <a:rPr kumimoji="0" lang="en-US" sz="11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8</a:t>
                      </a:r>
                      <a:endParaRPr kumimoji="0" lang="en-US" sz="11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725732355"/>
                  </a:ext>
                </a:extLst>
              </a:tr>
            </a:tbl>
          </a:graphicData>
        </a:graphic>
      </p:graphicFrame>
      <p:sp>
        <p:nvSpPr>
          <p:cNvPr id="14" name="Text Placeholder 2">
            <a:extLst>
              <a:ext uri="{FF2B5EF4-FFF2-40B4-BE49-F238E27FC236}">
                <a16:creationId xmlns:a16="http://schemas.microsoft.com/office/drawing/2014/main" id="{EDD51637-0514-D4C9-80C5-6386DE7F2C3F}"/>
              </a:ext>
            </a:extLst>
          </p:cNvPr>
          <p:cNvSpPr txBox="1">
            <a:spLocks/>
          </p:cNvSpPr>
          <p:nvPr/>
        </p:nvSpPr>
        <p:spPr>
          <a:xfrm>
            <a:off x="645299" y="6018601"/>
            <a:ext cx="8542834"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Forrester Consulting showed organizations saved substantially by moving to Microsoft Security  </a:t>
            </a:r>
          </a:p>
        </p:txBody>
      </p:sp>
      <p:sp>
        <p:nvSpPr>
          <p:cNvPr id="13" name="TextBox 12">
            <a:extLst>
              <a:ext uri="{FF2B5EF4-FFF2-40B4-BE49-F238E27FC236}">
                <a16:creationId xmlns:a16="http://schemas.microsoft.com/office/drawing/2014/main" id="{F3C530F6-F690-51DD-2DE5-7919773FF46E}"/>
              </a:ext>
            </a:extLst>
          </p:cNvPr>
          <p:cNvSpPr txBox="1"/>
          <p:nvPr/>
        </p:nvSpPr>
        <p:spPr>
          <a:xfrm>
            <a:off x="9559647" y="1638973"/>
            <a:ext cx="2454135" cy="3293209"/>
          </a:xfrm>
          <a:prstGeom prst="rect">
            <a:avLst/>
          </a:prstGeom>
          <a:noFill/>
        </p:spPr>
        <p:txBody>
          <a:bodyPr wrap="square">
            <a:spAutoFit/>
          </a:bodyPr>
          <a:lstStyle/>
          <a:p>
            <a:pPr marL="0" marR="0" lvl="0" indent="-85725"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a:t>
            </a:r>
            <a:r>
              <a:rPr kumimoji="0" lang="en-US" sz="1600" b="0" i="1" u="none" strike="noStrike" kern="1200" cap="none" spc="0" normalizeH="0" baseline="0" noProof="0">
                <a:ln>
                  <a:noFill/>
                </a:ln>
                <a:solidFill>
                  <a:srgbClr val="000000"/>
                </a:solidFill>
                <a:effectLst/>
                <a:uLnTx/>
                <a:uFillTx/>
                <a:latin typeface="Segoe UI"/>
                <a:ea typeface="+mn-ea"/>
                <a:cs typeface="+mn-cs"/>
              </a:rPr>
              <a:t>It’s about making </a:t>
            </a:r>
            <a:r>
              <a:rPr kumimoji="0" lang="en-US" sz="1600" b="1" i="1" u="none" strike="noStrike" kern="1200" cap="none" spc="0" normalizeH="0" baseline="0" noProof="0">
                <a:ln>
                  <a:noFill/>
                </a:ln>
                <a:solidFill>
                  <a:srgbClr val="000000"/>
                </a:solidFill>
                <a:effectLst/>
                <a:uLnTx/>
                <a:uFillTx/>
                <a:latin typeface="Segoe UI"/>
                <a:ea typeface="+mn-ea"/>
                <a:cs typeface="+mn-cs"/>
              </a:rPr>
              <a:t>the right </a:t>
            </a:r>
            <a:r>
              <a:rPr kumimoji="0" lang="en-US" sz="1600" b="0" i="1" u="none" strike="noStrike" kern="1200" cap="none" spc="0" normalizeH="0" baseline="0" noProof="0">
                <a:ln>
                  <a:noFill/>
                </a:ln>
                <a:solidFill>
                  <a:srgbClr val="000000"/>
                </a:solidFill>
                <a:effectLst/>
                <a:uLnTx/>
                <a:uFillTx/>
                <a:latin typeface="Segoe UI"/>
                <a:ea typeface="+mn-ea"/>
                <a:cs typeface="+mn-cs"/>
              </a:rPr>
              <a:t>security investments</a:t>
            </a:r>
            <a:r>
              <a:rPr kumimoji="0" lang="en-US" sz="1600" b="1" i="1" u="none" strike="noStrike" kern="1200" cap="none" spc="0" normalizeH="0" baseline="0" noProof="0">
                <a:ln>
                  <a:noFill/>
                </a:ln>
                <a:solidFill>
                  <a:srgbClr val="000000"/>
                </a:solidFill>
                <a:effectLst/>
                <a:uLnTx/>
                <a:uFillTx/>
                <a:latin typeface="Segoe UI"/>
                <a:ea typeface="+mn-ea"/>
                <a:cs typeface="+mn-cs"/>
              </a:rPr>
              <a:t>,</a:t>
            </a:r>
            <a:r>
              <a:rPr kumimoji="0" lang="en-US" sz="1600" b="0" i="1" u="none" strike="noStrike" kern="1200" cap="none" spc="0" normalizeH="0" baseline="0" noProof="0">
                <a:ln>
                  <a:noFill/>
                </a:ln>
                <a:solidFill>
                  <a:srgbClr val="000000"/>
                </a:solidFill>
                <a:effectLst/>
                <a:uLnTx/>
                <a:uFillTx/>
                <a:latin typeface="Segoe UI"/>
                <a:ea typeface="+mn-ea"/>
                <a:cs typeface="+mn-cs"/>
              </a:rPr>
              <a:t> not necessarily investing more. Making sure all of your systems work together so that threats are caught early and remediation can be swif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Bret Arsen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P and CI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icrosoft</a:t>
            </a:r>
          </a:p>
        </p:txBody>
      </p:sp>
      <p:pic>
        <p:nvPicPr>
          <p:cNvPr id="10" name="Graphic 9">
            <a:extLst>
              <a:ext uri="{FF2B5EF4-FFF2-40B4-BE49-F238E27FC236}">
                <a16:creationId xmlns:a16="http://schemas.microsoft.com/office/drawing/2014/main" id="{FE5406BF-E223-5773-0D7B-6AE5E641014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418792" y="6040907"/>
            <a:ext cx="149715" cy="165475"/>
          </a:xfrm>
          <a:prstGeom prst="rect">
            <a:avLst/>
          </a:prstGeom>
        </p:spPr>
      </p:pic>
      <p:pic>
        <p:nvPicPr>
          <p:cNvPr id="17" name="Picture 16">
            <a:extLst>
              <a:ext uri="{FF2B5EF4-FFF2-40B4-BE49-F238E27FC236}">
                <a16:creationId xmlns:a16="http://schemas.microsoft.com/office/drawing/2014/main" id="{A6720A64-1D27-9557-988D-E94C0E698619}"/>
              </a:ext>
              <a:ext uri="{C183D7F6-B498-43B3-948B-1728B52AA6E4}">
                <adec:decorative xmlns:adec="http://schemas.microsoft.com/office/drawing/2017/decorative" val="1"/>
              </a:ext>
            </a:extLst>
          </p:cNvPr>
          <p:cNvPicPr>
            <a:picLocks noChangeAspect="1"/>
          </p:cNvPicPr>
          <p:nvPr/>
        </p:nvPicPr>
        <p:blipFill rotWithShape="1">
          <a:blip r:embed="rId5"/>
          <a:srcRect r="21023" b="23518"/>
          <a:stretch/>
        </p:blipFill>
        <p:spPr>
          <a:xfrm flipV="1">
            <a:off x="10646229" y="-191064"/>
            <a:ext cx="1559268" cy="1640501"/>
          </a:xfrm>
          <a:prstGeom prst="rect">
            <a:avLst/>
          </a:prstGeom>
        </p:spPr>
      </p:pic>
      <p:sp>
        <p:nvSpPr>
          <p:cNvPr id="8" name="TextBox 7">
            <a:extLst>
              <a:ext uri="{FF2B5EF4-FFF2-40B4-BE49-F238E27FC236}">
                <a16:creationId xmlns:a16="http://schemas.microsoft.com/office/drawing/2014/main" id="{60F2637B-DA7E-46EF-8F96-2C08703B8DA0}"/>
              </a:ext>
            </a:extLst>
          </p:cNvPr>
          <p:cNvSpPr txBox="1"/>
          <p:nvPr/>
        </p:nvSpPr>
        <p:spPr>
          <a:xfrm>
            <a:off x="410912" y="6430261"/>
            <a:ext cx="5196155" cy="369332"/>
          </a:xfrm>
          <a:prstGeom prst="rect">
            <a:avLst/>
          </a:prstGeom>
          <a:noFill/>
        </p:spPr>
        <p:txBody>
          <a:bodyPr wrap="square" lIns="0" tIns="0" rIns="0" bIns="0" rtlCol="0" anchor="b" anchorCtr="0">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1</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 Endpoint Manager,” April 2021,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2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Zero Trust Solutions From Microsof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December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3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 </a:t>
            </a:r>
            <a:r>
              <a:rPr kumimoji="0" lang="en-US" sz="600" b="0" i="0" u="none" strike="noStrike" kern="1200" cap="none" spc="0" normalizeH="0" baseline="0" noProof="0" dirty="0">
                <a:ln>
                  <a:noFill/>
                </a:ln>
                <a:solidFill>
                  <a:srgbClr val="000000"/>
                </a:solidFill>
                <a:effectLst/>
                <a:uLnTx/>
                <a:uFillTx/>
                <a:latin typeface="Segoe UI"/>
                <a:ea typeface="+mn-ea"/>
                <a:cs typeface="+mn-cs"/>
              </a:rPr>
              <a:t>SIEM and XDR”, August 2022,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4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Of Microsoft Azure Active Directory,” August, 2020, commissioned by Microsoft </a:t>
            </a:r>
          </a:p>
        </p:txBody>
      </p:sp>
      <p:sp>
        <p:nvSpPr>
          <p:cNvPr id="6" name="TextBox 5">
            <a:extLst>
              <a:ext uri="{FF2B5EF4-FFF2-40B4-BE49-F238E27FC236}">
                <a16:creationId xmlns:a16="http://schemas.microsoft.com/office/drawing/2014/main" id="{EEFF17D6-8D1F-AC33-2C33-806E91E3245A}"/>
              </a:ext>
            </a:extLst>
          </p:cNvPr>
          <p:cNvSpPr txBox="1"/>
          <p:nvPr/>
        </p:nvSpPr>
        <p:spPr>
          <a:xfrm>
            <a:off x="5629818" y="6372836"/>
            <a:ext cx="4851299" cy="461665"/>
          </a:xfrm>
          <a:prstGeom prst="rect">
            <a:avLst/>
          </a:prstGeom>
          <a:noFill/>
        </p:spPr>
        <p:txBody>
          <a:bodyPr wrap="square">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5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Of Microsoft Azure Network Security” May,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6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Of Microsoft 365 E5 Compliance,” February,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7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Microsoft Defender ATP”,</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April 2019,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30000" noProof="0" dirty="0">
                <a:ln>
                  <a:noFill/>
                </a:ln>
                <a:gradFill>
                  <a:gsLst>
                    <a:gs pos="83000">
                      <a:srgbClr val="282828"/>
                    </a:gs>
                    <a:gs pos="100000">
                      <a:srgbClr val="282828"/>
                    </a:gs>
                  </a:gsLst>
                  <a:lin ang="5400000" scaled="1"/>
                </a:gradFill>
                <a:effectLst/>
                <a:uLnTx/>
                <a:uFillTx/>
                <a:latin typeface="Segoe UI"/>
                <a:ea typeface="+mn-ea"/>
                <a:cs typeface="+mn-cs"/>
              </a:rPr>
              <a:t>8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a:t>
            </a:r>
            <a:r>
              <a:rPr kumimoji="0" lang="en-US" sz="600" b="0" i="0" u="none" strike="noStrike" kern="1200" cap="none" spc="0" normalizeH="0" baseline="0" noProof="0" dirty="0">
                <a:ln>
                  <a:noFill/>
                </a:ln>
                <a:solidFill>
                  <a:srgbClr val="000000"/>
                </a:solidFill>
                <a:effectLst/>
                <a:uLnTx/>
                <a:uFillTx/>
                <a:latin typeface="Segoe UI"/>
                <a:ea typeface="+mn-ea"/>
                <a:cs typeface="+mn-cs"/>
              </a:rPr>
              <a:t> Cloud App Security”, May 2020,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p:txBody>
      </p:sp>
    </p:spTree>
    <p:extLst>
      <p:ext uri="{BB962C8B-B14F-4D97-AF65-F5344CB8AC3E}">
        <p14:creationId xmlns:p14="http://schemas.microsoft.com/office/powerpoint/2010/main" val="324465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B01B41-CCC2-4949-9C60-5EBB91F72280}"/>
              </a:ext>
            </a:extLst>
          </p:cNvPr>
          <p:cNvSpPr>
            <a:spLocks noGrp="1"/>
          </p:cNvSpPr>
          <p:nvPr>
            <p:ph type="title"/>
          </p:nvPr>
        </p:nvSpPr>
        <p:spPr>
          <a:xfrm>
            <a:off x="560553" y="2425541"/>
            <a:ext cx="4167887" cy="1107996"/>
          </a:xfrm>
        </p:spPr>
        <p:txBody>
          <a:bodyPr/>
          <a:lstStyle/>
          <a:p>
            <a:r>
              <a:rPr lang="en-US"/>
              <a:t>Cost Savings Calculations</a:t>
            </a:r>
          </a:p>
        </p:txBody>
      </p:sp>
    </p:spTree>
    <p:extLst>
      <p:ext uri="{BB962C8B-B14F-4D97-AF65-F5344CB8AC3E}">
        <p14:creationId xmlns:p14="http://schemas.microsoft.com/office/powerpoint/2010/main" val="382359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057E9C-3201-447E-8869-467B7DD36E39}"/>
              </a:ext>
            </a:extLst>
          </p:cNvPr>
          <p:cNvSpPr>
            <a:spLocks noGrp="1"/>
          </p:cNvSpPr>
          <p:nvPr>
            <p:ph type="title"/>
          </p:nvPr>
        </p:nvSpPr>
        <p:spPr/>
        <p:txBody>
          <a:bodyPr/>
          <a:lstStyle/>
          <a:p>
            <a:r>
              <a:rPr lang="en-US" dirty="0"/>
              <a:t>Annual potential cost savings </a:t>
            </a:r>
            <a:endParaRPr lang="en-US" kern="2000" spc="-10" dirty="0"/>
          </a:p>
        </p:txBody>
      </p:sp>
      <p:graphicFrame>
        <p:nvGraphicFramePr>
          <p:cNvPr id="13" name="Table 12">
            <a:extLst>
              <a:ext uri="{FF2B5EF4-FFF2-40B4-BE49-F238E27FC236}">
                <a16:creationId xmlns:a16="http://schemas.microsoft.com/office/drawing/2014/main" id="{6B6E9F77-A5A4-4C99-A753-445B0EDBD8BC}"/>
              </a:ext>
            </a:extLst>
          </p:cNvPr>
          <p:cNvGraphicFramePr>
            <a:graphicFrameLocks noGrp="1"/>
          </p:cNvGraphicFramePr>
          <p:nvPr>
            <p:extLst>
              <p:ext uri="{D42A27DB-BD31-4B8C-83A1-F6EECF244321}">
                <p14:modId xmlns:p14="http://schemas.microsoft.com/office/powerpoint/2010/main" val="3087283512"/>
              </p:ext>
            </p:extLst>
          </p:nvPr>
        </p:nvGraphicFramePr>
        <p:xfrm>
          <a:off x="589305" y="1295948"/>
          <a:ext cx="11017251" cy="4509944"/>
        </p:xfrm>
        <a:graphic>
          <a:graphicData uri="http://schemas.openxmlformats.org/drawingml/2006/table">
            <a:tbl>
              <a:tblPr firstRow="1" bandRow="1">
                <a:tableStyleId>{5C22544A-7EE6-4342-B048-85BDC9FD1C3A}</a:tableStyleId>
              </a:tblPr>
              <a:tblGrid>
                <a:gridCol w="5720055">
                  <a:extLst>
                    <a:ext uri="{9D8B030D-6E8A-4147-A177-3AD203B41FA5}">
                      <a16:colId xmlns:a16="http://schemas.microsoft.com/office/drawing/2014/main" val="1756187147"/>
                    </a:ext>
                  </a:extLst>
                </a:gridCol>
                <a:gridCol w="1400690">
                  <a:extLst>
                    <a:ext uri="{9D8B030D-6E8A-4147-A177-3AD203B41FA5}">
                      <a16:colId xmlns:a16="http://schemas.microsoft.com/office/drawing/2014/main" val="3876190760"/>
                    </a:ext>
                  </a:extLst>
                </a:gridCol>
                <a:gridCol w="1948253">
                  <a:extLst>
                    <a:ext uri="{9D8B030D-6E8A-4147-A177-3AD203B41FA5}">
                      <a16:colId xmlns:a16="http://schemas.microsoft.com/office/drawing/2014/main" val="841478477"/>
                    </a:ext>
                  </a:extLst>
                </a:gridCol>
                <a:gridCol w="1948253">
                  <a:extLst>
                    <a:ext uri="{9D8B030D-6E8A-4147-A177-3AD203B41FA5}">
                      <a16:colId xmlns:a16="http://schemas.microsoft.com/office/drawing/2014/main" val="1513044963"/>
                    </a:ext>
                  </a:extLst>
                </a:gridCol>
              </a:tblGrid>
              <a:tr h="757359">
                <a:tc>
                  <a:txBody>
                    <a:bodyPr/>
                    <a:lstStyle/>
                    <a:p>
                      <a:r>
                        <a:rPr lang="en-US" sz="2400" b="0" kern="1200" dirty="0">
                          <a:gradFill>
                            <a:gsLst>
                              <a:gs pos="1000">
                                <a:schemeClr val="tx1"/>
                              </a:gs>
                              <a:gs pos="99000">
                                <a:schemeClr val="tx1"/>
                              </a:gs>
                            </a:gsLst>
                            <a:lin ang="16200000" scaled="1"/>
                          </a:gradFill>
                          <a:latin typeface="+mj-lt"/>
                          <a:ea typeface="+mn-ea"/>
                          <a:cs typeface="+mn-cs"/>
                        </a:rPr>
                        <a:t>Microsoft 365 E5 Security, E5 Compliance and Microsoft Sentinel </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dirty="0">
                          <a:gradFill>
                            <a:gsLst>
                              <a:gs pos="1000">
                                <a:schemeClr val="accent1"/>
                              </a:gs>
                              <a:gs pos="99000">
                                <a:schemeClr val="accent1"/>
                              </a:gs>
                            </a:gsLst>
                            <a:lin ang="16200000" scaled="1"/>
                          </a:gradFill>
                          <a:latin typeface="+mj-lt"/>
                          <a:ea typeface="+mn-ea"/>
                          <a:cs typeface="+mn-cs"/>
                        </a:rPr>
                        <a:t>20,000</a:t>
                      </a:r>
                      <a:br>
                        <a:rPr lang="en-US" sz="2800" b="0" dirty="0">
                          <a:gradFill>
                            <a:gsLst>
                              <a:gs pos="1000">
                                <a:schemeClr val="tx1"/>
                              </a:gs>
                              <a:gs pos="99000">
                                <a:schemeClr val="tx1"/>
                              </a:gs>
                            </a:gsLst>
                            <a:lin ang="16200000" scaled="1"/>
                          </a:gradFill>
                          <a:latin typeface="+mj-lt"/>
                        </a:rPr>
                      </a:br>
                      <a:r>
                        <a:rPr lang="en-US" sz="1600" b="0" dirty="0">
                          <a:gradFill>
                            <a:gsLst>
                              <a:gs pos="1000">
                                <a:schemeClr val="tx1"/>
                              </a:gs>
                              <a:gs pos="99000">
                                <a:schemeClr val="tx1"/>
                              </a:gs>
                            </a:gsLst>
                            <a:lin ang="16200000" scaled="1"/>
                          </a:gradFill>
                          <a:latin typeface="+mj-lt"/>
                        </a:rPr>
                        <a:t>seats</a:t>
                      </a:r>
                      <a:endParaRPr lang="en-US" sz="2800" b="0" dirty="0">
                        <a:gradFill>
                          <a:gsLst>
                            <a:gs pos="1000">
                              <a:schemeClr val="tx1"/>
                            </a:gs>
                            <a:gs pos="99000">
                              <a:schemeClr val="tx1"/>
                            </a:gs>
                          </a:gsLst>
                          <a:lin ang="16200000" scaled="1"/>
                        </a:gradFill>
                        <a:latin typeface="+mj-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dirty="0">
                          <a:gradFill>
                            <a:gsLst>
                              <a:gs pos="1000">
                                <a:schemeClr val="accent1"/>
                              </a:gs>
                              <a:gs pos="99000">
                                <a:schemeClr val="accent1"/>
                              </a:gs>
                            </a:gsLst>
                            <a:lin ang="16200000" scaled="1"/>
                          </a:gradFill>
                          <a:latin typeface="+mj-lt"/>
                          <a:ea typeface="+mn-ea"/>
                          <a:cs typeface="+mn-cs"/>
                        </a:rPr>
                        <a:t>10,000</a:t>
                      </a:r>
                      <a:br>
                        <a:rPr lang="en-US" sz="2400" b="0" kern="1200" dirty="0">
                          <a:gradFill>
                            <a:gsLst>
                              <a:gs pos="1000">
                                <a:schemeClr val="tx1"/>
                              </a:gs>
                              <a:gs pos="99000">
                                <a:schemeClr val="tx1"/>
                              </a:gs>
                            </a:gsLst>
                            <a:lin ang="16200000" scaled="1"/>
                          </a:gradFill>
                          <a:latin typeface="+mj-lt"/>
                          <a:ea typeface="+mn-ea"/>
                          <a:cs typeface="+mn-cs"/>
                        </a:rPr>
                      </a:br>
                      <a:r>
                        <a:rPr lang="en-US" sz="1600" b="0" kern="1200" noProof="0" dirty="0">
                          <a:gradFill>
                            <a:gsLst>
                              <a:gs pos="1000">
                                <a:schemeClr val="tx1"/>
                              </a:gs>
                              <a:gs pos="99000">
                                <a:schemeClr val="tx1"/>
                              </a:gs>
                            </a:gsLst>
                            <a:lin ang="16200000" scaled="1"/>
                          </a:gradFill>
                          <a:latin typeface="+mj-lt"/>
                          <a:ea typeface="+mn-ea"/>
                          <a:cs typeface="+mn-cs"/>
                        </a:rPr>
                        <a:t>seats</a:t>
                      </a:r>
                      <a:endParaRPr lang="en-US" sz="1600" b="0" kern="1200" dirty="0">
                        <a:gradFill>
                          <a:gsLst>
                            <a:gs pos="1000">
                              <a:schemeClr val="tx1"/>
                            </a:gs>
                            <a:gs pos="99000">
                              <a:schemeClr val="tx1"/>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dirty="0">
                          <a:gradFill>
                            <a:gsLst>
                              <a:gs pos="1000">
                                <a:schemeClr val="accent1"/>
                              </a:gs>
                              <a:gs pos="99000">
                                <a:schemeClr val="accent1"/>
                              </a:gs>
                            </a:gsLst>
                            <a:lin ang="16200000" scaled="1"/>
                          </a:gradFill>
                          <a:latin typeface="+mj-lt"/>
                          <a:ea typeface="+mn-ea"/>
                          <a:cs typeface="+mn-cs"/>
                        </a:rPr>
                        <a:t>5,000</a:t>
                      </a:r>
                      <a:br>
                        <a:rPr lang="en-US" sz="2800" b="0" dirty="0">
                          <a:gradFill>
                            <a:gsLst>
                              <a:gs pos="1000">
                                <a:schemeClr val="tx1"/>
                              </a:gs>
                              <a:gs pos="99000">
                                <a:schemeClr val="tx1"/>
                              </a:gs>
                            </a:gsLst>
                            <a:lin ang="16200000" scaled="1"/>
                          </a:gradFill>
                          <a:latin typeface="+mj-lt"/>
                        </a:rPr>
                      </a:br>
                      <a:r>
                        <a:rPr lang="en-US" sz="1600" b="0" kern="1200" noProof="0" dirty="0">
                          <a:gradFill>
                            <a:gsLst>
                              <a:gs pos="1000">
                                <a:schemeClr val="tx1"/>
                              </a:gs>
                              <a:gs pos="99000">
                                <a:schemeClr val="tx1"/>
                              </a:gs>
                            </a:gsLst>
                            <a:lin ang="16200000" scaled="1"/>
                          </a:gradFill>
                          <a:latin typeface="+mj-lt"/>
                          <a:ea typeface="+mn-ea"/>
                          <a:cs typeface="+mn-cs"/>
                        </a:rPr>
                        <a:t>seats</a:t>
                      </a:r>
                      <a:endParaRPr lang="en-US" sz="1600" b="0" kern="1200" dirty="0">
                        <a:gradFill>
                          <a:gsLst>
                            <a:gs pos="1000">
                              <a:schemeClr val="tx1"/>
                            </a:gs>
                            <a:gs pos="99000">
                              <a:schemeClr val="tx1"/>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2911923"/>
                  </a:ext>
                </a:extLst>
              </a:tr>
              <a:tr h="509955">
                <a:tc>
                  <a:txBody>
                    <a:bodyPr/>
                    <a:lstStyle/>
                    <a:p>
                      <a:pPr marL="0" algn="l" defTabSz="932742" rtl="0" eaLnBrk="1" latinLnBrk="0" hangingPunct="1">
                        <a:spcAft>
                          <a:spcPts val="100"/>
                        </a:spcAft>
                      </a:pPr>
                      <a:r>
                        <a:rPr lang="en-US" sz="1600" b="1" kern="1200" dirty="0">
                          <a:gradFill>
                            <a:gsLst>
                              <a:gs pos="1000">
                                <a:schemeClr val="tx1"/>
                              </a:gs>
                              <a:gs pos="99000">
                                <a:schemeClr val="tx1"/>
                              </a:gs>
                            </a:gsLst>
                            <a:lin ang="16200000" scaled="1"/>
                          </a:gradFill>
                          <a:latin typeface="+mj-lt"/>
                          <a:ea typeface="+mn-ea"/>
                          <a:cs typeface="+mn-cs"/>
                        </a:rPr>
                        <a:t>Vendor License Cost Consolidation </a:t>
                      </a:r>
                    </a:p>
                    <a:p>
                      <a:pPr>
                        <a:spcAft>
                          <a:spcPts val="100"/>
                        </a:spcAft>
                      </a:pPr>
                      <a:r>
                        <a:rPr lang="en-US" sz="1400" kern="1200" dirty="0">
                          <a:gradFill>
                            <a:gsLst>
                              <a:gs pos="1000">
                                <a:schemeClr val="tx1"/>
                              </a:gs>
                              <a:gs pos="99000">
                                <a:schemeClr val="tx1"/>
                              </a:gs>
                            </a:gsLst>
                            <a:lin ang="16200000" scaled="1"/>
                          </a:gradFill>
                          <a:latin typeface="+mn-lt"/>
                          <a:ea typeface="+mn-ea"/>
                          <a:cs typeface="+mn-cs"/>
                        </a:rPr>
                        <a:t>Reduce license cost by </a:t>
                      </a:r>
                    </a:p>
                  </a:txBody>
                  <a:tcPr marL="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br>
                        <a:rPr lang="en-US" sz="1800" b="1" kern="1200" dirty="0">
                          <a:gradFill>
                            <a:gsLst>
                              <a:gs pos="1000">
                                <a:schemeClr val="tx1"/>
                              </a:gs>
                              <a:gs pos="99000">
                                <a:schemeClr val="tx1"/>
                              </a:gs>
                            </a:gsLst>
                            <a:lin ang="16200000" scaled="1"/>
                          </a:gradFill>
                          <a:latin typeface="+mj-lt"/>
                          <a:ea typeface="+mn-ea"/>
                          <a:cs typeface="+mn-cs"/>
                        </a:rPr>
                      </a:br>
                      <a:r>
                        <a:rPr lang="en-US" sz="1400" b="0" kern="1200" dirty="0">
                          <a:gradFill>
                            <a:gsLst>
                              <a:gs pos="1000">
                                <a:schemeClr val="tx1"/>
                              </a:gs>
                              <a:gs pos="99000">
                                <a:schemeClr val="tx1">
                                  <a:alpha val="83000"/>
                                </a:schemeClr>
                              </a:gs>
                            </a:gsLst>
                            <a:lin ang="16200000" scaled="1"/>
                          </a:gradFill>
                          <a:latin typeface="+mj-lt"/>
                          <a:ea typeface="+mn-ea"/>
                          <a:cs typeface="+mn-cs"/>
                        </a:rPr>
                        <a:t>$5,3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endParaRPr lang="en-US" sz="1400" b="0" kern="1200" dirty="0">
                        <a:gradFill>
                          <a:gsLst>
                            <a:gs pos="1000">
                              <a:schemeClr val="tx1"/>
                            </a:gs>
                            <a:gs pos="99000">
                              <a:schemeClr val="tx1">
                                <a:alpha val="83000"/>
                              </a:schemeClr>
                            </a:gs>
                          </a:gsLst>
                          <a:lin ang="16200000" scaled="1"/>
                        </a:gradFill>
                        <a:latin typeface="+mj-lt"/>
                        <a:ea typeface="+mn-ea"/>
                        <a:cs typeface="+mn-cs"/>
                      </a:endParaRPr>
                    </a:p>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2,6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endParaRPr lang="en-US" sz="1400" b="0" kern="1200" dirty="0">
                        <a:gradFill>
                          <a:gsLst>
                            <a:gs pos="1000">
                              <a:schemeClr val="tx1"/>
                            </a:gs>
                            <a:gs pos="99000">
                              <a:schemeClr val="tx1">
                                <a:alpha val="83000"/>
                              </a:schemeClr>
                            </a:gs>
                          </a:gsLst>
                          <a:lin ang="16200000" scaled="1"/>
                        </a:gradFill>
                        <a:latin typeface="+mj-lt"/>
                        <a:ea typeface="+mn-ea"/>
                        <a:cs typeface="+mn-cs"/>
                      </a:endParaRPr>
                    </a:p>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1,3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951697"/>
                  </a:ext>
                </a:extLst>
              </a:tr>
              <a:tr h="444738">
                <a:tc>
                  <a:txBody>
                    <a:bodyPr/>
                    <a:lstStyle/>
                    <a:p>
                      <a:r>
                        <a:rPr lang="en-US" sz="1600" b="1" kern="1200" dirty="0">
                          <a:gradFill>
                            <a:gsLst>
                              <a:gs pos="1000">
                                <a:schemeClr val="tx1"/>
                              </a:gs>
                              <a:gs pos="99000">
                                <a:schemeClr val="tx1"/>
                              </a:gs>
                            </a:gsLst>
                            <a:lin ang="16200000" scaled="1"/>
                          </a:gradFill>
                          <a:latin typeface="+mj-lt"/>
                          <a:ea typeface="+mn-ea"/>
                          <a:cs typeface="+mn-cs"/>
                        </a:rPr>
                        <a:t>IT Administration &amp; Deployment Savings</a:t>
                      </a:r>
                    </a:p>
                    <a:p>
                      <a:r>
                        <a:rPr lang="en-US" sz="1400" kern="1200" dirty="0">
                          <a:gradFill>
                            <a:gsLst>
                              <a:gs pos="1000">
                                <a:schemeClr val="tx1"/>
                              </a:gs>
                              <a:gs pos="99000">
                                <a:schemeClr val="tx1"/>
                              </a:gs>
                            </a:gsLst>
                            <a:lin ang="16200000" scaled="1"/>
                          </a:gradFill>
                          <a:latin typeface="+mn-lt"/>
                          <a:ea typeface="+mn-ea"/>
                          <a:cs typeface="+mn-cs"/>
                        </a:rPr>
                        <a:t>Reduced IT administration and deployments costs </a:t>
                      </a:r>
                    </a:p>
                  </a:txBody>
                  <a:tcPr marL="0"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kumimoji="0" lang="en-US" sz="14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Semibold"/>
                          <a:ea typeface="+mn-ea"/>
                          <a:cs typeface="+mn-cs"/>
                        </a:rPr>
                        <a:t>$2,5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1,3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63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8873215"/>
                  </a:ext>
                </a:extLst>
              </a:tr>
              <a:tr h="444738">
                <a:tc>
                  <a:txBody>
                    <a:bodyPr/>
                    <a:lstStyle/>
                    <a:p>
                      <a:r>
                        <a:rPr lang="en-US" sz="1600" b="1" kern="1200" dirty="0">
                          <a:gradFill>
                            <a:gsLst>
                              <a:gs pos="1000">
                                <a:schemeClr val="tx1"/>
                              </a:gs>
                              <a:gs pos="99000">
                                <a:schemeClr val="tx1"/>
                              </a:gs>
                            </a:gsLst>
                            <a:lin ang="16200000" scaled="1"/>
                          </a:gradFill>
                          <a:latin typeface="+mj-lt"/>
                          <a:ea typeface="+mn-ea"/>
                          <a:cs typeface="+mn-cs"/>
                        </a:rPr>
                        <a:t>Reduce total cost of risk </a:t>
                      </a:r>
                    </a:p>
                    <a:p>
                      <a:pPr marL="0" algn="l" defTabSz="914367" rtl="0" eaLnBrk="1" latinLnBrk="0" hangingPunct="1"/>
                      <a:r>
                        <a:rPr lang="en-US" sz="1400" kern="1200" dirty="0">
                          <a:gradFill>
                            <a:gsLst>
                              <a:gs pos="1000">
                                <a:schemeClr val="tx1"/>
                              </a:gs>
                              <a:gs pos="99000">
                                <a:schemeClr val="tx1"/>
                              </a:gs>
                            </a:gsLst>
                            <a:lin ang="16200000" scaled="1"/>
                          </a:gradFill>
                          <a:latin typeface="+mn-lt"/>
                          <a:ea typeface="+mn-ea"/>
                          <a:cs typeface="+mn-cs"/>
                        </a:rPr>
                        <a:t>Faster threat detection &amp; remediation, reduced data loss </a:t>
                      </a:r>
                    </a:p>
                  </a:txBody>
                  <a:tcPr marL="0"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kumimoji="0" lang="en-US" sz="14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Semibold"/>
                          <a:ea typeface="+mn-ea"/>
                          <a:cs typeface="+mn-cs"/>
                        </a:rPr>
                        <a:t>$1,2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786,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585,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6622241"/>
                  </a:ext>
                </a:extLst>
              </a:tr>
              <a:tr h="444738">
                <a:tc>
                  <a:txBody>
                    <a:bodyPr/>
                    <a:lstStyle/>
                    <a:p>
                      <a:r>
                        <a:rPr lang="en-US" sz="1600" b="1" kern="1200" dirty="0">
                          <a:gradFill>
                            <a:gsLst>
                              <a:gs pos="1000">
                                <a:schemeClr val="tx1"/>
                              </a:gs>
                              <a:gs pos="99000">
                                <a:schemeClr val="tx1"/>
                              </a:gs>
                            </a:gsLst>
                            <a:lin ang="16200000" scaled="1"/>
                          </a:gradFill>
                          <a:latin typeface="+mj-lt"/>
                          <a:ea typeface="+mn-ea"/>
                          <a:cs typeface="+mn-cs"/>
                        </a:rPr>
                        <a:t>Save on Automation and Process improvements </a:t>
                      </a:r>
                      <a:endParaRPr lang="en-US" sz="1400" kern="1200" dirty="0">
                        <a:gradFill>
                          <a:gsLst>
                            <a:gs pos="1000">
                              <a:schemeClr val="tx1"/>
                            </a:gs>
                            <a:gs pos="99000">
                              <a:schemeClr val="tx1"/>
                            </a:gs>
                          </a:gsLst>
                          <a:lin ang="16200000" scaled="1"/>
                        </a:gradFill>
                        <a:latin typeface="+mn-lt"/>
                        <a:ea typeface="+mn-ea"/>
                        <a:cs typeface="+mn-cs"/>
                      </a:endParaRPr>
                    </a:p>
                    <a:p>
                      <a:pPr marL="0" algn="l" defTabSz="914367" rtl="0" eaLnBrk="1" latinLnBrk="0" hangingPunct="1"/>
                      <a:r>
                        <a:rPr lang="en-US" sz="1400" kern="1200" dirty="0">
                          <a:gradFill>
                            <a:gsLst>
                              <a:gs pos="1000">
                                <a:schemeClr val="tx1"/>
                              </a:gs>
                              <a:gs pos="99000">
                                <a:schemeClr val="tx1"/>
                              </a:gs>
                            </a:gsLst>
                            <a:lin ang="16200000" scaled="1"/>
                          </a:gradFill>
                          <a:latin typeface="+mn-lt"/>
                          <a:ea typeface="+mn-ea"/>
                          <a:cs typeface="+mn-cs"/>
                        </a:rPr>
                        <a:t>Less time spend on analysis &amp; reporting, reduced application downtime </a:t>
                      </a:r>
                    </a:p>
                  </a:txBody>
                  <a:tcPr marL="0"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kumimoji="0" lang="en-US" sz="14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Semibold"/>
                          <a:ea typeface="+mn-ea"/>
                          <a:cs typeface="+mn-cs"/>
                        </a:rPr>
                        <a:t>$6,0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3,2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1,800,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9332715"/>
                  </a:ext>
                </a:extLst>
              </a:tr>
              <a:tr h="44473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b="1" kern="1200" dirty="0">
                          <a:gradFill>
                            <a:gsLst>
                              <a:gs pos="1000">
                                <a:schemeClr val="tx1"/>
                              </a:gs>
                              <a:gs pos="99000">
                                <a:schemeClr val="tx1"/>
                              </a:gs>
                            </a:gsLst>
                            <a:lin ang="16200000" scaled="1"/>
                          </a:gradFill>
                          <a:latin typeface="+mj-lt"/>
                          <a:ea typeface="+mn-ea"/>
                          <a:cs typeface="+mn-cs"/>
                        </a:rPr>
                        <a:t>Capex to </a:t>
                      </a:r>
                      <a:r>
                        <a:rPr lang="en-US" sz="1600" b="1" kern="1200" dirty="0" err="1">
                          <a:gradFill>
                            <a:gsLst>
                              <a:gs pos="1000">
                                <a:schemeClr val="tx1"/>
                              </a:gs>
                              <a:gs pos="99000">
                                <a:schemeClr val="tx1"/>
                              </a:gs>
                            </a:gsLst>
                            <a:lin ang="16200000" scaled="1"/>
                          </a:gradFill>
                          <a:latin typeface="+mj-lt"/>
                          <a:ea typeface="+mn-ea"/>
                          <a:cs typeface="+mn-cs"/>
                        </a:rPr>
                        <a:t>Opex</a:t>
                      </a:r>
                      <a:r>
                        <a:rPr lang="en-US" sz="1600" b="1" kern="1200" dirty="0">
                          <a:gradFill>
                            <a:gsLst>
                              <a:gs pos="1000">
                                <a:schemeClr val="tx1"/>
                              </a:gs>
                              <a:gs pos="99000">
                                <a:schemeClr val="tx1"/>
                              </a:gs>
                            </a:gsLst>
                            <a:lin ang="16200000" scaled="1"/>
                          </a:gradFill>
                          <a:latin typeface="+mj-lt"/>
                          <a:ea typeface="+mn-ea"/>
                          <a:cs typeface="+mn-cs"/>
                        </a:rPr>
                        <a:t> Cash Flow*</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gradFill>
                            <a:gsLst>
                              <a:gs pos="1000">
                                <a:schemeClr val="tx1"/>
                              </a:gs>
                              <a:gs pos="99000">
                                <a:schemeClr val="tx1"/>
                              </a:gs>
                            </a:gsLst>
                            <a:lin ang="16200000" scaled="1"/>
                          </a:gradFill>
                          <a:latin typeface="+mn-lt"/>
                          <a:ea typeface="+mn-ea"/>
                          <a:cs typeface="+mn-cs"/>
                        </a:rPr>
                        <a:t>Avoided costs of legacy SIEM solution​</a:t>
                      </a:r>
                    </a:p>
                  </a:txBody>
                  <a:tcPr marL="0"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kumimoji="0" lang="en-US" sz="14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Semibold"/>
                          <a:ea typeface="+mn-ea"/>
                          <a:cs typeface="+mn-cs"/>
                        </a:rPr>
                        <a:t>$416,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416,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100"/>
                        </a:spcAft>
                      </a:pPr>
                      <a:r>
                        <a:rPr lang="en-US" sz="1400" b="0" kern="1200" dirty="0">
                          <a:gradFill>
                            <a:gsLst>
                              <a:gs pos="1000">
                                <a:schemeClr val="tx1"/>
                              </a:gs>
                              <a:gs pos="99000">
                                <a:schemeClr val="tx1">
                                  <a:alpha val="83000"/>
                                </a:schemeClr>
                              </a:gs>
                            </a:gsLst>
                            <a:lin ang="16200000" scaled="1"/>
                          </a:gradFill>
                          <a:latin typeface="+mj-lt"/>
                          <a:ea typeface="+mn-ea"/>
                          <a:cs typeface="+mn-cs"/>
                        </a:rPr>
                        <a:t>$416,000</a:t>
                      </a:r>
                    </a:p>
                  </a:txBody>
                  <a:tcPr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7609588"/>
                  </a:ext>
                </a:extLst>
              </a:tr>
              <a:tr h="656378">
                <a:tc>
                  <a:txBody>
                    <a:bodyPr/>
                    <a:lstStyle/>
                    <a:p>
                      <a:pPr marL="0" algn="r" defTabSz="914367" rtl="0" eaLnBrk="1" latinLnBrk="0" hangingPunct="1"/>
                      <a:r>
                        <a:rPr lang="en-US" sz="1600" b="1" kern="1200" dirty="0">
                          <a:gradFill>
                            <a:gsLst>
                              <a:gs pos="1000">
                                <a:schemeClr val="tx1"/>
                              </a:gs>
                              <a:gs pos="99000">
                                <a:schemeClr val="tx1"/>
                              </a:gs>
                            </a:gsLst>
                            <a:lin ang="16200000" scaled="1"/>
                          </a:gradFill>
                          <a:latin typeface="+mj-lt"/>
                          <a:ea typeface="+mn-ea"/>
                          <a:cs typeface="+mn-cs"/>
                        </a:rPr>
                        <a:t>Potential cost savings per year</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dirty="0">
                          <a:gradFill>
                            <a:gsLst>
                              <a:gs pos="1000">
                                <a:schemeClr val="tx1"/>
                              </a:gs>
                              <a:gs pos="99000">
                                <a:schemeClr val="tx1"/>
                              </a:gs>
                            </a:gsLst>
                            <a:lin ang="16200000" scaled="1"/>
                          </a:gradFill>
                          <a:latin typeface="+mj-lt"/>
                          <a:ea typeface="+mn-ea"/>
                          <a:cs typeface="+mn-cs"/>
                        </a:rPr>
                        <a:t>Up to </a:t>
                      </a:r>
                      <a:br>
                        <a:rPr kumimoji="0" lang="en-US" sz="1000" b="0" i="0" u="none" strike="noStrike" kern="1200" cap="none" spc="-49" normalizeH="0" baseline="0" noProof="0" dirty="0">
                          <a:ln>
                            <a:noFill/>
                          </a:ln>
                          <a:gradFill>
                            <a:gsLst>
                              <a:gs pos="1000">
                                <a:schemeClr val="tx1"/>
                              </a:gs>
                              <a:gs pos="99000">
                                <a:schemeClr val="tx1"/>
                              </a:gs>
                            </a:gsLst>
                            <a:lin ang="16200000" scaled="1"/>
                          </a:gradFill>
                          <a:effectLst/>
                          <a:uLnTx/>
                          <a:uFillTx/>
                          <a:latin typeface="+mj-lt"/>
                          <a:ea typeface="+mn-ea"/>
                          <a:cs typeface="+mn-cs"/>
                        </a:rPr>
                      </a:br>
                      <a:r>
                        <a:rPr lang="en-US" sz="2400" b="0" kern="1200" noProof="0" dirty="0">
                          <a:gradFill>
                            <a:gsLst>
                              <a:gs pos="1000">
                                <a:schemeClr val="accent1"/>
                              </a:gs>
                              <a:gs pos="99000">
                                <a:schemeClr val="accent1"/>
                              </a:gs>
                            </a:gsLst>
                            <a:lin ang="16200000" scaled="1"/>
                          </a:gradFill>
                          <a:latin typeface="+mj-lt"/>
                          <a:ea typeface="+mn-ea"/>
                          <a:cs typeface="+mn-cs"/>
                        </a:rPr>
                        <a:t>$15.4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dirty="0">
                          <a:gradFill>
                            <a:gsLst>
                              <a:gs pos="1000">
                                <a:schemeClr val="tx1"/>
                              </a:gs>
                              <a:gs pos="99000">
                                <a:schemeClr val="tx1"/>
                              </a:gs>
                            </a:gsLst>
                            <a:lin ang="16200000" scaled="1"/>
                          </a:gradFill>
                          <a:latin typeface="+mj-lt"/>
                          <a:ea typeface="+mn-ea"/>
                          <a:cs typeface="+mn-cs"/>
                        </a:rPr>
                        <a:t>Up to </a:t>
                      </a:r>
                      <a:br>
                        <a:rPr lang="en-US" sz="1600" b="0" kern="1200" noProof="0" dirty="0">
                          <a:gradFill>
                            <a:gsLst>
                              <a:gs pos="1000">
                                <a:schemeClr val="tx1"/>
                              </a:gs>
                              <a:gs pos="99000">
                                <a:schemeClr val="tx1"/>
                              </a:gs>
                            </a:gsLst>
                            <a:lin ang="16200000" scaled="1"/>
                          </a:gradFill>
                          <a:latin typeface="+mj-lt"/>
                          <a:ea typeface="+mn-ea"/>
                          <a:cs typeface="+mn-cs"/>
                        </a:rPr>
                      </a:br>
                      <a:r>
                        <a:rPr lang="en-US" sz="2400" b="0" kern="1200" noProof="0" dirty="0">
                          <a:gradFill>
                            <a:gsLst>
                              <a:gs pos="1000">
                                <a:schemeClr val="accent1"/>
                              </a:gs>
                              <a:gs pos="99000">
                                <a:schemeClr val="accent1"/>
                              </a:gs>
                            </a:gsLst>
                            <a:lin ang="16200000" scaled="1"/>
                          </a:gradFill>
                          <a:latin typeface="+mj-lt"/>
                          <a:ea typeface="+mn-ea"/>
                          <a:cs typeface="+mn-cs"/>
                        </a:rPr>
                        <a:t>$8.3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dirty="0">
                          <a:gradFill>
                            <a:gsLst>
                              <a:gs pos="1000">
                                <a:schemeClr val="tx1"/>
                              </a:gs>
                              <a:gs pos="99000">
                                <a:schemeClr val="tx1"/>
                              </a:gs>
                            </a:gsLst>
                            <a:lin ang="16200000" scaled="1"/>
                          </a:gradFill>
                          <a:latin typeface="+mj-lt"/>
                          <a:ea typeface="+mn-ea"/>
                          <a:cs typeface="+mn-cs"/>
                        </a:rPr>
                        <a:t>Up to</a:t>
                      </a:r>
                      <a:br>
                        <a:rPr lang="en-US" sz="1600" b="0" kern="1200" noProof="0" dirty="0">
                          <a:gradFill>
                            <a:gsLst>
                              <a:gs pos="1000">
                                <a:schemeClr val="tx1"/>
                              </a:gs>
                              <a:gs pos="99000">
                                <a:schemeClr val="tx1"/>
                              </a:gs>
                            </a:gsLst>
                            <a:lin ang="16200000" scaled="1"/>
                          </a:gradFill>
                          <a:latin typeface="+mj-lt"/>
                          <a:ea typeface="+mn-ea"/>
                          <a:cs typeface="+mn-cs"/>
                        </a:rPr>
                      </a:br>
                      <a:r>
                        <a:rPr lang="en-US" sz="2400" b="0" kern="1200" noProof="0" dirty="0">
                          <a:gradFill>
                            <a:gsLst>
                              <a:gs pos="1000">
                                <a:schemeClr val="accent1"/>
                              </a:gs>
                              <a:gs pos="99000">
                                <a:schemeClr val="accent1"/>
                              </a:gs>
                            </a:gsLst>
                            <a:lin ang="16200000" scaled="1"/>
                          </a:gradFill>
                          <a:latin typeface="+mj-lt"/>
                          <a:ea typeface="+mn-ea"/>
                          <a:cs typeface="+mn-cs"/>
                        </a:rPr>
                        <a:t>$4.7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3300297"/>
                  </a:ext>
                </a:extLst>
              </a:tr>
            </a:tbl>
          </a:graphicData>
        </a:graphic>
      </p:graphicFrame>
      <p:sp>
        <p:nvSpPr>
          <p:cNvPr id="10" name="TextBox 1">
            <a:extLst>
              <a:ext uri="{FF2B5EF4-FFF2-40B4-BE49-F238E27FC236}">
                <a16:creationId xmlns:a16="http://schemas.microsoft.com/office/drawing/2014/main" id="{F5E11B70-EABF-4686-9BF1-5B05A7FE20EE}"/>
              </a:ext>
            </a:extLst>
          </p:cNvPr>
          <p:cNvSpPr txBox="1"/>
          <p:nvPr/>
        </p:nvSpPr>
        <p:spPr>
          <a:xfrm>
            <a:off x="588262" y="6032611"/>
            <a:ext cx="11142184" cy="507831"/>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a:rPr>
              <a:t>*Moving from upfront Capital Expenditures to Operational Expenditure for easier Cash F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Rounded estimates based on commissioned Forrester TEI studies and Microsoft Value calculator and illustrate first year costs for 20,000, 10,000 and 5,000 employee organizations with Microsoft Sentinel 500 GB daily log absorption. C</a:t>
            </a:r>
            <a:r>
              <a:rPr kumimoji="0" lang="en-US" altLang="ja-JP" sz="1100" b="0" i="0" u="none" strike="noStrike" kern="1200" cap="none" spc="0" normalizeH="0" baseline="0" noProof="0" dirty="0">
                <a:ln>
                  <a:noFill/>
                </a:ln>
                <a:solidFill>
                  <a:srgbClr val="000000"/>
                </a:solidFill>
                <a:effectLst/>
                <a:uLnTx/>
                <a:uFillTx/>
                <a:latin typeface="Segoe UI"/>
                <a:ea typeface="+mn-ea"/>
                <a:cs typeface="Segoe UI"/>
              </a:rPr>
              <a:t>ontact your Microsoft representative for estimates for your organization. </a:t>
            </a: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245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057E9C-3201-447E-8869-467B7DD36E39}"/>
              </a:ext>
            </a:extLst>
          </p:cNvPr>
          <p:cNvSpPr>
            <a:spLocks noGrp="1"/>
          </p:cNvSpPr>
          <p:nvPr>
            <p:ph type="title"/>
          </p:nvPr>
        </p:nvSpPr>
        <p:spPr>
          <a:xfrm>
            <a:off x="589304" y="488950"/>
            <a:ext cx="11017250" cy="554038"/>
          </a:xfrm>
        </p:spPr>
        <p:txBody>
          <a:bodyPr/>
          <a:lstStyle/>
          <a:p>
            <a:r>
              <a:rPr lang="en-US"/>
              <a:t>Estimated cost savings from consolidation ​</a:t>
            </a:r>
          </a:p>
        </p:txBody>
      </p:sp>
      <p:graphicFrame>
        <p:nvGraphicFramePr>
          <p:cNvPr id="23" name="Table 22">
            <a:extLst>
              <a:ext uri="{FF2B5EF4-FFF2-40B4-BE49-F238E27FC236}">
                <a16:creationId xmlns:a16="http://schemas.microsoft.com/office/drawing/2014/main" id="{22FD2EBE-4FCB-4D52-A6FA-27087F06E5C0}"/>
              </a:ext>
            </a:extLst>
          </p:cNvPr>
          <p:cNvGraphicFramePr>
            <a:graphicFrameLocks noGrp="1"/>
          </p:cNvGraphicFramePr>
          <p:nvPr>
            <p:extLst>
              <p:ext uri="{D42A27DB-BD31-4B8C-83A1-F6EECF244321}">
                <p14:modId xmlns:p14="http://schemas.microsoft.com/office/powerpoint/2010/main" val="880592873"/>
              </p:ext>
            </p:extLst>
          </p:nvPr>
        </p:nvGraphicFramePr>
        <p:xfrm>
          <a:off x="589305" y="1263859"/>
          <a:ext cx="11017251" cy="4084320"/>
        </p:xfrm>
        <a:graphic>
          <a:graphicData uri="http://schemas.openxmlformats.org/drawingml/2006/table">
            <a:tbl>
              <a:tblPr firstRow="1" bandRow="1">
                <a:tableStyleId>{5C22544A-7EE6-4342-B048-85BDC9FD1C3A}</a:tableStyleId>
              </a:tblPr>
              <a:tblGrid>
                <a:gridCol w="5720055">
                  <a:extLst>
                    <a:ext uri="{9D8B030D-6E8A-4147-A177-3AD203B41FA5}">
                      <a16:colId xmlns:a16="http://schemas.microsoft.com/office/drawing/2014/main" val="1756187147"/>
                    </a:ext>
                  </a:extLst>
                </a:gridCol>
                <a:gridCol w="1400690">
                  <a:extLst>
                    <a:ext uri="{9D8B030D-6E8A-4147-A177-3AD203B41FA5}">
                      <a16:colId xmlns:a16="http://schemas.microsoft.com/office/drawing/2014/main" val="3876190760"/>
                    </a:ext>
                  </a:extLst>
                </a:gridCol>
                <a:gridCol w="1948253">
                  <a:extLst>
                    <a:ext uri="{9D8B030D-6E8A-4147-A177-3AD203B41FA5}">
                      <a16:colId xmlns:a16="http://schemas.microsoft.com/office/drawing/2014/main" val="841478477"/>
                    </a:ext>
                  </a:extLst>
                </a:gridCol>
                <a:gridCol w="1948253">
                  <a:extLst>
                    <a:ext uri="{9D8B030D-6E8A-4147-A177-3AD203B41FA5}">
                      <a16:colId xmlns:a16="http://schemas.microsoft.com/office/drawing/2014/main" val="1513044963"/>
                    </a:ext>
                  </a:extLst>
                </a:gridCol>
              </a:tblGrid>
              <a:tr h="70280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400" b="0" kern="1200">
                          <a:solidFill>
                            <a:schemeClr val="tx1"/>
                          </a:solidFill>
                          <a:latin typeface="+mj-lt"/>
                          <a:ea typeface="+mn-ea"/>
                          <a:cs typeface="+mn-cs"/>
                        </a:rPr>
                        <a:t>Microsoft 365 E5 Security, E5 Compliance and Microsoft Sentinel </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a:gradFill>
                            <a:gsLst>
                              <a:gs pos="1000">
                                <a:schemeClr val="accent1"/>
                              </a:gs>
                              <a:gs pos="99000">
                                <a:schemeClr val="accent1"/>
                              </a:gs>
                            </a:gsLst>
                            <a:lin ang="16200000" scaled="1"/>
                          </a:gradFill>
                          <a:latin typeface="+mj-lt"/>
                          <a:ea typeface="+mn-ea"/>
                          <a:cs typeface="+mn-cs"/>
                        </a:rPr>
                        <a:t>20,000</a:t>
                      </a:r>
                      <a:br>
                        <a:rPr lang="en-US" sz="2800" b="0">
                          <a:gradFill>
                            <a:gsLst>
                              <a:gs pos="1000">
                                <a:schemeClr val="tx1"/>
                              </a:gs>
                              <a:gs pos="99000">
                                <a:schemeClr val="tx1">
                                  <a:alpha val="83000"/>
                                </a:schemeClr>
                              </a:gs>
                            </a:gsLst>
                            <a:lin ang="16200000" scaled="1"/>
                          </a:gradFill>
                          <a:latin typeface="+mj-lt"/>
                        </a:rPr>
                      </a:br>
                      <a:r>
                        <a:rPr lang="en-US" sz="1600" b="0">
                          <a:gradFill>
                            <a:gsLst>
                              <a:gs pos="1000">
                                <a:schemeClr val="tx1"/>
                              </a:gs>
                              <a:gs pos="99000">
                                <a:schemeClr val="tx1">
                                  <a:alpha val="83000"/>
                                </a:schemeClr>
                              </a:gs>
                            </a:gsLst>
                            <a:lin ang="16200000" scaled="1"/>
                          </a:gradFill>
                          <a:latin typeface="+mj-lt"/>
                        </a:rPr>
                        <a:t>seats</a:t>
                      </a:r>
                      <a:endParaRPr lang="en-US" sz="2800" b="0">
                        <a:gradFill>
                          <a:gsLst>
                            <a:gs pos="1000">
                              <a:schemeClr val="tx1"/>
                            </a:gs>
                            <a:gs pos="99000">
                              <a:schemeClr val="tx1">
                                <a:alpha val="83000"/>
                              </a:schemeClr>
                            </a:gs>
                          </a:gsLst>
                          <a:lin ang="16200000" scaled="1"/>
                        </a:gradFill>
                        <a:latin typeface="+mj-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a:gradFill>
                            <a:gsLst>
                              <a:gs pos="1000">
                                <a:schemeClr val="accent1"/>
                              </a:gs>
                              <a:gs pos="99000">
                                <a:schemeClr val="accent1"/>
                              </a:gs>
                            </a:gsLst>
                            <a:lin ang="16200000" scaled="1"/>
                          </a:gradFill>
                          <a:latin typeface="+mj-lt"/>
                          <a:ea typeface="+mn-ea"/>
                          <a:cs typeface="+mn-cs"/>
                        </a:rPr>
                        <a:t>10,000</a:t>
                      </a:r>
                      <a:br>
                        <a:rPr lang="en-US" sz="2800" b="0">
                          <a:gradFill>
                            <a:gsLst>
                              <a:gs pos="1000">
                                <a:schemeClr val="tx1"/>
                              </a:gs>
                              <a:gs pos="99000">
                                <a:schemeClr val="tx1">
                                  <a:alpha val="83000"/>
                                </a:schemeClr>
                              </a:gs>
                            </a:gsLst>
                            <a:lin ang="16200000" scaled="1"/>
                          </a:gradFill>
                          <a:latin typeface="+mj-lt"/>
                        </a:rPr>
                      </a:br>
                      <a:r>
                        <a:rPr lang="en-US" sz="1600" b="0" kern="1200" noProof="0">
                          <a:gradFill>
                            <a:gsLst>
                              <a:gs pos="1000">
                                <a:schemeClr val="tx1"/>
                              </a:gs>
                              <a:gs pos="99000">
                                <a:schemeClr val="tx1">
                                  <a:alpha val="83000"/>
                                </a:schemeClr>
                              </a:gs>
                            </a:gsLst>
                            <a:lin ang="16200000" scaled="1"/>
                          </a:gradFill>
                          <a:latin typeface="+mj-lt"/>
                          <a:ea typeface="+mn-ea"/>
                          <a:cs typeface="+mn-cs"/>
                        </a:rPr>
                        <a:t>seats</a:t>
                      </a:r>
                      <a:endParaRPr lang="en-US" sz="1600" b="0" kern="1200">
                        <a:gradFill>
                          <a:gsLst>
                            <a:gs pos="1000">
                              <a:schemeClr val="tx1"/>
                            </a:gs>
                            <a:gs pos="99000">
                              <a:schemeClr val="tx1">
                                <a:alpha val="83000"/>
                              </a:schemeClr>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a:gradFill>
                            <a:gsLst>
                              <a:gs pos="1000">
                                <a:schemeClr val="accent1"/>
                              </a:gs>
                              <a:gs pos="99000">
                                <a:schemeClr val="accent1"/>
                              </a:gs>
                            </a:gsLst>
                            <a:lin ang="16200000" scaled="1"/>
                          </a:gradFill>
                          <a:latin typeface="+mj-lt"/>
                        </a:rPr>
                        <a:t>5,000</a:t>
                      </a:r>
                      <a:br>
                        <a:rPr lang="en-US" sz="2800" b="0">
                          <a:gradFill>
                            <a:gsLst>
                              <a:gs pos="1000">
                                <a:schemeClr val="accent1"/>
                              </a:gs>
                              <a:gs pos="99000">
                                <a:schemeClr val="accent1"/>
                              </a:gs>
                            </a:gsLst>
                            <a:lin ang="16200000" scaled="1"/>
                          </a:gradFill>
                          <a:latin typeface="+mj-lt"/>
                        </a:rPr>
                      </a:br>
                      <a:r>
                        <a:rPr lang="en-US" sz="1600" b="0" kern="1200" noProof="0">
                          <a:gradFill>
                            <a:gsLst>
                              <a:gs pos="1000">
                                <a:schemeClr val="tx1"/>
                              </a:gs>
                              <a:gs pos="99000">
                                <a:schemeClr val="tx1">
                                  <a:alpha val="83000"/>
                                </a:schemeClr>
                              </a:gs>
                            </a:gsLst>
                            <a:lin ang="16200000" scaled="1"/>
                          </a:gradFill>
                          <a:latin typeface="+mj-lt"/>
                          <a:ea typeface="+mn-ea"/>
                          <a:cs typeface="+mn-cs"/>
                        </a:rPr>
                        <a:t>seats</a:t>
                      </a:r>
                      <a:endParaRPr lang="en-US" sz="1600" b="0" kern="1200">
                        <a:gradFill>
                          <a:gsLst>
                            <a:gs pos="1000">
                              <a:schemeClr val="tx1"/>
                            </a:gs>
                            <a:gs pos="99000">
                              <a:schemeClr val="tx1">
                                <a:alpha val="83000"/>
                              </a:schemeClr>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2911923"/>
                  </a:ext>
                </a:extLst>
              </a:tr>
              <a:tr h="542643">
                <a:tc>
                  <a:txBody>
                    <a:bodyPr/>
                    <a:lstStyle/>
                    <a:p>
                      <a:pPr>
                        <a:spcAft>
                          <a:spcPts val="300"/>
                        </a:spcAft>
                      </a:pPr>
                      <a:r>
                        <a:rPr lang="en-US" sz="1800" b="1">
                          <a:gradFill>
                            <a:gsLst>
                              <a:gs pos="1000">
                                <a:schemeClr val="tx1"/>
                              </a:gs>
                              <a:gs pos="99000">
                                <a:schemeClr val="tx1">
                                  <a:alpha val="83000"/>
                                </a:schemeClr>
                              </a:gs>
                            </a:gsLst>
                            <a:lin ang="16200000" scaled="1"/>
                          </a:gradFill>
                          <a:latin typeface="+mj-lt"/>
                        </a:rPr>
                        <a:t>Vendor License Cost Consolidation </a:t>
                      </a:r>
                    </a:p>
                    <a:p>
                      <a:pPr>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 license cost by</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br>
                        <a:rPr lang="en-US" sz="1400" b="0" kern="1200">
                          <a:gradFill>
                            <a:gsLst>
                              <a:gs pos="1000">
                                <a:schemeClr val="tx1"/>
                              </a:gs>
                              <a:gs pos="99000">
                                <a:schemeClr val="tx1">
                                  <a:alpha val="83000"/>
                                </a:schemeClr>
                              </a:gs>
                            </a:gsLst>
                            <a:lin ang="16200000" scaled="1"/>
                          </a:gradFill>
                          <a:latin typeface="+mj-lt"/>
                          <a:ea typeface="+mn-ea"/>
                          <a:cs typeface="+mn-cs"/>
                        </a:rPr>
                      </a:br>
                      <a:r>
                        <a:rPr lang="en-US" sz="1400" b="0" kern="1200">
                          <a:gradFill>
                            <a:gsLst>
                              <a:gs pos="1000">
                                <a:schemeClr val="tx1"/>
                              </a:gs>
                              <a:gs pos="99000">
                                <a:schemeClr val="tx1">
                                  <a:alpha val="83000"/>
                                </a:schemeClr>
                              </a:gs>
                            </a:gsLst>
                            <a:lin ang="16200000" scaled="1"/>
                          </a:gradFill>
                          <a:latin typeface="+mj-lt"/>
                          <a:ea typeface="+mn-ea"/>
                          <a:cs typeface="+mn-cs"/>
                        </a:rPr>
                        <a:t>$5,300,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400" b="0"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600,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400" b="0"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300,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951697"/>
                  </a:ext>
                </a:extLst>
              </a:tr>
              <a:tr h="542643">
                <a:tc>
                  <a:txBody>
                    <a:bodyPr/>
                    <a:lstStyle/>
                    <a:p>
                      <a:pPr marL="0" algn="l" defTabSz="932742" rtl="0" eaLnBrk="1" latinLnBrk="0" hangingPunct="1">
                        <a:spcAft>
                          <a:spcPts val="300"/>
                        </a:spcAft>
                      </a:pPr>
                      <a:r>
                        <a:rPr lang="en-US" sz="1800" b="1" kern="1200">
                          <a:gradFill>
                            <a:gsLst>
                              <a:gs pos="1000">
                                <a:schemeClr val="tx1"/>
                              </a:gs>
                              <a:gs pos="99000">
                                <a:schemeClr val="tx1">
                                  <a:alpha val="83000"/>
                                </a:schemeClr>
                              </a:gs>
                            </a:gsLst>
                            <a:lin ang="16200000" scaled="1"/>
                          </a:gradFill>
                          <a:latin typeface="+mj-lt"/>
                          <a:ea typeface="+mn-ea"/>
                          <a:cs typeface="+mn-cs"/>
                        </a:rPr>
                        <a:t>IT Administration &amp; Deployment Savings</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IT administration and deployments costs ​</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Administration costs reduced with Microsoft Compliance​</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800" b="1"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109,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409,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800" b="0"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054,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05,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400" b="0"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527,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02,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525413"/>
                  </a:ext>
                </a:extLst>
              </a:tr>
              <a:tr h="542643">
                <a:tc>
                  <a:txBody>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lang="en-US" sz="1800" b="1" kern="1200">
                          <a:gradFill>
                            <a:gsLst>
                              <a:gs pos="1000">
                                <a:schemeClr val="tx1"/>
                              </a:gs>
                              <a:gs pos="99000">
                                <a:schemeClr val="tx1">
                                  <a:alpha val="83000"/>
                                </a:schemeClr>
                              </a:gs>
                            </a:gsLst>
                            <a:lin ang="16200000" scaled="1"/>
                          </a:gradFill>
                          <a:latin typeface="+mj-lt"/>
                          <a:ea typeface="+mn-ea"/>
                          <a:cs typeface="+mn-cs"/>
                        </a:rPr>
                        <a:t>Capex to </a:t>
                      </a:r>
                      <a:r>
                        <a:rPr lang="en-US" sz="1800" b="1" kern="1200" err="1">
                          <a:gradFill>
                            <a:gsLst>
                              <a:gs pos="1000">
                                <a:schemeClr val="tx1"/>
                              </a:gs>
                              <a:gs pos="99000">
                                <a:schemeClr val="tx1">
                                  <a:alpha val="83000"/>
                                </a:schemeClr>
                              </a:gs>
                            </a:gsLst>
                            <a:lin ang="16200000" scaled="1"/>
                          </a:gradFill>
                          <a:latin typeface="+mj-lt"/>
                          <a:ea typeface="+mn-ea"/>
                          <a:cs typeface="+mn-cs"/>
                        </a:rPr>
                        <a:t>Opex</a:t>
                      </a:r>
                      <a:r>
                        <a:rPr lang="en-US" sz="1800" b="1" kern="1200">
                          <a:gradFill>
                            <a:gsLst>
                              <a:gs pos="1000">
                                <a:schemeClr val="tx1"/>
                              </a:gs>
                              <a:gs pos="99000">
                                <a:schemeClr val="tx1">
                                  <a:alpha val="83000"/>
                                </a:schemeClr>
                              </a:gs>
                            </a:gsLst>
                            <a:lin ang="16200000" scaled="1"/>
                          </a:gradFill>
                          <a:latin typeface="+mj-lt"/>
                          <a:ea typeface="+mn-ea"/>
                          <a:cs typeface="+mn-cs"/>
                        </a:rPr>
                        <a:t> Cash Flow*</a:t>
                      </a:r>
                    </a:p>
                    <a:p>
                      <a:pPr marL="0" marR="0" lvl="0" indent="0" algn="l" defTabSz="932742" rtl="0" eaLnBrk="1" fontAlgn="auto" latinLnBrk="0" hangingPunct="1">
                        <a:lnSpc>
                          <a:spcPct val="100000"/>
                        </a:lnSpc>
                        <a:spcBef>
                          <a:spcPts val="0"/>
                        </a:spcBef>
                        <a:spcAft>
                          <a:spcPts val="300"/>
                        </a:spcAft>
                        <a:buClrTx/>
                        <a:buSzTx/>
                        <a:buFontTx/>
                        <a:buNone/>
                        <a:tabLst/>
                        <a:defRPr/>
                      </a:pPr>
                      <a:r>
                        <a:rPr lang="en-US" sz="1400" kern="1200">
                          <a:gradFill>
                            <a:gsLst>
                              <a:gs pos="1000">
                                <a:schemeClr val="tx1"/>
                              </a:gs>
                              <a:gs pos="99000">
                                <a:schemeClr val="tx1">
                                  <a:alpha val="83000"/>
                                </a:schemeClr>
                              </a:gs>
                            </a:gsLst>
                            <a:lin ang="16200000" scaled="1"/>
                          </a:gradFill>
                          <a:latin typeface="+mn-lt"/>
                          <a:ea typeface="+mn-ea"/>
                          <a:cs typeface="+mn-cs"/>
                        </a:rPr>
                        <a:t>Avoided costs of legacy SIEM solution​</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br>
                        <a:rPr lang="en-US" sz="1400" b="0" kern="1200">
                          <a:gradFill>
                            <a:gsLst>
                              <a:gs pos="1000">
                                <a:schemeClr val="tx1"/>
                              </a:gs>
                              <a:gs pos="99000">
                                <a:schemeClr val="tx1">
                                  <a:alpha val="83000"/>
                                </a:schemeClr>
                              </a:gs>
                            </a:gsLst>
                            <a:lin ang="16200000" scaled="1"/>
                          </a:gradFill>
                          <a:latin typeface="+mj-lt"/>
                          <a:ea typeface="+mn-ea"/>
                          <a:cs typeface="+mn-cs"/>
                        </a:rPr>
                      </a:br>
                      <a:r>
                        <a:rPr lang="en-US" sz="1400" b="0" kern="1200">
                          <a:gradFill>
                            <a:gsLst>
                              <a:gs pos="1000">
                                <a:schemeClr val="tx1"/>
                              </a:gs>
                              <a:gs pos="99000">
                                <a:schemeClr val="tx1">
                                  <a:alpha val="83000"/>
                                </a:schemeClr>
                              </a:gs>
                            </a:gsLst>
                            <a:lin ang="16200000" scaled="1"/>
                          </a:gradFill>
                          <a:latin typeface="+mj-lt"/>
                          <a:ea typeface="+mn-ea"/>
                          <a:cs typeface="+mn-cs"/>
                        </a:rPr>
                        <a:t>$416,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2742" rtl="0" eaLnBrk="1" fontAlgn="ctr" latinLnBrk="0" hangingPunct="1">
                        <a:lnSpc>
                          <a:spcPct val="100000"/>
                        </a:lnSpc>
                        <a:spcBef>
                          <a:spcPts val="0"/>
                        </a:spcBef>
                        <a:spcAft>
                          <a:spcPts val="300"/>
                        </a:spcAft>
                        <a:buClrTx/>
                        <a:buSzTx/>
                        <a:buFontTx/>
                        <a:buNone/>
                        <a:tabLst/>
                        <a:defRPr/>
                      </a:pPr>
                      <a:br>
                        <a:rPr lang="en-US" sz="1400" b="0" kern="1200">
                          <a:gradFill>
                            <a:gsLst>
                              <a:gs pos="1000">
                                <a:schemeClr val="tx1"/>
                              </a:gs>
                              <a:gs pos="99000">
                                <a:schemeClr val="tx1">
                                  <a:alpha val="83000"/>
                                </a:schemeClr>
                              </a:gs>
                            </a:gsLst>
                            <a:lin ang="16200000" scaled="1"/>
                          </a:gradFill>
                          <a:latin typeface="+mj-lt"/>
                          <a:ea typeface="+mn-ea"/>
                          <a:cs typeface="+mn-cs"/>
                        </a:rPr>
                      </a:br>
                      <a:r>
                        <a:rPr lang="en-US" sz="1400" b="0" kern="1200">
                          <a:gradFill>
                            <a:gsLst>
                              <a:gs pos="1000">
                                <a:schemeClr val="tx1"/>
                              </a:gs>
                              <a:gs pos="99000">
                                <a:schemeClr val="tx1">
                                  <a:alpha val="83000"/>
                                </a:schemeClr>
                              </a:gs>
                            </a:gsLst>
                            <a:lin ang="16200000" scaled="1"/>
                          </a:gradFill>
                          <a:latin typeface="+mj-lt"/>
                          <a:ea typeface="+mn-ea"/>
                          <a:cs typeface="+mn-cs"/>
                        </a:rPr>
                        <a:t>$416,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2742" rtl="0" eaLnBrk="1" fontAlgn="ctr" latinLnBrk="0" hangingPunct="1">
                        <a:lnSpc>
                          <a:spcPct val="100000"/>
                        </a:lnSpc>
                        <a:spcBef>
                          <a:spcPts val="0"/>
                        </a:spcBef>
                        <a:spcAft>
                          <a:spcPts val="300"/>
                        </a:spcAft>
                        <a:buClrTx/>
                        <a:buSzTx/>
                        <a:buFontTx/>
                        <a:buNone/>
                        <a:tabLst/>
                        <a:defRPr/>
                      </a:pPr>
                      <a:br>
                        <a:rPr lang="en-US" sz="1400" b="0" kern="1200">
                          <a:gradFill>
                            <a:gsLst>
                              <a:gs pos="1000">
                                <a:schemeClr val="tx1"/>
                              </a:gs>
                              <a:gs pos="99000">
                                <a:schemeClr val="tx1">
                                  <a:alpha val="83000"/>
                                </a:schemeClr>
                              </a:gs>
                            </a:gsLst>
                            <a:lin ang="16200000" scaled="1"/>
                          </a:gradFill>
                          <a:latin typeface="+mj-lt"/>
                          <a:ea typeface="+mn-ea"/>
                          <a:cs typeface="+mn-cs"/>
                        </a:rPr>
                      </a:br>
                      <a:r>
                        <a:rPr lang="en-US" sz="1400" b="0" kern="1200">
                          <a:gradFill>
                            <a:gsLst>
                              <a:gs pos="1000">
                                <a:schemeClr val="tx1"/>
                              </a:gs>
                              <a:gs pos="99000">
                                <a:schemeClr val="tx1">
                                  <a:alpha val="83000"/>
                                </a:schemeClr>
                              </a:gs>
                            </a:gsLst>
                            <a:lin ang="16200000" scaled="1"/>
                          </a:gradFill>
                          <a:latin typeface="+mj-lt"/>
                          <a:ea typeface="+mn-ea"/>
                          <a:cs typeface="+mn-cs"/>
                        </a:rPr>
                        <a:t>$416,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114360"/>
                  </a:ext>
                </a:extLst>
              </a:tr>
              <a:tr h="588554">
                <a:tc>
                  <a:txBody>
                    <a:bodyPr/>
                    <a:lstStyle/>
                    <a:p>
                      <a:pPr marL="0" algn="r" defTabSz="914367" rtl="0" eaLnBrk="1" latinLnBrk="0" hangingPunct="1"/>
                      <a:r>
                        <a:rPr lang="en-US" sz="1600" b="1" kern="1200">
                          <a:gradFill>
                            <a:gsLst>
                              <a:gs pos="1000">
                                <a:schemeClr val="tx1"/>
                              </a:gs>
                              <a:gs pos="99000">
                                <a:schemeClr val="tx1">
                                  <a:alpha val="83000"/>
                                </a:schemeClr>
                              </a:gs>
                            </a:gsLst>
                            <a:lin ang="16200000" scaled="1"/>
                          </a:gradFill>
                          <a:latin typeface="+mj-lt"/>
                          <a:ea typeface="+mn-ea"/>
                          <a:cs typeface="+mn-cs"/>
                        </a:rPr>
                        <a:t>Potential cost savings per year</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dirty="0">
                          <a:gradFill>
                            <a:gsLst>
                              <a:gs pos="1000">
                                <a:schemeClr val="tx1"/>
                              </a:gs>
                              <a:gs pos="99000">
                                <a:schemeClr val="tx1">
                                  <a:alpha val="83000"/>
                                </a:schemeClr>
                              </a:gs>
                            </a:gsLst>
                            <a:lin ang="16200000" scaled="1"/>
                          </a:gradFill>
                          <a:latin typeface="+mj-lt"/>
                          <a:ea typeface="+mn-ea"/>
                          <a:cs typeface="+mn-cs"/>
                        </a:rPr>
                        <a:t>Up to </a:t>
                      </a:r>
                      <a:br>
                        <a:rPr kumimoji="0" lang="en-US" sz="1000" b="0" i="0" u="none" strike="noStrike" kern="1200" cap="none" spc="-49" normalizeH="0" baseline="0" noProof="0" dirty="0">
                          <a:ln>
                            <a:noFill/>
                          </a:ln>
                          <a:gradFill>
                            <a:gsLst>
                              <a:gs pos="1000">
                                <a:schemeClr val="tx1"/>
                              </a:gs>
                              <a:gs pos="99000">
                                <a:schemeClr val="tx1">
                                  <a:alpha val="83000"/>
                                </a:schemeClr>
                              </a:gs>
                            </a:gsLst>
                            <a:lin ang="16200000" scaled="1"/>
                          </a:gradFill>
                          <a:effectLst/>
                          <a:uLnTx/>
                          <a:uFillTx/>
                          <a:latin typeface="+mj-lt"/>
                          <a:ea typeface="+mn-ea"/>
                          <a:cs typeface="+mn-cs"/>
                        </a:rPr>
                      </a:br>
                      <a:r>
                        <a:rPr lang="en-US" sz="2400" b="0" kern="1200" noProof="0" dirty="0">
                          <a:gradFill>
                            <a:gsLst>
                              <a:gs pos="1000">
                                <a:schemeClr val="accent1"/>
                              </a:gs>
                              <a:gs pos="99000">
                                <a:schemeClr val="accent1"/>
                              </a:gs>
                            </a:gsLst>
                            <a:lin ang="16200000" scaled="1"/>
                          </a:gradFill>
                          <a:latin typeface="+mj-lt"/>
                          <a:ea typeface="+mn-ea"/>
                          <a:cs typeface="+mn-cs"/>
                        </a:rPr>
                        <a:t>$8.2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 </a:t>
                      </a:r>
                      <a:br>
                        <a:rPr lang="en-US" sz="1600" b="0" kern="1200" noProof="0">
                          <a:gradFill>
                            <a:gsLst>
                              <a:gs pos="1000">
                                <a:schemeClr val="tx1"/>
                              </a:gs>
                              <a:gs pos="99000">
                                <a:schemeClr val="tx1">
                                  <a:alpha val="83000"/>
                                </a:schemeClr>
                              </a:gs>
                            </a:gsLst>
                            <a:lin ang="16200000" scaled="1"/>
                          </a:gradFill>
                          <a:latin typeface="+mj-lt"/>
                          <a:ea typeface="+mn-ea"/>
                          <a:cs typeface="+mn-cs"/>
                        </a:rPr>
                      </a:br>
                      <a:r>
                        <a:rPr lang="en-US" sz="2400" b="0" kern="1200" noProof="0">
                          <a:gradFill>
                            <a:gsLst>
                              <a:gs pos="1000">
                                <a:schemeClr val="accent1"/>
                              </a:gs>
                              <a:gs pos="99000">
                                <a:schemeClr val="accent1"/>
                              </a:gs>
                            </a:gsLst>
                            <a:lin ang="16200000" scaled="1"/>
                          </a:gradFill>
                          <a:latin typeface="+mj-lt"/>
                          <a:ea typeface="+mn-ea"/>
                          <a:cs typeface="+mn-cs"/>
                        </a:rPr>
                        <a:t>$4.2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dirty="0">
                          <a:gradFill>
                            <a:gsLst>
                              <a:gs pos="1000">
                                <a:schemeClr val="tx1"/>
                              </a:gs>
                              <a:gs pos="99000">
                                <a:schemeClr val="tx1">
                                  <a:alpha val="83000"/>
                                </a:schemeClr>
                              </a:gs>
                            </a:gsLst>
                            <a:lin ang="16200000" scaled="1"/>
                          </a:gradFill>
                          <a:latin typeface="+mj-lt"/>
                          <a:ea typeface="+mn-ea"/>
                          <a:cs typeface="+mn-cs"/>
                        </a:rPr>
                        <a:t>Up to</a:t>
                      </a:r>
                      <a:br>
                        <a:rPr lang="en-US" sz="1600" b="0" kern="1200" noProof="0" dirty="0">
                          <a:gradFill>
                            <a:gsLst>
                              <a:gs pos="1000">
                                <a:schemeClr val="tx1"/>
                              </a:gs>
                              <a:gs pos="99000">
                                <a:schemeClr val="tx1">
                                  <a:alpha val="83000"/>
                                </a:schemeClr>
                              </a:gs>
                            </a:gsLst>
                            <a:lin ang="16200000" scaled="1"/>
                          </a:gradFill>
                          <a:latin typeface="+mj-lt"/>
                          <a:ea typeface="+mn-ea"/>
                          <a:cs typeface="+mn-cs"/>
                        </a:rPr>
                      </a:br>
                      <a:r>
                        <a:rPr lang="en-US" sz="2400" b="0" kern="1200" noProof="0" dirty="0">
                          <a:gradFill>
                            <a:gsLst>
                              <a:gs pos="1000">
                                <a:schemeClr val="accent1"/>
                              </a:gs>
                              <a:gs pos="99000">
                                <a:schemeClr val="accent1"/>
                              </a:gs>
                            </a:gsLst>
                            <a:lin ang="16200000" scaled="1"/>
                          </a:gradFill>
                          <a:latin typeface="+mj-lt"/>
                          <a:ea typeface="+mn-ea"/>
                          <a:cs typeface="+mn-cs"/>
                        </a:rPr>
                        <a:t>$2.3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3300297"/>
                  </a:ext>
                </a:extLst>
              </a:tr>
            </a:tbl>
          </a:graphicData>
        </a:graphic>
      </p:graphicFrame>
      <p:sp>
        <p:nvSpPr>
          <p:cNvPr id="8" name="TextBox 1">
            <a:extLst>
              <a:ext uri="{FF2B5EF4-FFF2-40B4-BE49-F238E27FC236}">
                <a16:creationId xmlns:a16="http://schemas.microsoft.com/office/drawing/2014/main" id="{60815401-60EE-41FA-9F42-6CB1EB1B6CBC}"/>
              </a:ext>
            </a:extLst>
          </p:cNvPr>
          <p:cNvSpPr txBox="1"/>
          <p:nvPr/>
        </p:nvSpPr>
        <p:spPr>
          <a:xfrm>
            <a:off x="588262" y="6071970"/>
            <a:ext cx="11142184" cy="541687"/>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oving from upfront Capital Expenditures to Operational Expenditure for easier Cash Flow</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ounded estimates based on commissioned Forrester TEI studies and Microsoft Value calculator and illustrate annual costs for a 20,000, 10,000 and 5,000 employee organizations with Azure Sentinel 500 GB daily log absorption. C</a:t>
            </a:r>
            <a:r>
              <a:rPr kumimoji="0" lang="en-US" altLang="ja-JP" sz="1100" b="0" i="0" u="none" strike="noStrike" kern="1200" cap="none" spc="0" normalizeH="0" baseline="0" noProof="0">
                <a:ln>
                  <a:noFill/>
                </a:ln>
                <a:solidFill>
                  <a:srgbClr val="000000"/>
                </a:solidFill>
                <a:effectLst/>
                <a:uLnTx/>
                <a:uFillTx/>
                <a:latin typeface="Segoe UI"/>
                <a:ea typeface="+mn-ea"/>
                <a:cs typeface="Segoe UI"/>
              </a:rPr>
              <a:t>ontact your Microsoft representative for estimates for your organization. </a:t>
            </a: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74627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057E9C-3201-447E-8869-467B7DD36E39}"/>
              </a:ext>
            </a:extLst>
          </p:cNvPr>
          <p:cNvSpPr>
            <a:spLocks noGrp="1"/>
          </p:cNvSpPr>
          <p:nvPr>
            <p:ph type="title"/>
          </p:nvPr>
        </p:nvSpPr>
        <p:spPr>
          <a:xfrm>
            <a:off x="588262" y="489284"/>
            <a:ext cx="11333661" cy="430887"/>
          </a:xfrm>
        </p:spPr>
        <p:txBody>
          <a:bodyPr/>
          <a:lstStyle/>
          <a:p>
            <a:r>
              <a:rPr lang="en-US" sz="2800"/>
              <a:t>Estimated cost savings from reducing risk through AI &amp; automation </a:t>
            </a:r>
            <a:endParaRPr lang="en-US" sz="2800" kern="2000" spc="-10"/>
          </a:p>
        </p:txBody>
      </p:sp>
      <p:graphicFrame>
        <p:nvGraphicFramePr>
          <p:cNvPr id="7" name="Table 6">
            <a:extLst>
              <a:ext uri="{FF2B5EF4-FFF2-40B4-BE49-F238E27FC236}">
                <a16:creationId xmlns:a16="http://schemas.microsoft.com/office/drawing/2014/main" id="{1358B6B4-3D4C-4404-A5BC-A915A436FC24}"/>
              </a:ext>
            </a:extLst>
          </p:cNvPr>
          <p:cNvGraphicFramePr>
            <a:graphicFrameLocks noGrp="1"/>
          </p:cNvGraphicFramePr>
          <p:nvPr>
            <p:extLst>
              <p:ext uri="{D42A27DB-BD31-4B8C-83A1-F6EECF244321}">
                <p14:modId xmlns:p14="http://schemas.microsoft.com/office/powerpoint/2010/main" val="856658899"/>
              </p:ext>
            </p:extLst>
          </p:nvPr>
        </p:nvGraphicFramePr>
        <p:xfrm>
          <a:off x="589305" y="1636540"/>
          <a:ext cx="11017251" cy="4632960"/>
        </p:xfrm>
        <a:graphic>
          <a:graphicData uri="http://schemas.openxmlformats.org/drawingml/2006/table">
            <a:tbl>
              <a:tblPr firstRow="1" bandRow="1">
                <a:tableStyleId>{5C22544A-7EE6-4342-B048-85BDC9FD1C3A}</a:tableStyleId>
              </a:tblPr>
              <a:tblGrid>
                <a:gridCol w="5720055">
                  <a:extLst>
                    <a:ext uri="{9D8B030D-6E8A-4147-A177-3AD203B41FA5}">
                      <a16:colId xmlns:a16="http://schemas.microsoft.com/office/drawing/2014/main" val="1756187147"/>
                    </a:ext>
                  </a:extLst>
                </a:gridCol>
                <a:gridCol w="1400690">
                  <a:extLst>
                    <a:ext uri="{9D8B030D-6E8A-4147-A177-3AD203B41FA5}">
                      <a16:colId xmlns:a16="http://schemas.microsoft.com/office/drawing/2014/main" val="3876190760"/>
                    </a:ext>
                  </a:extLst>
                </a:gridCol>
                <a:gridCol w="1948253">
                  <a:extLst>
                    <a:ext uri="{9D8B030D-6E8A-4147-A177-3AD203B41FA5}">
                      <a16:colId xmlns:a16="http://schemas.microsoft.com/office/drawing/2014/main" val="841478477"/>
                    </a:ext>
                  </a:extLst>
                </a:gridCol>
                <a:gridCol w="1948253">
                  <a:extLst>
                    <a:ext uri="{9D8B030D-6E8A-4147-A177-3AD203B41FA5}">
                      <a16:colId xmlns:a16="http://schemas.microsoft.com/office/drawing/2014/main" val="1513044963"/>
                    </a:ext>
                  </a:extLst>
                </a:gridCol>
              </a:tblGrid>
              <a:tr h="70280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400" b="0" kern="1200">
                          <a:solidFill>
                            <a:schemeClr val="tx1"/>
                          </a:solidFill>
                          <a:latin typeface="+mj-lt"/>
                          <a:ea typeface="+mn-ea"/>
                          <a:cs typeface="+mn-cs"/>
                        </a:rPr>
                        <a:t>Microsoft 365 E5 Security, E5 Compliance and Microsoft Sentinel </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a:gradFill>
                            <a:gsLst>
                              <a:gs pos="1000">
                                <a:schemeClr val="accent3"/>
                              </a:gs>
                              <a:gs pos="99000">
                                <a:schemeClr val="accent3"/>
                              </a:gs>
                            </a:gsLst>
                            <a:lin ang="16200000" scaled="1"/>
                          </a:gradFill>
                          <a:latin typeface="+mj-lt"/>
                          <a:ea typeface="+mn-ea"/>
                          <a:cs typeface="+mn-cs"/>
                        </a:rPr>
                        <a:t>20,000</a:t>
                      </a:r>
                      <a:br>
                        <a:rPr lang="en-US" sz="2800" b="0">
                          <a:gradFill>
                            <a:gsLst>
                              <a:gs pos="1000">
                                <a:schemeClr val="tx1"/>
                              </a:gs>
                              <a:gs pos="99000">
                                <a:schemeClr val="tx1">
                                  <a:alpha val="83000"/>
                                </a:schemeClr>
                              </a:gs>
                            </a:gsLst>
                            <a:lin ang="16200000" scaled="1"/>
                          </a:gradFill>
                          <a:latin typeface="+mj-lt"/>
                        </a:rPr>
                      </a:br>
                      <a:r>
                        <a:rPr lang="en-US" sz="1600" b="0">
                          <a:gradFill>
                            <a:gsLst>
                              <a:gs pos="1000">
                                <a:schemeClr val="tx1"/>
                              </a:gs>
                              <a:gs pos="99000">
                                <a:schemeClr val="tx1">
                                  <a:alpha val="83000"/>
                                </a:schemeClr>
                              </a:gs>
                            </a:gsLst>
                            <a:lin ang="16200000" scaled="1"/>
                          </a:gradFill>
                          <a:latin typeface="+mj-lt"/>
                        </a:rPr>
                        <a:t>seats</a:t>
                      </a:r>
                      <a:endParaRPr lang="en-US" sz="2800" b="0">
                        <a:gradFill>
                          <a:gsLst>
                            <a:gs pos="1000">
                              <a:schemeClr val="tx1"/>
                            </a:gs>
                            <a:gs pos="99000">
                              <a:schemeClr val="tx1">
                                <a:alpha val="83000"/>
                              </a:schemeClr>
                            </a:gs>
                          </a:gsLst>
                          <a:lin ang="16200000" scaled="1"/>
                        </a:gradFill>
                        <a:latin typeface="+mj-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a:gradFill>
                            <a:gsLst>
                              <a:gs pos="1000">
                                <a:schemeClr val="accent3"/>
                              </a:gs>
                              <a:gs pos="99000">
                                <a:schemeClr val="accent3"/>
                              </a:gs>
                            </a:gsLst>
                            <a:lin ang="16200000" scaled="1"/>
                          </a:gradFill>
                          <a:latin typeface="+mj-lt"/>
                          <a:ea typeface="+mn-ea"/>
                          <a:cs typeface="+mn-cs"/>
                        </a:rPr>
                        <a:t>10,000</a:t>
                      </a:r>
                      <a:br>
                        <a:rPr lang="en-US" sz="2400" b="0" kern="1200">
                          <a:gradFill>
                            <a:gsLst>
                              <a:gs pos="1000">
                                <a:schemeClr val="accent3"/>
                              </a:gs>
                              <a:gs pos="99000">
                                <a:schemeClr val="accent3"/>
                              </a:gs>
                            </a:gsLst>
                            <a:lin ang="16200000" scaled="1"/>
                          </a:gradFill>
                          <a:latin typeface="+mj-lt"/>
                          <a:ea typeface="+mn-ea"/>
                          <a:cs typeface="+mn-cs"/>
                        </a:rPr>
                      </a:br>
                      <a:r>
                        <a:rPr lang="en-US" sz="1600" b="0" kern="1200" noProof="0">
                          <a:gradFill>
                            <a:gsLst>
                              <a:gs pos="1000">
                                <a:schemeClr val="tx1"/>
                              </a:gs>
                              <a:gs pos="99000">
                                <a:schemeClr val="tx1">
                                  <a:alpha val="83000"/>
                                </a:schemeClr>
                              </a:gs>
                            </a:gsLst>
                            <a:lin ang="16200000" scaled="1"/>
                          </a:gradFill>
                          <a:latin typeface="+mj-lt"/>
                          <a:ea typeface="+mn-ea"/>
                          <a:cs typeface="+mn-cs"/>
                        </a:rPr>
                        <a:t>seats</a:t>
                      </a:r>
                      <a:endParaRPr lang="en-US" sz="1600" b="0" kern="1200">
                        <a:gradFill>
                          <a:gsLst>
                            <a:gs pos="1000">
                              <a:schemeClr val="tx1"/>
                            </a:gs>
                            <a:gs pos="99000">
                              <a:schemeClr val="tx1">
                                <a:alpha val="83000"/>
                              </a:schemeClr>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a:gradFill>
                            <a:gsLst>
                              <a:gs pos="1000">
                                <a:schemeClr val="accent3"/>
                              </a:gs>
                              <a:gs pos="99000">
                                <a:schemeClr val="accent3"/>
                              </a:gs>
                            </a:gsLst>
                            <a:lin ang="16200000" scaled="1"/>
                          </a:gradFill>
                          <a:latin typeface="+mj-lt"/>
                        </a:rPr>
                        <a:t>5,000</a:t>
                      </a:r>
                      <a:br>
                        <a:rPr lang="en-US" sz="2800" b="0">
                          <a:gradFill>
                            <a:gsLst>
                              <a:gs pos="1000">
                                <a:schemeClr val="accent3"/>
                              </a:gs>
                              <a:gs pos="99000">
                                <a:schemeClr val="accent3"/>
                              </a:gs>
                            </a:gsLst>
                            <a:lin ang="16200000" scaled="1"/>
                          </a:gradFill>
                          <a:latin typeface="+mj-lt"/>
                        </a:rPr>
                      </a:br>
                      <a:r>
                        <a:rPr lang="en-US" sz="1600" b="0" kern="1200" noProof="0">
                          <a:gradFill>
                            <a:gsLst>
                              <a:gs pos="1000">
                                <a:schemeClr val="tx1"/>
                              </a:gs>
                              <a:gs pos="99000">
                                <a:schemeClr val="tx1">
                                  <a:alpha val="83000"/>
                                </a:schemeClr>
                              </a:gs>
                            </a:gsLst>
                            <a:lin ang="16200000" scaled="1"/>
                          </a:gradFill>
                          <a:latin typeface="+mj-lt"/>
                          <a:ea typeface="+mn-ea"/>
                          <a:cs typeface="+mn-cs"/>
                        </a:rPr>
                        <a:t>seats</a:t>
                      </a:r>
                      <a:endParaRPr lang="en-US" sz="1600" b="0" kern="1200">
                        <a:gradFill>
                          <a:gsLst>
                            <a:gs pos="1000">
                              <a:schemeClr val="tx1"/>
                            </a:gs>
                            <a:gs pos="99000">
                              <a:schemeClr val="tx1">
                                <a:alpha val="83000"/>
                              </a:schemeClr>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2911923"/>
                  </a:ext>
                </a:extLst>
              </a:tr>
              <a:tr h="542643">
                <a:tc>
                  <a:txBody>
                    <a:bodyPr/>
                    <a:lstStyle/>
                    <a:p>
                      <a:pPr>
                        <a:spcAft>
                          <a:spcPts val="300"/>
                        </a:spcAft>
                      </a:pPr>
                      <a:r>
                        <a:rPr lang="en-US" sz="1800" b="1">
                          <a:gradFill>
                            <a:gsLst>
                              <a:gs pos="1000">
                                <a:schemeClr val="tx1"/>
                              </a:gs>
                              <a:gs pos="99000">
                                <a:schemeClr val="tx1">
                                  <a:alpha val="83000"/>
                                </a:schemeClr>
                              </a:gs>
                            </a:gsLst>
                            <a:lin ang="16200000" scaled="1"/>
                          </a:gradFill>
                          <a:latin typeface="+mj-lt"/>
                        </a:rPr>
                        <a:t>Reduce Total Cost of Risk</a:t>
                      </a:r>
                    </a:p>
                    <a:p>
                      <a:pPr>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Faster remediation of endpoint security events </a:t>
                      </a:r>
                    </a:p>
                    <a:p>
                      <a:pPr>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data loss from security breaches and mitigation </a:t>
                      </a:r>
                    </a:p>
                    <a:p>
                      <a:pPr marL="0" marR="0" lvl="0" indent="0" algn="l" defTabSz="932742" rtl="0" eaLnBrk="1" fontAlgn="auto" latinLnBrk="0" hangingPunct="1">
                        <a:lnSpc>
                          <a:spcPct val="100000"/>
                        </a:lnSpc>
                        <a:spcBef>
                          <a:spcPts val="0"/>
                        </a:spcBef>
                        <a:spcAft>
                          <a:spcPts val="300"/>
                        </a:spcAft>
                        <a:buClrTx/>
                        <a:buSzTx/>
                        <a:buFontTx/>
                        <a:buNone/>
                        <a:tabLst/>
                        <a:defRPr/>
                      </a:pPr>
                      <a:r>
                        <a:rPr lang="en-US" sz="1400" kern="1200">
                          <a:gradFill>
                            <a:gsLst>
                              <a:gs pos="1000">
                                <a:schemeClr val="tx1"/>
                              </a:gs>
                              <a:gs pos="99000">
                                <a:schemeClr val="tx1">
                                  <a:alpha val="83000"/>
                                </a:schemeClr>
                              </a:gs>
                            </a:gsLst>
                            <a:lin ang="16200000" scaled="1"/>
                          </a:gradFill>
                          <a:latin typeface="+mn-lt"/>
                          <a:ea typeface="+mn-ea"/>
                          <a:cs typeface="+mn-cs"/>
                        </a:rPr>
                        <a:t>Threat detection and response SecOps efficiency gains</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br>
                        <a:rPr lang="en-US" sz="1400" b="0" kern="1200">
                          <a:gradFill>
                            <a:gsLst>
                              <a:gs pos="1000">
                                <a:schemeClr val="tx1"/>
                              </a:gs>
                              <a:gs pos="99000">
                                <a:schemeClr val="tx1">
                                  <a:alpha val="83000"/>
                                </a:schemeClr>
                              </a:gs>
                            </a:gsLst>
                            <a:lin ang="16200000" scaled="1"/>
                          </a:gradFill>
                          <a:latin typeface="+mj-lt"/>
                          <a:ea typeface="+mn-ea"/>
                          <a:cs typeface="+mn-cs"/>
                        </a:rPr>
                      </a:br>
                      <a:r>
                        <a:rPr lang="en-US" sz="1400" b="0" kern="1200">
                          <a:gradFill>
                            <a:gsLst>
                              <a:gs pos="1000">
                                <a:schemeClr val="tx1"/>
                              </a:gs>
                              <a:gs pos="99000">
                                <a:schemeClr val="tx1">
                                  <a:alpha val="83000"/>
                                </a:schemeClr>
                              </a:gs>
                            </a:gsLst>
                            <a:lin ang="16200000" scaled="1"/>
                          </a:gradFill>
                          <a:latin typeface="+mj-lt"/>
                          <a:ea typeface="+mn-ea"/>
                          <a:cs typeface="+mn-cs"/>
                        </a:rPr>
                        <a:t>$495,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372,000</a:t>
                      </a:r>
                    </a:p>
                    <a:p>
                      <a:pPr marL="0" marR="0" lvl="0" indent="0" algn="r" defTabSz="932742" rtl="0" eaLnBrk="1" fontAlgn="ctr" latinLnBrk="0" hangingPunct="1">
                        <a:lnSpc>
                          <a:spcPct val="100000"/>
                        </a:lnSpc>
                        <a:spcBef>
                          <a:spcPts val="0"/>
                        </a:spcBef>
                        <a:spcAft>
                          <a:spcPts val="300"/>
                        </a:spcAft>
                        <a:buClrTx/>
                        <a:buSzTx/>
                        <a:buFontTx/>
                        <a:buNone/>
                        <a:tabLst/>
                        <a:defRPr/>
                      </a:pPr>
                      <a:r>
                        <a:rPr lang="en-US" sz="1400" b="0" kern="1200">
                          <a:gradFill>
                            <a:gsLst>
                              <a:gs pos="1000">
                                <a:schemeClr val="tx1"/>
                              </a:gs>
                              <a:gs pos="99000">
                                <a:schemeClr val="tx1">
                                  <a:alpha val="83000"/>
                                </a:schemeClr>
                              </a:gs>
                            </a:gsLst>
                            <a:lin ang="16200000" scaled="1"/>
                          </a:gradFill>
                          <a:latin typeface="+mj-lt"/>
                          <a:ea typeface="+mn-ea"/>
                          <a:cs typeface="+mn-cs"/>
                        </a:rPr>
                        <a:t>$318,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32742" rtl="0" eaLnBrk="1" fontAlgn="ctr" latinLnBrk="0" hangingPunct="1">
                        <a:spcAft>
                          <a:spcPts val="300"/>
                        </a:spcAft>
                      </a:pPr>
                      <a:endParaRPr lang="en-US" sz="1400" b="0" kern="1200">
                        <a:gradFill>
                          <a:gsLst>
                            <a:gs pos="1000">
                              <a:schemeClr val="tx1"/>
                            </a:gs>
                            <a:gs pos="99000">
                              <a:schemeClr val="tx1">
                                <a:alpha val="83000"/>
                              </a:schemeClr>
                            </a:gs>
                          </a:gsLst>
                          <a:lin ang="16200000" scaled="1"/>
                        </a:gradFill>
                        <a:latin typeface="+mj-lt"/>
                        <a:ea typeface="+mn-ea"/>
                        <a:cs typeface="+mn-cs"/>
                      </a:endParaRP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53,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372,000</a:t>
                      </a:r>
                    </a:p>
                    <a:p>
                      <a:pPr marL="0" marR="0" lvl="0" indent="0" algn="r" defTabSz="932742" rtl="0" eaLnBrk="1" fontAlgn="ctr" latinLnBrk="0" hangingPunct="1">
                        <a:lnSpc>
                          <a:spcPct val="100000"/>
                        </a:lnSpc>
                        <a:spcBef>
                          <a:spcPts val="0"/>
                        </a:spcBef>
                        <a:spcAft>
                          <a:spcPts val="300"/>
                        </a:spcAft>
                        <a:buClrTx/>
                        <a:buSzTx/>
                        <a:buFontTx/>
                        <a:buNone/>
                        <a:tabLst/>
                        <a:defRPr/>
                      </a:pPr>
                      <a:r>
                        <a:rPr lang="en-US" sz="1400" b="0" kern="1200">
                          <a:gradFill>
                            <a:gsLst>
                              <a:gs pos="1000">
                                <a:schemeClr val="tx1"/>
                              </a:gs>
                              <a:gs pos="99000">
                                <a:schemeClr val="tx1">
                                  <a:alpha val="83000"/>
                                </a:schemeClr>
                              </a:gs>
                            </a:gsLst>
                            <a:lin ang="16200000" scaled="1"/>
                          </a:gradFill>
                          <a:latin typeface="+mj-lt"/>
                          <a:ea typeface="+mn-ea"/>
                          <a:cs typeface="+mn-cs"/>
                        </a:rPr>
                        <a:t>$159,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32742" rtl="0" eaLnBrk="1" fontAlgn="ctr" latinLnBrk="0" hangingPunct="1">
                        <a:spcAft>
                          <a:spcPts val="300"/>
                        </a:spcAft>
                      </a:pPr>
                      <a:endParaRPr lang="en-US" sz="1400" b="0" kern="1200">
                        <a:gradFill>
                          <a:gsLst>
                            <a:gs pos="1000">
                              <a:schemeClr val="tx1"/>
                            </a:gs>
                            <a:gs pos="99000">
                              <a:schemeClr val="tx1">
                                <a:alpha val="83000"/>
                              </a:schemeClr>
                            </a:gs>
                          </a:gsLst>
                          <a:lin ang="16200000" scaled="1"/>
                        </a:gradFill>
                        <a:latin typeface="+mj-lt"/>
                        <a:ea typeface="+mn-ea"/>
                        <a:cs typeface="+mn-cs"/>
                      </a:endParaRP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32,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372,000</a:t>
                      </a:r>
                    </a:p>
                    <a:p>
                      <a:pPr marL="0" marR="0" lvl="0" indent="0" algn="r" defTabSz="932742" rtl="0" eaLnBrk="1" fontAlgn="ctr" latinLnBrk="0" hangingPunct="1">
                        <a:lnSpc>
                          <a:spcPct val="100000"/>
                        </a:lnSpc>
                        <a:spcBef>
                          <a:spcPts val="0"/>
                        </a:spcBef>
                        <a:spcAft>
                          <a:spcPts val="300"/>
                        </a:spcAft>
                        <a:buClrTx/>
                        <a:buSzTx/>
                        <a:buFontTx/>
                        <a:buNone/>
                        <a:tabLst/>
                        <a:defRPr/>
                      </a:pPr>
                      <a:r>
                        <a:rPr lang="en-US" sz="1400" b="0" kern="1200">
                          <a:gradFill>
                            <a:gsLst>
                              <a:gs pos="1000">
                                <a:schemeClr val="tx1"/>
                              </a:gs>
                              <a:gs pos="99000">
                                <a:schemeClr val="tx1">
                                  <a:alpha val="83000"/>
                                </a:schemeClr>
                              </a:gs>
                            </a:gsLst>
                            <a:lin ang="16200000" scaled="1"/>
                          </a:gradFill>
                          <a:latin typeface="+mj-lt"/>
                          <a:ea typeface="+mn-ea"/>
                          <a:cs typeface="+mn-cs"/>
                        </a:rPr>
                        <a:t>$79,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951697"/>
                  </a:ext>
                </a:extLst>
              </a:tr>
              <a:tr h="542643">
                <a:tc>
                  <a:txBody>
                    <a:bodyPr/>
                    <a:lstStyle/>
                    <a:p>
                      <a:pPr marL="0" algn="l" defTabSz="932742" rtl="0" eaLnBrk="1" latinLnBrk="0" hangingPunct="1">
                        <a:spcAft>
                          <a:spcPts val="300"/>
                        </a:spcAft>
                      </a:pPr>
                      <a:r>
                        <a:rPr lang="en-US" sz="1800" b="1" kern="1200">
                          <a:gradFill>
                            <a:gsLst>
                              <a:gs pos="1000">
                                <a:schemeClr val="tx1"/>
                              </a:gs>
                              <a:gs pos="99000">
                                <a:schemeClr val="tx1">
                                  <a:alpha val="83000"/>
                                </a:schemeClr>
                              </a:gs>
                            </a:gsLst>
                            <a:lin ang="16200000" scaled="1"/>
                          </a:gradFill>
                          <a:latin typeface="+mj-lt"/>
                          <a:ea typeface="+mn-ea"/>
                          <a:cs typeface="+mn-cs"/>
                        </a:rPr>
                        <a:t>Save on Automation &amp; Process Improvements</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eDiscovery analysis effort</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time spent on compliance audits and processes</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Automate investigations with Microsoft Sentinel </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downtime through improved application performance </a:t>
                      </a:r>
                    </a:p>
                    <a:p>
                      <a:pPr marL="0" marR="0" lvl="0" indent="0" algn="l" defTabSz="932742" rtl="0" eaLnBrk="1" fontAlgn="auto" latinLnBrk="0" hangingPunct="1">
                        <a:lnSpc>
                          <a:spcPct val="100000"/>
                        </a:lnSpc>
                        <a:spcBef>
                          <a:spcPts val="0"/>
                        </a:spcBef>
                        <a:spcAft>
                          <a:spcPts val="300"/>
                        </a:spcAft>
                        <a:buClrTx/>
                        <a:buSzTx/>
                        <a:buFontTx/>
                        <a:buNone/>
                        <a:tabLst/>
                        <a:defRPr/>
                      </a:pPr>
                      <a:r>
                        <a:rPr lang="en-US" sz="1400" kern="1200">
                          <a:gradFill>
                            <a:gsLst>
                              <a:gs pos="1000">
                                <a:schemeClr val="tx1"/>
                              </a:gs>
                              <a:gs pos="99000">
                                <a:schemeClr val="tx1">
                                  <a:alpha val="83000"/>
                                </a:schemeClr>
                              </a:gs>
                            </a:gsLst>
                            <a:lin ang="16200000" scaled="1"/>
                          </a:gradFill>
                          <a:latin typeface="+mn-lt"/>
                          <a:ea typeface="+mn-ea"/>
                          <a:cs typeface="+mn-cs"/>
                        </a:rPr>
                        <a:t>Improved cloud app security audit reporting</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800" b="1"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309,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22,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9,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151,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4,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32742" rtl="0" eaLnBrk="1" fontAlgn="ctr" latinLnBrk="0" hangingPunct="1">
                        <a:spcAft>
                          <a:spcPts val="300"/>
                        </a:spcAft>
                      </a:pPr>
                      <a:endParaRPr lang="en-US" sz="1800" b="0" kern="1200">
                        <a:gradFill>
                          <a:gsLst>
                            <a:gs pos="1000">
                              <a:schemeClr val="tx1"/>
                            </a:gs>
                            <a:gs pos="99000">
                              <a:schemeClr val="tx1">
                                <a:alpha val="83000"/>
                              </a:schemeClr>
                            </a:gs>
                          </a:gsLst>
                          <a:lin ang="16200000" scaled="1"/>
                        </a:gradFill>
                        <a:latin typeface="+mj-lt"/>
                        <a:ea typeface="+mn-ea"/>
                        <a:cs typeface="+mn-cs"/>
                      </a:endParaRP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654,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411,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9,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575,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4,000 </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32742" rtl="0" eaLnBrk="1" fontAlgn="ctr" latinLnBrk="0" hangingPunct="1">
                        <a:spcAft>
                          <a:spcPts val="300"/>
                        </a:spcAft>
                      </a:pPr>
                      <a:endParaRPr lang="en-US" sz="1800" b="0" kern="1200">
                        <a:gradFill>
                          <a:gsLst>
                            <a:gs pos="1000">
                              <a:schemeClr val="tx1"/>
                            </a:gs>
                            <a:gs pos="99000">
                              <a:schemeClr val="tx1">
                                <a:alpha val="83000"/>
                              </a:schemeClr>
                            </a:gs>
                          </a:gsLst>
                          <a:lin ang="16200000" scaled="1"/>
                        </a:gradFill>
                        <a:latin typeface="+mj-lt"/>
                        <a:ea typeface="+mn-ea"/>
                        <a:cs typeface="+mn-cs"/>
                      </a:endParaRP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327,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705,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9,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7,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4,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525413"/>
                  </a:ext>
                </a:extLst>
              </a:tr>
              <a:tr h="588554">
                <a:tc>
                  <a:txBody>
                    <a:bodyPr/>
                    <a:lstStyle/>
                    <a:p>
                      <a:pPr marL="0" algn="r" defTabSz="914367" rtl="0" eaLnBrk="1" latinLnBrk="0" hangingPunct="1"/>
                      <a:r>
                        <a:rPr lang="en-US" sz="1600" b="1" kern="1200">
                          <a:gradFill>
                            <a:gsLst>
                              <a:gs pos="1000">
                                <a:schemeClr val="tx1"/>
                              </a:gs>
                              <a:gs pos="99000">
                                <a:schemeClr val="tx1">
                                  <a:alpha val="83000"/>
                                </a:schemeClr>
                              </a:gs>
                            </a:gsLst>
                            <a:lin ang="16200000" scaled="1"/>
                          </a:gradFill>
                          <a:latin typeface="+mj-lt"/>
                          <a:ea typeface="+mn-ea"/>
                          <a:cs typeface="+mn-cs"/>
                        </a:rPr>
                        <a:t>Potential cost savings per year</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 </a:t>
                      </a:r>
                      <a:br>
                        <a:rPr kumimoji="0" lang="en-US" sz="1000" b="0" i="0" u="none" strike="noStrike" kern="1200" cap="none" spc="-49" normalizeH="0" baseline="0" noProof="0">
                          <a:ln>
                            <a:noFill/>
                          </a:ln>
                          <a:gradFill>
                            <a:gsLst>
                              <a:gs pos="1000">
                                <a:schemeClr val="tx1"/>
                              </a:gs>
                              <a:gs pos="99000">
                                <a:schemeClr val="tx1">
                                  <a:alpha val="83000"/>
                                </a:schemeClr>
                              </a:gs>
                            </a:gsLst>
                            <a:lin ang="16200000" scaled="1"/>
                          </a:gradFill>
                          <a:effectLst/>
                          <a:uLnTx/>
                          <a:uFillTx/>
                          <a:latin typeface="+mj-lt"/>
                          <a:ea typeface="+mn-ea"/>
                          <a:cs typeface="+mn-cs"/>
                        </a:rPr>
                      </a:br>
                      <a:r>
                        <a:rPr lang="en-US" sz="2400" b="0" kern="1200" noProof="0">
                          <a:gradFill>
                            <a:gsLst>
                              <a:gs pos="1000">
                                <a:schemeClr val="accent3"/>
                              </a:gs>
                              <a:gs pos="99000">
                                <a:schemeClr val="accent3"/>
                              </a:gs>
                            </a:gsLst>
                            <a:lin ang="16200000" scaled="1"/>
                          </a:gradFill>
                          <a:latin typeface="+mj-lt"/>
                          <a:ea typeface="+mn-ea"/>
                          <a:cs typeface="+mn-cs"/>
                        </a:rPr>
                        <a:t>$6.7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 </a:t>
                      </a:r>
                      <a:br>
                        <a:rPr lang="en-US" sz="1600" b="0" kern="1200" noProof="0">
                          <a:gradFill>
                            <a:gsLst>
                              <a:gs pos="1000">
                                <a:schemeClr val="tx1"/>
                              </a:gs>
                              <a:gs pos="99000">
                                <a:schemeClr val="tx1">
                                  <a:alpha val="83000"/>
                                </a:schemeClr>
                              </a:gs>
                            </a:gsLst>
                            <a:lin ang="16200000" scaled="1"/>
                          </a:gradFill>
                          <a:latin typeface="+mj-lt"/>
                          <a:ea typeface="+mn-ea"/>
                          <a:cs typeface="+mn-cs"/>
                        </a:rPr>
                      </a:br>
                      <a:r>
                        <a:rPr lang="en-US" sz="2400" b="0" kern="1200" noProof="0">
                          <a:gradFill>
                            <a:gsLst>
                              <a:gs pos="1000">
                                <a:schemeClr val="accent3"/>
                              </a:gs>
                              <a:gs pos="99000">
                                <a:schemeClr val="accent3"/>
                              </a:gs>
                            </a:gsLst>
                            <a:lin ang="16200000" scaled="1"/>
                          </a:gradFill>
                          <a:latin typeface="+mj-lt"/>
                          <a:ea typeface="+mn-ea"/>
                          <a:cs typeface="+mn-cs"/>
                        </a:rPr>
                        <a:t>$3.7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a:t>
                      </a:r>
                      <a:br>
                        <a:rPr lang="en-US" sz="1600" b="0" kern="1200" noProof="0">
                          <a:gradFill>
                            <a:gsLst>
                              <a:gs pos="1000">
                                <a:schemeClr val="tx1"/>
                              </a:gs>
                              <a:gs pos="99000">
                                <a:schemeClr val="tx1">
                                  <a:alpha val="83000"/>
                                </a:schemeClr>
                              </a:gs>
                            </a:gsLst>
                            <a:lin ang="16200000" scaled="1"/>
                          </a:gradFill>
                          <a:latin typeface="+mj-lt"/>
                          <a:ea typeface="+mn-ea"/>
                          <a:cs typeface="+mn-cs"/>
                        </a:rPr>
                      </a:br>
                      <a:r>
                        <a:rPr lang="en-US" sz="2400" b="0" kern="1200" noProof="0">
                          <a:gradFill>
                            <a:gsLst>
                              <a:gs pos="1000">
                                <a:schemeClr val="accent3"/>
                              </a:gs>
                              <a:gs pos="99000">
                                <a:schemeClr val="accent3"/>
                              </a:gs>
                            </a:gsLst>
                            <a:lin ang="16200000" scaled="1"/>
                          </a:gradFill>
                          <a:latin typeface="+mj-lt"/>
                          <a:ea typeface="+mn-ea"/>
                          <a:cs typeface="+mn-cs"/>
                        </a:rPr>
                        <a:t>$2.2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3300297"/>
                  </a:ext>
                </a:extLst>
              </a:tr>
            </a:tbl>
          </a:graphicData>
        </a:graphic>
      </p:graphicFrame>
      <p:sp>
        <p:nvSpPr>
          <p:cNvPr id="8" name="TextBox 1">
            <a:extLst>
              <a:ext uri="{FF2B5EF4-FFF2-40B4-BE49-F238E27FC236}">
                <a16:creationId xmlns:a16="http://schemas.microsoft.com/office/drawing/2014/main" id="{B50B9EEF-75C7-4FBB-8CE9-197204A917FF}"/>
              </a:ext>
            </a:extLst>
          </p:cNvPr>
          <p:cNvSpPr txBox="1"/>
          <p:nvPr/>
        </p:nvSpPr>
        <p:spPr>
          <a:xfrm>
            <a:off x="588262" y="6199439"/>
            <a:ext cx="11142184" cy="338554"/>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ounded estimates based on commissioned Forrester TEI studies and Microsoft Value calculator and illustrate annual costs for a 20,000, 10,000 and 5,000 employee organizations with Microsoft Sentinel 500 GB daily log absorption. C</a:t>
            </a:r>
            <a:r>
              <a:rPr kumimoji="0" lang="en-US" altLang="ja-JP" sz="1100" b="0" i="0" u="none" strike="noStrike" kern="1200" cap="none" spc="0" normalizeH="0" baseline="0" noProof="0">
                <a:ln>
                  <a:noFill/>
                </a:ln>
                <a:solidFill>
                  <a:srgbClr val="000000"/>
                </a:solidFill>
                <a:effectLst/>
                <a:uLnTx/>
                <a:uFillTx/>
                <a:latin typeface="Segoe UI"/>
                <a:ea typeface="+mn-ea"/>
                <a:cs typeface="Segoe UI"/>
              </a:rPr>
              <a:t>ontact your Microsoft representative for estimates for your organization. </a:t>
            </a: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00494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057E9C-3201-447E-8869-467B7DD36E39}"/>
              </a:ext>
            </a:extLst>
          </p:cNvPr>
          <p:cNvSpPr>
            <a:spLocks noGrp="1"/>
          </p:cNvSpPr>
          <p:nvPr>
            <p:ph type="title"/>
          </p:nvPr>
        </p:nvSpPr>
        <p:spPr>
          <a:xfrm>
            <a:off x="588262" y="489284"/>
            <a:ext cx="11333661" cy="430887"/>
          </a:xfrm>
        </p:spPr>
        <p:txBody>
          <a:bodyPr/>
          <a:lstStyle/>
          <a:p>
            <a:r>
              <a:rPr lang="en-US" sz="2800"/>
              <a:t>Estimated cost savings from Improved Operational Efficiency </a:t>
            </a:r>
            <a:endParaRPr lang="en-US" sz="2800" kern="2000" spc="-10"/>
          </a:p>
        </p:txBody>
      </p:sp>
      <p:graphicFrame>
        <p:nvGraphicFramePr>
          <p:cNvPr id="7" name="Table 6">
            <a:extLst>
              <a:ext uri="{FF2B5EF4-FFF2-40B4-BE49-F238E27FC236}">
                <a16:creationId xmlns:a16="http://schemas.microsoft.com/office/drawing/2014/main" id="{1358B6B4-3D4C-4404-A5BC-A915A436FC24}"/>
              </a:ext>
            </a:extLst>
          </p:cNvPr>
          <p:cNvGraphicFramePr>
            <a:graphicFrameLocks noGrp="1"/>
          </p:cNvGraphicFramePr>
          <p:nvPr>
            <p:extLst>
              <p:ext uri="{D42A27DB-BD31-4B8C-83A1-F6EECF244321}">
                <p14:modId xmlns:p14="http://schemas.microsoft.com/office/powerpoint/2010/main" val="1679266523"/>
              </p:ext>
            </p:extLst>
          </p:nvPr>
        </p:nvGraphicFramePr>
        <p:xfrm>
          <a:off x="589305" y="1636540"/>
          <a:ext cx="11017251" cy="4381500"/>
        </p:xfrm>
        <a:graphic>
          <a:graphicData uri="http://schemas.openxmlformats.org/drawingml/2006/table">
            <a:tbl>
              <a:tblPr firstRow="1" bandRow="1">
                <a:tableStyleId>{5C22544A-7EE6-4342-B048-85BDC9FD1C3A}</a:tableStyleId>
              </a:tblPr>
              <a:tblGrid>
                <a:gridCol w="5720055">
                  <a:extLst>
                    <a:ext uri="{9D8B030D-6E8A-4147-A177-3AD203B41FA5}">
                      <a16:colId xmlns:a16="http://schemas.microsoft.com/office/drawing/2014/main" val="1756187147"/>
                    </a:ext>
                  </a:extLst>
                </a:gridCol>
                <a:gridCol w="1400690">
                  <a:extLst>
                    <a:ext uri="{9D8B030D-6E8A-4147-A177-3AD203B41FA5}">
                      <a16:colId xmlns:a16="http://schemas.microsoft.com/office/drawing/2014/main" val="3876190760"/>
                    </a:ext>
                  </a:extLst>
                </a:gridCol>
                <a:gridCol w="1948253">
                  <a:extLst>
                    <a:ext uri="{9D8B030D-6E8A-4147-A177-3AD203B41FA5}">
                      <a16:colId xmlns:a16="http://schemas.microsoft.com/office/drawing/2014/main" val="841478477"/>
                    </a:ext>
                  </a:extLst>
                </a:gridCol>
                <a:gridCol w="1948253">
                  <a:extLst>
                    <a:ext uri="{9D8B030D-6E8A-4147-A177-3AD203B41FA5}">
                      <a16:colId xmlns:a16="http://schemas.microsoft.com/office/drawing/2014/main" val="1513044963"/>
                    </a:ext>
                  </a:extLst>
                </a:gridCol>
              </a:tblGrid>
              <a:tr h="70280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400" b="0" kern="1200">
                          <a:solidFill>
                            <a:schemeClr val="tx1"/>
                          </a:solidFill>
                          <a:latin typeface="+mj-lt"/>
                          <a:ea typeface="+mn-ea"/>
                          <a:cs typeface="+mn-cs"/>
                        </a:rPr>
                        <a:t>Microsoft 365 E5 Security, E5 Compliance and Microsoft Sentinel </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a:solidFill>
                            <a:srgbClr val="505050"/>
                          </a:solidFill>
                          <a:latin typeface="+mj-lt"/>
                          <a:ea typeface="+mn-ea"/>
                          <a:cs typeface="+mn-cs"/>
                        </a:rPr>
                        <a:t>20,000</a:t>
                      </a:r>
                      <a:br>
                        <a:rPr lang="en-US" sz="2800" b="0">
                          <a:gradFill>
                            <a:gsLst>
                              <a:gs pos="1000">
                                <a:schemeClr val="tx1"/>
                              </a:gs>
                              <a:gs pos="99000">
                                <a:schemeClr val="tx1">
                                  <a:alpha val="83000"/>
                                </a:schemeClr>
                              </a:gs>
                            </a:gsLst>
                            <a:lin ang="16200000" scaled="1"/>
                          </a:gradFill>
                          <a:latin typeface="+mj-lt"/>
                        </a:rPr>
                      </a:br>
                      <a:r>
                        <a:rPr lang="en-US" sz="1600" b="0">
                          <a:gradFill>
                            <a:gsLst>
                              <a:gs pos="1000">
                                <a:schemeClr val="tx1"/>
                              </a:gs>
                              <a:gs pos="99000">
                                <a:schemeClr val="tx1">
                                  <a:alpha val="83000"/>
                                </a:schemeClr>
                              </a:gs>
                            </a:gsLst>
                            <a:lin ang="16200000" scaled="1"/>
                          </a:gradFill>
                          <a:latin typeface="+mj-lt"/>
                        </a:rPr>
                        <a:t>seats</a:t>
                      </a:r>
                      <a:endParaRPr lang="en-US" sz="2800" b="0">
                        <a:gradFill>
                          <a:gsLst>
                            <a:gs pos="1000">
                              <a:schemeClr val="tx1"/>
                            </a:gs>
                            <a:gs pos="99000">
                              <a:schemeClr val="tx1">
                                <a:alpha val="83000"/>
                              </a:schemeClr>
                            </a:gs>
                          </a:gsLst>
                          <a:lin ang="16200000" scaled="1"/>
                        </a:gradFill>
                        <a:latin typeface="+mj-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kern="1200">
                          <a:solidFill>
                            <a:srgbClr val="505050"/>
                          </a:solidFill>
                          <a:latin typeface="+mj-lt"/>
                          <a:ea typeface="+mn-ea"/>
                          <a:cs typeface="+mn-cs"/>
                        </a:rPr>
                        <a:t>10,000</a:t>
                      </a:r>
                      <a:br>
                        <a:rPr lang="en-US" sz="2400" b="0" kern="1200">
                          <a:gradFill>
                            <a:gsLst>
                              <a:gs pos="1000">
                                <a:schemeClr val="accent3"/>
                              </a:gs>
                              <a:gs pos="99000">
                                <a:schemeClr val="accent3"/>
                              </a:gs>
                            </a:gsLst>
                            <a:lin ang="16200000" scaled="1"/>
                          </a:gradFill>
                          <a:latin typeface="+mj-lt"/>
                          <a:ea typeface="+mn-ea"/>
                          <a:cs typeface="+mn-cs"/>
                        </a:rPr>
                      </a:br>
                      <a:r>
                        <a:rPr lang="en-US" sz="1600" b="0" kern="1200" noProof="0">
                          <a:gradFill>
                            <a:gsLst>
                              <a:gs pos="1000">
                                <a:schemeClr val="tx1"/>
                              </a:gs>
                              <a:gs pos="99000">
                                <a:schemeClr val="tx1">
                                  <a:alpha val="83000"/>
                                </a:schemeClr>
                              </a:gs>
                            </a:gsLst>
                            <a:lin ang="16200000" scaled="1"/>
                          </a:gradFill>
                          <a:latin typeface="+mj-lt"/>
                          <a:ea typeface="+mn-ea"/>
                          <a:cs typeface="+mn-cs"/>
                        </a:rPr>
                        <a:t>seats</a:t>
                      </a:r>
                      <a:endParaRPr lang="en-US" sz="1600" b="0" kern="1200">
                        <a:gradFill>
                          <a:gsLst>
                            <a:gs pos="1000">
                              <a:schemeClr val="tx1"/>
                            </a:gs>
                            <a:gs pos="99000">
                              <a:schemeClr val="tx1">
                                <a:alpha val="83000"/>
                              </a:schemeClr>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2400" b="0">
                          <a:solidFill>
                            <a:srgbClr val="505050"/>
                          </a:solidFill>
                          <a:latin typeface="+mj-lt"/>
                        </a:rPr>
                        <a:t>5,000</a:t>
                      </a:r>
                      <a:br>
                        <a:rPr lang="en-US" sz="2800" b="0">
                          <a:gradFill>
                            <a:gsLst>
                              <a:gs pos="1000">
                                <a:schemeClr val="accent3"/>
                              </a:gs>
                              <a:gs pos="99000">
                                <a:schemeClr val="accent3"/>
                              </a:gs>
                            </a:gsLst>
                            <a:lin ang="16200000" scaled="1"/>
                          </a:gradFill>
                          <a:latin typeface="+mj-lt"/>
                        </a:rPr>
                      </a:br>
                      <a:r>
                        <a:rPr lang="en-US" sz="1600" b="0" kern="1200" noProof="0">
                          <a:gradFill>
                            <a:gsLst>
                              <a:gs pos="1000">
                                <a:schemeClr val="tx1"/>
                              </a:gs>
                              <a:gs pos="99000">
                                <a:schemeClr val="tx1">
                                  <a:alpha val="83000"/>
                                </a:schemeClr>
                              </a:gs>
                            </a:gsLst>
                            <a:lin ang="16200000" scaled="1"/>
                          </a:gradFill>
                          <a:latin typeface="+mj-lt"/>
                          <a:ea typeface="+mn-ea"/>
                          <a:cs typeface="+mn-cs"/>
                        </a:rPr>
                        <a:t>seats</a:t>
                      </a:r>
                      <a:endParaRPr lang="en-US" sz="1600" b="0" kern="1200">
                        <a:gradFill>
                          <a:gsLst>
                            <a:gs pos="1000">
                              <a:schemeClr val="tx1"/>
                            </a:gs>
                            <a:gs pos="99000">
                              <a:schemeClr val="tx1">
                                <a:alpha val="83000"/>
                              </a:schemeClr>
                            </a:gs>
                          </a:gsLst>
                          <a:lin ang="16200000" scaled="1"/>
                        </a:gra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2911923"/>
                  </a:ext>
                </a:extLst>
              </a:tr>
              <a:tr h="542643">
                <a:tc>
                  <a:txBody>
                    <a:bodyPr/>
                    <a:lstStyle/>
                    <a:p>
                      <a:pPr marL="0" algn="l" defTabSz="932742" rtl="0" eaLnBrk="1" latinLnBrk="0" hangingPunct="1">
                        <a:spcAft>
                          <a:spcPts val="300"/>
                        </a:spcAft>
                      </a:pPr>
                      <a:r>
                        <a:rPr lang="en-US" sz="1800" b="1" kern="1200">
                          <a:gradFill>
                            <a:gsLst>
                              <a:gs pos="1000">
                                <a:schemeClr val="tx1"/>
                              </a:gs>
                              <a:gs pos="99000">
                                <a:schemeClr val="tx1">
                                  <a:alpha val="83000"/>
                                </a:schemeClr>
                              </a:gs>
                            </a:gsLst>
                            <a:lin ang="16200000" scaled="1"/>
                          </a:gradFill>
                          <a:latin typeface="+mj-lt"/>
                          <a:ea typeface="+mn-ea"/>
                          <a:cs typeface="+mn-cs"/>
                        </a:rPr>
                        <a:t>IT Administration &amp; Deployment Savings</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IT administration and deployments costs ​</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Administration costs reduced with Microsoft Compliance​</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800" b="1"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109,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409,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800" b="0"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054,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05,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400" b="0"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527,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02,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951697"/>
                  </a:ext>
                </a:extLst>
              </a:tr>
              <a:tr h="542643">
                <a:tc>
                  <a:txBody>
                    <a:bodyPr/>
                    <a:lstStyle/>
                    <a:p>
                      <a:pPr marL="0" algn="l" defTabSz="932742" rtl="0" eaLnBrk="1" latinLnBrk="0" hangingPunct="1">
                        <a:spcAft>
                          <a:spcPts val="300"/>
                        </a:spcAft>
                      </a:pPr>
                      <a:r>
                        <a:rPr lang="en-US" sz="1800" b="1" kern="1200">
                          <a:gradFill>
                            <a:gsLst>
                              <a:gs pos="1000">
                                <a:schemeClr val="tx1"/>
                              </a:gs>
                              <a:gs pos="99000">
                                <a:schemeClr val="tx1">
                                  <a:alpha val="83000"/>
                                </a:schemeClr>
                              </a:gs>
                            </a:gsLst>
                            <a:lin ang="16200000" scaled="1"/>
                          </a:gradFill>
                          <a:latin typeface="+mj-lt"/>
                          <a:ea typeface="+mn-ea"/>
                          <a:cs typeface="+mn-cs"/>
                        </a:rPr>
                        <a:t>Save on Automation &amp; Process Improvements</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eDiscovery analysis effort</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time spent on compliance audits and processes</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Automate investigations with Microsoft Sentinel </a:t>
                      </a:r>
                    </a:p>
                    <a:p>
                      <a:pPr marL="0" algn="l" defTabSz="932742" rtl="0" eaLnBrk="1" latinLnBrk="0" hangingPunct="1">
                        <a:spcAft>
                          <a:spcPts val="300"/>
                        </a:spcAft>
                      </a:pPr>
                      <a:r>
                        <a:rPr lang="en-US" sz="1400" kern="1200">
                          <a:gradFill>
                            <a:gsLst>
                              <a:gs pos="1000">
                                <a:schemeClr val="tx1"/>
                              </a:gs>
                              <a:gs pos="99000">
                                <a:schemeClr val="tx1">
                                  <a:alpha val="83000"/>
                                </a:schemeClr>
                              </a:gs>
                            </a:gsLst>
                            <a:lin ang="16200000" scaled="1"/>
                          </a:gradFill>
                          <a:latin typeface="+mn-lt"/>
                          <a:ea typeface="+mn-ea"/>
                          <a:cs typeface="+mn-cs"/>
                        </a:rPr>
                        <a:t>Reduced downtime through improved application performance </a:t>
                      </a:r>
                    </a:p>
                    <a:p>
                      <a:pPr marL="0" marR="0" lvl="0" indent="0" algn="l" defTabSz="932742" rtl="0" eaLnBrk="1" fontAlgn="auto" latinLnBrk="0" hangingPunct="1">
                        <a:lnSpc>
                          <a:spcPct val="100000"/>
                        </a:lnSpc>
                        <a:spcBef>
                          <a:spcPts val="0"/>
                        </a:spcBef>
                        <a:spcAft>
                          <a:spcPts val="300"/>
                        </a:spcAft>
                        <a:buClrTx/>
                        <a:buSzTx/>
                        <a:buFontTx/>
                        <a:buNone/>
                        <a:tabLst/>
                        <a:defRPr/>
                      </a:pPr>
                      <a:r>
                        <a:rPr lang="en-US" sz="1400" kern="1200">
                          <a:gradFill>
                            <a:gsLst>
                              <a:gs pos="1000">
                                <a:schemeClr val="tx1"/>
                              </a:gs>
                              <a:gs pos="99000">
                                <a:schemeClr val="tx1">
                                  <a:alpha val="83000"/>
                                </a:schemeClr>
                              </a:gs>
                            </a:gsLst>
                            <a:lin ang="16200000" scaled="1"/>
                          </a:gradFill>
                          <a:latin typeface="+mn-lt"/>
                          <a:ea typeface="+mn-ea"/>
                          <a:cs typeface="+mn-cs"/>
                        </a:rPr>
                        <a:t>Improved cloud app security audit reporting</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spcAft>
                          <a:spcPts val="300"/>
                        </a:spcAft>
                      </a:pPr>
                      <a:endParaRPr lang="en-US" sz="1800" b="1" kern="1200">
                        <a:gradFill>
                          <a:gsLst>
                            <a:gs pos="1000">
                              <a:schemeClr val="tx1"/>
                            </a:gs>
                            <a:gs pos="99000">
                              <a:schemeClr val="tx1">
                                <a:alpha val="83000"/>
                              </a:schemeClr>
                            </a:gs>
                          </a:gsLst>
                          <a:lin ang="16200000" scaled="1"/>
                        </a:gradFill>
                        <a:latin typeface="+mj-lt"/>
                        <a:ea typeface="+mn-ea"/>
                        <a:cs typeface="+mn-cs"/>
                      </a:endParaRP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309,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22,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9,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151,000</a:t>
                      </a:r>
                    </a:p>
                    <a:p>
                      <a:pPr algn="r" fontAlgn="ctr">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4,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32742" rtl="0" eaLnBrk="1" fontAlgn="ctr" latinLnBrk="0" hangingPunct="1">
                        <a:spcAft>
                          <a:spcPts val="300"/>
                        </a:spcAft>
                      </a:pPr>
                      <a:endParaRPr lang="en-US" sz="1800" b="0" kern="1200">
                        <a:gradFill>
                          <a:gsLst>
                            <a:gs pos="1000">
                              <a:schemeClr val="tx1"/>
                            </a:gs>
                            <a:gs pos="99000">
                              <a:schemeClr val="tx1">
                                <a:alpha val="83000"/>
                              </a:schemeClr>
                            </a:gs>
                          </a:gsLst>
                          <a:lin ang="16200000" scaled="1"/>
                        </a:gradFill>
                        <a:latin typeface="+mj-lt"/>
                        <a:ea typeface="+mn-ea"/>
                        <a:cs typeface="+mn-cs"/>
                      </a:endParaRP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654,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1,411,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9,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575,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4,000 </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32742" rtl="0" eaLnBrk="1" fontAlgn="ctr" latinLnBrk="0" hangingPunct="1">
                        <a:spcAft>
                          <a:spcPts val="300"/>
                        </a:spcAft>
                      </a:pPr>
                      <a:endParaRPr lang="en-US" sz="1800" b="0" kern="1200">
                        <a:gradFill>
                          <a:gsLst>
                            <a:gs pos="1000">
                              <a:schemeClr val="tx1"/>
                            </a:gs>
                            <a:gs pos="99000">
                              <a:schemeClr val="tx1">
                                <a:alpha val="83000"/>
                              </a:schemeClr>
                            </a:gs>
                          </a:gsLst>
                          <a:lin ang="16200000" scaled="1"/>
                        </a:gradFill>
                        <a:latin typeface="+mj-lt"/>
                        <a:ea typeface="+mn-ea"/>
                        <a:cs typeface="+mn-cs"/>
                      </a:endParaRP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327,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705,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9,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87,000</a:t>
                      </a:r>
                    </a:p>
                    <a:p>
                      <a:pPr marL="0" algn="r" defTabSz="932742" rtl="0" eaLnBrk="1" fontAlgn="ctr" latinLnBrk="0" hangingPunct="1">
                        <a:spcAft>
                          <a:spcPts val="300"/>
                        </a:spcAft>
                      </a:pPr>
                      <a:r>
                        <a:rPr lang="en-US" sz="1400" b="0" kern="1200">
                          <a:gradFill>
                            <a:gsLst>
                              <a:gs pos="1000">
                                <a:schemeClr val="tx1"/>
                              </a:gs>
                              <a:gs pos="99000">
                                <a:schemeClr val="tx1">
                                  <a:alpha val="83000"/>
                                </a:schemeClr>
                              </a:gs>
                            </a:gsLst>
                            <a:lin ang="16200000" scaled="1"/>
                          </a:gradFill>
                          <a:latin typeface="+mj-lt"/>
                          <a:ea typeface="+mn-ea"/>
                          <a:cs typeface="+mn-cs"/>
                        </a:rPr>
                        <a:t>$24,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525413"/>
                  </a:ext>
                </a:extLst>
              </a:tr>
              <a:tr h="588554">
                <a:tc>
                  <a:txBody>
                    <a:bodyPr/>
                    <a:lstStyle/>
                    <a:p>
                      <a:pPr marL="0" algn="r" defTabSz="914367" rtl="0" eaLnBrk="1" latinLnBrk="0" hangingPunct="1"/>
                      <a:r>
                        <a:rPr lang="en-US" sz="1600" b="1" kern="1200">
                          <a:gradFill>
                            <a:gsLst>
                              <a:gs pos="1000">
                                <a:schemeClr val="tx1"/>
                              </a:gs>
                              <a:gs pos="99000">
                                <a:schemeClr val="tx1">
                                  <a:alpha val="83000"/>
                                </a:schemeClr>
                              </a:gs>
                            </a:gsLst>
                            <a:lin ang="16200000" scaled="1"/>
                          </a:gradFill>
                          <a:latin typeface="+mj-lt"/>
                          <a:ea typeface="+mn-ea"/>
                          <a:cs typeface="+mn-cs"/>
                        </a:rPr>
                        <a:t>Potential cost savings per year</a:t>
                      </a:r>
                    </a:p>
                  </a:txBody>
                  <a:tcPr marL="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 </a:t>
                      </a:r>
                      <a:br>
                        <a:rPr kumimoji="0" lang="en-US" sz="1000" b="0" i="0" u="none" strike="noStrike" kern="1200" cap="none" spc="-49" normalizeH="0" baseline="0" noProof="0">
                          <a:ln>
                            <a:noFill/>
                          </a:ln>
                          <a:gradFill>
                            <a:gsLst>
                              <a:gs pos="1000">
                                <a:schemeClr val="tx1"/>
                              </a:gs>
                              <a:gs pos="99000">
                                <a:schemeClr val="tx1">
                                  <a:alpha val="83000"/>
                                </a:schemeClr>
                              </a:gs>
                            </a:gsLst>
                            <a:lin ang="16200000" scaled="1"/>
                          </a:gradFill>
                          <a:effectLst/>
                          <a:uLnTx/>
                          <a:uFillTx/>
                          <a:latin typeface="+mj-lt"/>
                          <a:ea typeface="+mn-ea"/>
                          <a:cs typeface="+mn-cs"/>
                        </a:rPr>
                      </a:br>
                      <a:r>
                        <a:rPr lang="en-US" sz="2400" b="0" kern="1200" noProof="0">
                          <a:gradFill>
                            <a:gsLst>
                              <a:gs pos="1000">
                                <a:schemeClr val="accent3"/>
                              </a:gs>
                              <a:gs pos="99000">
                                <a:schemeClr val="accent3"/>
                              </a:gs>
                            </a:gsLst>
                            <a:lin ang="16200000" scaled="1"/>
                          </a:gradFill>
                          <a:latin typeface="+mj-lt"/>
                          <a:ea typeface="+mn-ea"/>
                          <a:cs typeface="+mn-cs"/>
                        </a:rPr>
                        <a:t>$5.5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 </a:t>
                      </a:r>
                      <a:br>
                        <a:rPr lang="en-US" sz="1600" b="0" kern="1200" noProof="0">
                          <a:gradFill>
                            <a:gsLst>
                              <a:gs pos="1000">
                                <a:schemeClr val="tx1"/>
                              </a:gs>
                              <a:gs pos="99000">
                                <a:schemeClr val="tx1">
                                  <a:alpha val="83000"/>
                                </a:schemeClr>
                              </a:gs>
                            </a:gsLst>
                            <a:lin ang="16200000" scaled="1"/>
                          </a:gradFill>
                          <a:latin typeface="+mj-lt"/>
                          <a:ea typeface="+mn-ea"/>
                          <a:cs typeface="+mn-cs"/>
                        </a:rPr>
                      </a:br>
                      <a:r>
                        <a:rPr lang="en-US" sz="2400" b="0" kern="1200" noProof="0">
                          <a:gradFill>
                            <a:gsLst>
                              <a:gs pos="1000">
                                <a:schemeClr val="accent3"/>
                              </a:gs>
                              <a:gs pos="99000">
                                <a:schemeClr val="accent3"/>
                              </a:gs>
                            </a:gsLst>
                            <a:lin ang="16200000" scaled="1"/>
                          </a:gradFill>
                          <a:latin typeface="+mj-lt"/>
                          <a:ea typeface="+mn-ea"/>
                          <a:cs typeface="+mn-cs"/>
                        </a:rPr>
                        <a:t>$4.2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63" rtl="0" eaLnBrk="1" fontAlgn="auto" latinLnBrk="0" hangingPunct="1">
                        <a:lnSpc>
                          <a:spcPct val="100000"/>
                        </a:lnSpc>
                        <a:spcBef>
                          <a:spcPts val="0"/>
                        </a:spcBef>
                        <a:spcAft>
                          <a:spcPts val="588"/>
                        </a:spcAft>
                        <a:buClrTx/>
                        <a:buSzTx/>
                        <a:buFontTx/>
                        <a:buNone/>
                        <a:tabLst/>
                        <a:defRPr/>
                      </a:pPr>
                      <a:r>
                        <a:rPr lang="en-US" sz="1600" b="0" kern="1200" noProof="0">
                          <a:gradFill>
                            <a:gsLst>
                              <a:gs pos="1000">
                                <a:schemeClr val="tx1"/>
                              </a:gs>
                              <a:gs pos="99000">
                                <a:schemeClr val="tx1">
                                  <a:alpha val="83000"/>
                                </a:schemeClr>
                              </a:gs>
                            </a:gsLst>
                            <a:lin ang="16200000" scaled="1"/>
                          </a:gradFill>
                          <a:latin typeface="+mj-lt"/>
                          <a:ea typeface="+mn-ea"/>
                          <a:cs typeface="+mn-cs"/>
                        </a:rPr>
                        <a:t>Up to</a:t>
                      </a:r>
                      <a:br>
                        <a:rPr lang="en-US" sz="1600" b="0" kern="1200" noProof="0">
                          <a:gradFill>
                            <a:gsLst>
                              <a:gs pos="1000">
                                <a:schemeClr val="tx1"/>
                              </a:gs>
                              <a:gs pos="99000">
                                <a:schemeClr val="tx1">
                                  <a:alpha val="83000"/>
                                </a:schemeClr>
                              </a:gs>
                            </a:gsLst>
                            <a:lin ang="16200000" scaled="1"/>
                          </a:gradFill>
                          <a:latin typeface="+mj-lt"/>
                          <a:ea typeface="+mn-ea"/>
                          <a:cs typeface="+mn-cs"/>
                        </a:rPr>
                      </a:br>
                      <a:r>
                        <a:rPr lang="en-US" sz="2400" b="0" kern="1200" noProof="0">
                          <a:gradFill>
                            <a:gsLst>
                              <a:gs pos="1000">
                                <a:schemeClr val="accent3"/>
                              </a:gs>
                              <a:gs pos="99000">
                                <a:schemeClr val="accent3"/>
                              </a:gs>
                            </a:gsLst>
                            <a:lin ang="16200000" scaled="1"/>
                          </a:gradFill>
                          <a:latin typeface="+mj-lt"/>
                          <a:ea typeface="+mn-ea"/>
                          <a:cs typeface="+mn-cs"/>
                        </a:rPr>
                        <a:t>$2.2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3300297"/>
                  </a:ext>
                </a:extLst>
              </a:tr>
            </a:tbl>
          </a:graphicData>
        </a:graphic>
      </p:graphicFrame>
      <p:sp>
        <p:nvSpPr>
          <p:cNvPr id="8" name="TextBox 1">
            <a:extLst>
              <a:ext uri="{FF2B5EF4-FFF2-40B4-BE49-F238E27FC236}">
                <a16:creationId xmlns:a16="http://schemas.microsoft.com/office/drawing/2014/main" id="{B50B9EEF-75C7-4FBB-8CE9-197204A917FF}"/>
              </a:ext>
            </a:extLst>
          </p:cNvPr>
          <p:cNvSpPr txBox="1"/>
          <p:nvPr/>
        </p:nvSpPr>
        <p:spPr>
          <a:xfrm>
            <a:off x="588262" y="6199439"/>
            <a:ext cx="11142184" cy="338554"/>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ounded estimates based on commissioned Forrester TEI studies and Microsoft Value calculator and illustrate annual costs for a 20,000, 10,000 and 5,000 employee organizations with Microsoft Sentinel 500 GB daily log absorption. C</a:t>
            </a:r>
            <a:r>
              <a:rPr kumimoji="0" lang="en-US" altLang="ja-JP" sz="1100" b="0" i="0" u="none" strike="noStrike" kern="1200" cap="none" spc="0" normalizeH="0" baseline="0" noProof="0">
                <a:ln>
                  <a:noFill/>
                </a:ln>
                <a:solidFill>
                  <a:srgbClr val="000000"/>
                </a:solidFill>
                <a:effectLst/>
                <a:uLnTx/>
                <a:uFillTx/>
                <a:latin typeface="Segoe UI"/>
                <a:ea typeface="+mn-ea"/>
                <a:cs typeface="Segoe UI"/>
              </a:rPr>
              <a:t>ontact your Microsoft representative for estimates for your organization. </a:t>
            </a: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9868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42016DE-5363-D581-90AD-518F606D2C1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auto">
          <a:xfrm>
            <a:off x="4455043" y="0"/>
            <a:ext cx="773695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Title 1">
            <a:extLst>
              <a:ext uri="{FF2B5EF4-FFF2-40B4-BE49-F238E27FC236}">
                <a16:creationId xmlns:a16="http://schemas.microsoft.com/office/drawing/2014/main" id="{E717BE8F-F2A2-2D16-B502-F7D2437A2049}"/>
              </a:ext>
            </a:extLst>
          </p:cNvPr>
          <p:cNvSpPr>
            <a:spLocks noGrp="1"/>
          </p:cNvSpPr>
          <p:nvPr>
            <p:ph type="title"/>
          </p:nvPr>
        </p:nvSpPr>
        <p:spPr>
          <a:xfrm>
            <a:off x="584200" y="525353"/>
            <a:ext cx="3996263" cy="553998"/>
          </a:xfrm>
        </p:spPr>
        <p:txBody>
          <a:bodyPr>
            <a:noAutofit/>
          </a:bodyPr>
          <a:lstStyle/>
          <a:p>
            <a:r>
              <a:rPr lang="en-US" dirty="0">
                <a:gradFill>
                  <a:gsLst>
                    <a:gs pos="83000">
                      <a:schemeClr val="tx1"/>
                    </a:gs>
                    <a:gs pos="100000">
                      <a:schemeClr val="tx1"/>
                    </a:gs>
                  </a:gsLst>
                  <a:lin ang="5400000" scaled="1"/>
                </a:gradFill>
              </a:rPr>
              <a:t>CISOs are under pressure to</a:t>
            </a:r>
            <a:br>
              <a:rPr lang="en-US" dirty="0">
                <a:gradFill>
                  <a:gsLst>
                    <a:gs pos="83000">
                      <a:schemeClr val="tx1"/>
                    </a:gs>
                    <a:gs pos="100000">
                      <a:schemeClr val="tx1"/>
                    </a:gs>
                  </a:gsLst>
                  <a:lin ang="5400000" scaled="1"/>
                </a:gradFill>
              </a:rPr>
            </a:br>
            <a:r>
              <a:rPr lang="en-US" dirty="0">
                <a:gradFill>
                  <a:gsLst>
                    <a:gs pos="83000">
                      <a:schemeClr val="tx1"/>
                    </a:gs>
                    <a:gs pos="100000">
                      <a:schemeClr val="tx1"/>
                    </a:gs>
                  </a:gsLst>
                  <a:lin ang="5400000" scaled="1"/>
                </a:gradFill>
              </a:rPr>
              <a:t>contain costs </a:t>
            </a:r>
          </a:p>
        </p:txBody>
      </p:sp>
      <p:sp>
        <p:nvSpPr>
          <p:cNvPr id="8" name="Rectangle 7">
            <a:extLst>
              <a:ext uri="{FF2B5EF4-FFF2-40B4-BE49-F238E27FC236}">
                <a16:creationId xmlns:a16="http://schemas.microsoft.com/office/drawing/2014/main" id="{22405D33-4DCE-9254-EB32-925F2DE09ABB}"/>
              </a:ext>
            </a:extLst>
          </p:cNvPr>
          <p:cNvSpPr/>
          <p:nvPr/>
        </p:nvSpPr>
        <p:spPr>
          <a:xfrm>
            <a:off x="5117388" y="543594"/>
            <a:ext cx="2956300" cy="2308324"/>
          </a:xfrm>
          <a:prstGeom prst="rect">
            <a:avLst/>
          </a:prstGeom>
        </p:spPr>
        <p:txBody>
          <a:bodyPr wrap="square">
            <a:spAutoFit/>
          </a:bodyPr>
          <a:lstStyle/>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Conventional security tools </a:t>
            </a:r>
            <a:r>
              <a:rPr kumimoji="0" lang="en-US" sz="1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rPr>
              <a:t>have not kept pace</a:t>
            </a:r>
          </a:p>
          <a:p>
            <a:pPr marL="0" marR="0" lvl="0" indent="0" algn="l" defTabSz="9117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endParaRPr>
          </a:p>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Cost of security </a:t>
            </a:r>
            <a:b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br>
            <a: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breaches </a:t>
            </a:r>
            <a:r>
              <a:rPr kumimoji="0" lang="en-US" sz="1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rPr>
              <a:t>is rising </a:t>
            </a:r>
          </a:p>
          <a:p>
            <a:pPr marL="0" marR="0" lvl="0" indent="0" algn="l" defTabSz="9117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endParaRPr>
          </a:p>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Resources are </a:t>
            </a:r>
            <a:b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br>
            <a:r>
              <a:rPr kumimoji="0" lang="en-US" sz="1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rPr>
              <a:t>constrained</a:t>
            </a:r>
            <a: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 </a:t>
            </a:r>
            <a:endParaRPr kumimoji="0" lang="en-US" sz="1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endParaRPr>
          </a:p>
        </p:txBody>
      </p:sp>
      <p:sp>
        <p:nvSpPr>
          <p:cNvPr id="36" name="TextBox 35">
            <a:extLst>
              <a:ext uri="{FF2B5EF4-FFF2-40B4-BE49-F238E27FC236}">
                <a16:creationId xmlns:a16="http://schemas.microsoft.com/office/drawing/2014/main" id="{A79DFC38-A636-1C3A-D544-64153159BEE2}"/>
              </a:ext>
            </a:extLst>
          </p:cNvPr>
          <p:cNvSpPr txBox="1"/>
          <p:nvPr/>
        </p:nvSpPr>
        <p:spPr>
          <a:xfrm>
            <a:off x="9053623" y="525353"/>
            <a:ext cx="2776428" cy="1569660"/>
          </a:xfrm>
          <a:prstGeom prst="rect">
            <a:avLst/>
          </a:prstGeom>
          <a:noFill/>
        </p:spPr>
        <p:txBody>
          <a:bodyPr wrap="square" lIns="0">
            <a:spAutoFit/>
          </a:bodyPr>
          <a:lstStyle/>
          <a:p>
            <a:pPr marL="79375" marR="0" lvl="0" indent="-79375"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Boards are now pushing back for improved understanding of what they have achieved</a:t>
            </a:r>
            <a:br>
              <a:rPr kumimoji="0" lang="en-US" sz="1600" b="0" i="1"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br>
            <a:r>
              <a:rPr kumimoji="0" lang="en-US" sz="1600" b="0" i="1"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after years of such heavy investment.”</a:t>
            </a:r>
            <a:r>
              <a:rPr kumimoji="0" lang="en-US" sz="1000" b="0" i="1" u="none" strike="noStrike" kern="1200" cap="none" spc="0" normalizeH="0" baseline="30000" noProof="0" dirty="0">
                <a:ln>
                  <a:noFill/>
                </a:ln>
                <a:solidFill>
                  <a:srgbClr val="000000"/>
                </a:solidFill>
                <a:effectLst/>
                <a:uLnTx/>
                <a:uFillTx/>
                <a:latin typeface="Segoe UI Semibold"/>
                <a:ea typeface="+mn-ea"/>
                <a:cs typeface="+mn-cs"/>
              </a:rPr>
              <a:t> </a:t>
            </a:r>
            <a:r>
              <a:rPr kumimoji="0" lang="en-US" sz="1050" b="0" i="1" u="none" strike="noStrike" kern="1200" cap="none" spc="0" normalizeH="0" baseline="30000" noProof="0" dirty="0">
                <a:ln>
                  <a:noFill/>
                </a:ln>
                <a:solidFill>
                  <a:srgbClr val="000000"/>
                </a:solidFill>
                <a:effectLst/>
                <a:uLnTx/>
                <a:uFillTx/>
                <a:latin typeface="Segoe UI Semibold"/>
                <a:ea typeface="+mn-ea"/>
                <a:cs typeface="+mn-cs"/>
              </a:rPr>
              <a:t>1 </a:t>
            </a:r>
            <a:endParaRPr kumimoji="0" lang="en-US" sz="18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pic>
        <p:nvPicPr>
          <p:cNvPr id="31" name="Picture 2" descr="Gartner logo">
            <a:extLst>
              <a:ext uri="{FF2B5EF4-FFF2-40B4-BE49-F238E27FC236}">
                <a16:creationId xmlns:a16="http://schemas.microsoft.com/office/drawing/2014/main" id="{4DE5AE1B-FC7E-8A79-4B03-70C674A54626}"/>
              </a:ext>
            </a:extLst>
          </p:cNvPr>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100000" contrast="69000"/>
                    </a14:imgEffect>
                  </a14:imgLayer>
                </a14:imgProps>
              </a:ext>
              <a:ext uri="{28A0092B-C50C-407E-A947-70E740481C1C}">
                <a14:useLocalDpi xmlns:a14="http://schemas.microsoft.com/office/drawing/2010/main"/>
              </a:ext>
            </a:extLst>
          </a:blip>
          <a:srcRect/>
          <a:stretch/>
        </p:blipFill>
        <p:spPr bwMode="auto">
          <a:xfrm>
            <a:off x="9144511" y="2223082"/>
            <a:ext cx="1255370" cy="28715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4AB993A-CAEE-50A4-1CA0-4ABC354F0707}"/>
              </a:ext>
            </a:extLst>
          </p:cNvPr>
          <p:cNvSpPr txBox="1"/>
          <p:nvPr/>
        </p:nvSpPr>
        <p:spPr>
          <a:xfrm>
            <a:off x="9019747" y="2672428"/>
            <a:ext cx="2853958" cy="323165"/>
          </a:xfrm>
          <a:prstGeom prst="rect">
            <a:avLst/>
          </a:prstGeom>
          <a:noFill/>
        </p:spPr>
        <p:txBody>
          <a:bodyPr wrap="square">
            <a:spAutoFit/>
          </a:bodyPr>
          <a:lstStyle/>
          <a:p>
            <a:pPr marL="52388" marR="0" lvl="0" indent="0" algn="l" defTabSz="914400" rtl="0" eaLnBrk="1" fontAlgn="auto" latinLnBrk="0" hangingPunct="1">
              <a:lnSpc>
                <a:spcPts val="9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panose="020B0502040204020203" pitchFamily="34" charset="0"/>
                <a:ea typeface="+mn-ea"/>
                <a:cs typeface="Segoe UI" panose="020B0502040204020203" pitchFamily="34" charset="0"/>
              </a:rPr>
              <a:t>Paul Proctor</a:t>
            </a:r>
            <a:br>
              <a:rPr kumimoji="0" lang="en-US" sz="9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br>
            <a:r>
              <a:rPr kumimoji="0" lang="en-US" sz="9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Distinguished VP Analyst, Gartner</a:t>
            </a:r>
          </a:p>
        </p:txBody>
      </p:sp>
      <p:sp>
        <p:nvSpPr>
          <p:cNvPr id="33" name="Rectangle 32">
            <a:extLst>
              <a:ext uri="{FF2B5EF4-FFF2-40B4-BE49-F238E27FC236}">
                <a16:creationId xmlns:a16="http://schemas.microsoft.com/office/drawing/2014/main" id="{BF306FC1-337B-898E-5DE6-40CFE137B8F7}"/>
              </a:ext>
            </a:extLst>
          </p:cNvPr>
          <p:cNvSpPr/>
          <p:nvPr/>
        </p:nvSpPr>
        <p:spPr>
          <a:xfrm>
            <a:off x="5150626" y="3743995"/>
            <a:ext cx="6645826" cy="646331"/>
          </a:xfrm>
          <a:prstGeom prst="rect">
            <a:avLst/>
          </a:prstGeom>
        </p:spPr>
        <p:txBody>
          <a:bodyPr wrap="square">
            <a:spAutoFit/>
          </a:bodyPr>
          <a:lstStyle/>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Significantly more security decision makers have felt pressure to cut costs within the past 6 months</a:t>
            </a:r>
            <a:r>
              <a:rPr kumimoji="0" lang="en-US" sz="1400" b="0" i="0" u="none" strike="noStrike" kern="1200" cap="none" spc="0" normalizeH="0" baseline="30000" noProof="0" dirty="0">
                <a:ln w="3175">
                  <a:noFill/>
                </a:ln>
                <a:solidFill>
                  <a:srgbClr val="000000"/>
                </a:solidFill>
                <a:effectLst/>
                <a:uLnTx/>
                <a:uFillTx/>
                <a:latin typeface="Segoe UI" panose="020B0502040204020203" pitchFamily="34" charset="0"/>
                <a:ea typeface="+mn-ea"/>
                <a:cs typeface="Segoe UI Semilight" panose="020B0402040204020203" pitchFamily="34" charset="0"/>
              </a:rPr>
              <a:t>2</a:t>
            </a:r>
            <a:endParaRPr kumimoji="0" lang="en-US" sz="1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endParaRPr>
          </a:p>
        </p:txBody>
      </p:sp>
      <p:grpSp>
        <p:nvGrpSpPr>
          <p:cNvPr id="3" name="Group 2" descr="82% feel pressured to lower costs 3&#10;">
            <a:extLst>
              <a:ext uri="{FF2B5EF4-FFF2-40B4-BE49-F238E27FC236}">
                <a16:creationId xmlns:a16="http://schemas.microsoft.com/office/drawing/2014/main" id="{73E2BF53-5E4E-3DFE-887B-0DF4957CD462}"/>
              </a:ext>
            </a:extLst>
          </p:cNvPr>
          <p:cNvGrpSpPr/>
          <p:nvPr/>
        </p:nvGrpSpPr>
        <p:grpSpPr>
          <a:xfrm>
            <a:off x="5117388" y="4799080"/>
            <a:ext cx="2211152" cy="1008741"/>
            <a:chOff x="5673774" y="3142524"/>
            <a:chExt cx="2211152" cy="1008741"/>
          </a:xfrm>
        </p:grpSpPr>
        <p:sp>
          <p:nvSpPr>
            <p:cNvPr id="4" name="TextBox 2">
              <a:extLst>
                <a:ext uri="{FF2B5EF4-FFF2-40B4-BE49-F238E27FC236}">
                  <a16:creationId xmlns:a16="http://schemas.microsoft.com/office/drawing/2014/main" id="{83104056-AB04-50D9-A935-D47F7FA05703}"/>
                </a:ext>
              </a:extLst>
            </p:cNvPr>
            <p:cNvSpPr txBox="1"/>
            <p:nvPr/>
          </p:nvSpPr>
          <p:spPr>
            <a:xfrm>
              <a:off x="5673774" y="3566490"/>
              <a:ext cx="2211152" cy="584775"/>
            </a:xfrm>
            <a:prstGeom prst="rect">
              <a:avLst/>
            </a:prstGeom>
            <a:noFill/>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Segoe UI Semibold" panose="020B0502040204020203" pitchFamily="34" charset="0"/>
                </a:rPr>
                <a:t>feel pressured to lower costs</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 </a:t>
              </a:r>
              <a:r>
                <a:rPr kumimoji="0" lang="en-US" sz="105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3</a:t>
              </a:r>
            </a:p>
          </p:txBody>
        </p:sp>
        <p:sp>
          <p:nvSpPr>
            <p:cNvPr id="5" name="TextBox 3">
              <a:extLst>
                <a:ext uri="{FF2B5EF4-FFF2-40B4-BE49-F238E27FC236}">
                  <a16:creationId xmlns:a16="http://schemas.microsoft.com/office/drawing/2014/main" id="{ADEE2C1D-4762-35B0-867E-7C7958D0D939}"/>
                </a:ext>
              </a:extLst>
            </p:cNvPr>
            <p:cNvSpPr txBox="1"/>
            <p:nvPr/>
          </p:nvSpPr>
          <p:spPr>
            <a:xfrm>
              <a:off x="5716284" y="3142524"/>
              <a:ext cx="883575" cy="430887"/>
            </a:xfrm>
            <a:prstGeom prst="rect">
              <a:avLst/>
            </a:prstGeom>
            <a:noFill/>
          </p:spPr>
          <p:txBody>
            <a:bodyPr wrap="none" t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mn-cs"/>
                </a:rPr>
                <a:t>82%</a:t>
              </a:r>
              <a:endParaRPr kumimoji="0" lang="en-US" sz="28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34" name="Group 33" descr="#1 priority to reduce cost is improved threat protection">
            <a:extLst>
              <a:ext uri="{FF2B5EF4-FFF2-40B4-BE49-F238E27FC236}">
                <a16:creationId xmlns:a16="http://schemas.microsoft.com/office/drawing/2014/main" id="{F00536F9-9D35-9078-DF5F-0EF3FEDFACFB}"/>
              </a:ext>
            </a:extLst>
          </p:cNvPr>
          <p:cNvGrpSpPr/>
          <p:nvPr/>
        </p:nvGrpSpPr>
        <p:grpSpPr>
          <a:xfrm>
            <a:off x="8924364" y="4704163"/>
            <a:ext cx="2583352" cy="1293219"/>
            <a:chOff x="5405786" y="4602625"/>
            <a:chExt cx="5568566" cy="966607"/>
          </a:xfrm>
        </p:grpSpPr>
        <p:sp>
          <p:nvSpPr>
            <p:cNvPr id="43" name="TextBox 42">
              <a:extLst>
                <a:ext uri="{FF2B5EF4-FFF2-40B4-BE49-F238E27FC236}">
                  <a16:creationId xmlns:a16="http://schemas.microsoft.com/office/drawing/2014/main" id="{6A01A31B-980F-877E-B58E-312BDAA5D57E}"/>
                </a:ext>
              </a:extLst>
            </p:cNvPr>
            <p:cNvSpPr txBox="1"/>
            <p:nvPr/>
          </p:nvSpPr>
          <p:spPr>
            <a:xfrm>
              <a:off x="5478808" y="4948110"/>
              <a:ext cx="5495544" cy="621122"/>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Segoe UI Semibold" panose="020B0502040204020203" pitchFamily="34" charset="0"/>
                </a:rPr>
                <a:t>priority to reduce cost is improved threat protection</a:t>
              </a:r>
              <a:endParaRPr kumimoji="0" lang="en-US" sz="1600" b="1"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Segoe UI Semibold" panose="020B0502040204020203" pitchFamily="34" charset="0"/>
                <a:ea typeface="+mn-ea"/>
                <a:cs typeface="Segoe UI Semibold" panose="020B0502040204020203" pitchFamily="34" charset="0"/>
              </a:endParaRPr>
            </a:p>
          </p:txBody>
        </p:sp>
        <p:sp>
          <p:nvSpPr>
            <p:cNvPr id="44" name="TextBox 43">
              <a:extLst>
                <a:ext uri="{FF2B5EF4-FFF2-40B4-BE49-F238E27FC236}">
                  <a16:creationId xmlns:a16="http://schemas.microsoft.com/office/drawing/2014/main" id="{F2ADB8E5-6E86-94FB-A9D0-2E38BFAC2C39}"/>
                </a:ext>
              </a:extLst>
            </p:cNvPr>
            <p:cNvSpPr txBox="1"/>
            <p:nvPr/>
          </p:nvSpPr>
          <p:spPr>
            <a:xfrm>
              <a:off x="5405786" y="4602625"/>
              <a:ext cx="1583173" cy="322063"/>
            </a:xfrm>
            <a:prstGeom prst="rect">
              <a:avLst/>
            </a:prstGeom>
            <a:noFill/>
          </p:spPr>
          <p:txBody>
            <a:bodyPr wrap="square" t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mn-cs"/>
                </a:rPr>
                <a:t>#1</a:t>
              </a:r>
            </a:p>
          </p:txBody>
        </p:sp>
      </p:grpSp>
      <p:sp>
        <p:nvSpPr>
          <p:cNvPr id="37" name="TextBox 1">
            <a:extLst>
              <a:ext uri="{FF2B5EF4-FFF2-40B4-BE49-F238E27FC236}">
                <a16:creationId xmlns:a16="http://schemas.microsoft.com/office/drawing/2014/main" id="{D68E9ABE-3D2F-F3CD-2851-E09ACF84DA34}"/>
              </a:ext>
            </a:extLst>
          </p:cNvPr>
          <p:cNvSpPr txBox="1"/>
          <p:nvPr/>
        </p:nvSpPr>
        <p:spPr>
          <a:xfrm>
            <a:off x="5233151" y="6378043"/>
            <a:ext cx="6480776" cy="418576"/>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 </a:t>
            </a:r>
            <a:r>
              <a:rPr kumimoji="0" lang="en-US" sz="800" b="0" i="0" u="none" strike="noStrike" kern="1200" cap="none" spc="0" normalizeH="0" baseline="0" noProof="0" dirty="0">
                <a:ln>
                  <a:noFill/>
                </a:ln>
                <a:solidFill>
                  <a:srgbClr val="000000"/>
                </a:solidFill>
                <a:effectLst/>
                <a:uLnTx/>
                <a:uFillTx/>
                <a:latin typeface="Segoe UI"/>
                <a:ea typeface="+mn-ea"/>
                <a:cs typeface="+mn-cs"/>
              </a:rPr>
              <a:t>“The Urgency to Treat Cybersecurity as a Business Decision” February, 2020</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2  </a:t>
            </a:r>
            <a:r>
              <a:rPr kumimoji="0" lang="en-US" sz="800" b="0" i="0" u="none" strike="noStrike" kern="1200" cap="none" spc="0" normalizeH="0" baseline="0" noProof="0" dirty="0">
                <a:ln>
                  <a:noFill/>
                </a:ln>
                <a:solidFill>
                  <a:srgbClr val="242424"/>
                </a:solidFill>
                <a:effectLst/>
                <a:uLnTx/>
                <a:uFillTx/>
                <a:latin typeface="-apple-system"/>
                <a:ea typeface="+mn-ea"/>
                <a:cs typeface="+mn-cs"/>
              </a:rPr>
              <a:t>March 2022 survey of 501 US Security Decision Makers commissioned by Microsoft from agency, Vital Findings</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3 </a:t>
            </a: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Pandemic CISO Survey” 2020</a:t>
            </a:r>
            <a:endParaRPr kumimoji="0" lang="en-US" sz="800" b="0" i="1" u="none" strike="noStrike" kern="1200" cap="none" spc="0" normalizeH="0" baseline="0" noProof="0" dirty="0">
              <a:ln>
                <a:noFill/>
              </a:ln>
              <a:solidFill>
                <a:srgbClr val="000000"/>
              </a:solidFill>
              <a:effectLst/>
              <a:uLnTx/>
              <a:uFillTx/>
              <a:latin typeface="Segoe UI"/>
              <a:ea typeface="+mn-ea"/>
              <a:cs typeface="+mn-cs"/>
            </a:endParaRPr>
          </a:p>
        </p:txBody>
      </p:sp>
      <p:cxnSp>
        <p:nvCxnSpPr>
          <p:cNvPr id="24" name="Straight Connector 23">
            <a:extLst>
              <a:ext uri="{FF2B5EF4-FFF2-40B4-BE49-F238E27FC236}">
                <a16:creationId xmlns:a16="http://schemas.microsoft.com/office/drawing/2014/main" id="{84DB2A5C-C226-00A9-399C-950000D999E9}"/>
              </a:ext>
              <a:ext uri="{C183D7F6-B498-43B3-948B-1728B52AA6E4}">
                <adec:decorative xmlns:adec="http://schemas.microsoft.com/office/drawing/2017/decorative" val="1"/>
              </a:ext>
            </a:extLst>
          </p:cNvPr>
          <p:cNvCxnSpPr>
            <a:cxnSpLocks/>
          </p:cNvCxnSpPr>
          <p:nvPr/>
        </p:nvCxnSpPr>
        <p:spPr>
          <a:xfrm>
            <a:off x="5295014" y="3429000"/>
            <a:ext cx="635705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99319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49AD6A-3950-4872-A81F-5B7ADF4CA5A4}"/>
              </a:ext>
              <a:ext uri="{C183D7F6-B498-43B3-948B-1728B52AA6E4}">
                <adec:decorative xmlns:adec="http://schemas.microsoft.com/office/drawing/2017/decorative" val="1"/>
              </a:ext>
            </a:extLst>
          </p:cNvPr>
          <p:cNvSpPr/>
          <p:nvPr/>
        </p:nvSpPr>
        <p:spPr bwMode="auto">
          <a:xfrm>
            <a:off x="0" y="1727200"/>
            <a:ext cx="12192000" cy="51308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0FE15B92-3350-4928-8A3D-55085ED0CAC7}"/>
              </a:ext>
              <a:ext uri="{C183D7F6-B498-43B3-948B-1728B52AA6E4}">
                <adec:decorative xmlns:adec="http://schemas.microsoft.com/office/drawing/2017/decorative" val="1"/>
              </a:ext>
            </a:extLst>
          </p:cNvPr>
          <p:cNvGrpSpPr/>
          <p:nvPr/>
        </p:nvGrpSpPr>
        <p:grpSpPr>
          <a:xfrm>
            <a:off x="613201" y="3065105"/>
            <a:ext cx="3994873" cy="2752772"/>
            <a:chOff x="1770927" y="3081976"/>
            <a:chExt cx="3994873" cy="2752772"/>
          </a:xfrm>
        </p:grpSpPr>
        <p:sp>
          <p:nvSpPr>
            <p:cNvPr id="7" name="Rectangle: Rounded Corners 6">
              <a:extLst>
                <a:ext uri="{FF2B5EF4-FFF2-40B4-BE49-F238E27FC236}">
                  <a16:creationId xmlns:a16="http://schemas.microsoft.com/office/drawing/2014/main" id="{ADCF9FCD-BB82-4657-A7F3-0C238ED6653B}"/>
                </a:ext>
              </a:extLst>
            </p:cNvPr>
            <p:cNvSpPr/>
            <p:nvPr/>
          </p:nvSpPr>
          <p:spPr bwMode="auto">
            <a:xfrm>
              <a:off x="1770927" y="3081976"/>
              <a:ext cx="3994873" cy="2752772"/>
            </a:xfrm>
            <a:prstGeom prst="roundRect">
              <a:avLst>
                <a:gd name="adj" fmla="val 5041"/>
              </a:avLst>
            </a:prstGeom>
            <a:noFill/>
            <a:ln w="1905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F0B0D235-7357-472C-9EF3-7197BB1BAC55}"/>
                </a:ext>
              </a:extLst>
            </p:cNvPr>
            <p:cNvSpPr/>
            <p:nvPr/>
          </p:nvSpPr>
          <p:spPr bwMode="auto">
            <a:xfrm>
              <a:off x="1835774" y="3169172"/>
              <a:ext cx="3865178" cy="25783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7C094DC6-C912-344C-8593-9122DC32ACCC}"/>
                </a:ext>
              </a:extLst>
            </p:cNvPr>
            <p:cNvPicPr>
              <a:picLocks noChangeAspect="1"/>
            </p:cNvPicPr>
            <p:nvPr/>
          </p:nvPicPr>
          <p:blipFill rotWithShape="1">
            <a:blip r:embed="rId3">
              <a:extLst>
                <a:ext uri="{28A0092B-C50C-407E-A947-70E740481C1C}">
                  <a14:useLocalDpi xmlns:a14="http://schemas.microsoft.com/office/drawing/2010/main" val="0"/>
                </a:ext>
              </a:extLst>
            </a:blip>
            <a:srcRect r="7687"/>
            <a:stretch/>
          </p:blipFill>
          <p:spPr>
            <a:xfrm>
              <a:off x="1835774" y="3169172"/>
              <a:ext cx="3865178" cy="2578381"/>
            </a:xfrm>
            <a:prstGeom prst="rect">
              <a:avLst/>
            </a:prstGeom>
          </p:spPr>
        </p:pic>
      </p:grpSp>
      <p:sp>
        <p:nvSpPr>
          <p:cNvPr id="2" name="Title 1">
            <a:extLst>
              <a:ext uri="{FF2B5EF4-FFF2-40B4-BE49-F238E27FC236}">
                <a16:creationId xmlns:a16="http://schemas.microsoft.com/office/drawing/2014/main" id="{11DBC1DC-77EC-40C9-940D-D97DDA76E841}"/>
              </a:ext>
            </a:extLst>
          </p:cNvPr>
          <p:cNvSpPr>
            <a:spLocks noGrp="1"/>
          </p:cNvSpPr>
          <p:nvPr>
            <p:ph type="title"/>
          </p:nvPr>
        </p:nvSpPr>
        <p:spPr/>
        <p:txBody>
          <a:bodyPr/>
          <a:lstStyle/>
          <a:p>
            <a:r>
              <a:rPr lang="en-US"/>
              <a:t>Next steps</a:t>
            </a:r>
          </a:p>
        </p:txBody>
      </p:sp>
      <p:sp>
        <p:nvSpPr>
          <p:cNvPr id="15" name="Text Placeholder 5">
            <a:extLst>
              <a:ext uri="{FF2B5EF4-FFF2-40B4-BE49-F238E27FC236}">
                <a16:creationId xmlns:a16="http://schemas.microsoft.com/office/drawing/2014/main" id="{FFDBC083-ED0E-AA4A-A574-9E50226EFCC8}"/>
              </a:ext>
            </a:extLst>
          </p:cNvPr>
          <p:cNvSpPr>
            <a:spLocks noGrp="1"/>
          </p:cNvSpPr>
          <p:nvPr>
            <p:ph type="body" sz="quarter" idx="10"/>
          </p:nvPr>
        </p:nvSpPr>
        <p:spPr>
          <a:xfrm>
            <a:off x="613202" y="1023252"/>
            <a:ext cx="11018520" cy="307777"/>
          </a:xfrm>
        </p:spPr>
        <p:txBody>
          <a:bodyPr/>
          <a:lstStyle/>
          <a:p>
            <a:r>
              <a:rPr lang="en-US"/>
              <a:t>Let us help you get started.</a:t>
            </a:r>
          </a:p>
        </p:txBody>
      </p:sp>
      <p:sp>
        <p:nvSpPr>
          <p:cNvPr id="6" name="TextBox 5">
            <a:extLst>
              <a:ext uri="{FF2B5EF4-FFF2-40B4-BE49-F238E27FC236}">
                <a16:creationId xmlns:a16="http://schemas.microsoft.com/office/drawing/2014/main" id="{B26A0183-18F7-4CBC-969A-3BE4B3E4BB6C}"/>
              </a:ext>
            </a:extLst>
          </p:cNvPr>
          <p:cNvSpPr txBox="1"/>
          <p:nvPr/>
        </p:nvSpPr>
        <p:spPr>
          <a:xfrm>
            <a:off x="613201" y="2006648"/>
            <a:ext cx="5482799"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Semibold"/>
                <a:ea typeface="+mn-ea"/>
                <a:cs typeface="+mn-cs"/>
              </a:rPr>
              <a:t>Request a Security Workshop to learn how Microsoft can help improve your security posture. </a:t>
            </a:r>
          </a:p>
        </p:txBody>
      </p:sp>
      <p:sp>
        <p:nvSpPr>
          <p:cNvPr id="5" name="TextBox 4">
            <a:extLst>
              <a:ext uri="{FF2B5EF4-FFF2-40B4-BE49-F238E27FC236}">
                <a16:creationId xmlns:a16="http://schemas.microsoft.com/office/drawing/2014/main" id="{BFDBE2BB-1DC7-45C9-B012-D3D5FF2E911F}"/>
              </a:ext>
            </a:extLst>
          </p:cNvPr>
          <p:cNvSpPr txBox="1"/>
          <p:nvPr/>
        </p:nvSpPr>
        <p:spPr>
          <a:xfrm>
            <a:off x="7067433" y="2006647"/>
            <a:ext cx="3821033" cy="646331"/>
          </a:xfrm>
          <a:prstGeom prst="rect">
            <a:avLst/>
          </a:prstGeom>
          <a:noFill/>
        </p:spPr>
        <p:txBody>
          <a:bodyPr wrap="square"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gradFill>
                  <a:gsLst>
                    <a:gs pos="37000">
                      <a:srgbClr val="000000"/>
                    </a:gs>
                    <a:gs pos="99000">
                      <a:srgbClr val="000000">
                        <a:alpha val="83000"/>
                      </a:srgbClr>
                    </a:gs>
                  </a:gsLst>
                  <a:lin ang="2700000" scaled="1"/>
                </a:gradFill>
                <a:effectLst/>
                <a:uLnTx/>
                <a:uFillTx/>
                <a:latin typeface="Segoe UI Semibold"/>
                <a:ea typeface="+mn-ea"/>
                <a:cs typeface="+mn-cs"/>
              </a:rPr>
              <a:t>Get a customized Security ROI Report for your organization.</a:t>
            </a:r>
          </a:p>
        </p:txBody>
      </p:sp>
      <p:grpSp>
        <p:nvGrpSpPr>
          <p:cNvPr id="14" name="Group 13">
            <a:extLst>
              <a:ext uri="{FF2B5EF4-FFF2-40B4-BE49-F238E27FC236}">
                <a16:creationId xmlns:a16="http://schemas.microsoft.com/office/drawing/2014/main" id="{8B5B5AC7-E52D-4D62-81FE-69259C89A988}"/>
              </a:ext>
              <a:ext uri="{C183D7F6-B498-43B3-948B-1728B52AA6E4}">
                <adec:decorative xmlns:adec="http://schemas.microsoft.com/office/drawing/2017/decorative" val="1"/>
              </a:ext>
            </a:extLst>
          </p:cNvPr>
          <p:cNvGrpSpPr/>
          <p:nvPr/>
        </p:nvGrpSpPr>
        <p:grpSpPr>
          <a:xfrm>
            <a:off x="7146617" y="2949600"/>
            <a:ext cx="3937639" cy="2972736"/>
            <a:chOff x="2712230" y="1371851"/>
            <a:chExt cx="7076795" cy="5342653"/>
          </a:xfrm>
        </p:grpSpPr>
        <p:pic>
          <p:nvPicPr>
            <p:cNvPr id="12" name="Picture 11">
              <a:extLst>
                <a:ext uri="{FF2B5EF4-FFF2-40B4-BE49-F238E27FC236}">
                  <a16:creationId xmlns:a16="http://schemas.microsoft.com/office/drawing/2014/main" id="{A22610A7-96EC-463E-9159-F94CE685F659}"/>
                </a:ext>
              </a:extLst>
            </p:cNvPr>
            <p:cNvPicPr>
              <a:picLocks noChangeAspect="1"/>
            </p:cNvPicPr>
            <p:nvPr/>
          </p:nvPicPr>
          <p:blipFill>
            <a:blip r:embed="rId4"/>
            <a:stretch>
              <a:fillRect/>
            </a:stretch>
          </p:blipFill>
          <p:spPr>
            <a:xfrm>
              <a:off x="2712230" y="1371851"/>
              <a:ext cx="6096528" cy="3429297"/>
            </a:xfrm>
            <a:prstGeom prst="rect">
              <a:avLst/>
            </a:prstGeom>
            <a:effectLst>
              <a:outerShdw blurRad="317500" sx="102000" sy="102000" algn="ctr" rotWithShape="0">
                <a:prstClr val="black">
                  <a:alpha val="25000"/>
                </a:prstClr>
              </a:outerShdw>
            </a:effectLst>
          </p:spPr>
        </p:pic>
        <p:pic>
          <p:nvPicPr>
            <p:cNvPr id="9" name="Picture 8">
              <a:extLst>
                <a:ext uri="{FF2B5EF4-FFF2-40B4-BE49-F238E27FC236}">
                  <a16:creationId xmlns:a16="http://schemas.microsoft.com/office/drawing/2014/main" id="{8BA345F4-46ED-4E79-97CA-AAD1F104BEC1}"/>
                </a:ext>
              </a:extLst>
            </p:cNvPr>
            <p:cNvPicPr>
              <a:picLocks noChangeAspect="1"/>
            </p:cNvPicPr>
            <p:nvPr/>
          </p:nvPicPr>
          <p:blipFill>
            <a:blip r:embed="rId5"/>
            <a:stretch>
              <a:fillRect/>
            </a:stretch>
          </p:blipFill>
          <p:spPr>
            <a:xfrm>
              <a:off x="3202364" y="2328529"/>
              <a:ext cx="6096528" cy="3429297"/>
            </a:xfrm>
            <a:prstGeom prst="rect">
              <a:avLst/>
            </a:prstGeom>
            <a:effectLst>
              <a:outerShdw blurRad="317500" sx="102000" sy="102000" algn="ctr" rotWithShape="0">
                <a:prstClr val="black">
                  <a:alpha val="25000"/>
                </a:prstClr>
              </a:outerShdw>
            </a:effectLst>
          </p:spPr>
        </p:pic>
        <p:pic>
          <p:nvPicPr>
            <p:cNvPr id="10" name="Picture 9">
              <a:extLst>
                <a:ext uri="{FF2B5EF4-FFF2-40B4-BE49-F238E27FC236}">
                  <a16:creationId xmlns:a16="http://schemas.microsoft.com/office/drawing/2014/main" id="{F9561D36-8E3F-4501-8803-89BC5B67514E}"/>
                </a:ext>
              </a:extLst>
            </p:cNvPr>
            <p:cNvPicPr>
              <a:picLocks noChangeAspect="1"/>
            </p:cNvPicPr>
            <p:nvPr/>
          </p:nvPicPr>
          <p:blipFill>
            <a:blip r:embed="rId6"/>
            <a:stretch>
              <a:fillRect/>
            </a:stretch>
          </p:blipFill>
          <p:spPr>
            <a:xfrm>
              <a:off x="3692497" y="3285207"/>
              <a:ext cx="6096528" cy="3429297"/>
            </a:xfrm>
            <a:prstGeom prst="rect">
              <a:avLst/>
            </a:prstGeom>
            <a:effectLst>
              <a:outerShdw blurRad="317500" sx="102000" sy="102000" algn="ctr" rotWithShape="0">
                <a:prstClr val="black">
                  <a:alpha val="25000"/>
                </a:prstClr>
              </a:outerShdw>
            </a:effectLst>
          </p:spPr>
        </p:pic>
      </p:grpSp>
    </p:spTree>
    <p:extLst>
      <p:ext uri="{BB962C8B-B14F-4D97-AF65-F5344CB8AC3E}">
        <p14:creationId xmlns:p14="http://schemas.microsoft.com/office/powerpoint/2010/main" val="21908875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8E2A-2C5B-AA33-9D6C-167E28764472}"/>
              </a:ext>
              <a:ext uri="{C183D7F6-B498-43B3-948B-1728B52AA6E4}">
                <adec:decorative xmlns:adec="http://schemas.microsoft.com/office/drawing/2017/decorative" val="1"/>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   </a:t>
            </a:r>
          </a:p>
        </p:txBody>
      </p:sp>
    </p:spTree>
    <p:extLst>
      <p:ext uri="{BB962C8B-B14F-4D97-AF65-F5344CB8AC3E}">
        <p14:creationId xmlns:p14="http://schemas.microsoft.com/office/powerpoint/2010/main" val="11897911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4DD135-29AF-9090-5FC2-DF4AFCD630A1}"/>
              </a:ext>
              <a:ext uri="{C183D7F6-B498-43B3-948B-1728B52AA6E4}">
                <adec:decorative xmlns:adec="http://schemas.microsoft.com/office/drawing/2017/decorative" val="1"/>
              </a:ext>
            </a:extLst>
          </p:cNvPr>
          <p:cNvSpPr>
            <a:spLocks noGrp="1"/>
          </p:cNvSpPr>
          <p:nvPr>
            <p:ph type="title" idx="4294967295"/>
          </p:nvPr>
        </p:nvSpPr>
        <p:spPr>
          <a:xfrm>
            <a:off x="838200" y="-721995"/>
            <a:ext cx="10515600" cy="721995"/>
          </a:xfrm>
        </p:spPr>
        <p:txBody>
          <a:bodyPr vert="horz" lIns="91440" tIns="45720" rIns="91440" bIns="45720" rtlCol="0" anchor="b">
            <a:normAutofit/>
          </a:bodyPr>
          <a:lstStyle/>
          <a:p>
            <a:r>
              <a:rPr lang="en-US" dirty="0"/>
              <a:t>.    </a:t>
            </a:r>
          </a:p>
        </p:txBody>
      </p:sp>
      <p:pic>
        <p:nvPicPr>
          <p:cNvPr id="4" name="Picture 3" descr="Heineken logo">
            <a:extLst>
              <a:ext uri="{FF2B5EF4-FFF2-40B4-BE49-F238E27FC236}">
                <a16:creationId xmlns:a16="http://schemas.microsoft.com/office/drawing/2014/main" id="{DB459A86-E345-4FAE-BA7B-625BC1439F5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6851" y="572004"/>
            <a:ext cx="1798651" cy="1019236"/>
          </a:xfrm>
          <a:prstGeom prst="rect">
            <a:avLst/>
          </a:prstGeom>
        </p:spPr>
      </p:pic>
      <p:sp>
        <p:nvSpPr>
          <p:cNvPr id="69" name="Text Placeholder 68">
            <a:extLst>
              <a:ext uri="{FF2B5EF4-FFF2-40B4-BE49-F238E27FC236}">
                <a16:creationId xmlns:a16="http://schemas.microsoft.com/office/drawing/2014/main" id="{62137DEC-C559-0348-B5A3-8FFF4EAD78D3}"/>
              </a:ext>
            </a:extLst>
          </p:cNvPr>
          <p:cNvSpPr>
            <a:spLocks noGrp="1"/>
          </p:cNvSpPr>
          <p:nvPr>
            <p:ph type="body" sz="quarter" idx="26"/>
          </p:nvPr>
        </p:nvSpPr>
        <p:spPr/>
        <p:txBody>
          <a:bodyPr>
            <a:normAutofit/>
          </a:bodyPr>
          <a:lstStyle/>
          <a:p>
            <a:r>
              <a:rPr lang="en-US" dirty="0"/>
              <a:t>Products and services</a:t>
            </a:r>
          </a:p>
          <a:p>
            <a:r>
              <a:rPr lang="en-US" b="0" dirty="0"/>
              <a:t>Microsoft Azure Active Directory</a:t>
            </a:r>
            <a:endParaRPr lang="en-US" b="0" dirty="0">
              <a:cs typeface="Segoe UI"/>
            </a:endParaRPr>
          </a:p>
          <a:p>
            <a:r>
              <a:rPr lang="en-US" b="0" dirty="0"/>
              <a:t>Microsoft Defender for Cloud Apps</a:t>
            </a:r>
            <a:endParaRPr lang="en-US" b="0" dirty="0">
              <a:cs typeface="Segoe UI"/>
            </a:endParaRPr>
          </a:p>
          <a:p>
            <a:r>
              <a:rPr lang="en-US" b="0" dirty="0"/>
              <a:t>Microsoft Defender for Identity</a:t>
            </a:r>
            <a:endParaRPr lang="en-US" b="0" dirty="0">
              <a:cs typeface="Segoe UI"/>
            </a:endParaRPr>
          </a:p>
          <a:p>
            <a:r>
              <a:rPr lang="en-US" b="0" dirty="0"/>
              <a:t>Microsoft Defender for Endpoint</a:t>
            </a:r>
          </a:p>
          <a:p>
            <a:r>
              <a:rPr lang="en-US" b="0" dirty="0"/>
              <a:t>Microsoft 365 E5</a:t>
            </a:r>
          </a:p>
          <a:p>
            <a:r>
              <a:rPr lang="en-US" b="0" dirty="0"/>
              <a:t>Microsoft Sentinel</a:t>
            </a:r>
            <a:endParaRPr lang="en-US" b="0" dirty="0">
              <a:cs typeface="Segoe UI"/>
            </a:endParaRPr>
          </a:p>
          <a:p>
            <a:pPr>
              <a:spcBef>
                <a:spcPts val="600"/>
              </a:spcBef>
            </a:pPr>
            <a:r>
              <a:rPr lang="en-US" dirty="0"/>
              <a:t>Organization size</a:t>
            </a:r>
          </a:p>
          <a:p>
            <a:pPr>
              <a:spcBef>
                <a:spcPts val="600"/>
              </a:spcBef>
            </a:pPr>
            <a:r>
              <a:rPr lang="en-US" b="0" dirty="0"/>
              <a:t>Corporate (10,000+ employees)</a:t>
            </a:r>
          </a:p>
          <a:p>
            <a:pPr>
              <a:spcBef>
                <a:spcPts val="600"/>
              </a:spcBef>
            </a:pPr>
            <a:r>
              <a:rPr lang="en-US" dirty="0"/>
              <a:t>Industry </a:t>
            </a:r>
          </a:p>
          <a:p>
            <a:pPr>
              <a:spcBef>
                <a:spcPts val="600"/>
              </a:spcBef>
            </a:pPr>
            <a:r>
              <a:rPr lang="en-US" b="0" dirty="0"/>
              <a:t>Consumer Goods</a:t>
            </a:r>
          </a:p>
          <a:p>
            <a:pPr>
              <a:spcBef>
                <a:spcPts val="600"/>
              </a:spcBef>
            </a:pPr>
            <a:r>
              <a:rPr lang="en-US" dirty="0"/>
              <a:t>Country</a:t>
            </a:r>
          </a:p>
          <a:p>
            <a:pPr>
              <a:spcBef>
                <a:spcPts val="600"/>
              </a:spcBef>
            </a:pPr>
            <a:r>
              <a:rPr lang="en-US" b="0" dirty="0"/>
              <a:t>Netherlands </a:t>
            </a:r>
          </a:p>
        </p:txBody>
      </p:sp>
      <p:sp>
        <p:nvSpPr>
          <p:cNvPr id="68" name="Text Placeholder 67">
            <a:extLst>
              <a:ext uri="{FF2B5EF4-FFF2-40B4-BE49-F238E27FC236}">
                <a16:creationId xmlns:a16="http://schemas.microsoft.com/office/drawing/2014/main" id="{9A566F77-C96A-5C40-80E4-83FEDB965509}"/>
              </a:ext>
            </a:extLst>
          </p:cNvPr>
          <p:cNvSpPr>
            <a:spLocks noGrp="1"/>
          </p:cNvSpPr>
          <p:nvPr>
            <p:ph type="body" sz="quarter" idx="25"/>
          </p:nvPr>
        </p:nvSpPr>
        <p:spPr/>
        <p:txBody>
          <a:bodyPr/>
          <a:lstStyle/>
          <a:p>
            <a:r>
              <a:rPr lang="en-US">
                <a:latin typeface="Segoe UI" charset="0"/>
                <a:ea typeface="Segoe UI" charset="0"/>
                <a:cs typeface="Segoe UI" charset="0"/>
                <a:hlinkClick r:id="rId4"/>
              </a:rPr>
              <a:t>Read the case study</a:t>
            </a:r>
            <a:endParaRPr lang="en-US">
              <a:latin typeface="Segoe UI" charset="0"/>
              <a:ea typeface="Segoe UI" charset="0"/>
              <a:cs typeface="Segoe UI" charset="0"/>
            </a:endParaRPr>
          </a:p>
        </p:txBody>
      </p:sp>
      <p:sp>
        <p:nvSpPr>
          <p:cNvPr id="63" name="Text Placeholder 62">
            <a:extLst>
              <a:ext uri="{FF2B5EF4-FFF2-40B4-BE49-F238E27FC236}">
                <a16:creationId xmlns:a16="http://schemas.microsoft.com/office/drawing/2014/main" id="{3CD7B06A-9196-594A-8158-895564B0098D}"/>
              </a:ext>
            </a:extLst>
          </p:cNvPr>
          <p:cNvSpPr>
            <a:spLocks noGrp="1"/>
          </p:cNvSpPr>
          <p:nvPr>
            <p:ph type="body" sz="quarter" idx="10"/>
          </p:nvPr>
        </p:nvSpPr>
        <p:spPr>
          <a:xfrm>
            <a:off x="3268757" y="3442679"/>
            <a:ext cx="8913411" cy="998011"/>
          </a:xfrm>
        </p:spPr>
        <p:txBody>
          <a:bodyPr/>
          <a:lstStyle/>
          <a:p>
            <a:r>
              <a:rPr lang="en-US" sz="1800">
                <a:effectLst/>
                <a:latin typeface="Calibri" panose="020F0502020204030204" pitchFamily="34" charset="0"/>
                <a:ea typeface="Times New Roman" panose="02020603050405020304" pitchFamily="18" charset="0"/>
                <a:cs typeface="Segoe UI" panose="020B0502040204020203" pitchFamily="34" charset="0"/>
              </a:rPr>
              <a:t>“Microsoft has proven its commitment to security through its intense investments in that area, and Microsoft Security solutions were a gift for our cybersecurity team as we created a new approach to agile security.”</a:t>
            </a:r>
            <a:endParaRPr lang="en-US"/>
          </a:p>
        </p:txBody>
      </p:sp>
      <p:sp>
        <p:nvSpPr>
          <p:cNvPr id="64" name="Text Placeholder 63">
            <a:extLst>
              <a:ext uri="{FF2B5EF4-FFF2-40B4-BE49-F238E27FC236}">
                <a16:creationId xmlns:a16="http://schemas.microsoft.com/office/drawing/2014/main" id="{AD107AAF-1D76-CB4C-943A-1B9DFD97B4EB}"/>
              </a:ext>
            </a:extLst>
          </p:cNvPr>
          <p:cNvSpPr>
            <a:spLocks noGrp="1"/>
          </p:cNvSpPr>
          <p:nvPr>
            <p:ph type="body" sz="quarter" idx="11"/>
          </p:nvPr>
        </p:nvSpPr>
        <p:spPr>
          <a:xfrm>
            <a:off x="3268757" y="4526220"/>
            <a:ext cx="8643841" cy="158979"/>
          </a:xfrm>
        </p:spPr>
        <p:txBody>
          <a:bodyPr/>
          <a:lstStyle/>
          <a:p>
            <a:r>
              <a:rPr lang="en-US" sz="1400">
                <a:effectLst/>
                <a:latin typeface="Calibri" panose="020F0502020204030204" pitchFamily="34" charset="0"/>
                <a:ea typeface="Times New Roman" panose="02020603050405020304" pitchFamily="18" charset="0"/>
                <a:cs typeface="Segoe UI" panose="020B0502040204020203" pitchFamily="34" charset="0"/>
              </a:rPr>
              <a:t>Gabriela Popescu, Cyber Defense and Operations and Technology Manager - Heineken</a:t>
            </a:r>
            <a:endParaRPr lang="en-US"/>
          </a:p>
        </p:txBody>
      </p:sp>
      <p:sp>
        <p:nvSpPr>
          <p:cNvPr id="65" name="Text Placeholder 64">
            <a:extLst>
              <a:ext uri="{FF2B5EF4-FFF2-40B4-BE49-F238E27FC236}">
                <a16:creationId xmlns:a16="http://schemas.microsoft.com/office/drawing/2014/main" id="{07D379B9-4D7F-5845-9D8B-7DBF6E5D39E1}"/>
              </a:ext>
            </a:extLst>
          </p:cNvPr>
          <p:cNvSpPr>
            <a:spLocks noGrp="1"/>
          </p:cNvSpPr>
          <p:nvPr>
            <p:ph type="body" sz="quarter" idx="12"/>
          </p:nvPr>
        </p:nvSpPr>
        <p:spPr/>
        <p:txBody>
          <a:bodyPr lIns="0" tIns="0" rIns="0" bIns="0">
            <a:noAutofit/>
          </a:bodyPr>
          <a:lstStyle/>
          <a:p>
            <a:r>
              <a:rPr lang="en-US">
                <a:effectLst/>
                <a:latin typeface="Segoe UI" panose="020B0502040204020203" pitchFamily="34" charset="0"/>
                <a:ea typeface="Times New Roman" panose="02020603050405020304" pitchFamily="18" charset="0"/>
              </a:rPr>
              <a:t>Heineken believes that the best way to achieve agility in its rapidly changing industry is to manage its own security. Yet it faces all the challenges of a global enterprise, a small security team, and a constantly evolving threat landscape.  </a:t>
            </a:r>
            <a:endParaRPr lang="en-US" sz="1100"/>
          </a:p>
        </p:txBody>
      </p:sp>
      <p:sp>
        <p:nvSpPr>
          <p:cNvPr id="2" name="Text Placeholder 1">
            <a:extLst>
              <a:ext uri="{FF2B5EF4-FFF2-40B4-BE49-F238E27FC236}">
                <a16:creationId xmlns:a16="http://schemas.microsoft.com/office/drawing/2014/main" id="{900D363F-D6FF-0741-8CF4-E5A96AF66EA2}"/>
              </a:ext>
            </a:extLst>
          </p:cNvPr>
          <p:cNvSpPr>
            <a:spLocks noGrp="1"/>
          </p:cNvSpPr>
          <p:nvPr>
            <p:ph type="body" sz="quarter" idx="27"/>
          </p:nvPr>
        </p:nvSpPr>
        <p:spPr/>
        <p:txBody>
          <a:bodyPr lIns="0" tIns="0" rIns="0" bIns="0">
            <a:noAutofit/>
          </a:bodyPr>
          <a:lstStyle/>
          <a:p>
            <a:r>
              <a:rPr lang="en-US">
                <a:effectLst/>
                <a:latin typeface="Segoe UI" panose="020B0502040204020203" pitchFamily="34" charset="0"/>
                <a:ea typeface="Times New Roman" panose="02020603050405020304" pitchFamily="18" charset="0"/>
              </a:rPr>
              <a:t>The company adopted a hybrid model, outsourcing daily security support and retaining overall management and strategy. It uses Microsoft Security solutions to protect identities and information, and to guard against external threats. </a:t>
            </a:r>
            <a:endParaRPr lang="en-US"/>
          </a:p>
        </p:txBody>
      </p:sp>
      <p:sp>
        <p:nvSpPr>
          <p:cNvPr id="3" name="Text Placeholder 2">
            <a:extLst>
              <a:ext uri="{FF2B5EF4-FFF2-40B4-BE49-F238E27FC236}">
                <a16:creationId xmlns:a16="http://schemas.microsoft.com/office/drawing/2014/main" id="{4A2ED9B3-0EF0-734C-89F0-E058230BC24A}"/>
              </a:ext>
            </a:extLst>
          </p:cNvPr>
          <p:cNvSpPr>
            <a:spLocks noGrp="1"/>
          </p:cNvSpPr>
          <p:nvPr>
            <p:ph type="body" sz="quarter" idx="28"/>
          </p:nvPr>
        </p:nvSpPr>
        <p:spPr>
          <a:xfrm>
            <a:off x="9379802" y="5212458"/>
            <a:ext cx="2501901" cy="1395684"/>
          </a:xfrm>
        </p:spPr>
        <p:txBody>
          <a:bodyPr lIns="0" tIns="0" rIns="0" bIns="0">
            <a:noAutofit/>
          </a:bodyPr>
          <a:lstStyle/>
          <a:p>
            <a:r>
              <a:rPr lang="en-US">
                <a:effectLst/>
                <a:latin typeface="Segoe UI" panose="020B0502040204020203" pitchFamily="34" charset="0"/>
                <a:ea typeface="Times New Roman" panose="02020603050405020304" pitchFamily="18" charset="0"/>
              </a:rPr>
              <a:t>Heineken is achieving the agile, creative IT environment it needs to support its sustainability goals and respond to a changing world, thanks to the productivity and ease of use it has with end-to-end Microsoft Security solutions.</a:t>
            </a:r>
          </a:p>
        </p:txBody>
      </p:sp>
      <p:sp>
        <p:nvSpPr>
          <p:cNvPr id="21" name="Rectangle 20">
            <a:extLst>
              <a:ext uri="{FF2B5EF4-FFF2-40B4-BE49-F238E27FC236}">
                <a16:creationId xmlns:a16="http://schemas.microsoft.com/office/drawing/2014/main" id="{FA5A90CD-FFC4-364E-9D9A-3F67F29F19B5}"/>
              </a:ext>
              <a:ext uri="{C183D7F6-B498-43B3-948B-1728B52AA6E4}">
                <adec:decorative xmlns:adec="http://schemas.microsoft.com/office/drawing/2017/decorative" val="1"/>
              </a:ext>
            </a:extLst>
          </p:cNvPr>
          <p:cNvSpPr/>
          <p:nvPr/>
        </p:nvSpPr>
        <p:spPr>
          <a:xfrm>
            <a:off x="2960688" y="0"/>
            <a:ext cx="1188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F7EF986F-7CD1-4043-B693-037E2D4CF290}"/>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t="26467" b="26467"/>
          <a:stretch/>
        </p:blipFill>
        <p:spPr>
          <a:xfrm>
            <a:off x="3076259" y="8778"/>
            <a:ext cx="9105909" cy="3330468"/>
          </a:xfrm>
          <a:prstGeom prst="rect">
            <a:avLst/>
          </a:prstGeom>
        </p:spPr>
      </p:pic>
    </p:spTree>
    <p:extLst>
      <p:ext uri="{BB962C8B-B14F-4D97-AF65-F5344CB8AC3E}">
        <p14:creationId xmlns:p14="http://schemas.microsoft.com/office/powerpoint/2010/main" val="1098381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485A57-AA0A-F130-1795-59F0DC05EC71}"/>
              </a:ext>
              <a:ext uri="{C183D7F6-B498-43B3-948B-1728B52AA6E4}">
                <adec:decorative xmlns:adec="http://schemas.microsoft.com/office/drawing/2017/decorative" val="1"/>
              </a:ext>
            </a:extLst>
          </p:cNvPr>
          <p:cNvSpPr>
            <a:spLocks noGrp="1"/>
          </p:cNvSpPr>
          <p:nvPr>
            <p:ph type="title" idx="4294967295"/>
          </p:nvPr>
        </p:nvSpPr>
        <p:spPr>
          <a:xfrm>
            <a:off x="838200" y="-721995"/>
            <a:ext cx="10515600" cy="721995"/>
          </a:xfrm>
        </p:spPr>
        <p:txBody>
          <a:bodyPr vert="horz" lIns="91440" tIns="45720" rIns="91440" bIns="45720" rtlCol="0" anchor="b">
            <a:normAutofit/>
          </a:bodyPr>
          <a:lstStyle/>
          <a:p>
            <a:r>
              <a:rPr lang="en-US" dirty="0"/>
              <a:t>.    .</a:t>
            </a:r>
          </a:p>
        </p:txBody>
      </p:sp>
      <p:pic>
        <p:nvPicPr>
          <p:cNvPr id="6" name="Picture 6" descr="Wiley logo">
            <a:extLst>
              <a:ext uri="{FF2B5EF4-FFF2-40B4-BE49-F238E27FC236}">
                <a16:creationId xmlns:a16="http://schemas.microsoft.com/office/drawing/2014/main" id="{01432F61-604D-4C1D-AC8B-934FE448D9C5}"/>
              </a:ext>
            </a:extLst>
          </p:cNvPr>
          <p:cNvPicPr>
            <a:picLocks noGrp="1" noChangeAspect="1"/>
          </p:cNvPicPr>
          <p:nvPr>
            <p:ph type="pic" sz="quarter" idx="23"/>
          </p:nvPr>
        </p:nvPicPr>
        <p:blipFill rotWithShape="1">
          <a:blip r:embed="rId3"/>
          <a:srcRect t="-76425" b="-76425"/>
          <a:stretch/>
        </p:blipFill>
        <p:spPr/>
      </p:pic>
      <p:sp>
        <p:nvSpPr>
          <p:cNvPr id="69" name="Text Placeholder 68">
            <a:extLst>
              <a:ext uri="{FF2B5EF4-FFF2-40B4-BE49-F238E27FC236}">
                <a16:creationId xmlns:a16="http://schemas.microsoft.com/office/drawing/2014/main" id="{62137DEC-C559-0348-B5A3-8FFF4EAD78D3}"/>
              </a:ext>
            </a:extLst>
          </p:cNvPr>
          <p:cNvSpPr>
            <a:spLocks noGrp="1"/>
          </p:cNvSpPr>
          <p:nvPr>
            <p:ph type="body" sz="quarter" idx="26"/>
          </p:nvPr>
        </p:nvSpPr>
        <p:spPr/>
        <p:txBody>
          <a:bodyPr>
            <a:normAutofit/>
          </a:bodyPr>
          <a:lstStyle/>
          <a:p>
            <a:r>
              <a:rPr lang="en-US"/>
              <a:t>Products and services</a:t>
            </a:r>
          </a:p>
          <a:p>
            <a:r>
              <a:rPr lang="en-US" b="0"/>
              <a:t>Azure Active Directory</a:t>
            </a:r>
            <a:endParaRPr lang="en-US">
              <a:cs typeface="Segoe UI"/>
            </a:endParaRPr>
          </a:p>
          <a:p>
            <a:pPr>
              <a:spcBef>
                <a:spcPts val="600"/>
              </a:spcBef>
            </a:pPr>
            <a:r>
              <a:rPr lang="en-US"/>
              <a:t>Organization size</a:t>
            </a:r>
          </a:p>
          <a:p>
            <a:pPr>
              <a:spcBef>
                <a:spcPts val="600"/>
              </a:spcBef>
            </a:pPr>
            <a:r>
              <a:rPr lang="en-US" b="0"/>
              <a:t>1,000–9,000 employees</a:t>
            </a:r>
          </a:p>
          <a:p>
            <a:pPr>
              <a:spcBef>
                <a:spcPts val="600"/>
              </a:spcBef>
            </a:pPr>
            <a:r>
              <a:rPr lang="en-US"/>
              <a:t>Industry </a:t>
            </a:r>
          </a:p>
          <a:p>
            <a:pPr>
              <a:spcBef>
                <a:spcPts val="600"/>
              </a:spcBef>
            </a:pPr>
            <a:r>
              <a:rPr lang="en-US" b="0"/>
              <a:t>Media &amp; Entertainment</a:t>
            </a:r>
          </a:p>
          <a:p>
            <a:pPr>
              <a:spcBef>
                <a:spcPts val="600"/>
              </a:spcBef>
            </a:pPr>
            <a:r>
              <a:rPr lang="en-US"/>
              <a:t>Country</a:t>
            </a:r>
          </a:p>
          <a:p>
            <a:pPr>
              <a:spcBef>
                <a:spcPts val="600"/>
              </a:spcBef>
            </a:pPr>
            <a:r>
              <a:rPr lang="en-US" b="0"/>
              <a:t>United States</a:t>
            </a:r>
          </a:p>
        </p:txBody>
      </p:sp>
      <p:sp>
        <p:nvSpPr>
          <p:cNvPr id="68" name="Text Placeholder 67">
            <a:extLst>
              <a:ext uri="{FF2B5EF4-FFF2-40B4-BE49-F238E27FC236}">
                <a16:creationId xmlns:a16="http://schemas.microsoft.com/office/drawing/2014/main" id="{9A566F77-C96A-5C40-80E4-83FEDB965509}"/>
              </a:ext>
            </a:extLst>
          </p:cNvPr>
          <p:cNvSpPr>
            <a:spLocks noGrp="1"/>
          </p:cNvSpPr>
          <p:nvPr>
            <p:ph type="body" sz="quarter" idx="25"/>
          </p:nvPr>
        </p:nvSpPr>
        <p:spPr/>
        <p:txBody>
          <a:bodyPr/>
          <a:lstStyle/>
          <a:p>
            <a:r>
              <a:rPr lang="en-US">
                <a:latin typeface="Segoe UI" charset="0"/>
                <a:ea typeface="Segoe UI" charset="0"/>
                <a:cs typeface="Segoe UI" charset="0"/>
                <a:hlinkClick r:id="rId4"/>
              </a:rPr>
              <a:t>Read the case study</a:t>
            </a:r>
            <a:endParaRPr lang="en-US">
              <a:latin typeface="Segoe UI" charset="0"/>
              <a:ea typeface="Segoe UI" charset="0"/>
              <a:cs typeface="Segoe UI" charset="0"/>
            </a:endParaRPr>
          </a:p>
        </p:txBody>
      </p:sp>
      <p:sp>
        <p:nvSpPr>
          <p:cNvPr id="63" name="Text Placeholder 62">
            <a:extLst>
              <a:ext uri="{FF2B5EF4-FFF2-40B4-BE49-F238E27FC236}">
                <a16:creationId xmlns:a16="http://schemas.microsoft.com/office/drawing/2014/main" id="{3CD7B06A-9196-594A-8158-895564B0098D}"/>
              </a:ext>
            </a:extLst>
          </p:cNvPr>
          <p:cNvSpPr>
            <a:spLocks noGrp="1"/>
          </p:cNvSpPr>
          <p:nvPr>
            <p:ph type="body" sz="quarter" idx="10"/>
          </p:nvPr>
        </p:nvSpPr>
        <p:spPr>
          <a:xfrm>
            <a:off x="3268758" y="3397542"/>
            <a:ext cx="8643841" cy="1184618"/>
          </a:xfrm>
        </p:spPr>
        <p:txBody>
          <a:bodyPr/>
          <a:lstStyle/>
          <a:p>
            <a:r>
              <a:rPr lang="en-CA" sz="1800">
                <a:effectLst/>
                <a:latin typeface="Segoe UI" panose="020B0502040204020203" pitchFamily="34" charset="0"/>
                <a:ea typeface="Times New Roman" panose="02020603050405020304" pitchFamily="18" charset="0"/>
              </a:rPr>
              <a:t>“Security for Wiley is security for our customers. With Azure Active Directory, we saved $1 million a year, and identity isn’t something our users are thinking about every day because we’ve thought about it.”</a:t>
            </a:r>
            <a:endParaRPr lang="en-US" sz="1800">
              <a:effectLst/>
              <a:latin typeface="Times New Roman" panose="02020603050405020304" pitchFamily="18" charset="0"/>
              <a:ea typeface="Times New Roman" panose="02020603050405020304" pitchFamily="18" charset="0"/>
            </a:endParaRPr>
          </a:p>
          <a:p>
            <a:endParaRPr lang="en-US"/>
          </a:p>
        </p:txBody>
      </p:sp>
      <p:sp>
        <p:nvSpPr>
          <p:cNvPr id="64" name="Text Placeholder 63">
            <a:extLst>
              <a:ext uri="{FF2B5EF4-FFF2-40B4-BE49-F238E27FC236}">
                <a16:creationId xmlns:a16="http://schemas.microsoft.com/office/drawing/2014/main" id="{AD107AAF-1D76-CB4C-943A-1B9DFD97B4EB}"/>
              </a:ext>
            </a:extLst>
          </p:cNvPr>
          <p:cNvSpPr>
            <a:spLocks noGrp="1"/>
          </p:cNvSpPr>
          <p:nvPr>
            <p:ph type="body" sz="quarter" idx="11"/>
          </p:nvPr>
        </p:nvSpPr>
        <p:spPr/>
        <p:txBody>
          <a:bodyPr/>
          <a:lstStyle/>
          <a:p>
            <a:pPr marL="0" marR="0">
              <a:spcBef>
                <a:spcPts val="0"/>
              </a:spcBef>
              <a:spcAft>
                <a:spcPts val="0"/>
              </a:spcAft>
            </a:pPr>
            <a:r>
              <a:rPr lang="en-CA">
                <a:effectLst/>
                <a:latin typeface="Segoe UI" panose="020B0502040204020203" pitchFamily="34" charset="0"/>
                <a:ea typeface="Times New Roman" panose="02020603050405020304" pitchFamily="18" charset="0"/>
              </a:rPr>
              <a:t>Sean Mack, CISO and CIO, Wiley</a:t>
            </a:r>
            <a:endParaRPr lang="en-US">
              <a:effectLst/>
              <a:latin typeface="Times New Roman" panose="02020603050405020304" pitchFamily="18" charset="0"/>
              <a:ea typeface="Times New Roman" panose="02020603050405020304" pitchFamily="18" charset="0"/>
            </a:endParaRPr>
          </a:p>
          <a:p>
            <a:endParaRPr lang="en-US"/>
          </a:p>
        </p:txBody>
      </p:sp>
      <p:sp>
        <p:nvSpPr>
          <p:cNvPr id="65" name="Text Placeholder 64">
            <a:extLst>
              <a:ext uri="{FF2B5EF4-FFF2-40B4-BE49-F238E27FC236}">
                <a16:creationId xmlns:a16="http://schemas.microsoft.com/office/drawing/2014/main" id="{07D379B9-4D7F-5845-9D8B-7DBF6E5D39E1}"/>
              </a:ext>
            </a:extLst>
          </p:cNvPr>
          <p:cNvSpPr>
            <a:spLocks noGrp="1"/>
          </p:cNvSpPr>
          <p:nvPr>
            <p:ph type="body" sz="quarter" idx="12"/>
          </p:nvPr>
        </p:nvSpPr>
        <p:spPr/>
        <p:txBody>
          <a:bodyPr vert="horz" lIns="0" tIns="0" rIns="0" bIns="0" rtlCol="0" anchor="t">
            <a:noAutofit/>
          </a:bodyPr>
          <a:lstStyle/>
          <a:p>
            <a:r>
              <a:rPr lang="en-CA">
                <a:ea typeface="+mn-lt"/>
                <a:cs typeface="+mn-lt"/>
              </a:rPr>
              <a:t>Wiley, a global, tech-enabled research and education organization based in Hoboken, New Jersey, struggled with an error-prone and complex single sign-on (SSO) solution. The company wanted time for innovation rather than simply solution maintenance. </a:t>
            </a:r>
            <a:endParaRPr lang="en-US"/>
          </a:p>
          <a:p>
            <a:endParaRPr lang="en-US" sz="1100"/>
          </a:p>
        </p:txBody>
      </p:sp>
      <p:sp>
        <p:nvSpPr>
          <p:cNvPr id="2" name="Text Placeholder 1">
            <a:extLst>
              <a:ext uri="{FF2B5EF4-FFF2-40B4-BE49-F238E27FC236}">
                <a16:creationId xmlns:a16="http://schemas.microsoft.com/office/drawing/2014/main" id="{900D363F-D6FF-0741-8CF4-E5A96AF66EA2}"/>
              </a:ext>
            </a:extLst>
          </p:cNvPr>
          <p:cNvSpPr>
            <a:spLocks noGrp="1"/>
          </p:cNvSpPr>
          <p:nvPr>
            <p:ph type="body" sz="quarter" idx="27"/>
          </p:nvPr>
        </p:nvSpPr>
        <p:spPr>
          <a:xfrm>
            <a:off x="6334717" y="5192763"/>
            <a:ext cx="2515818" cy="1410253"/>
          </a:xfrm>
        </p:spPr>
        <p:txBody>
          <a:bodyPr lIns="0" tIns="0" rIns="0" bIns="0">
            <a:noAutofit/>
          </a:bodyPr>
          <a:lstStyle/>
          <a:p>
            <a:r>
              <a:rPr lang="en-CA"/>
              <a:t>Azure Active Directory (AD) was a natural choice for identity and access management, since it’s included in Wiley’s Microsoft 365 subscription.</a:t>
            </a:r>
            <a:r>
              <a:rPr lang="en-US"/>
              <a:t> </a:t>
            </a:r>
            <a:r>
              <a:rPr lang="en-CA"/>
              <a:t>Wiley deployed </a:t>
            </a:r>
            <a:r>
              <a:rPr lang="en-US"/>
              <a:t>Azure AD in just six months, enabling users to more securely access business and technical applications.</a:t>
            </a:r>
          </a:p>
          <a:p>
            <a:r>
              <a:rPr lang="en-US"/>
              <a:t> </a:t>
            </a:r>
            <a:endParaRPr lang="en-US" sz="1100"/>
          </a:p>
        </p:txBody>
      </p:sp>
      <p:sp>
        <p:nvSpPr>
          <p:cNvPr id="3" name="Text Placeholder 2">
            <a:extLst>
              <a:ext uri="{FF2B5EF4-FFF2-40B4-BE49-F238E27FC236}">
                <a16:creationId xmlns:a16="http://schemas.microsoft.com/office/drawing/2014/main" id="{4A2ED9B3-0EF0-734C-89F0-E058230BC24A}"/>
              </a:ext>
            </a:extLst>
          </p:cNvPr>
          <p:cNvSpPr>
            <a:spLocks noGrp="1"/>
          </p:cNvSpPr>
          <p:nvPr>
            <p:ph type="body" sz="quarter" idx="28"/>
          </p:nvPr>
        </p:nvSpPr>
        <p:spPr/>
        <p:txBody>
          <a:bodyPr lIns="0" tIns="0" rIns="0" bIns="0">
            <a:noAutofit/>
          </a:bodyPr>
          <a:lstStyle/>
          <a:p>
            <a:r>
              <a:rPr lang="en-US">
                <a:effectLst/>
                <a:latin typeface="Segoe UI" panose="020B0502040204020203" pitchFamily="34" charset="0"/>
                <a:ea typeface="Times New Roman" panose="02020603050405020304" pitchFamily="18" charset="0"/>
              </a:rPr>
              <a:t>There’s been widespread user adoption. Wiley saved $1 million in licensing costs by switching from the outdated SSO to Azure AD. Other benefits include </a:t>
            </a:r>
            <a:r>
              <a:rPr lang="en-US"/>
              <a:t>advanced</a:t>
            </a:r>
            <a:r>
              <a:rPr lang="en-US">
                <a:effectLst/>
                <a:latin typeface="Segoe UI" panose="020B0502040204020203" pitchFamily="34" charset="0"/>
                <a:ea typeface="Times New Roman" panose="02020603050405020304" pitchFamily="18" charset="0"/>
              </a:rPr>
              <a:t> security, flexibility, </a:t>
            </a:r>
            <a:r>
              <a:rPr lang="en-CA">
                <a:effectLst/>
                <a:latin typeface="Segoe UI" panose="020B0502040204020203" pitchFamily="34" charset="0"/>
                <a:ea typeface="Times New Roman" panose="02020603050405020304" pitchFamily="18" charset="0"/>
              </a:rPr>
              <a:t>ease of use, and high compatibility with Wiley’s 80 applications.</a:t>
            </a:r>
            <a:endParaRPr lang="en-US">
              <a:effectLst/>
              <a:latin typeface="Times New Roman" panose="02020603050405020304" pitchFamily="18" charset="0"/>
              <a:ea typeface="Times New Roman" panose="02020603050405020304" pitchFamily="18" charset="0"/>
            </a:endParaRPr>
          </a:p>
          <a:p>
            <a:endParaRPr lang="en-US" sz="1100"/>
          </a:p>
        </p:txBody>
      </p:sp>
      <p:sp>
        <p:nvSpPr>
          <p:cNvPr id="21" name="Rectangle 20">
            <a:extLst>
              <a:ext uri="{FF2B5EF4-FFF2-40B4-BE49-F238E27FC236}">
                <a16:creationId xmlns:a16="http://schemas.microsoft.com/office/drawing/2014/main" id="{FA5A90CD-FFC4-364E-9D9A-3F67F29F19B5}"/>
              </a:ext>
              <a:ext uri="{C183D7F6-B498-43B3-948B-1728B52AA6E4}">
                <adec:decorative xmlns:adec="http://schemas.microsoft.com/office/drawing/2017/decorative" val="1"/>
              </a:ext>
            </a:extLst>
          </p:cNvPr>
          <p:cNvSpPr/>
          <p:nvPr/>
        </p:nvSpPr>
        <p:spPr>
          <a:xfrm>
            <a:off x="2960688" y="0"/>
            <a:ext cx="118872" cy="6858000"/>
          </a:xfrm>
          <a:prstGeom prst="rect">
            <a:avLst/>
          </a:prstGeom>
          <a:solidFill>
            <a:srgbClr val="23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074" name="Picture 2">
            <a:extLst>
              <a:ext uri="{FF2B5EF4-FFF2-40B4-BE49-F238E27FC236}">
                <a16:creationId xmlns:a16="http://schemas.microsoft.com/office/drawing/2014/main" id="{82835839-93B7-45F9-A254-D797E3DBAD0E}"/>
              </a:ext>
              <a:ext uri="{C183D7F6-B498-43B3-948B-1728B52AA6E4}">
                <adec:decorative xmlns:adec="http://schemas.microsoft.com/office/drawing/2017/decorative" val="1"/>
              </a:ext>
            </a:extLst>
          </p:cNvPr>
          <p:cNvPicPr>
            <a:picLocks noGrp="1" noChangeAspect="1" noChangeArrowheads="1"/>
          </p:cNvPicPr>
          <p:nvPr>
            <p:ph type="pic" sz="quarter" idx="24"/>
          </p:nvPr>
        </p:nvPicPr>
        <p:blipFill>
          <a:blip r:embed="rId5">
            <a:extLst>
              <a:ext uri="{28A0092B-C50C-407E-A947-70E740481C1C}">
                <a14:useLocalDpi xmlns:a14="http://schemas.microsoft.com/office/drawing/2010/main" val="0"/>
              </a:ext>
            </a:extLst>
          </a:blip>
          <a:srcRect t="23842" b="23842"/>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54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5CBE757-3E91-F4B1-88AA-44479FFC89DE}"/>
              </a:ext>
              <a:ext uri="{C183D7F6-B498-43B3-948B-1728B52AA6E4}">
                <adec:decorative xmlns:adec="http://schemas.microsoft.com/office/drawing/2017/decorative" val="1"/>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a:t>
            </a:r>
          </a:p>
        </p:txBody>
      </p:sp>
      <p:pic>
        <p:nvPicPr>
          <p:cNvPr id="9" name="Picture 8" descr="Webber Wentzel logo, which includes its name and &quot;in alliance with &gt; Linklaters&quot;">
            <a:extLst>
              <a:ext uri="{FF2B5EF4-FFF2-40B4-BE49-F238E27FC236}">
                <a16:creationId xmlns:a16="http://schemas.microsoft.com/office/drawing/2014/main" id="{CDAD97AA-1424-7233-F82F-255507A0A9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41" y="1302025"/>
            <a:ext cx="2690417" cy="804571"/>
          </a:xfrm>
          <a:prstGeom prst="rect">
            <a:avLst/>
          </a:prstGeom>
        </p:spPr>
      </p:pic>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55542" y="2366531"/>
            <a:ext cx="2351941" cy="3695884"/>
          </a:xfrm>
        </p:spPr>
        <p:txBody>
          <a:bodyPr/>
          <a:lstStyle/>
          <a:p>
            <a:r>
              <a:rPr lang="en-US"/>
              <a:t>Customer:</a:t>
            </a:r>
            <a:br>
              <a:rPr lang="en-US"/>
            </a:br>
            <a:r>
              <a:rPr lang="en-US" b="0">
                <a:latin typeface="Segoe UI Semilight" panose="020B0402040204020203" pitchFamily="34" charset="0"/>
                <a:cs typeface="Segoe UI Semilight" panose="020B0402040204020203" pitchFamily="34" charset="0"/>
              </a:rPr>
              <a:t>Webber Wentzel</a:t>
            </a:r>
            <a:br>
              <a:rPr lang="en-US" b="0">
                <a:latin typeface="Segoe UI Semilight" panose="020B0402040204020203" pitchFamily="34" charset="0"/>
                <a:cs typeface="Segoe UI Semilight" panose="020B0402040204020203" pitchFamily="34" charset="0"/>
              </a:rPr>
            </a:br>
            <a:endParaRPr lang="en-US" b="0">
              <a:latin typeface="Segoe UI Semilight" panose="020B0402040204020203" pitchFamily="34" charset="0"/>
              <a:cs typeface="Segoe UI Semilight" panose="020B0402040204020203" pitchFamily="34" charset="0"/>
            </a:endParaRPr>
          </a:p>
          <a:p>
            <a:r>
              <a:rPr lang="en-US"/>
              <a:t>Industry:</a:t>
            </a:r>
            <a:br>
              <a:rPr lang="en-US"/>
            </a:br>
            <a:r>
              <a:rPr lang="en-US" b="0">
                <a:latin typeface="Segoe UI Semilight" panose="020B0402040204020203" pitchFamily="34" charset="0"/>
                <a:cs typeface="Segoe UI Semilight" panose="020B0402040204020203" pitchFamily="34" charset="0"/>
              </a:rPr>
              <a:t>Professional Services</a:t>
            </a:r>
            <a:br>
              <a:rPr lang="en-US" b="0">
                <a:latin typeface="Segoe UI Semilight" panose="020B0402040204020203" pitchFamily="34" charset="0"/>
                <a:cs typeface="Segoe UI Semilight" panose="020B0402040204020203" pitchFamily="34" charset="0"/>
              </a:rPr>
            </a:br>
            <a:endParaRPr lang="en-US" b="0">
              <a:latin typeface="Segoe UI Semilight" panose="020B0402040204020203" pitchFamily="34" charset="0"/>
              <a:cs typeface="Segoe UI Semilight" panose="020B0402040204020203" pitchFamily="34" charset="0"/>
            </a:endParaRPr>
          </a:p>
          <a:p>
            <a:r>
              <a:rPr lang="en-US"/>
              <a:t>Size:</a:t>
            </a:r>
            <a:br>
              <a:rPr lang="en-US"/>
            </a:br>
            <a:r>
              <a:rPr lang="en-US" b="0">
                <a:latin typeface="Segoe UI Semilight" panose="020B0402040204020203" pitchFamily="34" charset="0"/>
                <a:cs typeface="Segoe UI Semilight" panose="020B0402040204020203" pitchFamily="34" charset="0"/>
              </a:rPr>
              <a:t>50–999 employees</a:t>
            </a:r>
            <a:br>
              <a:rPr lang="en-US" b="0">
                <a:latin typeface="Segoe UI Semilight" panose="020B0402040204020203" pitchFamily="34" charset="0"/>
                <a:cs typeface="Segoe UI Semilight" panose="020B0402040204020203" pitchFamily="34" charset="0"/>
              </a:rPr>
            </a:br>
            <a:endParaRPr lang="en-US" b="0">
              <a:latin typeface="Segoe UI Semilight" panose="020B0402040204020203" pitchFamily="34" charset="0"/>
              <a:cs typeface="Segoe UI Semilight" panose="020B0402040204020203" pitchFamily="34" charset="0"/>
            </a:endParaRPr>
          </a:p>
          <a:p>
            <a:r>
              <a:rPr lang="en-US"/>
              <a:t>Country:</a:t>
            </a:r>
            <a:br>
              <a:rPr lang="en-US"/>
            </a:br>
            <a:r>
              <a:rPr lang="en-US" b="0">
                <a:latin typeface="Segoe UI Semilight" panose="020B0402040204020203" pitchFamily="34" charset="0"/>
                <a:cs typeface="Segoe UI Semilight" panose="020B0402040204020203" pitchFamily="34" charset="0"/>
              </a:rPr>
              <a:t>South Africa</a:t>
            </a:r>
          </a:p>
          <a:p>
            <a:pPr>
              <a:spcBef>
                <a:spcPts val="500"/>
              </a:spcBef>
            </a:pPr>
            <a:endParaRPr lang="en-US" b="0">
              <a:latin typeface="Segoe UI Semilight" panose="020B0402040204020203" pitchFamily="34" charset="0"/>
              <a:cs typeface="Segoe UI Semilight" panose="020B0402040204020203" pitchFamily="34" charset="0"/>
            </a:endParaRPr>
          </a:p>
          <a:p>
            <a:pPr>
              <a:spcBef>
                <a:spcPts val="0"/>
              </a:spcBef>
            </a:pPr>
            <a:r>
              <a:rPr lang="en-US">
                <a:latin typeface="Segoe UI Semibold"/>
                <a:cs typeface="Segoe UI Semibold"/>
              </a:rPr>
              <a:t>Products and services:</a:t>
            </a:r>
            <a:endParaRPr lang="en-US" b="0">
              <a:latin typeface="Segoe UI Semilight" panose="020B0402040204020203" pitchFamily="34" charset="0"/>
              <a:cs typeface="Segoe UI Semilight" panose="020B0402040204020203" pitchFamily="34" charset="0"/>
            </a:endParaRPr>
          </a:p>
          <a:p>
            <a:pPr>
              <a:spcBef>
                <a:spcPts val="0"/>
              </a:spcBef>
            </a:pPr>
            <a:r>
              <a:rPr lang="en-US" b="0">
                <a:latin typeface="Segoe UI Semilight" panose="020B0402040204020203" pitchFamily="34" charset="0"/>
                <a:cs typeface="Segoe UI Semilight" panose="020B0402040204020203" pitchFamily="34" charset="0"/>
              </a:rPr>
              <a:t>Microsoft 365 E5</a:t>
            </a:r>
          </a:p>
          <a:p>
            <a:pPr>
              <a:spcBef>
                <a:spcPts val="0"/>
              </a:spcBef>
            </a:pPr>
            <a:r>
              <a:rPr lang="en-US" b="0">
                <a:latin typeface="Segoe UI Semilight" panose="020B0402040204020203" pitchFamily="34" charset="0"/>
                <a:cs typeface="Segoe UI Semilight" panose="020B0402040204020203" pitchFamily="34" charset="0"/>
              </a:rPr>
              <a:t>Microsoft Purview Compliance Manager</a:t>
            </a:r>
          </a:p>
          <a:p>
            <a:pPr>
              <a:spcBef>
                <a:spcPts val="0"/>
              </a:spcBef>
            </a:pPr>
            <a:r>
              <a:rPr lang="en-US" b="0">
                <a:latin typeface="Segoe UI Semilight" panose="020B0402040204020203" pitchFamily="34" charset="0"/>
                <a:cs typeface="Segoe UI Semilight" panose="020B0402040204020203" pitchFamily="34" charset="0"/>
              </a:rPr>
              <a:t>Microsoft Purview Data Loss Prevention</a:t>
            </a:r>
          </a:p>
          <a:p>
            <a:pPr>
              <a:spcBef>
                <a:spcPts val="0"/>
              </a:spcBef>
            </a:pPr>
            <a:r>
              <a:rPr lang="en-US" b="0">
                <a:latin typeface="Segoe UI Semilight" panose="020B0402040204020203" pitchFamily="34" charset="0"/>
                <a:cs typeface="Segoe UI Semilight" panose="020B0402040204020203" pitchFamily="34" charset="0"/>
              </a:rPr>
              <a:t>Microsoft Purview Records Manager</a:t>
            </a:r>
          </a:p>
          <a:p>
            <a:pPr>
              <a:spcBef>
                <a:spcPts val="0"/>
              </a:spcBef>
            </a:pPr>
            <a:r>
              <a:rPr lang="en-US" b="0">
                <a:latin typeface="Segoe UI Semilight" panose="020B0402040204020203" pitchFamily="34" charset="0"/>
                <a:cs typeface="Segoe UI Semilight" panose="020B0402040204020203" pitchFamily="34" charset="0"/>
              </a:rPr>
              <a:t>Microsoft Teams</a:t>
            </a:r>
          </a:p>
          <a:p>
            <a:pPr>
              <a:spcBef>
                <a:spcPts val="0"/>
              </a:spcBef>
            </a:pPr>
            <a:r>
              <a:rPr lang="en-US" b="0">
                <a:latin typeface="Segoe UI Semilight" panose="020B0402040204020203" pitchFamily="34" charset="0"/>
                <a:cs typeface="Segoe UI Semilight" panose="020B0402040204020203" pitchFamily="34" charset="0"/>
              </a:rPr>
              <a:t>Microsoft Secure Score</a:t>
            </a:r>
          </a:p>
          <a:p>
            <a:pPr>
              <a:spcBef>
                <a:spcPts val="0"/>
              </a:spcBef>
            </a:pPr>
            <a:r>
              <a:rPr lang="en-US" b="0">
                <a:latin typeface="Segoe UI Semilight" panose="020B0402040204020203" pitchFamily="34" charset="0"/>
                <a:cs typeface="Segoe UI Semilight" panose="020B0402040204020203" pitchFamily="34" charset="0"/>
              </a:rPr>
              <a:t>Microsoft Dynamics 365   </a:t>
            </a:r>
            <a:br>
              <a:rPr lang="en-US" b="0">
                <a:latin typeface="Segoe UI Semilight" panose="020B0402040204020203" pitchFamily="34" charset="0"/>
                <a:cs typeface="Segoe UI Semilight" panose="020B0402040204020203" pitchFamily="34" charset="0"/>
              </a:rPr>
            </a:br>
            <a:br>
              <a:rPr lang="en-US" b="0">
                <a:latin typeface="Segoe UI Semilight" panose="020B0402040204020203" pitchFamily="34" charset="0"/>
                <a:cs typeface="Segoe UI Semilight" panose="020B0402040204020203" pitchFamily="34" charset="0"/>
              </a:rPr>
            </a:br>
            <a:br>
              <a:rPr lang="en-US" b="0">
                <a:latin typeface="Segoe UI Semilight" panose="020B0402040204020203" pitchFamily="34" charset="0"/>
                <a:cs typeface="Segoe UI Semilight" panose="020B0402040204020203" pitchFamily="34" charset="0"/>
              </a:rPr>
            </a:br>
            <a:r>
              <a:rPr lang="en-US">
                <a:hlinkClick r:id="rId3"/>
              </a:rPr>
              <a:t>Read full story here</a:t>
            </a:r>
            <a:endParaRPr lang="en-US"/>
          </a:p>
        </p:txBody>
      </p:sp>
      <p:pic>
        <p:nvPicPr>
          <p:cNvPr id="10" name="Picture 9" descr="Indoor open space surrounded by glassed-in offices inside a corporate building">
            <a:extLst>
              <a:ext uri="{FF2B5EF4-FFF2-40B4-BE49-F238E27FC236}">
                <a16:creationId xmlns:a16="http://schemas.microsoft.com/office/drawing/2014/main" id="{67DDBEB9-29E7-2DD4-60F8-6AC8D55F5E11}"/>
              </a:ext>
            </a:extLst>
          </p:cNvPr>
          <p:cNvPicPr>
            <a:picLocks noChangeAspect="1"/>
          </p:cNvPicPr>
          <p:nvPr/>
        </p:nvPicPr>
        <p:blipFill rotWithShape="1">
          <a:blip r:embed="rId4">
            <a:extLst>
              <a:ext uri="{28A0092B-C50C-407E-A947-70E740481C1C}">
                <a14:useLocalDpi xmlns:a14="http://schemas.microsoft.com/office/drawing/2010/main" val="0"/>
              </a:ext>
            </a:extLst>
          </a:blip>
          <a:srcRect t="25885" b="4799"/>
          <a:stretch/>
        </p:blipFill>
        <p:spPr>
          <a:xfrm>
            <a:off x="2904858" y="0"/>
            <a:ext cx="9287142" cy="3352808"/>
          </a:xfrm>
          <a:prstGeom prst="rect">
            <a:avLst/>
          </a:prstGeom>
        </p:spPr>
      </p:pic>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a:xfrm>
            <a:off x="3234871" y="3503074"/>
            <a:ext cx="8643841" cy="830997"/>
          </a:xfrm>
        </p:spPr>
        <p:txBody>
          <a:bodyPr/>
          <a:lstStyle/>
          <a:p>
            <a:pPr marL="0" marR="0">
              <a:spcBef>
                <a:spcPts val="0"/>
              </a:spcBef>
              <a:spcAft>
                <a:spcPts val="0"/>
              </a:spcAft>
            </a:pPr>
            <a:r>
              <a:rPr lang="en-US">
                <a:effectLst/>
                <a:latin typeface="Segoe UI" panose="020B0502040204020203" pitchFamily="34" charset="0"/>
                <a:ea typeface="Times New Roman" panose="02020603050405020304" pitchFamily="18" charset="0"/>
              </a:rPr>
              <a:t>“When we implemented Microsoft 365 E5 and Microsoft Purview Compliance Manager, I was blown away. The data telemetry and visibility gave us better control of our environment</a:t>
            </a:r>
            <a:r>
              <a:rPr lang="en-US">
                <a:ea typeface="Times New Roman" panose="02020603050405020304" pitchFamily="18" charset="0"/>
              </a:rPr>
              <a:t>—</a:t>
            </a:r>
            <a:r>
              <a:rPr lang="en-US">
                <a:effectLst/>
                <a:latin typeface="Segoe UI" panose="020B0502040204020203" pitchFamily="34" charset="0"/>
                <a:ea typeface="Times New Roman" panose="02020603050405020304" pitchFamily="18" charset="0"/>
              </a:rPr>
              <a:t>that’s what helps us sleep.”  </a:t>
            </a:r>
            <a:endParaRPr lang="en-US">
              <a:effectLst/>
              <a:latin typeface="Times New Roman" panose="02020603050405020304" pitchFamily="18" charset="0"/>
              <a:ea typeface="Times New Roman" panose="02020603050405020304" pitchFamily="18" charset="0"/>
            </a:endParaRPr>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a:xfrm>
            <a:off x="3234871" y="4401860"/>
            <a:ext cx="8643841" cy="169277"/>
          </a:xfrm>
        </p:spPr>
        <p:txBody>
          <a:bodyPr/>
          <a:lstStyle/>
          <a:p>
            <a:r>
              <a:rPr lang="en-US"/>
              <a:t>—</a:t>
            </a:r>
            <a:r>
              <a:rPr lang="en-US" sz="1100" err="1">
                <a:effectLst/>
                <a:ea typeface="Times New Roman" panose="02020603050405020304" pitchFamily="18" charset="0"/>
              </a:rPr>
              <a:t>Bethuel</a:t>
            </a:r>
            <a:r>
              <a:rPr lang="en-US" sz="1100">
                <a:effectLst/>
                <a:ea typeface="Times New Roman" panose="02020603050405020304" pitchFamily="18" charset="0"/>
              </a:rPr>
              <a:t> </a:t>
            </a:r>
            <a:r>
              <a:rPr lang="en-US" sz="1100" err="1">
                <a:effectLst/>
                <a:ea typeface="Times New Roman" panose="02020603050405020304" pitchFamily="18" charset="0"/>
              </a:rPr>
              <a:t>Lebepe</a:t>
            </a:r>
            <a:r>
              <a:rPr lang="en-US" sz="1100">
                <a:effectLst/>
                <a:ea typeface="Times New Roman" panose="02020603050405020304" pitchFamily="18" charset="0"/>
              </a:rPr>
              <a:t>, IT Security Analyst, Webber Wentzel</a:t>
            </a:r>
            <a:endParaRPr lang="en-US" sz="1100"/>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7" y="5162439"/>
            <a:ext cx="2701351" cy="1800493"/>
          </a:xfrm>
        </p:spPr>
        <p:txBody>
          <a:bodyPr/>
          <a:lstStyle/>
          <a:p>
            <a:r>
              <a:rPr lang="en-US">
                <a:effectLst/>
                <a:ea typeface="Times New Roman" panose="02020603050405020304" pitchFamily="18" charset="0"/>
              </a:rPr>
              <a:t>Award-winning law firm Webber Wentzel needed an information security management solution to demonstrate its commitment to being a trusted legal advisor, enhance its security and compliance capabilities, protect client privilege, and proactively identify operational risks. </a:t>
            </a:r>
            <a:endParaRPr lang="en-US"/>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176169" y="5168984"/>
            <a:ext cx="2603499" cy="1800493"/>
          </a:xfrm>
        </p:spPr>
        <p:txBody>
          <a:bodyPr/>
          <a:lstStyle/>
          <a:p>
            <a:r>
              <a:rPr lang="en-US">
                <a:effectLst/>
                <a:ea typeface="Times New Roman" panose="02020603050405020304" pitchFamily="18" charset="0"/>
              </a:rPr>
              <a:t>The firm deployed Microsoft Purview Compliance Manager, Microsoft Purview Data Loss Prevention, and the Microsoft 365 E5 security suite to build a modern platform solution, and it deployed Microsoft Secure Score to monitor and measure compliance.</a:t>
            </a:r>
            <a:endParaRPr lang="en-US"/>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935822" y="5162439"/>
            <a:ext cx="2787072" cy="1600438"/>
          </a:xfrm>
        </p:spPr>
        <p:txBody>
          <a:bodyPr/>
          <a:lstStyle/>
          <a:p>
            <a:r>
              <a:rPr lang="en-US"/>
              <a:t>Webber Wentzel reduced security and management costs by around 10 percent and improved its security posture. With centralized data and understandable data visualizations, it better communicates innovation values to other business groups and creates a more meaningful work environment.   </a:t>
            </a:r>
          </a:p>
        </p:txBody>
      </p:sp>
      <p:sp>
        <p:nvSpPr>
          <p:cNvPr id="14" name="Rectangle 13">
            <a:extLst>
              <a:ext uri="{FF2B5EF4-FFF2-40B4-BE49-F238E27FC236}">
                <a16:creationId xmlns:a16="http://schemas.microsoft.com/office/drawing/2014/main" id="{47219399-6E0D-034C-8477-C9FC774ABA09}"/>
              </a:ext>
              <a:ext uri="{C183D7F6-B498-43B3-948B-1728B52AA6E4}">
                <adec:decorative xmlns:adec="http://schemas.microsoft.com/office/drawing/2017/decorative" val="1"/>
              </a:ext>
            </a:extLst>
          </p:cNvPr>
          <p:cNvSpPr/>
          <p:nvPr/>
        </p:nvSpPr>
        <p:spPr>
          <a:xfrm>
            <a:off x="2870483" y="0"/>
            <a:ext cx="118872"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07182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2F2393A-393E-F3D5-BEAF-6A1806CE21F1}"/>
              </a:ext>
              <a:ext uri="{C183D7F6-B498-43B3-948B-1728B52AA6E4}">
                <adec:decorative xmlns:adec="http://schemas.microsoft.com/office/drawing/2017/decorative" val="1"/>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a:t>
            </a:r>
          </a:p>
        </p:txBody>
      </p:sp>
      <p:pic>
        <p:nvPicPr>
          <p:cNvPr id="15" name="Picture 14" descr="DGS Law logo">
            <a:extLst>
              <a:ext uri="{FF2B5EF4-FFF2-40B4-BE49-F238E27FC236}">
                <a16:creationId xmlns:a16="http://schemas.microsoft.com/office/drawing/2014/main" id="{B3FBE6B4-54A4-7C35-E359-7541669486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450" y="0"/>
            <a:ext cx="2413630" cy="2413630"/>
          </a:xfrm>
          <a:prstGeom prst="rect">
            <a:avLst/>
          </a:prstGeom>
        </p:spPr>
      </p:pic>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177450" y="3642645"/>
            <a:ext cx="2650391" cy="2341667"/>
          </a:xfrm>
        </p:spPr>
        <p:txBody>
          <a:bodyPr/>
          <a:lstStyle/>
          <a:p>
            <a:r>
              <a:rPr lang="en-US"/>
              <a:t>Customer:</a:t>
            </a:r>
            <a:br>
              <a:rPr lang="en-US"/>
            </a:br>
            <a:r>
              <a:rPr lang="en-US" b="0">
                <a:latin typeface="Segoe UI Semilight" panose="020B0402040204020203" pitchFamily="34" charset="0"/>
                <a:cs typeface="Segoe UI Semilight" panose="020B0402040204020203" pitchFamily="34" charset="0"/>
              </a:rPr>
              <a:t>DGS Law</a:t>
            </a:r>
          </a:p>
          <a:p>
            <a:r>
              <a:rPr lang="en-US"/>
              <a:t>Industry:</a:t>
            </a:r>
            <a:br>
              <a:rPr lang="en-US"/>
            </a:br>
            <a:r>
              <a:rPr lang="en-US" b="0">
                <a:latin typeface="Segoe UI Semilight" panose="020B0402040204020203" pitchFamily="34" charset="0"/>
                <a:cs typeface="Segoe UI Semilight" panose="020B0402040204020203" pitchFamily="34" charset="0"/>
              </a:rPr>
              <a:t>Professional Services</a:t>
            </a:r>
          </a:p>
          <a:p>
            <a:r>
              <a:rPr lang="en-US"/>
              <a:t>Size:</a:t>
            </a:r>
            <a:br>
              <a:rPr lang="en-US"/>
            </a:br>
            <a:r>
              <a:rPr lang="en-US" b="0">
                <a:latin typeface="Segoe UI Semilight" panose="020B0402040204020203" pitchFamily="34" charset="0"/>
                <a:cs typeface="Segoe UI Semilight" panose="020B0402040204020203" pitchFamily="34" charset="0"/>
              </a:rPr>
              <a:t>50 - 999 employees</a:t>
            </a:r>
          </a:p>
          <a:p>
            <a:r>
              <a:rPr lang="en-US"/>
              <a:t>Country:</a:t>
            </a:r>
            <a:br>
              <a:rPr lang="en-US"/>
            </a:br>
            <a:r>
              <a:rPr lang="en-US" b="0">
                <a:latin typeface="Segoe UI Semilight" panose="020B0402040204020203" pitchFamily="34" charset="0"/>
                <a:cs typeface="Segoe UI Semilight" panose="020B0402040204020203" pitchFamily="34" charset="0"/>
              </a:rPr>
              <a:t>United States</a:t>
            </a:r>
          </a:p>
          <a:p>
            <a:pPr>
              <a:spcBef>
                <a:spcPts val="500"/>
              </a:spcBef>
            </a:pPr>
            <a:endParaRPr lang="en-US" b="0">
              <a:latin typeface="Segoe UI Semilight" panose="020B0402040204020203" pitchFamily="34" charset="0"/>
              <a:cs typeface="Segoe UI Semilight" panose="020B0402040204020203" pitchFamily="34" charset="0"/>
            </a:endParaRPr>
          </a:p>
          <a:p>
            <a:pPr>
              <a:spcBef>
                <a:spcPts val="0"/>
              </a:spcBef>
            </a:pPr>
            <a:r>
              <a:rPr lang="en-US">
                <a:latin typeface="Segoe UI Semibold"/>
                <a:cs typeface="Segoe UI Semibold"/>
              </a:rPr>
              <a:t>Products and services:</a:t>
            </a:r>
            <a:br>
              <a:rPr lang="en-US"/>
            </a:br>
            <a:r>
              <a:rPr lang="en-US" b="0">
                <a:latin typeface="Segoe UI Semilight" panose="020B0402040204020203" pitchFamily="34" charset="0"/>
                <a:cs typeface="Segoe UI Semilight" panose="020B0402040204020203" pitchFamily="34" charset="0"/>
              </a:rPr>
              <a:t>Microsoft Defender Experts for XDR</a:t>
            </a:r>
          </a:p>
          <a:p>
            <a:br>
              <a:rPr lang="en-US"/>
            </a:br>
            <a:br>
              <a:rPr lang="en-US" b="0">
                <a:latin typeface="Segoe UI Semilight" panose="020B0402040204020203" pitchFamily="34" charset="0"/>
                <a:cs typeface="Segoe UI Semilight" panose="020B0402040204020203" pitchFamily="34" charset="0"/>
              </a:rPr>
            </a:br>
            <a:r>
              <a:rPr lang="en-US">
                <a:hlinkClick r:id="rId3"/>
              </a:rPr>
              <a:t>Read full story here</a:t>
            </a:r>
            <a:endParaRPr lang="en-US"/>
          </a:p>
        </p:txBody>
      </p:sp>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a:xfrm>
            <a:off x="3234871" y="3751981"/>
            <a:ext cx="8643841" cy="492443"/>
          </a:xfrm>
        </p:spPr>
        <p:txBody>
          <a:bodyPr/>
          <a:lstStyle/>
          <a:p>
            <a:pPr marL="0" marR="0">
              <a:spcBef>
                <a:spcPts val="0"/>
              </a:spcBef>
              <a:spcAft>
                <a:spcPts val="0"/>
              </a:spcAft>
            </a:pPr>
            <a:r>
              <a:rPr lang="en-CA" sz="1600">
                <a:effectLst/>
                <a:latin typeface="Segoe UI" panose="020B0502040204020203" pitchFamily="34" charset="0"/>
                <a:ea typeface="Times New Roman" panose="02020603050405020304" pitchFamily="18" charset="0"/>
              </a:rPr>
              <a:t>“I always think of Microsoft as an SMB hero that saves the day with an effective, easily justified solution.” </a:t>
            </a:r>
            <a:endParaRPr lang="en-US" sz="1600">
              <a:effectLst/>
              <a:latin typeface="Times New Roman" panose="02020603050405020304" pitchFamily="18" charset="0"/>
              <a:ea typeface="Times New Roman" panose="02020603050405020304" pitchFamily="18" charset="0"/>
            </a:endParaRPr>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a:xfrm>
            <a:off x="3268758" y="4341053"/>
            <a:ext cx="8643841" cy="169277"/>
          </a:xfrm>
        </p:spPr>
        <p:txBody>
          <a:bodyPr/>
          <a:lstStyle/>
          <a:p>
            <a:r>
              <a:rPr lang="en-US"/>
              <a:t>—</a:t>
            </a:r>
            <a:r>
              <a:rPr lang="en-CA" sz="1100">
                <a:effectLst/>
                <a:ea typeface="Times New Roman" panose="02020603050405020304" pitchFamily="18" charset="0"/>
              </a:rPr>
              <a:t>Chad Ergun, Chief Information Officer, DGS Law</a:t>
            </a:r>
            <a:endParaRPr lang="en-US" sz="1100"/>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426189" cy="1477328"/>
          </a:xfrm>
        </p:spPr>
        <p:txBody>
          <a:bodyPr/>
          <a:lstStyle/>
          <a:p>
            <a:r>
              <a:rPr lang="en-CA" sz="1200">
                <a:effectLst/>
                <a:ea typeface="Times New Roman" panose="02020603050405020304" pitchFamily="18" charset="0"/>
              </a:rPr>
              <a:t>DGS Law offers the same excellent legal services provided by larger firms, but its smaller size precludes a full-blown team of security experts. How could DGS Law match the IT security offered by larger firms without a huge price tag it would get from an MSSP or large security staff?</a:t>
            </a:r>
            <a:endParaRPr lang="en-US" sz="1200"/>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140450" y="5168984"/>
            <a:ext cx="2317750" cy="923330"/>
          </a:xfrm>
        </p:spPr>
        <p:txBody>
          <a:bodyPr/>
          <a:lstStyle/>
          <a:p>
            <a:r>
              <a:rPr lang="en-CA" sz="1200">
                <a:effectLst/>
                <a:ea typeface="Times New Roman" panose="02020603050405020304" pitchFamily="18" charset="0"/>
              </a:rPr>
              <a:t>DGS capitalized on its existing Microsoft 365 investment, adding the latest managed service: Microsoft Defender Experts for XDR.</a:t>
            </a:r>
            <a:endParaRPr lang="en-US" sz="1200"/>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28648" y="5162439"/>
            <a:ext cx="2532910" cy="1292662"/>
          </a:xfrm>
        </p:spPr>
        <p:txBody>
          <a:bodyPr/>
          <a:lstStyle/>
          <a:p>
            <a:r>
              <a:rPr lang="en-CA" sz="1200">
                <a:effectLst/>
                <a:ea typeface="Times New Roman" panose="02020603050405020304" pitchFamily="18" charset="0"/>
              </a:rPr>
              <a:t>The resulting productivity boost for its security teams and Microsoft guidance on the latest threats and alerts puts the firm on an equal footing with goliath firms. With its vendor count down from 36 to 10, DGS Law is agile and ready for the future.</a:t>
            </a:r>
            <a:endParaRPr lang="en-US" sz="1200"/>
          </a:p>
        </p:txBody>
      </p:sp>
      <p:sp>
        <p:nvSpPr>
          <p:cNvPr id="14" name="Rectangle 13">
            <a:extLst>
              <a:ext uri="{FF2B5EF4-FFF2-40B4-BE49-F238E27FC236}">
                <a16:creationId xmlns:a16="http://schemas.microsoft.com/office/drawing/2014/main" id="{47219399-6E0D-034C-8477-C9FC774ABA09}"/>
              </a:ext>
              <a:ext uri="{C183D7F6-B498-43B3-948B-1728B52AA6E4}">
                <adec:decorative xmlns:adec="http://schemas.microsoft.com/office/drawing/2017/decorative" val="1"/>
              </a:ext>
            </a:extLst>
          </p:cNvPr>
          <p:cNvSpPr/>
          <p:nvPr/>
        </p:nvSpPr>
        <p:spPr>
          <a:xfrm>
            <a:off x="2870483" y="0"/>
            <a:ext cx="118872" cy="6858000"/>
          </a:xfrm>
          <a:prstGeom prst="rect">
            <a:avLst/>
          </a:prstGeom>
          <a:solidFill>
            <a:srgbClr val="0E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352328D3-DCD8-6932-8583-A59966A3AD7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56170" y="0"/>
            <a:ext cx="9235830" cy="3309730"/>
          </a:xfrm>
          <a:prstGeom prst="rect">
            <a:avLst/>
          </a:prstGeom>
        </p:spPr>
      </p:pic>
    </p:spTree>
    <p:extLst>
      <p:ext uri="{BB962C8B-B14F-4D97-AF65-F5344CB8AC3E}">
        <p14:creationId xmlns:p14="http://schemas.microsoft.com/office/powerpoint/2010/main" val="1390310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D7B0B-AF8A-404B-56AC-683A578B33D5}"/>
              </a:ext>
              <a:ext uri="{C183D7F6-B498-43B3-948B-1728B52AA6E4}">
                <adec:decorative xmlns:adec="http://schemas.microsoft.com/office/drawing/2017/decorative" val="1"/>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a:t>
            </a:r>
          </a:p>
        </p:txBody>
      </p:sp>
      <p:pic>
        <p:nvPicPr>
          <p:cNvPr id="29" name="Picture Placeholder 28" descr="Rabobank logo">
            <a:hlinkClick r:id="rId2"/>
            <a:extLst>
              <a:ext uri="{FF2B5EF4-FFF2-40B4-BE49-F238E27FC236}">
                <a16:creationId xmlns:a16="http://schemas.microsoft.com/office/drawing/2014/main" id="{45D4852D-4038-5C48-949E-BC1868FAA0F1}"/>
              </a:ext>
            </a:extLst>
          </p:cNvPr>
          <p:cNvPicPr>
            <a:picLocks noGrp="1" noChangeAspect="1"/>
          </p:cNvPicPr>
          <p:nvPr>
            <p:ph type="pic" sz="quarter" idx="23"/>
          </p:nvPr>
        </p:nvPicPr>
        <p:blipFill>
          <a:blip r:embed="rId3"/>
          <a:srcRect/>
          <a:stretch/>
        </p:blipFill>
        <p:spPr>
          <a:xfrm>
            <a:off x="310297" y="373545"/>
            <a:ext cx="2148504" cy="2148504"/>
          </a:xfrm>
        </p:spPr>
      </p:pic>
      <p:sp>
        <p:nvSpPr>
          <p:cNvPr id="33" name="Text Placeholder 32">
            <a:extLst>
              <a:ext uri="{FF2B5EF4-FFF2-40B4-BE49-F238E27FC236}">
                <a16:creationId xmlns:a16="http://schemas.microsoft.com/office/drawing/2014/main" id="{18EF22AB-D135-1843-A644-5DD785C144B5}"/>
              </a:ext>
            </a:extLst>
          </p:cNvPr>
          <p:cNvSpPr>
            <a:spLocks noGrp="1"/>
          </p:cNvSpPr>
          <p:nvPr>
            <p:ph type="body" sz="quarter" idx="18"/>
          </p:nvPr>
        </p:nvSpPr>
        <p:spPr>
          <a:xfrm>
            <a:off x="310297" y="2627790"/>
            <a:ext cx="2286000" cy="3279851"/>
          </a:xfrm>
        </p:spPr>
        <p:txBody>
          <a:bodyPr>
            <a:normAutofit fontScale="92500" lnSpcReduction="10000"/>
          </a:bodyPr>
          <a:lstStyle/>
          <a:p>
            <a:r>
              <a:rPr lang="en-US">
                <a:latin typeface="Segoe UI Semibold"/>
                <a:cs typeface="Segoe UI Semibold"/>
              </a:rPr>
              <a:t>Customer:</a:t>
            </a:r>
            <a:br>
              <a:rPr lang="en-US"/>
            </a:br>
            <a:r>
              <a:rPr lang="en-US" b="0">
                <a:latin typeface="Segoe UI Semilight"/>
                <a:cs typeface="Segoe UI Semilight"/>
              </a:rPr>
              <a:t>Rabobank</a:t>
            </a:r>
          </a:p>
          <a:p>
            <a:r>
              <a:rPr lang="en-US">
                <a:latin typeface="Segoe UI Semibold"/>
                <a:cs typeface="Segoe UI Semibold"/>
              </a:rPr>
              <a:t>Industry:</a:t>
            </a:r>
            <a:br>
              <a:rPr lang="en-US"/>
            </a:br>
            <a:r>
              <a:rPr lang="en-US" b="0">
                <a:latin typeface="Segoe UI Semilight"/>
                <a:cs typeface="Segoe UI Semilight"/>
              </a:rPr>
              <a:t>Banking &amp; Capital Markets</a:t>
            </a:r>
          </a:p>
          <a:p>
            <a:r>
              <a:rPr lang="en-US">
                <a:latin typeface="Segoe UI Semibold"/>
                <a:cs typeface="Segoe UI Semibold"/>
              </a:rPr>
              <a:t>Size:</a:t>
            </a:r>
            <a:br>
              <a:rPr lang="en-US"/>
            </a:br>
            <a:r>
              <a:rPr lang="en-US" b="0">
                <a:latin typeface="Segoe UI Semilight"/>
                <a:cs typeface="Segoe UI Semilight"/>
              </a:rPr>
              <a:t>10,000+</a:t>
            </a:r>
          </a:p>
          <a:p>
            <a:r>
              <a:rPr lang="en-US">
                <a:latin typeface="Segoe UI Semibold"/>
                <a:cs typeface="Segoe UI Semibold"/>
              </a:rPr>
              <a:t>Country:</a:t>
            </a:r>
            <a:br>
              <a:rPr lang="en-US"/>
            </a:br>
            <a:r>
              <a:rPr lang="en-US" b="0">
                <a:latin typeface="Segoe UI Semilight"/>
                <a:cs typeface="Segoe UI Semilight"/>
              </a:rPr>
              <a:t>Netherlands</a:t>
            </a:r>
          </a:p>
          <a:p>
            <a:pPr>
              <a:lnSpc>
                <a:spcPct val="120000"/>
              </a:lnSpc>
              <a:spcBef>
                <a:spcPts val="0"/>
              </a:spcBef>
            </a:pPr>
            <a:endParaRPr lang="en-US">
              <a:latin typeface="Segoe UI Semibold"/>
              <a:cs typeface="Segoe UI Semibold"/>
            </a:endParaRPr>
          </a:p>
          <a:p>
            <a:pPr>
              <a:lnSpc>
                <a:spcPct val="120000"/>
              </a:lnSpc>
              <a:spcBef>
                <a:spcPts val="0"/>
              </a:spcBef>
            </a:pPr>
            <a:r>
              <a:rPr lang="en-US">
                <a:latin typeface="Segoe UI Semibold"/>
                <a:cs typeface="Segoe UI Semibold"/>
              </a:rPr>
              <a:t>Products and services:</a:t>
            </a:r>
            <a:br>
              <a:rPr lang="en-US"/>
            </a:br>
            <a:r>
              <a:rPr lang="en-US" b="0">
                <a:latin typeface="Segoe UI Light"/>
                <a:cs typeface="Segoe UI Semilight" panose="020B0402040204020203" pitchFamily="34" charset="0"/>
              </a:rPr>
              <a:t>Azure Arc</a:t>
            </a:r>
          </a:p>
          <a:p>
            <a:pPr>
              <a:lnSpc>
                <a:spcPct val="120000"/>
              </a:lnSpc>
              <a:spcBef>
                <a:spcPts val="0"/>
              </a:spcBef>
            </a:pPr>
            <a:r>
              <a:rPr lang="en-US" b="0">
                <a:latin typeface="Segoe UI Light"/>
                <a:cs typeface="Segoe UI Semilight" panose="020B0402040204020203" pitchFamily="34" charset="0"/>
              </a:rPr>
              <a:t>Azure Monitor</a:t>
            </a:r>
          </a:p>
          <a:p>
            <a:pPr>
              <a:lnSpc>
                <a:spcPct val="120000"/>
              </a:lnSpc>
              <a:spcBef>
                <a:spcPts val="0"/>
              </a:spcBef>
            </a:pPr>
            <a:r>
              <a:rPr lang="en-US" b="0">
                <a:latin typeface="Segoe UI Light"/>
                <a:cs typeface="Segoe UI Semilight" panose="020B0402040204020203" pitchFamily="34" charset="0"/>
              </a:rPr>
              <a:t>Microsoft 365 E5 Security</a:t>
            </a:r>
          </a:p>
          <a:p>
            <a:pPr>
              <a:lnSpc>
                <a:spcPct val="120000"/>
              </a:lnSpc>
              <a:spcBef>
                <a:spcPts val="0"/>
              </a:spcBef>
            </a:pPr>
            <a:r>
              <a:rPr lang="en-US" b="0">
                <a:latin typeface="Segoe UI Light"/>
                <a:cs typeface="Segoe UI Semilight" panose="020B0402040204020203" pitchFamily="34" charset="0"/>
              </a:rPr>
              <a:t>Microsoft Azure Active Directory</a:t>
            </a:r>
          </a:p>
          <a:p>
            <a:pPr>
              <a:lnSpc>
                <a:spcPct val="120000"/>
              </a:lnSpc>
              <a:spcBef>
                <a:spcPts val="0"/>
              </a:spcBef>
            </a:pPr>
            <a:r>
              <a:rPr lang="en-US" b="0">
                <a:latin typeface="Segoe UI Light"/>
                <a:cs typeface="Segoe UI Semilight" panose="020B0402040204020203" pitchFamily="34" charset="0"/>
              </a:rPr>
              <a:t>Microsoft Defender for Cloud</a:t>
            </a:r>
          </a:p>
          <a:p>
            <a:pPr>
              <a:lnSpc>
                <a:spcPct val="120000"/>
              </a:lnSpc>
              <a:spcBef>
                <a:spcPts val="0"/>
              </a:spcBef>
            </a:pPr>
            <a:r>
              <a:rPr lang="en-US" b="0">
                <a:latin typeface="Segoe UI Light"/>
                <a:cs typeface="Segoe UI Semilight" panose="020B0402040204020203" pitchFamily="34" charset="0"/>
              </a:rPr>
              <a:t>Microsoft Defender for Cloud Apps</a:t>
            </a:r>
          </a:p>
          <a:p>
            <a:pPr>
              <a:lnSpc>
                <a:spcPct val="120000"/>
              </a:lnSpc>
              <a:spcBef>
                <a:spcPts val="0"/>
              </a:spcBef>
            </a:pPr>
            <a:r>
              <a:rPr lang="en-US" b="0">
                <a:latin typeface="Segoe UI Light"/>
                <a:cs typeface="Segoe UI Semilight" panose="020B0402040204020203" pitchFamily="34" charset="0"/>
              </a:rPr>
              <a:t>Microsoft Defender for Endpoint</a:t>
            </a:r>
          </a:p>
          <a:p>
            <a:pPr>
              <a:lnSpc>
                <a:spcPct val="120000"/>
              </a:lnSpc>
              <a:spcBef>
                <a:spcPts val="0"/>
              </a:spcBef>
            </a:pPr>
            <a:r>
              <a:rPr lang="en-US" b="0">
                <a:latin typeface="Segoe UI Light"/>
                <a:cs typeface="Segoe UI Semilight" panose="020B0402040204020203" pitchFamily="34" charset="0"/>
              </a:rPr>
              <a:t>Microsoft Defender for Identity</a:t>
            </a:r>
          </a:p>
          <a:p>
            <a:pPr>
              <a:lnSpc>
                <a:spcPct val="120000"/>
              </a:lnSpc>
              <a:spcBef>
                <a:spcPts val="0"/>
              </a:spcBef>
            </a:pPr>
            <a:r>
              <a:rPr lang="en-US" b="0">
                <a:latin typeface="Segoe UI Light"/>
                <a:cs typeface="Segoe UI Semibold"/>
              </a:rPr>
              <a:t>Microsoft Sentinel</a:t>
            </a:r>
          </a:p>
          <a:p>
            <a:pPr>
              <a:lnSpc>
                <a:spcPct val="120000"/>
              </a:lnSpc>
              <a:spcBef>
                <a:spcPts val="0"/>
              </a:spcBef>
            </a:pPr>
            <a:endParaRPr lang="en-US" b="0">
              <a:latin typeface="Segoe UI Light"/>
              <a:cs typeface="Segoe UI Semilight" panose="020B0402040204020203" pitchFamily="34" charset="0"/>
            </a:endParaRPr>
          </a:p>
          <a:p>
            <a:r>
              <a:rPr lang="en-US">
                <a:latin typeface="Segoe UI Semibold"/>
                <a:cs typeface="Segoe UI Semibold"/>
                <a:hlinkClick r:id="rId4"/>
              </a:rPr>
              <a:t>Read full story here</a:t>
            </a:r>
            <a:endParaRPr lang="en-US">
              <a:latin typeface="Segoe UI Semibold"/>
              <a:cs typeface="Segoe UI Semibold"/>
            </a:endParaRPr>
          </a:p>
        </p:txBody>
      </p:sp>
      <p:sp>
        <p:nvSpPr>
          <p:cNvPr id="14" name="Text Placeholder 13">
            <a:extLst>
              <a:ext uri="{FF2B5EF4-FFF2-40B4-BE49-F238E27FC236}">
                <a16:creationId xmlns:a16="http://schemas.microsoft.com/office/drawing/2014/main" id="{E86FE624-ACB7-9D4C-BD76-26D590B63DF1}"/>
              </a:ext>
            </a:extLst>
          </p:cNvPr>
          <p:cNvSpPr>
            <a:spLocks noGrp="1"/>
          </p:cNvSpPr>
          <p:nvPr>
            <p:ph type="body" sz="quarter" idx="10"/>
          </p:nvPr>
        </p:nvSpPr>
        <p:spPr>
          <a:xfrm>
            <a:off x="3268758" y="3611898"/>
            <a:ext cx="8643841" cy="492443"/>
          </a:xfrm>
        </p:spPr>
        <p:txBody>
          <a:bodyPr anchor="b" anchorCtr="0"/>
          <a:lstStyle/>
          <a:p>
            <a:r>
              <a:rPr lang="en-US" sz="1600">
                <a:latin typeface="Segoe UI"/>
                <a:cs typeface="Segoe UI"/>
              </a:rPr>
              <a:t>"The difference we’ve experienced in visibility and threat detection since deploying Microsoft Security solutions is like night and day.”</a:t>
            </a:r>
          </a:p>
        </p:txBody>
      </p:sp>
      <p:sp>
        <p:nvSpPr>
          <p:cNvPr id="15" name="Text Placeholder 14">
            <a:extLst>
              <a:ext uri="{FF2B5EF4-FFF2-40B4-BE49-F238E27FC236}">
                <a16:creationId xmlns:a16="http://schemas.microsoft.com/office/drawing/2014/main" id="{CFD94994-101E-7341-9861-C77832EA6A79}"/>
              </a:ext>
            </a:extLst>
          </p:cNvPr>
          <p:cNvSpPr>
            <a:spLocks noGrp="1"/>
          </p:cNvSpPr>
          <p:nvPr>
            <p:ph type="body" sz="quarter" idx="11"/>
          </p:nvPr>
        </p:nvSpPr>
        <p:spPr>
          <a:xfrm>
            <a:off x="3268757" y="4304279"/>
            <a:ext cx="8643841" cy="158979"/>
          </a:xfrm>
        </p:spPr>
        <p:txBody>
          <a:bodyPr/>
          <a:lstStyle/>
          <a:p>
            <a:r>
              <a:rPr lang="en-US"/>
              <a:t>—Raoul van der Voort, Global Service Owner, Cyber Defense Center, Rabobank</a:t>
            </a:r>
          </a:p>
        </p:txBody>
      </p:sp>
      <p:sp>
        <p:nvSpPr>
          <p:cNvPr id="16" name="Text Placeholder 15">
            <a:extLst>
              <a:ext uri="{FF2B5EF4-FFF2-40B4-BE49-F238E27FC236}">
                <a16:creationId xmlns:a16="http://schemas.microsoft.com/office/drawing/2014/main" id="{42672804-D50B-AC4F-B34C-09A4E248474E}"/>
              </a:ext>
            </a:extLst>
          </p:cNvPr>
          <p:cNvSpPr>
            <a:spLocks noGrp="1"/>
          </p:cNvSpPr>
          <p:nvPr>
            <p:ph type="body" sz="quarter" idx="12"/>
          </p:nvPr>
        </p:nvSpPr>
        <p:spPr>
          <a:xfrm>
            <a:off x="3268758" y="5162439"/>
            <a:ext cx="2560320" cy="1292662"/>
          </a:xfrm>
        </p:spPr>
        <p:txBody>
          <a:bodyPr lIns="0" tIns="0" rIns="0" bIns="0" anchor="t"/>
          <a:lstStyle/>
          <a:p>
            <a:r>
              <a:rPr lang="en-US" sz="1200">
                <a:latin typeface="Segoe UI Semilight"/>
                <a:cs typeface="Segoe UI Semilight"/>
              </a:rPr>
              <a:t>How does a venerable yet growing global entity balance cutting-edge security, agility, and costs against the demands of a </a:t>
            </a:r>
            <a:r>
              <a:rPr lang="en-US" sz="1200" err="1">
                <a:latin typeface="Segoe UI Semilight"/>
                <a:cs typeface="Segoe UI Semilight"/>
              </a:rPr>
              <a:t>multicloud</a:t>
            </a:r>
            <a:r>
              <a:rPr lang="en-US" sz="1200">
                <a:latin typeface="Segoe UI Semilight"/>
                <a:cs typeface="Segoe UI Semilight"/>
              </a:rPr>
              <a:t>, hybrid infrastructure that also contains several heterogenous systems? For Rabobank, the answer was clear.</a:t>
            </a:r>
            <a:endParaRPr lang="en-US">
              <a:latin typeface="Segoe UI Semilight"/>
              <a:cs typeface="Segoe UI Semilight"/>
            </a:endParaRPr>
          </a:p>
        </p:txBody>
      </p:sp>
      <p:sp>
        <p:nvSpPr>
          <p:cNvPr id="18" name="Text Placeholder 17">
            <a:extLst>
              <a:ext uri="{FF2B5EF4-FFF2-40B4-BE49-F238E27FC236}">
                <a16:creationId xmlns:a16="http://schemas.microsoft.com/office/drawing/2014/main" id="{BF353EAF-8699-2E41-A97A-31201BE27270}"/>
              </a:ext>
            </a:extLst>
          </p:cNvPr>
          <p:cNvSpPr>
            <a:spLocks noGrp="1"/>
          </p:cNvSpPr>
          <p:nvPr>
            <p:ph type="body" sz="quarter" idx="21"/>
          </p:nvPr>
        </p:nvSpPr>
        <p:spPr>
          <a:xfrm>
            <a:off x="6135863" y="5162439"/>
            <a:ext cx="2499646" cy="1107996"/>
          </a:xfrm>
        </p:spPr>
        <p:txBody>
          <a:bodyPr lIns="0" tIns="0" rIns="0" bIns="0" anchor="t"/>
          <a:lstStyle/>
          <a:p>
            <a:r>
              <a:rPr lang="en-US" sz="1200">
                <a:latin typeface="Segoe UI Semilight"/>
                <a:cs typeface="Segoe UI Semilight"/>
              </a:rPr>
              <a:t>The company rolled out Microsoft Defender for Cloud to monitor hybrid, </a:t>
            </a:r>
            <a:r>
              <a:rPr lang="en-US" sz="1200" err="1">
                <a:latin typeface="Segoe UI Semilight"/>
                <a:cs typeface="Segoe UI Semilight"/>
              </a:rPr>
              <a:t>multicloud</a:t>
            </a:r>
            <a:r>
              <a:rPr lang="en-US" sz="1200">
                <a:latin typeface="Segoe UI Semilight"/>
                <a:cs typeface="Segoe UI Semilight"/>
              </a:rPr>
              <a:t> workloads and connected it with Microsoft Sentinel and Microsoft Defender for Endpoint for broad visibility.</a:t>
            </a:r>
            <a:endParaRPr lang="en-US" sz="1200"/>
          </a:p>
        </p:txBody>
      </p:sp>
      <p:sp>
        <p:nvSpPr>
          <p:cNvPr id="19" name="Text Placeholder 18">
            <a:extLst>
              <a:ext uri="{FF2B5EF4-FFF2-40B4-BE49-F238E27FC236}">
                <a16:creationId xmlns:a16="http://schemas.microsoft.com/office/drawing/2014/main" id="{D5ECE185-9B80-FC4C-943F-B61522121662}"/>
              </a:ext>
            </a:extLst>
          </p:cNvPr>
          <p:cNvSpPr>
            <a:spLocks noGrp="1"/>
          </p:cNvSpPr>
          <p:nvPr>
            <p:ph type="body" sz="quarter" idx="22"/>
          </p:nvPr>
        </p:nvSpPr>
        <p:spPr>
          <a:xfrm>
            <a:off x="8728648" y="5162439"/>
            <a:ext cx="2499646" cy="1470009"/>
          </a:xfrm>
        </p:spPr>
        <p:txBody>
          <a:bodyPr lIns="0" tIns="0" rIns="0" bIns="0" anchor="t"/>
          <a:lstStyle/>
          <a:p>
            <a:r>
              <a:rPr lang="en-US" sz="1200">
                <a:latin typeface="Segoe UI Semilight"/>
                <a:cs typeface="Segoe UI Semilight"/>
              </a:rPr>
              <a:t>Rabobank has done away with several high-ticket license fees for non-Microsoft solutions amounting to €400,000 (USD460,000) in cost savings, reducing its vendor count from 20 down to four. But the heightened security it gained is priceless.</a:t>
            </a:r>
          </a:p>
        </p:txBody>
      </p:sp>
      <p:pic>
        <p:nvPicPr>
          <p:cNvPr id="13" name="Picture Placeholder 12">
            <a:extLst>
              <a:ext uri="{FF2B5EF4-FFF2-40B4-BE49-F238E27FC236}">
                <a16:creationId xmlns:a16="http://schemas.microsoft.com/office/drawing/2014/main" id="{0071D1DB-D2A8-7247-A7E6-C189A72D14C0}"/>
              </a:ext>
              <a:ext uri="{C183D7F6-B498-43B3-948B-1728B52AA6E4}">
                <adec:decorative xmlns:adec="http://schemas.microsoft.com/office/drawing/2017/decorative" val="1"/>
              </a:ext>
            </a:extLst>
          </p:cNvPr>
          <p:cNvPicPr>
            <a:picLocks noGrp="1" noChangeAspect="1"/>
          </p:cNvPicPr>
          <p:nvPr>
            <p:ph type="pic" sz="quarter" idx="24"/>
          </p:nvPr>
        </p:nvPicPr>
        <p:blipFill>
          <a:blip r:embed="rId5"/>
          <a:srcRect t="15330" b="15330"/>
          <a:stretch/>
        </p:blipFill>
        <p:spPr>
          <a:xfrm>
            <a:off x="2978135" y="0"/>
            <a:ext cx="9213865" cy="3327530"/>
          </a:xfrm>
        </p:spPr>
      </p:pic>
      <p:sp>
        <p:nvSpPr>
          <p:cNvPr id="31" name="Rectangle 30">
            <a:extLst>
              <a:ext uri="{FF2B5EF4-FFF2-40B4-BE49-F238E27FC236}">
                <a16:creationId xmlns:a16="http://schemas.microsoft.com/office/drawing/2014/main" id="{A40ACBF9-E034-3547-A988-EC8EDE43C75C}"/>
              </a:ext>
              <a:ext uri="{C183D7F6-B498-43B3-948B-1728B52AA6E4}">
                <adec:decorative xmlns:adec="http://schemas.microsoft.com/office/drawing/2017/decorative" val="1"/>
              </a:ext>
            </a:extLst>
          </p:cNvPr>
          <p:cNvSpPr/>
          <p:nvPr/>
        </p:nvSpPr>
        <p:spPr>
          <a:xfrm>
            <a:off x="2870483" y="0"/>
            <a:ext cx="118872" cy="6858000"/>
          </a:xfrm>
          <a:prstGeom prst="rect">
            <a:avLst/>
          </a:prstGeom>
          <a:solidFill>
            <a:srgbClr val="000FAA"/>
          </a:solidFill>
          <a:ln>
            <a:solidFill>
              <a:srgbClr val="000F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91550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ABDD00-E876-E6D2-D30C-B5840188F658}"/>
              </a:ext>
              <a:ext uri="{C183D7F6-B498-43B3-948B-1728B52AA6E4}">
                <adec:decorative xmlns:adec="http://schemas.microsoft.com/office/drawing/2017/decorative" val="1"/>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    </a:t>
            </a:r>
          </a:p>
        </p:txBody>
      </p:sp>
      <p:pic>
        <p:nvPicPr>
          <p:cNvPr id="5" name="Picture 7" descr="Elanco logo">
            <a:extLst>
              <a:ext uri="{FF2B5EF4-FFF2-40B4-BE49-F238E27FC236}">
                <a16:creationId xmlns:a16="http://schemas.microsoft.com/office/drawing/2014/main" id="{0E371C2E-2327-4FF8-9DEF-C4005E75541B}"/>
              </a:ext>
            </a:extLst>
          </p:cNvPr>
          <p:cNvPicPr>
            <a:picLocks noGrp="1" noChangeAspect="1"/>
          </p:cNvPicPr>
          <p:nvPr>
            <p:ph type="pic" sz="quarter" idx="24"/>
          </p:nvPr>
        </p:nvPicPr>
        <p:blipFill rotWithShape="1">
          <a:blip r:embed="rId2"/>
          <a:srcRect t="14468" b="14468"/>
          <a:stretch/>
        </p:blipFill>
        <p:spPr>
          <a:xfrm>
            <a:off x="85045" y="244929"/>
            <a:ext cx="2794727" cy="997404"/>
          </a:xfrm>
        </p:spPr>
      </p:pic>
      <p:sp>
        <p:nvSpPr>
          <p:cNvPr id="7" name="Text Placeholder 6">
            <a:extLst>
              <a:ext uri="{FF2B5EF4-FFF2-40B4-BE49-F238E27FC236}">
                <a16:creationId xmlns:a16="http://schemas.microsoft.com/office/drawing/2014/main" id="{AF2E54E3-0C00-6B4C-92F1-804A0BA0C869}"/>
              </a:ext>
            </a:extLst>
          </p:cNvPr>
          <p:cNvSpPr>
            <a:spLocks noGrp="1"/>
          </p:cNvSpPr>
          <p:nvPr>
            <p:ph type="body" sz="quarter" idx="18"/>
          </p:nvPr>
        </p:nvSpPr>
        <p:spPr>
          <a:xfrm>
            <a:off x="357109" y="2406623"/>
            <a:ext cx="2417539" cy="3591066"/>
          </a:xfrm>
        </p:spPr>
        <p:txBody>
          <a:bodyPr>
            <a:noAutofit/>
          </a:bodyPr>
          <a:lstStyle/>
          <a:p>
            <a:r>
              <a:rPr lang="en-US"/>
              <a:t>Customer:</a:t>
            </a:r>
            <a:br>
              <a:rPr lang="en-US"/>
            </a:br>
            <a:r>
              <a:rPr lang="en-US" b="0">
                <a:latin typeface="Segoe UI Semilight" panose="020B0402040204020203" pitchFamily="34" charset="0"/>
                <a:cs typeface="Segoe UI Semilight" panose="020B0402040204020203" pitchFamily="34" charset="0"/>
              </a:rPr>
              <a:t>Elanco</a:t>
            </a:r>
            <a:br>
              <a:rPr lang="en-US" b="0">
                <a:latin typeface="Segoe UI Semilight" panose="020B0402040204020203" pitchFamily="34" charset="0"/>
                <a:cs typeface="Segoe UI Semilight" panose="020B0402040204020203" pitchFamily="34" charset="0"/>
              </a:rPr>
            </a:br>
            <a:br>
              <a:rPr lang="en-US" b="0">
                <a:latin typeface="Segoe UI Semilight" panose="020B0402040204020203" pitchFamily="34" charset="0"/>
                <a:cs typeface="Segoe UI Semilight" panose="020B0402040204020203" pitchFamily="34" charset="0"/>
              </a:rPr>
            </a:br>
            <a:r>
              <a:rPr lang="en-US"/>
              <a:t>Industry:</a:t>
            </a:r>
            <a:br>
              <a:rPr lang="en-US"/>
            </a:br>
            <a:r>
              <a:rPr lang="en-US" b="0">
                <a:latin typeface="Segoe UI Semilight" panose="020B0402040204020203" pitchFamily="34" charset="0"/>
                <a:cs typeface="Segoe UI Semilight" panose="020B0402040204020203" pitchFamily="34" charset="0"/>
              </a:rPr>
              <a:t>Consumer Goods</a:t>
            </a:r>
            <a:br>
              <a:rPr lang="en-US" b="0">
                <a:latin typeface="Segoe UI Semilight" panose="020B0402040204020203" pitchFamily="34" charset="0"/>
                <a:cs typeface="Segoe UI Semilight" panose="020B0402040204020203" pitchFamily="34" charset="0"/>
              </a:rPr>
            </a:br>
            <a:br>
              <a:rPr lang="en-US" b="0">
                <a:latin typeface="Segoe UI Semilight" panose="020B0402040204020203" pitchFamily="34" charset="0"/>
                <a:cs typeface="Segoe UI Semilight" panose="020B0402040204020203" pitchFamily="34" charset="0"/>
              </a:rPr>
            </a:br>
            <a:r>
              <a:rPr lang="en-US"/>
              <a:t>Size:</a:t>
            </a:r>
            <a:br>
              <a:rPr lang="en-US"/>
            </a:br>
            <a:r>
              <a:rPr lang="en-US" b="0">
                <a:latin typeface="Segoe UI Semilight" panose="020B0402040204020203" pitchFamily="34" charset="0"/>
                <a:cs typeface="Segoe UI Semilight" panose="020B0402040204020203" pitchFamily="34" charset="0"/>
              </a:rPr>
              <a:t>9,000 employees</a:t>
            </a:r>
            <a:br>
              <a:rPr lang="en-US"/>
            </a:br>
            <a:br>
              <a:rPr lang="en-US"/>
            </a:br>
            <a:r>
              <a:rPr lang="en-US"/>
              <a:t>Country:</a:t>
            </a:r>
            <a:br>
              <a:rPr lang="en-US"/>
            </a:br>
            <a:r>
              <a:rPr lang="en-US" b="0">
                <a:latin typeface="Segoe UI Semilight" panose="020B0402040204020203" pitchFamily="34" charset="0"/>
                <a:cs typeface="Segoe UI Semilight" panose="020B0402040204020203" pitchFamily="34" charset="0"/>
              </a:rPr>
              <a:t>United States</a:t>
            </a:r>
            <a:br>
              <a:rPr lang="en-US"/>
            </a:br>
            <a:endParaRPr lang="en-US" b="0">
              <a:latin typeface="Segoe UI Semilight" panose="020B0402040204020203" pitchFamily="34" charset="0"/>
              <a:cs typeface="Segoe UI Semilight" panose="020B0402040204020203" pitchFamily="34" charset="0"/>
            </a:endParaRPr>
          </a:p>
          <a:p>
            <a:r>
              <a:rPr lang="en-US">
                <a:latin typeface="Segoe UI Semibold"/>
                <a:cs typeface="Segoe UI Semibold"/>
              </a:rPr>
              <a:t>Products and services:</a:t>
            </a:r>
            <a:br>
              <a:rPr lang="en-US">
                <a:latin typeface="Segoe UI Semibold"/>
                <a:cs typeface="Segoe UI Semibold"/>
              </a:rPr>
            </a:br>
            <a:r>
              <a:rPr lang="en-US" b="0">
                <a:latin typeface="Segoe UI Semilight" panose="020B0402040204020203" pitchFamily="34" charset="0"/>
                <a:cs typeface="Segoe UI Semilight" panose="020B0402040204020203" pitchFamily="34" charset="0"/>
              </a:rPr>
              <a:t>Microsoft 365 E5</a:t>
            </a:r>
            <a:br>
              <a:rPr lang="en-US">
                <a:latin typeface="Segoe UI Semibold"/>
                <a:cs typeface="Segoe UI Semibold"/>
              </a:rPr>
            </a:br>
            <a:br>
              <a:rPr lang="en-US" b="0">
                <a:latin typeface="Segoe UI Semilight" panose="020B0402040204020203" pitchFamily="34" charset="0"/>
                <a:cs typeface="Segoe UI Semilight" panose="020B0402040204020203" pitchFamily="34" charset="0"/>
              </a:rPr>
            </a:br>
            <a:br>
              <a:rPr lang="en-US" b="0">
                <a:latin typeface="Segoe UI Semilight" panose="020B0402040204020203" pitchFamily="34" charset="0"/>
                <a:cs typeface="Segoe UI Semilight" panose="020B0402040204020203" pitchFamily="34" charset="0"/>
              </a:rPr>
            </a:br>
            <a:r>
              <a:rPr lang="en-US">
                <a:latin typeface="Segoe UI Semibold"/>
                <a:cs typeface="Segoe UI Semibold"/>
                <a:hlinkClick r:id="rId3"/>
              </a:rPr>
              <a:t>Read full story here</a:t>
            </a:r>
            <a:endParaRPr lang="en-US">
              <a:latin typeface="Segoe UI Semibold"/>
              <a:cs typeface="Segoe UI Semibold"/>
              <a:hlinkClick r:id="rId4"/>
            </a:endParaRPr>
          </a:p>
        </p:txBody>
      </p:sp>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10"/>
          </p:nvPr>
        </p:nvSpPr>
        <p:spPr>
          <a:xfrm>
            <a:off x="3268758" y="3492645"/>
            <a:ext cx="8643841" cy="830262"/>
          </a:xfrm>
        </p:spPr>
        <p:txBody>
          <a:bodyPr>
            <a:noAutofit/>
          </a:bodyPr>
          <a:lstStyle/>
          <a:p>
            <a:r>
              <a:rPr lang="en-US" sz="1800" b="0" i="0">
                <a:solidFill>
                  <a:srgbClr val="000000"/>
                </a:solidFill>
                <a:effectLst/>
                <a:latin typeface="Segoe UI" panose="020B0502040204020203" pitchFamily="34" charset="0"/>
              </a:rPr>
              <a:t>“Like us, Microsoft values innovation and collaboration, and that’s reflected in the connected security tool stack it created. That interoperability made it much easier to deploy Microsoft Security solutions.”  </a:t>
            </a:r>
            <a:endParaRPr lang="en-US"/>
          </a:p>
        </p:txBody>
      </p:sp>
      <p:sp>
        <p:nvSpPr>
          <p:cNvPr id="4" name="Text Placeholder 3">
            <a:extLst>
              <a:ext uri="{FF2B5EF4-FFF2-40B4-BE49-F238E27FC236}">
                <a16:creationId xmlns:a16="http://schemas.microsoft.com/office/drawing/2014/main" id="{19786677-DC05-D543-909B-B7CA08E5BDC6}"/>
              </a:ext>
            </a:extLst>
          </p:cNvPr>
          <p:cNvSpPr>
            <a:spLocks noGrp="1"/>
          </p:cNvSpPr>
          <p:nvPr>
            <p:ph type="body" sz="quarter" idx="11"/>
          </p:nvPr>
        </p:nvSpPr>
        <p:spPr>
          <a:xfrm>
            <a:off x="3268757" y="4423607"/>
            <a:ext cx="8643841" cy="158979"/>
          </a:xfrm>
        </p:spPr>
        <p:txBody>
          <a:bodyPr/>
          <a:lstStyle/>
          <a:p>
            <a:r>
              <a:rPr lang="en-US"/>
              <a:t>—Murtaza Nisar, Chief Information Security Officer, Elanco</a:t>
            </a:r>
          </a:p>
        </p:txBody>
      </p:sp>
      <p:sp>
        <p:nvSpPr>
          <p:cNvPr id="3" name="Text Placeholder 2">
            <a:extLst>
              <a:ext uri="{FF2B5EF4-FFF2-40B4-BE49-F238E27FC236}">
                <a16:creationId xmlns:a16="http://schemas.microsoft.com/office/drawing/2014/main" id="{82581A0B-0C3F-5440-84F3-0961B75EC575}"/>
              </a:ext>
            </a:extLst>
          </p:cNvPr>
          <p:cNvSpPr>
            <a:spLocks noGrp="1"/>
          </p:cNvSpPr>
          <p:nvPr>
            <p:ph type="body" sz="quarter" idx="12"/>
          </p:nvPr>
        </p:nvSpPr>
        <p:spPr>
          <a:xfrm>
            <a:off x="3268758" y="5146255"/>
            <a:ext cx="2505302" cy="1336372"/>
          </a:xfrm>
        </p:spPr>
        <p:txBody>
          <a:bodyPr vert="horz" lIns="0" tIns="0" rIns="0" bIns="0" rtlCol="0">
            <a:noAutofit/>
          </a:bodyPr>
          <a:lstStyle/>
          <a:p>
            <a:r>
              <a:rPr lang="en-US" sz="1100" b="0" i="0">
                <a:solidFill>
                  <a:srgbClr val="000000"/>
                </a:solidFill>
                <a:effectLst/>
                <a:latin typeface="Segoe UI" panose="020B0502040204020203" pitchFamily="34" charset="0"/>
              </a:rPr>
              <a:t>Global animal health company Elanco had an enviable greenfield opportunity to build the template for a thoroughly modern IT landscape. At the top of its cybersecurity priority list: be a department of “yes” to its innovative employees while helping keep data safe. </a:t>
            </a:r>
            <a:endParaRPr lang="en-US" sz="1100"/>
          </a:p>
        </p:txBody>
      </p:sp>
      <p:sp>
        <p:nvSpPr>
          <p:cNvPr id="14" name="Rectangle 13">
            <a:extLst>
              <a:ext uri="{FF2B5EF4-FFF2-40B4-BE49-F238E27FC236}">
                <a16:creationId xmlns:a16="http://schemas.microsoft.com/office/drawing/2014/main" id="{98D55D4A-6878-0C46-A8B8-53CF7DFE7AC6}"/>
              </a:ext>
              <a:ext uri="{C183D7F6-B498-43B3-948B-1728B52AA6E4}">
                <adec:decorative xmlns:adec="http://schemas.microsoft.com/office/drawing/2017/decorative" val="1"/>
              </a:ext>
            </a:extLst>
          </p:cNvPr>
          <p:cNvSpPr/>
          <p:nvPr/>
        </p:nvSpPr>
        <p:spPr>
          <a:xfrm>
            <a:off x="2956615" y="0"/>
            <a:ext cx="118872"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60AC"/>
              </a:solidFill>
              <a:effectLst/>
              <a:uLnTx/>
              <a:uFillTx/>
              <a:latin typeface="Calibri" panose="020F0502020204030204"/>
              <a:ea typeface="+mn-ea"/>
              <a:cs typeface="+mn-cs"/>
            </a:endParaRPr>
          </a:p>
        </p:txBody>
      </p:sp>
      <p:sp>
        <p:nvSpPr>
          <p:cNvPr id="10" name="Text Placeholder 9">
            <a:extLst>
              <a:ext uri="{FF2B5EF4-FFF2-40B4-BE49-F238E27FC236}">
                <a16:creationId xmlns:a16="http://schemas.microsoft.com/office/drawing/2014/main" id="{1CA2349B-4144-4F09-A246-5122B96DD147}"/>
              </a:ext>
            </a:extLst>
          </p:cNvPr>
          <p:cNvSpPr>
            <a:spLocks noGrp="1"/>
          </p:cNvSpPr>
          <p:nvPr>
            <p:ph type="body" sz="quarter" idx="21"/>
          </p:nvPr>
        </p:nvSpPr>
        <p:spPr>
          <a:xfrm>
            <a:off x="6074899" y="5146255"/>
            <a:ext cx="2534877" cy="1470009"/>
          </a:xfrm>
        </p:spPr>
        <p:txBody>
          <a:bodyPr vert="horz" lIns="0" tIns="0" rIns="0" bIns="0" rtlCol="0">
            <a:noAutofit/>
          </a:bodyPr>
          <a:lstStyle/>
          <a:p>
            <a:r>
              <a:rPr lang="en-US" sz="1100" b="0" i="0">
                <a:solidFill>
                  <a:srgbClr val="000000"/>
                </a:solidFill>
                <a:effectLst/>
                <a:latin typeface="Segoe UI" panose="020B0502040204020203" pitchFamily="34" charset="0"/>
              </a:rPr>
              <a:t>In one condensed 18-month period, the company deployed an extensive selection of Microsoft Security solutions to fit with its Zero Trust strategy, including Azure Active Directory, Microsoft Defender for Identity, and the rest of the Microsoft Defender suite. </a:t>
            </a:r>
            <a:endParaRPr lang="en-US" sz="1100"/>
          </a:p>
        </p:txBody>
      </p:sp>
      <p:sp>
        <p:nvSpPr>
          <p:cNvPr id="13" name="Text Placeholder 12">
            <a:extLst>
              <a:ext uri="{FF2B5EF4-FFF2-40B4-BE49-F238E27FC236}">
                <a16:creationId xmlns:a16="http://schemas.microsoft.com/office/drawing/2014/main" id="{FA545772-6F1F-476C-80F7-33BDC6B2A549}"/>
              </a:ext>
            </a:extLst>
          </p:cNvPr>
          <p:cNvSpPr>
            <a:spLocks noGrp="1"/>
          </p:cNvSpPr>
          <p:nvPr>
            <p:ph type="body" sz="quarter" idx="22"/>
          </p:nvPr>
        </p:nvSpPr>
        <p:spPr>
          <a:xfrm>
            <a:off x="8728648" y="5146255"/>
            <a:ext cx="2841311" cy="1470009"/>
          </a:xfrm>
        </p:spPr>
        <p:txBody>
          <a:bodyPr vert="horz" lIns="0" tIns="0" rIns="0" bIns="0" rtlCol="0">
            <a:noAutofit/>
          </a:bodyPr>
          <a:lstStyle/>
          <a:p>
            <a:r>
              <a:rPr lang="en-US" sz="1100" b="0" i="0">
                <a:solidFill>
                  <a:srgbClr val="000000"/>
                </a:solidFill>
                <a:effectLst/>
                <a:latin typeface="Segoe UI" panose="020B0502040204020203" pitchFamily="34" charset="0"/>
              </a:rPr>
              <a:t>Elanco now benefits from a completely connected security landscape that is based around identity security at its core. It saves time for security teams so they can focus on the most complex threats. And everyone at Elanco can innovate and collaborate freely in a highly secure environment. </a:t>
            </a:r>
            <a:endParaRPr lang="en-US" sz="1100"/>
          </a:p>
        </p:txBody>
      </p:sp>
      <p:pic>
        <p:nvPicPr>
          <p:cNvPr id="8" name="Picture 8">
            <a:extLst>
              <a:ext uri="{FF2B5EF4-FFF2-40B4-BE49-F238E27FC236}">
                <a16:creationId xmlns:a16="http://schemas.microsoft.com/office/drawing/2014/main" id="{2B5DB646-A84C-4164-92EE-EDFA9DB38AC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073400" y="-2720"/>
            <a:ext cx="9120412" cy="3289297"/>
          </a:xfrm>
          <a:prstGeom prst="rect">
            <a:avLst/>
          </a:prstGeom>
        </p:spPr>
      </p:pic>
    </p:spTree>
    <p:extLst>
      <p:ext uri="{BB962C8B-B14F-4D97-AF65-F5344CB8AC3E}">
        <p14:creationId xmlns:p14="http://schemas.microsoft.com/office/powerpoint/2010/main" val="21405112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219761C-6F19-B949-96A2-04B7AD098359}"/>
              </a:ext>
              <a:ext uri="{C183D7F6-B498-43B3-948B-1728B52AA6E4}">
                <adec:decorative xmlns:adec="http://schemas.microsoft.com/office/drawing/2017/decorative" val="1"/>
              </a:ext>
            </a:extLst>
          </p:cNvPr>
          <p:cNvSpPr>
            <a:spLocks noGrp="1"/>
          </p:cNvSpPr>
          <p:nvPr>
            <p:ph type="title" idx="4294967295"/>
          </p:nvPr>
        </p:nvSpPr>
        <p:spPr>
          <a:xfrm>
            <a:off x="838200" y="-1325563"/>
            <a:ext cx="10515600" cy="1325563"/>
          </a:xfrm>
          <a:prstGeom prst="rect">
            <a:avLst/>
          </a:prstGeom>
        </p:spPr>
        <p:txBody>
          <a:bodyPr anchor="b"/>
          <a:lstStyle/>
          <a:p>
            <a:r>
              <a:rPr lang="en-US" dirty="0"/>
              <a:t>-  </a:t>
            </a:r>
          </a:p>
        </p:txBody>
      </p:sp>
      <p:pic>
        <p:nvPicPr>
          <p:cNvPr id="9" name="Picture 9">
            <a:extLst>
              <a:ext uri="{FF2B5EF4-FFF2-40B4-BE49-F238E27FC236}">
                <a16:creationId xmlns:a16="http://schemas.microsoft.com/office/drawing/2014/main" id="{DADC21FB-FD8C-4713-9BFC-3AAB97DF7101}"/>
              </a:ext>
              <a:ext uri="{C183D7F6-B498-43B3-948B-1728B52AA6E4}">
                <adec:decorative xmlns:adec="http://schemas.microsoft.com/office/drawing/2017/decorative" val="1"/>
              </a:ext>
            </a:extLst>
          </p:cNvPr>
          <p:cNvPicPr>
            <a:picLocks noChangeAspect="1"/>
          </p:cNvPicPr>
          <p:nvPr/>
        </p:nvPicPr>
        <p:blipFill>
          <a:blip r:embed="rId2"/>
          <a:srcRect t="22985" b="22985"/>
          <a:stretch/>
        </p:blipFill>
        <p:spPr>
          <a:xfrm>
            <a:off x="2937158" y="10274"/>
            <a:ext cx="9254845" cy="3329019"/>
          </a:xfrm>
          <a:prstGeom prst="rect">
            <a:avLst/>
          </a:prstGeom>
        </p:spPr>
      </p:pic>
      <p:pic>
        <p:nvPicPr>
          <p:cNvPr id="23" name="Picture 23" descr="Drax logo">
            <a:extLst>
              <a:ext uri="{FF2B5EF4-FFF2-40B4-BE49-F238E27FC236}">
                <a16:creationId xmlns:a16="http://schemas.microsoft.com/office/drawing/2014/main" id="{3ACA860E-DB74-494C-9ADF-94B419743FFC}"/>
              </a:ext>
            </a:extLst>
          </p:cNvPr>
          <p:cNvPicPr>
            <a:picLocks noChangeAspect="1"/>
          </p:cNvPicPr>
          <p:nvPr/>
        </p:nvPicPr>
        <p:blipFill>
          <a:blip r:embed="rId3"/>
          <a:srcRect/>
          <a:stretch/>
        </p:blipFill>
        <p:spPr>
          <a:xfrm>
            <a:off x="248478" y="484898"/>
            <a:ext cx="1892477" cy="1335479"/>
          </a:xfrm>
          <a:prstGeom prst="rect">
            <a:avLst/>
          </a:prstGeom>
        </p:spPr>
      </p:pic>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177450" y="3418911"/>
            <a:ext cx="2650391" cy="2565401"/>
          </a:xfrm>
        </p:spPr>
        <p:txBody>
          <a:bodyPr/>
          <a:lstStyle/>
          <a:p>
            <a:r>
              <a:rPr lang="en-US"/>
              <a:t>Customer:</a:t>
            </a:r>
            <a:br>
              <a:rPr lang="en-US"/>
            </a:br>
            <a:r>
              <a:rPr lang="en-US" b="0">
                <a:latin typeface="Segoe UI Semilight" panose="020B0402040204020203" pitchFamily="34" charset="0"/>
                <a:cs typeface="Segoe UI Semilight" panose="020B0402040204020203" pitchFamily="34" charset="0"/>
              </a:rPr>
              <a:t>Drax Group</a:t>
            </a:r>
          </a:p>
          <a:p>
            <a:r>
              <a:rPr lang="en-US"/>
              <a:t>Industry:</a:t>
            </a:r>
            <a:br>
              <a:rPr lang="en-US"/>
            </a:br>
            <a:r>
              <a:rPr lang="en-US" b="0">
                <a:latin typeface="Segoe UI Semilight" panose="020B0402040204020203" pitchFamily="34" charset="0"/>
                <a:cs typeface="Segoe UI Semilight" panose="020B0402040204020203" pitchFamily="34" charset="0"/>
              </a:rPr>
              <a:t>Energy</a:t>
            </a:r>
          </a:p>
          <a:p>
            <a:r>
              <a:rPr lang="en-US"/>
              <a:t>Size:</a:t>
            </a:r>
            <a:br>
              <a:rPr lang="en-US"/>
            </a:br>
            <a:r>
              <a:rPr lang="en-US" b="0">
                <a:latin typeface="Segoe UI Semilight" panose="020B0402040204020203" pitchFamily="34" charset="0"/>
                <a:cs typeface="Segoe UI Semilight" panose="020B0402040204020203" pitchFamily="34" charset="0"/>
              </a:rPr>
              <a:t>1,000–9,999 employees</a:t>
            </a:r>
          </a:p>
          <a:p>
            <a:r>
              <a:rPr lang="en-US"/>
              <a:t>Country:</a:t>
            </a:r>
            <a:br>
              <a:rPr lang="en-US"/>
            </a:br>
            <a:r>
              <a:rPr lang="en-US" b="0">
                <a:latin typeface="Segoe UI Semilight" panose="020B0402040204020203" pitchFamily="34" charset="0"/>
                <a:cs typeface="Segoe UI Semilight" panose="020B0402040204020203" pitchFamily="34" charset="0"/>
              </a:rPr>
              <a:t>United Kingdom</a:t>
            </a:r>
          </a:p>
          <a:p>
            <a:pPr>
              <a:spcBef>
                <a:spcPts val="0"/>
              </a:spcBef>
            </a:pPr>
            <a:endParaRPr lang="en-US">
              <a:latin typeface="Segoe UI Semibold"/>
              <a:cs typeface="Segoe UI Semibold"/>
            </a:endParaRPr>
          </a:p>
          <a:p>
            <a:pPr>
              <a:spcBef>
                <a:spcPts val="600"/>
              </a:spcBef>
            </a:pPr>
            <a:r>
              <a:rPr lang="en-US">
                <a:latin typeface="Segoe UI Semibold"/>
                <a:cs typeface="Segoe UI Semibold"/>
              </a:rPr>
              <a:t>Products and services:</a:t>
            </a:r>
            <a:br>
              <a:rPr lang="en-US"/>
            </a:br>
            <a:r>
              <a:rPr lang="en-US" b="0">
                <a:latin typeface="Segoe UI Semilight" panose="020B0402040204020203" pitchFamily="34" charset="0"/>
                <a:cs typeface="Segoe UI Semilight" panose="020B0402040204020203" pitchFamily="34" charset="0"/>
              </a:rPr>
              <a:t>Microsoft 365 E5</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365 Defender</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Defender for Endpoint</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Defender for Identity</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Whiteboard</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Power BI</a:t>
            </a:r>
          </a:p>
          <a:p>
            <a:pPr>
              <a:spcBef>
                <a:spcPts val="600"/>
              </a:spcBef>
            </a:pPr>
            <a:r>
              <a:rPr lang="en-US" b="0">
                <a:latin typeface="Segoe UI Semilight" panose="020B0402040204020203" pitchFamily="34" charset="0"/>
                <a:cs typeface="Segoe UI Semilight" panose="020B0402040204020203" pitchFamily="34" charset="0"/>
              </a:rPr>
              <a:t>Microsoft Azure</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Azure Active Directory</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Azure Defender</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Azure Security Center</a:t>
            </a:r>
          </a:p>
          <a:p>
            <a:pPr marL="171450" indent="-171450">
              <a:spcBef>
                <a:spcPts val="0"/>
              </a:spcBef>
              <a:buFont typeface="Arial" panose="020B0604020202020204" pitchFamily="34" charset="0"/>
              <a:buChar char="•"/>
            </a:pPr>
            <a:r>
              <a:rPr lang="en-US" b="0">
                <a:latin typeface="Segoe UI Semilight" panose="020B0402040204020203" pitchFamily="34" charset="0"/>
                <a:cs typeface="Segoe UI Semilight" panose="020B0402040204020203" pitchFamily="34" charset="0"/>
              </a:rPr>
              <a:t>Microsoft Azure Sentinel</a:t>
            </a:r>
          </a:p>
          <a:p>
            <a:pPr marL="171450" indent="-171450">
              <a:spcBef>
                <a:spcPts val="0"/>
              </a:spcBef>
              <a:buFont typeface="Arial" panose="020B0604020202020204" pitchFamily="34" charset="0"/>
              <a:buChar char="•"/>
            </a:pPr>
            <a:endParaRPr lang="en-US" b="0">
              <a:latin typeface="Segoe UI Semilight" panose="020B0402040204020203" pitchFamily="34" charset="0"/>
              <a:cs typeface="Segoe UI Semilight" panose="020B0402040204020203" pitchFamily="34" charset="0"/>
            </a:endParaRPr>
          </a:p>
          <a:p>
            <a:r>
              <a:rPr lang="en-US">
                <a:hlinkClick r:id="rId4"/>
              </a:rPr>
              <a:t>Read full story here</a:t>
            </a:r>
            <a:endParaRPr lang="en-US"/>
          </a:p>
        </p:txBody>
      </p:sp>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a:t>“The reason Microsoft provides such a powerful security solution is that it seeks to meet your needs holistically. Each security layer talks to everything else, including those data sources you might be using that are external to Microsoft.”</a:t>
            </a:r>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a:t>— Martin Sloan, Security Director, Drax Group</a:t>
            </a:r>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532910" cy="1470009"/>
          </a:xfrm>
        </p:spPr>
        <p:txBody>
          <a:bodyPr/>
          <a:lstStyle/>
          <a:p>
            <a:r>
              <a:rPr lang="en-US"/>
              <a:t>Drax Group, a UK electricity generator that’s part of the nation’s critical infrastructure, wanted to increase its visibility and threat protection capabilities across its IT landscape, unifying its data security approach through a single pane of glass. </a:t>
            </a:r>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095999" y="5168984"/>
            <a:ext cx="2479255" cy="1470009"/>
          </a:xfrm>
        </p:spPr>
        <p:txBody>
          <a:bodyPr/>
          <a:lstStyle/>
          <a:p>
            <a:r>
              <a:rPr lang="en-US"/>
              <a:t>Standardizing on Microsoft integrated threat protection, the company is unifying its data intelligence with Azure Sentinel and the extended detection and response capabilities of Microsoft Defender products.</a:t>
            </a:r>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28648" y="5162439"/>
            <a:ext cx="2532910" cy="1470009"/>
          </a:xfrm>
        </p:spPr>
        <p:txBody>
          <a:bodyPr/>
          <a:lstStyle/>
          <a:p>
            <a:r>
              <a:rPr lang="en-US"/>
              <a:t>Drax saved 75 percent of its planned integration costs associated with solutions from multiple vendors. And the company created a security solution that protects its data regardless of the types of devices it secures or the location of its employees.</a:t>
            </a:r>
          </a:p>
        </p:txBody>
      </p:sp>
      <p:sp>
        <p:nvSpPr>
          <p:cNvPr id="14" name="Rectangle 13">
            <a:extLst>
              <a:ext uri="{FF2B5EF4-FFF2-40B4-BE49-F238E27FC236}">
                <a16:creationId xmlns:a16="http://schemas.microsoft.com/office/drawing/2014/main" id="{47219399-6E0D-034C-8477-C9FC774ABA09}"/>
              </a:ext>
              <a:ext uri="{C183D7F6-B498-43B3-948B-1728B52AA6E4}">
                <adec:decorative xmlns:adec="http://schemas.microsoft.com/office/drawing/2017/decorative" val="1"/>
              </a:ext>
            </a:extLst>
          </p:cNvPr>
          <p:cNvSpPr/>
          <p:nvPr/>
        </p:nvSpPr>
        <p:spPr>
          <a:xfrm>
            <a:off x="2870483" y="0"/>
            <a:ext cx="118872" cy="6858000"/>
          </a:xfrm>
          <a:prstGeom prst="rect">
            <a:avLst/>
          </a:prstGeom>
          <a:solidFill>
            <a:srgbClr val="A2A2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998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E85A816E-E08B-43D7-8C6E-E57FD102963B}"/>
              </a:ext>
              <a:ext uri="{C183D7F6-B498-43B3-948B-1728B52AA6E4}">
                <adec:decorative xmlns:adec="http://schemas.microsoft.com/office/drawing/2017/decorative" val="1"/>
              </a:ext>
            </a:extLst>
          </p:cNvPr>
          <p:cNvPicPr>
            <a:picLocks noChangeAspect="1"/>
          </p:cNvPicPr>
          <p:nvPr/>
        </p:nvPicPr>
        <p:blipFill rotWithShape="1">
          <a:blip r:embed="rId3"/>
          <a:srcRect t="22985" b="-87"/>
          <a:stretch/>
        </p:blipFill>
        <p:spPr>
          <a:xfrm>
            <a:off x="-1123116" y="-28518"/>
            <a:ext cx="13435683" cy="6896619"/>
          </a:xfrm>
          <a:prstGeom prst="rect">
            <a:avLst/>
          </a:prstGeom>
        </p:spPr>
      </p:pic>
      <p:sp>
        <p:nvSpPr>
          <p:cNvPr id="17" name="Rectangle: Diagonal Corners Rounded 16">
            <a:extLst>
              <a:ext uri="{FF2B5EF4-FFF2-40B4-BE49-F238E27FC236}">
                <a16:creationId xmlns:a16="http://schemas.microsoft.com/office/drawing/2014/main" id="{D2EDDA02-9BF9-4D6D-A2CD-E2CD4B6EB7CE}"/>
              </a:ext>
              <a:ext uri="{C183D7F6-B498-43B3-948B-1728B52AA6E4}">
                <adec:decorative xmlns:adec="http://schemas.microsoft.com/office/drawing/2017/decorative" val="1"/>
              </a:ext>
            </a:extLst>
          </p:cNvPr>
          <p:cNvSpPr/>
          <p:nvPr/>
        </p:nvSpPr>
        <p:spPr bwMode="auto">
          <a:xfrm flipH="1">
            <a:off x="581323" y="859216"/>
            <a:ext cx="5013789" cy="5013789"/>
          </a:xfrm>
          <a:prstGeom prst="round2DiagRect">
            <a:avLst>
              <a:gd name="adj1" fmla="val 22664"/>
              <a:gd name="adj2" fmla="val 0"/>
            </a:avLst>
          </a:prstGeom>
          <a:solidFill>
            <a:schemeClr val="bg1"/>
          </a:solidFill>
          <a:ln w="12700">
            <a:miter lim="400000"/>
          </a:ln>
          <a:effectLst>
            <a:outerShdw blurRad="254000" dist="50800" dir="2700000" rotWithShape="0">
              <a:srgbClr val="000000">
                <a:alpha val="35000"/>
              </a:srgbClr>
            </a:outerShdw>
          </a:effectLst>
        </p:spPr>
        <p:txBody>
          <a:bodyPr lIns="143286" tIns="143286" rIns="143286" bIns="143286" anchor="ctr"/>
          <a:lstStyle/>
          <a:p>
            <a:pPr algn="ctr" defTabSz="912881"/>
            <a:endParaRPr lang="en-US" sz="1958" err="1">
              <a:gradFill flip="none" rotWithShape="1">
                <a:gsLst>
                  <a:gs pos="0">
                    <a:srgbClr val="9BF00B">
                      <a:lumOff val="44000"/>
                    </a:srgbClr>
                  </a:gs>
                  <a:gs pos="100000">
                    <a:srgbClr val="9BF00B">
                      <a:lumOff val="44000"/>
                    </a:srgbClr>
                  </a:gs>
                </a:gsLst>
                <a:lin ang="5400000" scaled="0"/>
              </a:gradFill>
              <a:latin typeface="Segoe UI Semilight"/>
              <a:cs typeface="Segoe UI Semilight"/>
            </a:endParaRPr>
          </a:p>
        </p:txBody>
      </p:sp>
      <p:sp>
        <p:nvSpPr>
          <p:cNvPr id="21" name="Rectangle 16">
            <a:extLst>
              <a:ext uri="{FF2B5EF4-FFF2-40B4-BE49-F238E27FC236}">
                <a16:creationId xmlns:a16="http://schemas.microsoft.com/office/drawing/2014/main" id="{5A7B4A3C-B61E-4E46-864E-A9653B7F8172}"/>
              </a:ext>
            </a:extLst>
          </p:cNvPr>
          <p:cNvSpPr txBox="1">
            <a:spLocks noGrp="1"/>
          </p:cNvSpPr>
          <p:nvPr>
            <p:ph type="title" idx="4294967295"/>
          </p:nvPr>
        </p:nvSpPr>
        <p:spPr>
          <a:xfrm>
            <a:off x="902002" y="1582784"/>
            <a:ext cx="4349936" cy="749653"/>
          </a:xfrm>
          <a:prstGeom prst="rect">
            <a:avLst/>
          </a:prstGeom>
          <a:noFill/>
          <a:ln w="12700">
            <a:noFill/>
            <a:prstDash/>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rot="0" spcFirstLastPara="0" vertOverflow="overflow" horzOverflow="overflow" vert="horz" wrap="square" lIns="0" tIns="45663" rIns="44776" bIns="45663" numCol="1" spcCol="0" rtlCol="0" fromWordArt="0" anchor="b" anchorCtr="0" forceAA="0" compatLnSpc="1">
            <a:prstTxWarp prst="textNoShape">
              <a:avLst/>
            </a:prstTxWarp>
            <a:spAutoFit/>
          </a:bodyPr>
          <a:lstStyle/>
          <a:p>
            <a:pPr defTabSz="877296" hangingPunct="0">
              <a:spcBef>
                <a:spcPts val="0"/>
              </a:spcBef>
            </a:pPr>
            <a:r>
              <a:rPr lang="en-US" sz="1398" b="1" kern="0" spc="0">
                <a:ln>
                  <a:noFill/>
                </a:ln>
                <a:gradFill flip="none" rotWithShape="1">
                  <a:gsLst>
                    <a:gs pos="83000">
                      <a:schemeClr val="accent1"/>
                    </a:gs>
                    <a:gs pos="100000">
                      <a:schemeClr val="accent1"/>
                    </a:gs>
                  </a:gsLst>
                  <a:lin ang="5400000" scaled="0"/>
                </a:gradFill>
                <a:latin typeface="+mn-lt"/>
                <a:cs typeface="+mn-cs"/>
                <a:sym typeface="Segoe Pro Display"/>
              </a:rPr>
              <a:t>Simplify the complex </a:t>
            </a:r>
            <a:r>
              <a:rPr lang="en-US" sz="1398" kern="0" spc="0">
                <a:ln>
                  <a:noFill/>
                </a:ln>
                <a:gradFill>
                  <a:gsLst>
                    <a:gs pos="83000">
                      <a:schemeClr val="tx1"/>
                    </a:gs>
                    <a:gs pos="100000">
                      <a:schemeClr val="tx1"/>
                    </a:gs>
                  </a:gsLst>
                  <a:lin ang="5400000" scaled="1"/>
                </a:gradFill>
                <a:latin typeface="Segoe UI" panose="020B0502040204020203" pitchFamily="34" charset="0"/>
                <a:sym typeface="Segoe Pro Display"/>
              </a:rPr>
              <a:t>with solutions that work together, and integrate with third-party products, platforms, and clouds</a:t>
            </a:r>
          </a:p>
        </p:txBody>
      </p:sp>
      <p:sp>
        <p:nvSpPr>
          <p:cNvPr id="1900" name="Title 3"/>
          <p:cNvSpPr txBox="1"/>
          <p:nvPr/>
        </p:nvSpPr>
        <p:spPr>
          <a:xfrm>
            <a:off x="902002" y="2471902"/>
            <a:ext cx="4349936" cy="20675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L="118913" indent="-118913" defTabSz="913144">
              <a:spcBef>
                <a:spcPts val="783"/>
              </a:spcBef>
              <a:defRPr b="1">
                <a:gradFill flip="none" rotWithShape="1">
                  <a:gsLst>
                    <a:gs pos="0">
                      <a:srgbClr val="282828"/>
                    </a:gs>
                    <a:gs pos="100000">
                      <a:srgbClr val="282828"/>
                    </a:gs>
                  </a:gsLst>
                  <a:lin ang="5400000" scaled="0"/>
                </a:gradFill>
              </a:defRPr>
            </a:pPr>
            <a:r>
              <a:rPr sz="1763" b="1">
                <a:gradFill flip="none" rotWithShape="1">
                  <a:gsLst>
                    <a:gs pos="0">
                      <a:srgbClr val="282828"/>
                    </a:gs>
                    <a:gs pos="100000">
                      <a:srgbClr val="282828"/>
                    </a:gs>
                  </a:gsLst>
                  <a:lin ang="5400000" scaled="0"/>
                </a:gradFill>
              </a:rPr>
              <a:t>“</a:t>
            </a:r>
            <a:r>
              <a:rPr lang="en-US" sz="1763" b="1">
                <a:gradFill flip="none" rotWithShape="1">
                  <a:gsLst>
                    <a:gs pos="0">
                      <a:srgbClr val="282828"/>
                    </a:gs>
                    <a:gs pos="100000">
                      <a:srgbClr val="282828"/>
                    </a:gs>
                  </a:gsLst>
                  <a:lin ang="5400000" scaled="0"/>
                </a:gradFill>
              </a:rPr>
              <a:t>Using multiple solutions increases integration complexity between 400 and 500 percent and can also triple the costs of adoption.”</a:t>
            </a:r>
          </a:p>
          <a:p>
            <a:pPr marL="118913" indent="-118913" defTabSz="913144">
              <a:defRPr b="1">
                <a:gradFill flip="none" rotWithShape="1">
                  <a:gsLst>
                    <a:gs pos="0">
                      <a:srgbClr val="282828"/>
                    </a:gs>
                    <a:gs pos="100000">
                      <a:srgbClr val="282828"/>
                    </a:gs>
                  </a:gsLst>
                  <a:lin ang="5400000" scaled="0"/>
                </a:gradFill>
              </a:defRPr>
            </a:pPr>
            <a:endParaRPr lang="en-US" sz="1469" b="1">
              <a:gradFill flip="none" rotWithShape="1">
                <a:gsLst>
                  <a:gs pos="83000">
                    <a:srgbClr val="0078D4"/>
                  </a:gs>
                  <a:gs pos="100000">
                    <a:srgbClr val="0078D4"/>
                  </a:gs>
                </a:gsLst>
                <a:lin ang="5400000" scaled="0"/>
              </a:gradFill>
            </a:endParaRPr>
          </a:p>
          <a:p>
            <a:pPr marL="118913" indent="-1586" defTabSz="913144">
              <a:defRPr b="1">
                <a:gradFill flip="none" rotWithShape="1">
                  <a:gsLst>
                    <a:gs pos="0">
                      <a:srgbClr val="282828"/>
                    </a:gs>
                    <a:gs pos="100000">
                      <a:srgbClr val="282828"/>
                    </a:gs>
                  </a:gsLst>
                  <a:lin ang="5400000" scaled="0"/>
                </a:gradFill>
              </a:defRPr>
            </a:pPr>
            <a:r>
              <a:rPr lang="en-US" sz="1469" b="1">
                <a:gradFill flip="none" rotWithShape="1">
                  <a:gsLst>
                    <a:gs pos="83000">
                      <a:srgbClr val="0078D4"/>
                    </a:gs>
                    <a:gs pos="100000">
                      <a:srgbClr val="0078D4"/>
                    </a:gs>
                  </a:gsLst>
                  <a:lin ang="5400000" scaled="0"/>
                </a:gradFill>
              </a:rPr>
              <a:t>Martin Sloan</a:t>
            </a:r>
            <a:endParaRPr lang="en-US" sz="3525" b="1" spc="-49">
              <a:gradFill flip="none" rotWithShape="1">
                <a:gsLst>
                  <a:gs pos="57576">
                    <a:srgbClr val="333333"/>
                  </a:gs>
                  <a:gs pos="74359">
                    <a:srgbClr val="333333"/>
                  </a:gs>
                </a:gsLst>
                <a:lin ang="5400000" scaled="0"/>
              </a:gradFill>
              <a:latin typeface="Segoe UI"/>
              <a:ea typeface="Segoe UI"/>
              <a:cs typeface="Segoe UI"/>
              <a:sym typeface="Segoe UI"/>
            </a:endParaRPr>
          </a:p>
          <a:p>
            <a:pPr marL="118913" indent="-1586" defTabSz="913144">
              <a:spcBef>
                <a:spcPts val="783"/>
              </a:spcBef>
              <a:defRPr sz="1300">
                <a:gradFill flip="none" rotWithShape="1">
                  <a:gsLst>
                    <a:gs pos="0">
                      <a:srgbClr val="282828"/>
                    </a:gs>
                    <a:gs pos="100000">
                      <a:srgbClr val="282828"/>
                    </a:gs>
                  </a:gsLst>
                  <a:lin ang="5400000" scaled="0"/>
                </a:gradFill>
              </a:defRPr>
            </a:pPr>
            <a:r>
              <a:rPr lang="en-US" sz="1274">
                <a:gradFill flip="none" rotWithShape="1">
                  <a:gsLst>
                    <a:gs pos="0">
                      <a:srgbClr val="282828"/>
                    </a:gs>
                    <a:gs pos="100000">
                      <a:srgbClr val="282828"/>
                    </a:gs>
                  </a:gsLst>
                  <a:lin ang="5400000" scaled="0"/>
                </a:gradFill>
              </a:rPr>
              <a:t>Security Director</a:t>
            </a:r>
            <a:r>
              <a:rPr sz="1274">
                <a:gradFill flip="none" rotWithShape="1">
                  <a:gsLst>
                    <a:gs pos="0">
                      <a:srgbClr val="282828"/>
                    </a:gs>
                    <a:gs pos="100000">
                      <a:srgbClr val="282828"/>
                    </a:gs>
                  </a:gsLst>
                  <a:lin ang="5400000" scaled="0"/>
                </a:gradFill>
              </a:rPr>
              <a:t>,</a:t>
            </a:r>
            <a:br>
              <a:rPr sz="1274">
                <a:gradFill flip="none" rotWithShape="1">
                  <a:gsLst>
                    <a:gs pos="0">
                      <a:srgbClr val="282828"/>
                    </a:gs>
                    <a:gs pos="100000">
                      <a:srgbClr val="282828"/>
                    </a:gs>
                  </a:gsLst>
                  <a:lin ang="5400000" scaled="0"/>
                </a:gradFill>
              </a:rPr>
            </a:br>
            <a:r>
              <a:rPr lang="en-US" sz="1274">
                <a:gradFill flip="none" rotWithShape="1">
                  <a:gsLst>
                    <a:gs pos="0">
                      <a:srgbClr val="282828"/>
                    </a:gs>
                    <a:gs pos="100000">
                      <a:srgbClr val="282828"/>
                    </a:gs>
                  </a:gsLst>
                  <a:lin ang="5400000" scaled="0"/>
                </a:gradFill>
              </a:rPr>
              <a:t>Drax Group</a:t>
            </a:r>
            <a:endParaRPr sz="1274">
              <a:gradFill flip="none" rotWithShape="1">
                <a:gsLst>
                  <a:gs pos="0">
                    <a:srgbClr val="282828"/>
                  </a:gs>
                  <a:gs pos="100000">
                    <a:srgbClr val="282828"/>
                  </a:gs>
                </a:gsLst>
                <a:lin ang="5400000" scaled="0"/>
              </a:gradFill>
            </a:endParaRPr>
          </a:p>
        </p:txBody>
      </p:sp>
      <p:pic>
        <p:nvPicPr>
          <p:cNvPr id="3" name="Picture 23">
            <a:extLst>
              <a:ext uri="{FF2B5EF4-FFF2-40B4-BE49-F238E27FC236}">
                <a16:creationId xmlns:a16="http://schemas.microsoft.com/office/drawing/2014/main" id="{69BE07FD-2B6D-4A32-867F-3E4FC953B365}"/>
              </a:ext>
              <a:ext uri="{C183D7F6-B498-43B3-948B-1728B52AA6E4}">
                <adec:decorative xmlns:adec="http://schemas.microsoft.com/office/drawing/2017/decorative" val="1"/>
              </a:ext>
            </a:extLst>
          </p:cNvPr>
          <p:cNvPicPr>
            <a:picLocks noChangeAspect="1"/>
          </p:cNvPicPr>
          <p:nvPr/>
        </p:nvPicPr>
        <p:blipFill rotWithShape="1">
          <a:blip r:embed="rId4"/>
          <a:srcRect l="18812" t="26031" r="17771" b="26516"/>
          <a:stretch/>
        </p:blipFill>
        <p:spPr>
          <a:xfrm>
            <a:off x="4550507" y="5210127"/>
            <a:ext cx="671651" cy="354658"/>
          </a:xfrm>
          <a:prstGeom prst="rect">
            <a:avLst/>
          </a:prstGeom>
        </p:spPr>
      </p:pic>
    </p:spTree>
    <p:extLst>
      <p:ext uri="{BB962C8B-B14F-4D97-AF65-F5344CB8AC3E}">
        <p14:creationId xmlns:p14="http://schemas.microsoft.com/office/powerpoint/2010/main" val="35129034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7"/>
                                        </p:tgtEl>
                                      </p:cBhvr>
                                      <p:by x="0" y="0"/>
                                    </p:animScale>
                                  </p:childTnLst>
                                </p:cTn>
                              </p:par>
                              <p:par>
                                <p:cTn id="9" presetID="42" presetClass="path" presetSubtype="0" decel="100000" fill="hold" grpId="2" nodeType="withEffect">
                                  <p:stCondLst>
                                    <p:cond delay="500"/>
                                  </p:stCondLst>
                                  <p:childTnLst>
                                    <p:animMotion origin="layout" path="M -2.70833E-6 0 L -0.21002 0.37338 " pathEditMode="relative" rAng="0" ptsTypes="AA">
                                      <p:cBhvr>
                                        <p:cTn id="10" dur="500" spd="-100000" fill="hold"/>
                                        <p:tgtEl>
                                          <p:spTgt spid="17"/>
                                        </p:tgtEl>
                                        <p:attrNameLst>
                                          <p:attrName>ppt_x</p:attrName>
                                          <p:attrName>ppt_y</p:attrName>
                                        </p:attrNameLst>
                                      </p:cBhvr>
                                      <p:rCtr x="-10508" y="18657"/>
                                    </p:animMotion>
                                  </p:childTnLst>
                                </p:cTn>
                              </p:par>
                              <p:par>
                                <p:cTn id="11" presetID="10" presetClass="entr" presetSubtype="0" fill="hold" grpId="0"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50"/>
                                        <p:tgtEl>
                                          <p:spTgt spid="21"/>
                                        </p:tgtEl>
                                      </p:cBhvr>
                                    </p:animEffect>
                                  </p:childTnLst>
                                </p:cTn>
                              </p:par>
                              <p:par>
                                <p:cTn id="14" presetID="35" presetClass="path" presetSubtype="0" decel="100000" fill="hold" grpId="1" nodeType="withEffect">
                                  <p:stCondLst>
                                    <p:cond delay="550"/>
                                  </p:stCondLst>
                                  <p:childTnLst>
                                    <p:animMotion origin="layout" path="M 2.08333E-6 3.7037E-7 L -0.12266 3.7037E-7 " pathEditMode="relative" rAng="0" ptsTypes="AA">
                                      <p:cBhvr>
                                        <p:cTn id="15" dur="500" spd="-100000" fill="hold"/>
                                        <p:tgtEl>
                                          <p:spTgt spid="21"/>
                                        </p:tgtEl>
                                        <p:attrNameLst>
                                          <p:attrName>ppt_x</p:attrName>
                                          <p:attrName>ppt_y</p:attrName>
                                        </p:attrNameLst>
                                      </p:cBhvr>
                                      <p:rCtr x="-6133" y="0"/>
                                    </p:animMotion>
                                  </p:childTnLst>
                                </p:cTn>
                              </p:par>
                              <p:par>
                                <p:cTn id="16" presetID="10" presetClass="entr" presetSubtype="0" fill="hold" grpId="0" nodeType="withEffect">
                                  <p:stCondLst>
                                    <p:cond delay="800"/>
                                  </p:stCondLst>
                                  <p:childTnLst>
                                    <p:set>
                                      <p:cBhvr>
                                        <p:cTn id="17" dur="1" fill="hold">
                                          <p:stCondLst>
                                            <p:cond delay="0"/>
                                          </p:stCondLst>
                                        </p:cTn>
                                        <p:tgtEl>
                                          <p:spTgt spid="1900"/>
                                        </p:tgtEl>
                                        <p:attrNameLst>
                                          <p:attrName>style.visibility</p:attrName>
                                        </p:attrNameLst>
                                      </p:cBhvr>
                                      <p:to>
                                        <p:strVal val="visible"/>
                                      </p:to>
                                    </p:set>
                                    <p:animEffect transition="in" filter="fade">
                                      <p:cBhvr>
                                        <p:cTn id="18" dur="250"/>
                                        <p:tgtEl>
                                          <p:spTgt spid="1900"/>
                                        </p:tgtEl>
                                      </p:cBhvr>
                                    </p:animEffect>
                                  </p:childTnLst>
                                </p:cTn>
                              </p:par>
                              <p:par>
                                <p:cTn id="19" presetID="35" presetClass="path" presetSubtype="0" decel="100000" fill="hold" grpId="1" nodeType="withEffect">
                                  <p:stCondLst>
                                    <p:cond delay="550"/>
                                  </p:stCondLst>
                                  <p:childTnLst>
                                    <p:animMotion origin="layout" path="M 4.16667E-6 -2.22222E-6 L -0.12266 -2.22222E-6 " pathEditMode="relative" rAng="0" ptsTypes="AA">
                                      <p:cBhvr>
                                        <p:cTn id="20" dur="500" spd="-100000" fill="hold"/>
                                        <p:tgtEl>
                                          <p:spTgt spid="1900"/>
                                        </p:tgtEl>
                                        <p:attrNameLst>
                                          <p:attrName>ppt_x</p:attrName>
                                          <p:attrName>ppt_y</p:attrName>
                                        </p:attrNameLst>
                                      </p:cBhvr>
                                      <p:rCtr x="-6133" y="0"/>
                                    </p:animMotion>
                                  </p:childTnLst>
                                </p:cTn>
                              </p:par>
                              <p:par>
                                <p:cTn id="21" presetID="10" presetClass="entr" presetSubtype="0" fill="hold" nodeType="withEffect">
                                  <p:stCondLst>
                                    <p:cond delay="80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250"/>
                                        <p:tgtEl>
                                          <p:spTgt spid="3"/>
                                        </p:tgtEl>
                                      </p:cBhvr>
                                    </p:animEffect>
                                  </p:childTnLst>
                                </p:cTn>
                              </p:par>
                              <p:par>
                                <p:cTn id="24" presetID="35" presetClass="path" presetSubtype="0" decel="100000" fill="hold" nodeType="withEffect">
                                  <p:stCondLst>
                                    <p:cond delay="550"/>
                                  </p:stCondLst>
                                  <p:childTnLst>
                                    <p:animMotion origin="layout" path="M 4.16667E-6 -2.22222E-6 L -0.12266 -2.22222E-6 " pathEditMode="relative" rAng="0" ptsTypes="AA">
                                      <p:cBhvr>
                                        <p:cTn id="25" dur="500" spd="-100000" fill="hold"/>
                                        <p:tgtEl>
                                          <p:spTgt spid="3"/>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7" grpId="2" animBg="1"/>
      <p:bldP spid="21" grpId="0" animBg="1"/>
      <p:bldP spid="21" grpId="1" animBg="1"/>
      <p:bldP spid="1900" grpId="0" animBg="1"/>
      <p:bldP spid="1900"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2557F-CB2A-DC2E-5DBA-351FE790482B}"/>
              </a:ext>
            </a:extLst>
          </p:cNvPr>
          <p:cNvSpPr>
            <a:spLocks noGrp="1"/>
          </p:cNvSpPr>
          <p:nvPr>
            <p:ph type="title"/>
          </p:nvPr>
        </p:nvSpPr>
        <p:spPr>
          <a:xfrm>
            <a:off x="588263" y="1432340"/>
            <a:ext cx="3723239" cy="1661993"/>
          </a:xfrm>
        </p:spPr>
        <p:txBody>
          <a:bodyPr/>
          <a:lstStyle/>
          <a:p>
            <a:r>
              <a:rPr lang="en-US" dirty="0"/>
              <a:t>Microsoft Security helps you do more with less</a:t>
            </a:r>
          </a:p>
        </p:txBody>
      </p:sp>
      <p:sp>
        <p:nvSpPr>
          <p:cNvPr id="3" name="Rectangle 2">
            <a:extLst>
              <a:ext uri="{FF2B5EF4-FFF2-40B4-BE49-F238E27FC236}">
                <a16:creationId xmlns:a16="http://schemas.microsoft.com/office/drawing/2014/main" id="{78C5E68E-25FF-C6A8-2BEB-93D95D221E4F}"/>
              </a:ext>
            </a:extLst>
          </p:cNvPr>
          <p:cNvSpPr/>
          <p:nvPr/>
        </p:nvSpPr>
        <p:spPr>
          <a:xfrm>
            <a:off x="5659189" y="1369739"/>
            <a:ext cx="5663031" cy="523220"/>
          </a:xfrm>
          <a:prstGeom prst="rect">
            <a:avLst/>
          </a:prstGeom>
        </p:spPr>
        <p:txBody>
          <a:bodyPr wrap="square">
            <a:spAutoFit/>
          </a:bodyPr>
          <a:lstStyle/>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Simplify Vendor Management</a:t>
            </a:r>
            <a:endParaRPr kumimoji="0" lang="en-US" sz="28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endParaRPr>
          </a:p>
        </p:txBody>
      </p:sp>
      <p:sp>
        <p:nvSpPr>
          <p:cNvPr id="4" name="Rectangle 3">
            <a:extLst>
              <a:ext uri="{FF2B5EF4-FFF2-40B4-BE49-F238E27FC236}">
                <a16:creationId xmlns:a16="http://schemas.microsoft.com/office/drawing/2014/main" id="{E9D6441B-6494-0ACE-936A-10BA3703EA31}"/>
              </a:ext>
            </a:extLst>
          </p:cNvPr>
          <p:cNvSpPr/>
          <p:nvPr/>
        </p:nvSpPr>
        <p:spPr>
          <a:xfrm>
            <a:off x="5659189" y="2868673"/>
            <a:ext cx="4996064" cy="952312"/>
          </a:xfrm>
          <a:prstGeom prst="rect">
            <a:avLst/>
          </a:prstGeom>
        </p:spPr>
        <p:txBody>
          <a:bodyPr wrap="square">
            <a:spAutoFit/>
          </a:bodyPr>
          <a:lstStyle/>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Reduce threats with AI and Automation </a:t>
            </a:r>
          </a:p>
        </p:txBody>
      </p:sp>
      <p:sp>
        <p:nvSpPr>
          <p:cNvPr id="5" name="Rectangle 4">
            <a:extLst>
              <a:ext uri="{FF2B5EF4-FFF2-40B4-BE49-F238E27FC236}">
                <a16:creationId xmlns:a16="http://schemas.microsoft.com/office/drawing/2014/main" id="{CF2E0102-60A9-36B1-3ECF-7FCFF94DF63E}"/>
              </a:ext>
            </a:extLst>
          </p:cNvPr>
          <p:cNvSpPr/>
          <p:nvPr/>
        </p:nvSpPr>
        <p:spPr>
          <a:xfrm>
            <a:off x="5659189" y="4796699"/>
            <a:ext cx="5687907" cy="523220"/>
          </a:xfrm>
          <a:prstGeom prst="rect">
            <a:avLst/>
          </a:prstGeom>
        </p:spPr>
        <p:txBody>
          <a:bodyPr wrap="square">
            <a:spAutoFit/>
          </a:bodyPr>
          <a:lstStyle/>
          <a:p>
            <a:pPr marL="0" marR="0" lvl="0" indent="0" algn="l" defTabSz="9117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a:ea typeface="+mn-ea"/>
                <a:cs typeface="Segoe UI Semilight" panose="020B0402040204020203" pitchFamily="34" charset="0"/>
              </a:rPr>
              <a:t>Improve Operational Efficiency</a:t>
            </a:r>
          </a:p>
        </p:txBody>
      </p:sp>
      <p:grpSp>
        <p:nvGrpSpPr>
          <p:cNvPr id="6" name="Group 5">
            <a:extLst>
              <a:ext uri="{FF2B5EF4-FFF2-40B4-BE49-F238E27FC236}">
                <a16:creationId xmlns:a16="http://schemas.microsoft.com/office/drawing/2014/main" id="{7F8DB506-BDF2-3502-A670-122CC3C053E8}"/>
              </a:ext>
              <a:ext uri="{C183D7F6-B498-43B3-948B-1728B52AA6E4}">
                <adec:decorative xmlns:adec="http://schemas.microsoft.com/office/drawing/2017/decorative" val="1"/>
              </a:ext>
            </a:extLst>
          </p:cNvPr>
          <p:cNvGrpSpPr/>
          <p:nvPr/>
        </p:nvGrpSpPr>
        <p:grpSpPr>
          <a:xfrm>
            <a:off x="5790432" y="2427451"/>
            <a:ext cx="5818955" cy="1834756"/>
            <a:chOff x="5790433" y="2427451"/>
            <a:chExt cx="5643730" cy="1834756"/>
          </a:xfrm>
        </p:grpSpPr>
        <p:cxnSp>
          <p:nvCxnSpPr>
            <p:cNvPr id="7" name="Straight Connector 6">
              <a:extLst>
                <a:ext uri="{FF2B5EF4-FFF2-40B4-BE49-F238E27FC236}">
                  <a16:creationId xmlns:a16="http://schemas.microsoft.com/office/drawing/2014/main" id="{39451C90-77D9-F5CF-B053-02A030525630}"/>
                </a:ext>
                <a:ext uri="{C183D7F6-B498-43B3-948B-1728B52AA6E4}">
                  <adec:decorative xmlns:adec="http://schemas.microsoft.com/office/drawing/2017/decorative" val="1"/>
                </a:ext>
              </a:extLst>
            </p:cNvPr>
            <p:cNvCxnSpPr>
              <a:cxnSpLocks/>
            </p:cNvCxnSpPr>
            <p:nvPr/>
          </p:nvCxnSpPr>
          <p:spPr>
            <a:xfrm>
              <a:off x="5790433" y="2427451"/>
              <a:ext cx="564373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1847F20-AE36-A081-6884-6E6D5DA252A4}"/>
                </a:ext>
                <a:ext uri="{C183D7F6-B498-43B3-948B-1728B52AA6E4}">
                  <adec:decorative xmlns:adec="http://schemas.microsoft.com/office/drawing/2017/decorative" val="1"/>
                </a:ext>
              </a:extLst>
            </p:cNvPr>
            <p:cNvCxnSpPr>
              <a:cxnSpLocks/>
            </p:cNvCxnSpPr>
            <p:nvPr/>
          </p:nvCxnSpPr>
          <p:spPr>
            <a:xfrm>
              <a:off x="5790433" y="4262207"/>
              <a:ext cx="5643730"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7605880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29786B-5A4C-AEAE-4A08-CA5610933E4C}"/>
              </a:ext>
              <a:ext uri="{C183D7F6-B498-43B3-948B-1728B52AA6E4}">
                <adec:decorative xmlns:adec="http://schemas.microsoft.com/office/drawing/2017/decorative" val="1"/>
              </a:ext>
            </a:extLst>
          </p:cNvPr>
          <p:cNvSpPr>
            <a:spLocks noGrp="1"/>
          </p:cNvSpPr>
          <p:nvPr>
            <p:ph type="title" idx="4294967295"/>
          </p:nvPr>
        </p:nvSpPr>
        <p:spPr>
          <a:xfrm>
            <a:off x="838200" y="-1325563"/>
            <a:ext cx="10515600" cy="1325563"/>
          </a:xfrm>
          <a:prstGeom prst="rect">
            <a:avLst/>
          </a:prstGeom>
        </p:spPr>
        <p:txBody>
          <a:bodyPr anchor="b"/>
          <a:lstStyle/>
          <a:p>
            <a:r>
              <a:rPr lang="en-US" dirty="0"/>
              <a:t>-</a:t>
            </a:r>
          </a:p>
        </p:txBody>
      </p:sp>
      <p:pic>
        <p:nvPicPr>
          <p:cNvPr id="12" name="Picture Placeholder 11" descr="MVP health care logo">
            <a:extLst>
              <a:ext uri="{FF2B5EF4-FFF2-40B4-BE49-F238E27FC236}">
                <a16:creationId xmlns:a16="http://schemas.microsoft.com/office/drawing/2014/main" id="{92DB21FA-B2D4-4D69-9EE7-8B3EF778D545}"/>
              </a:ext>
            </a:extLst>
          </p:cNvPr>
          <p:cNvPicPr>
            <a:picLocks noGrp="1" noChangeAspect="1"/>
          </p:cNvPicPr>
          <p:nvPr>
            <p:ph type="pic" sz="quarter" idx="23"/>
          </p:nvPr>
        </p:nvPicPr>
        <p:blipFill>
          <a:blip r:embed="rId2"/>
          <a:srcRect/>
          <a:stretch/>
        </p:blipFill>
        <p:spPr>
          <a:xfrm>
            <a:off x="707207" y="0"/>
            <a:ext cx="1227919" cy="1227919"/>
          </a:xfrm>
        </p:spPr>
      </p:pic>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428999"/>
            <a:ext cx="2517544" cy="2685473"/>
          </a:xfrm>
        </p:spPr>
        <p:txBody>
          <a:bodyPr/>
          <a:lstStyle/>
          <a:p>
            <a:r>
              <a:rPr lang="en-US"/>
              <a:t>Customer:</a:t>
            </a:r>
            <a:br>
              <a:rPr lang="en-US"/>
            </a:br>
            <a:r>
              <a:rPr lang="en-US" b="0">
                <a:latin typeface="Segoe UI Semilight" panose="020B0402040204020203" pitchFamily="34" charset="0"/>
                <a:cs typeface="Segoe UI Semilight" panose="020B0402040204020203" pitchFamily="34" charset="0"/>
              </a:rPr>
              <a:t>MVP Health Care</a:t>
            </a:r>
          </a:p>
          <a:p>
            <a:r>
              <a:rPr lang="en-US"/>
              <a:t>Industry:</a:t>
            </a:r>
            <a:br>
              <a:rPr lang="en-US"/>
            </a:br>
            <a:r>
              <a:rPr lang="en-US" b="0">
                <a:latin typeface="Segoe UI Semilight" panose="020B0402040204020203" pitchFamily="34" charset="0"/>
                <a:cs typeface="Segoe UI Semilight" panose="020B0402040204020203" pitchFamily="34" charset="0"/>
              </a:rPr>
              <a:t>Health Payor</a:t>
            </a:r>
          </a:p>
          <a:p>
            <a:r>
              <a:rPr lang="en-US"/>
              <a:t>Size:</a:t>
            </a:r>
            <a:br>
              <a:rPr lang="en-US"/>
            </a:br>
            <a:r>
              <a:rPr lang="en-US" b="0">
                <a:latin typeface="Segoe UI Semilight" panose="020B0402040204020203" pitchFamily="34" charset="0"/>
                <a:cs typeface="Segoe UI Semilight" panose="020B0402040204020203" pitchFamily="34" charset="0"/>
              </a:rPr>
              <a:t>Large (1,000 – 9,999 employees)</a:t>
            </a:r>
          </a:p>
          <a:p>
            <a:r>
              <a:rPr lang="en-US"/>
              <a:t>Country:</a:t>
            </a:r>
            <a:br>
              <a:rPr lang="en-US"/>
            </a:br>
            <a:r>
              <a:rPr lang="en-US" b="0">
                <a:latin typeface="Segoe UI Semilight" panose="020B0402040204020203" pitchFamily="34" charset="0"/>
                <a:cs typeface="Segoe UI Semilight" panose="020B0402040204020203" pitchFamily="34" charset="0"/>
              </a:rPr>
              <a:t>United States</a:t>
            </a:r>
          </a:p>
          <a:p>
            <a:r>
              <a:rPr lang="en-US">
                <a:latin typeface="Segoe UI Semibold"/>
                <a:cs typeface="Segoe UI Semibold"/>
              </a:rPr>
              <a:t>Products and services:</a:t>
            </a:r>
            <a:br>
              <a:rPr lang="en-US"/>
            </a:br>
            <a:r>
              <a:rPr lang="en-US" b="0">
                <a:latin typeface="Segoe UI Semilight"/>
                <a:cs typeface="Segoe UI Semilight"/>
              </a:rPr>
              <a:t>Analytics Platform System                       Azure                                 </a:t>
            </a:r>
            <a:br>
              <a:rPr lang="en-US" b="0">
                <a:latin typeface="Segoe UI Semilight"/>
                <a:cs typeface="Segoe UI Semilight"/>
              </a:rPr>
            </a:br>
            <a:r>
              <a:rPr lang="en-US" b="0" err="1">
                <a:latin typeface="Segoe UI Semilight"/>
                <a:cs typeface="Segoe UI Semilight"/>
              </a:rPr>
              <a:t>Azure</a:t>
            </a:r>
            <a:r>
              <a:rPr lang="en-US" b="0">
                <a:latin typeface="Segoe UI Semilight"/>
                <a:cs typeface="Segoe UI Semilight"/>
              </a:rPr>
              <a:t> Active Directory P2                        Azure Security Center        </a:t>
            </a:r>
            <a:br>
              <a:rPr lang="en-US" b="0">
                <a:latin typeface="Segoe UI Semilight"/>
                <a:cs typeface="Segoe UI Semilight"/>
              </a:rPr>
            </a:br>
            <a:r>
              <a:rPr lang="en-US" b="0">
                <a:latin typeface="Segoe UI Semilight"/>
                <a:cs typeface="Segoe UI Semilight"/>
              </a:rPr>
              <a:t>Azure Sentinel                                         Azure Virtual Desktop                                  Exchange Online                    </a:t>
            </a:r>
            <a:br>
              <a:rPr lang="en-US" b="0">
                <a:latin typeface="Segoe UI Semilight"/>
                <a:cs typeface="Segoe UI Semilight"/>
              </a:rPr>
            </a:br>
            <a:r>
              <a:rPr lang="en-US" b="0">
                <a:latin typeface="Segoe UI Semilight"/>
                <a:cs typeface="Segoe UI Semilight"/>
              </a:rPr>
              <a:t>Microsoft 365 Defender                     Microsoft 365 E5 </a:t>
            </a:r>
            <a:br>
              <a:rPr lang="en-US" b="0">
                <a:latin typeface="Segoe UI Semilight" panose="020B0402040204020203" pitchFamily="34" charset="0"/>
                <a:cs typeface="Segoe UI Semilight" panose="020B0402040204020203" pitchFamily="34" charset="0"/>
              </a:rPr>
            </a:br>
            <a:r>
              <a:rPr lang="en-US" b="0">
                <a:latin typeface="Segoe UI Semilight" panose="020B0402040204020203" pitchFamily="34" charset="0"/>
                <a:cs typeface="Segoe UI Semilight" panose="020B0402040204020203" pitchFamily="34" charset="0"/>
              </a:rPr>
              <a:t>Microsoft </a:t>
            </a:r>
            <a:r>
              <a:rPr lang="en-US" b="0">
                <a:latin typeface="Segoe UI Semilight"/>
                <a:cs typeface="Segoe UI Semilight"/>
              </a:rPr>
              <a:t>Cloud App Security</a:t>
            </a:r>
            <a:br>
              <a:rPr lang="en-US" b="0">
                <a:latin typeface="Segoe UI Semilight" panose="020B0402040204020203" pitchFamily="34" charset="0"/>
                <a:cs typeface="Segoe UI Semilight" panose="020B0402040204020203" pitchFamily="34" charset="0"/>
              </a:rPr>
            </a:br>
            <a:r>
              <a:rPr lang="en-US" b="0">
                <a:latin typeface="Segoe UI Semilight" panose="020B0402040204020203" pitchFamily="34" charset="0"/>
                <a:cs typeface="Segoe UI Semilight" panose="020B0402040204020203" pitchFamily="34" charset="0"/>
              </a:rPr>
              <a:t>Microsoft </a:t>
            </a:r>
            <a:r>
              <a:rPr lang="en-US" b="0">
                <a:latin typeface="Segoe UI Semilight"/>
                <a:cs typeface="Segoe UI Semilight"/>
              </a:rPr>
              <a:t>Defender for Endpoint  </a:t>
            </a:r>
            <a:br>
              <a:rPr lang="en-US" b="0">
                <a:latin typeface="Segoe UI Semilight"/>
                <a:cs typeface="Segoe UI Semilight"/>
              </a:rPr>
            </a:br>
            <a:r>
              <a:rPr lang="en-US" b="0">
                <a:latin typeface="Segoe UI Semilight"/>
                <a:cs typeface="Segoe UI Semilight"/>
              </a:rPr>
              <a:t>Microsoft Defender for Office 365 </a:t>
            </a:r>
            <a:br>
              <a:rPr lang="en-US" b="0">
                <a:latin typeface="Segoe UI Semilight"/>
                <a:cs typeface="Segoe UI Semilight"/>
              </a:rPr>
            </a:br>
            <a:r>
              <a:rPr lang="en-US" b="0">
                <a:latin typeface="Segoe UI Semilight"/>
                <a:cs typeface="Segoe UI Semilight"/>
              </a:rPr>
              <a:t>Microsoft Teams                                     Office 365                                             Surface                                                  </a:t>
            </a:r>
            <a:r>
              <a:rPr lang="en-US" b="0" err="1">
                <a:latin typeface="Segoe UI Semilight"/>
                <a:cs typeface="Segoe UI Semilight"/>
              </a:rPr>
              <a:t>Surface</a:t>
            </a:r>
            <a:r>
              <a:rPr lang="en-US" b="0">
                <a:latin typeface="Segoe UI Semilight"/>
                <a:cs typeface="Segoe UI Semilight"/>
              </a:rPr>
              <a:t> Go 2                                         Surface Hub                                          Surface Laptop </a:t>
            </a:r>
          </a:p>
          <a:p>
            <a:r>
              <a:rPr lang="en-US">
                <a:hlinkClick r:id="rId3"/>
              </a:rPr>
              <a:t>Read full story here</a:t>
            </a:r>
            <a:endParaRPr lang="en-US"/>
          </a:p>
        </p:txBody>
      </p:sp>
      <p:pic>
        <p:nvPicPr>
          <p:cNvPr id="18" name="Picture Placeholder 17" descr="Three people hiking as the sun rises">
            <a:extLst>
              <a:ext uri="{FF2B5EF4-FFF2-40B4-BE49-F238E27FC236}">
                <a16:creationId xmlns:a16="http://schemas.microsoft.com/office/drawing/2014/main" id="{02C0D1F0-6D7D-4329-90F5-028B83DC6EBB}"/>
              </a:ext>
            </a:extLst>
          </p:cNvPr>
          <p:cNvPicPr>
            <a:picLocks noGrp="1" noChangeAspect="1"/>
          </p:cNvPicPr>
          <p:nvPr>
            <p:ph type="pic" sz="quarter" idx="24"/>
          </p:nvPr>
        </p:nvPicPr>
        <p:blipFill>
          <a:blip r:embed="rId4"/>
          <a:srcRect t="15776" b="15776"/>
          <a:stretch/>
        </p:blipFill>
        <p:spPr>
          <a:xfrm>
            <a:off x="2960688" y="0"/>
            <a:ext cx="9235440" cy="3292475"/>
          </a:xfrm>
        </p:spPr>
      </p:pic>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a:t>“As we looked at other vendors and platforms, we realized that it was a no-brainer. Microsoft offers the cohesive solution we need. Everything it brings to the table fits beautifully with our direction. It has become an outstanding support for us.” </a:t>
            </a:r>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a:t>—Michael Della Villa, Chief Information Officer and Head of Shared Services, MVP Health Care</a:t>
            </a:r>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426189" cy="1470009"/>
          </a:xfrm>
        </p:spPr>
        <p:txBody>
          <a:bodyPr/>
          <a:lstStyle/>
          <a:p>
            <a:r>
              <a:rPr lang="en-US"/>
              <a:t>Regional insurance company MVP Health Care found it can’t rely on its laser-like focus on customer service alone when competing against mega corporations. It needed to maximize internal efficiencies, especially when it came to cybersecurity.</a:t>
            </a:r>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p:txBody>
          <a:bodyPr/>
          <a:lstStyle/>
          <a:p>
            <a:r>
              <a:rPr lang="en-US"/>
              <a:t>MVP replaced a monolithic, time-intensive solution with Azure Sentinel. It added Azure Security Center, and as part of its Microsoft 365 E5 license, Microsoft Defender for Endpoint, Microsoft Defender for Identity, and more.</a:t>
            </a:r>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28648" y="5162439"/>
            <a:ext cx="2532910" cy="1470009"/>
          </a:xfrm>
        </p:spPr>
        <p:txBody>
          <a:bodyPr/>
          <a:lstStyle/>
          <a:p>
            <a:r>
              <a:rPr lang="en-US"/>
              <a:t>The company saves time, money, and precious IT resources—replacing 300 third-party solutions with one connected platform. And with a unified view of the threat landscape, MVP finds it easier to be safer.</a:t>
            </a:r>
          </a:p>
        </p:txBody>
      </p:sp>
      <p:sp>
        <p:nvSpPr>
          <p:cNvPr id="14" name="Rectangle 13">
            <a:extLst>
              <a:ext uri="{FF2B5EF4-FFF2-40B4-BE49-F238E27FC236}">
                <a16:creationId xmlns:a16="http://schemas.microsoft.com/office/drawing/2014/main" id="{47219399-6E0D-034C-8477-C9FC774ABA09}"/>
              </a:ext>
              <a:ext uri="{C183D7F6-B498-43B3-948B-1728B52AA6E4}">
                <adec:decorative xmlns:adec="http://schemas.microsoft.com/office/drawing/2017/decorative" val="1"/>
              </a:ext>
            </a:extLst>
          </p:cNvPr>
          <p:cNvSpPr/>
          <p:nvPr/>
        </p:nvSpPr>
        <p:spPr>
          <a:xfrm>
            <a:off x="2870483" y="0"/>
            <a:ext cx="118872" cy="6858000"/>
          </a:xfrm>
          <a:prstGeom prst="rect">
            <a:avLst/>
          </a:prstGeom>
          <a:solidFill>
            <a:srgbClr val="BE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66478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8" name="Picture Placeholder 17">
            <a:extLst>
              <a:ext uri="{C183D7F6-B498-43B3-948B-1728B52AA6E4}">
                <adec:decorative xmlns:adec="http://schemas.microsoft.com/office/drawing/2017/decorative" val="1"/>
              </a:ext>
            </a:extLst>
          </p:cNvPr>
          <p:cNvPicPr>
            <a:picLocks noChangeAspect="1"/>
          </p:cNvPicPr>
          <p:nvPr/>
        </p:nvPicPr>
        <p:blipFill>
          <a:blip r:embed="rId3"/>
          <a:srcRect l="17728" t="17949" r="3509"/>
          <a:stretch>
            <a:fillRect/>
          </a:stretch>
        </p:blipFill>
        <p:spPr>
          <a:xfrm>
            <a:off x="-132022" y="-25810"/>
            <a:ext cx="12691624" cy="6886221"/>
          </a:xfrm>
          <a:prstGeom prst="rect">
            <a:avLst/>
          </a:prstGeom>
          <a:ln w="12700">
            <a:miter lim="400000"/>
          </a:ln>
        </p:spPr>
      </p:pic>
      <p:sp>
        <p:nvSpPr>
          <p:cNvPr id="17" name="Rectangle: Diagonal Corners Rounded 16">
            <a:extLst>
              <a:ext uri="{FF2B5EF4-FFF2-40B4-BE49-F238E27FC236}">
                <a16:creationId xmlns:a16="http://schemas.microsoft.com/office/drawing/2014/main" id="{EA3B27BF-8974-4C76-AFF5-738242B5808F}"/>
              </a:ext>
              <a:ext uri="{C183D7F6-B498-43B3-948B-1728B52AA6E4}">
                <adec:decorative xmlns:adec="http://schemas.microsoft.com/office/drawing/2017/decorative" val="1"/>
              </a:ext>
            </a:extLst>
          </p:cNvPr>
          <p:cNvSpPr/>
          <p:nvPr/>
        </p:nvSpPr>
        <p:spPr bwMode="auto">
          <a:xfrm flipH="1">
            <a:off x="581323" y="859216"/>
            <a:ext cx="5013789" cy="5013789"/>
          </a:xfrm>
          <a:prstGeom prst="round2DiagRect">
            <a:avLst>
              <a:gd name="adj1" fmla="val 22664"/>
              <a:gd name="adj2" fmla="val 0"/>
            </a:avLst>
          </a:prstGeom>
          <a:solidFill>
            <a:schemeClr val="bg1"/>
          </a:solidFill>
          <a:ln w="12700">
            <a:miter lim="400000"/>
          </a:ln>
          <a:effectLst>
            <a:outerShdw blurRad="254000" dist="50800" dir="2700000" rotWithShape="0">
              <a:srgbClr val="000000">
                <a:alpha val="35000"/>
              </a:srgbClr>
            </a:outerShdw>
          </a:effectLst>
        </p:spPr>
        <p:txBody>
          <a:bodyPr lIns="143286" tIns="143286" rIns="143286" bIns="143286" anchor="ctr"/>
          <a:lstStyle/>
          <a:p>
            <a:pPr algn="ctr" defTabSz="912881"/>
            <a:endParaRPr lang="en-US" sz="1958" err="1">
              <a:gradFill flip="none" rotWithShape="1">
                <a:gsLst>
                  <a:gs pos="0">
                    <a:srgbClr val="9BF00B">
                      <a:lumOff val="44000"/>
                    </a:srgbClr>
                  </a:gs>
                  <a:gs pos="100000">
                    <a:srgbClr val="9BF00B">
                      <a:lumOff val="44000"/>
                    </a:srgbClr>
                  </a:gs>
                </a:gsLst>
                <a:lin ang="5400000" scaled="0"/>
              </a:gradFill>
              <a:latin typeface="Segoe UI Semilight"/>
              <a:cs typeface="Segoe UI Semilight"/>
            </a:endParaRPr>
          </a:p>
        </p:txBody>
      </p:sp>
      <p:sp>
        <p:nvSpPr>
          <p:cNvPr id="1912" name="Rectangle 16"/>
          <p:cNvSpPr txBox="1">
            <a:spLocks noGrp="1"/>
          </p:cNvSpPr>
          <p:nvPr>
            <p:ph type="title" idx="4294967295"/>
          </p:nvPr>
        </p:nvSpPr>
        <p:spPr>
          <a:xfrm>
            <a:off x="902002" y="1582784"/>
            <a:ext cx="4349936" cy="749653"/>
          </a:xfrm>
          <a:prstGeom prst="rect">
            <a:avLst/>
          </a:prstGeom>
          <a:noFill/>
          <a:ln w="12700">
            <a:noFill/>
            <a:prstDash/>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rot="0" spcFirstLastPara="0" vertOverflow="overflow" horzOverflow="overflow" vert="horz" wrap="square" lIns="0" tIns="45663" rIns="44776" bIns="45663" numCol="1" spcCol="0" rtlCol="0" fromWordArt="0" anchor="b" anchorCtr="0" forceAA="0" compatLnSpc="1">
            <a:prstTxWarp prst="textNoShape">
              <a:avLst/>
            </a:prstTxWarp>
            <a:spAutoFit/>
          </a:bodyPr>
          <a:lstStyle/>
          <a:p>
            <a:pPr defTabSz="877296" hangingPunct="0">
              <a:spcBef>
                <a:spcPts val="0"/>
              </a:spcBef>
            </a:pPr>
            <a:r>
              <a:rPr lang="en-US" sz="1398" b="1" kern="0" spc="0" dirty="0">
                <a:ln>
                  <a:noFill/>
                </a:ln>
                <a:gradFill flip="none" rotWithShape="1">
                  <a:gsLst>
                    <a:gs pos="83000">
                      <a:schemeClr val="accent1"/>
                    </a:gs>
                    <a:gs pos="100000">
                      <a:schemeClr val="accent1"/>
                    </a:gs>
                  </a:gsLst>
                  <a:lin ang="5400000" scaled="0"/>
                </a:gradFill>
                <a:latin typeface="+mn-lt"/>
                <a:cs typeface="+mn-cs"/>
                <a:sym typeface="Segoe Pro Display"/>
              </a:rPr>
              <a:t>Simplify the complex </a:t>
            </a:r>
            <a:r>
              <a:rPr lang="en-US" sz="1398" kern="0" spc="0" dirty="0">
                <a:ln>
                  <a:noFill/>
                </a:ln>
                <a:gradFill>
                  <a:gsLst>
                    <a:gs pos="83000">
                      <a:schemeClr val="tx1"/>
                    </a:gs>
                    <a:gs pos="100000">
                      <a:schemeClr val="tx1"/>
                    </a:gs>
                  </a:gsLst>
                  <a:lin ang="5400000" scaled="1"/>
                </a:gradFill>
                <a:latin typeface="Segoe UI" panose="020B0502040204020203" pitchFamily="34" charset="0"/>
                <a:sym typeface="Segoe Pro Display"/>
              </a:rPr>
              <a:t>with solutions that work together, and integrate with third-party products, platforms, and clouds </a:t>
            </a:r>
          </a:p>
        </p:txBody>
      </p:sp>
      <p:sp>
        <p:nvSpPr>
          <p:cNvPr id="1900" name="Title 3"/>
          <p:cNvSpPr txBox="1"/>
          <p:nvPr/>
        </p:nvSpPr>
        <p:spPr>
          <a:xfrm>
            <a:off x="902002" y="2471902"/>
            <a:ext cx="4349936" cy="20675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marL="112571" indent="-112571" defTabSz="913144">
              <a:spcBef>
                <a:spcPts val="783"/>
              </a:spcBef>
              <a:defRPr b="1">
                <a:gradFill flip="none" rotWithShape="1">
                  <a:gsLst>
                    <a:gs pos="0">
                      <a:srgbClr val="282828"/>
                    </a:gs>
                    <a:gs pos="100000">
                      <a:srgbClr val="282828"/>
                    </a:gs>
                  </a:gsLst>
                  <a:lin ang="5400000" scaled="0"/>
                </a:gradFill>
              </a:defRPr>
            </a:pPr>
            <a:r>
              <a:rPr sz="1763" b="1">
                <a:gradFill flip="none" rotWithShape="1">
                  <a:gsLst>
                    <a:gs pos="0">
                      <a:srgbClr val="282828"/>
                    </a:gs>
                    <a:gs pos="100000">
                      <a:srgbClr val="282828"/>
                    </a:gs>
                  </a:gsLst>
                  <a:lin ang="5400000" scaled="0"/>
                </a:gradFill>
              </a:rPr>
              <a:t>“The entire security suite is seamlessly connected. The effectiveness we get from correlated information to boost security is by far our biggest win.”</a:t>
            </a:r>
            <a:endParaRPr lang="en-US" sz="1763" b="1">
              <a:gradFill flip="none" rotWithShape="1">
                <a:gsLst>
                  <a:gs pos="0">
                    <a:srgbClr val="282828"/>
                  </a:gs>
                  <a:gs pos="100000">
                    <a:srgbClr val="282828"/>
                  </a:gs>
                </a:gsLst>
                <a:lin ang="5400000" scaled="0"/>
              </a:gradFill>
            </a:endParaRPr>
          </a:p>
          <a:p>
            <a:pPr marL="112571" indent="-112571" defTabSz="913144">
              <a:defRPr b="1">
                <a:gradFill flip="none" rotWithShape="1">
                  <a:gsLst>
                    <a:gs pos="0">
                      <a:srgbClr val="282828"/>
                    </a:gs>
                    <a:gs pos="100000">
                      <a:srgbClr val="282828"/>
                    </a:gs>
                  </a:gsLst>
                  <a:lin ang="5400000" scaled="0"/>
                </a:gradFill>
              </a:defRPr>
            </a:pPr>
            <a:endParaRPr lang="en-US" sz="1469" b="1">
              <a:gradFill flip="none" rotWithShape="1">
                <a:gsLst>
                  <a:gs pos="83000">
                    <a:srgbClr val="0078D4"/>
                  </a:gs>
                  <a:gs pos="100000">
                    <a:srgbClr val="0078D4"/>
                  </a:gs>
                </a:gsLst>
                <a:lin ang="5400000" scaled="0"/>
              </a:gradFill>
            </a:endParaRPr>
          </a:p>
          <a:p>
            <a:pPr marL="112571" indent="4757" defTabSz="913144">
              <a:defRPr b="1">
                <a:gradFill flip="none" rotWithShape="1">
                  <a:gsLst>
                    <a:gs pos="0">
                      <a:srgbClr val="282828"/>
                    </a:gs>
                    <a:gs pos="100000">
                      <a:srgbClr val="282828"/>
                    </a:gs>
                  </a:gsLst>
                  <a:lin ang="5400000" scaled="0"/>
                </a:gradFill>
              </a:defRPr>
            </a:pPr>
            <a:r>
              <a:rPr sz="1469" b="1">
                <a:gradFill flip="none" rotWithShape="1">
                  <a:gsLst>
                    <a:gs pos="83000">
                      <a:srgbClr val="0078D4"/>
                    </a:gs>
                    <a:gs pos="100000">
                      <a:srgbClr val="0078D4"/>
                    </a:gs>
                  </a:gsLst>
                  <a:lin ang="5400000" scaled="0"/>
                </a:gradFill>
              </a:rPr>
              <a:t>James Greene</a:t>
            </a:r>
            <a:endParaRPr sz="3525" b="1" spc="-49">
              <a:gradFill flip="none" rotWithShape="1">
                <a:gsLst>
                  <a:gs pos="57576">
                    <a:srgbClr val="333333"/>
                  </a:gs>
                  <a:gs pos="74359">
                    <a:srgbClr val="333333"/>
                  </a:gs>
                </a:gsLst>
                <a:lin ang="5400000" scaled="0"/>
              </a:gradFill>
              <a:latin typeface="Segoe UI"/>
              <a:ea typeface="Segoe UI"/>
              <a:cs typeface="Segoe UI"/>
              <a:sym typeface="Segoe UI"/>
            </a:endParaRPr>
          </a:p>
          <a:p>
            <a:pPr marL="112571" indent="4757" defTabSz="913144">
              <a:spcBef>
                <a:spcPts val="783"/>
              </a:spcBef>
              <a:defRPr sz="1300">
                <a:gradFill flip="none" rotWithShape="1">
                  <a:gsLst>
                    <a:gs pos="0">
                      <a:srgbClr val="282828"/>
                    </a:gs>
                    <a:gs pos="100000">
                      <a:srgbClr val="282828"/>
                    </a:gs>
                  </a:gsLst>
                  <a:lin ang="5400000" scaled="0"/>
                </a:gradFill>
              </a:defRPr>
            </a:pPr>
            <a:r>
              <a:rPr sz="1274">
                <a:gradFill flip="none" rotWithShape="1">
                  <a:gsLst>
                    <a:gs pos="0">
                      <a:srgbClr val="282828"/>
                    </a:gs>
                    <a:gs pos="100000">
                      <a:srgbClr val="282828"/>
                    </a:gs>
                  </a:gsLst>
                  <a:lin ang="5400000" scaled="0"/>
                </a:gradFill>
              </a:rPr>
              <a:t>Cybersecurity consultant,</a:t>
            </a:r>
            <a:br>
              <a:rPr sz="1274">
                <a:gradFill flip="none" rotWithShape="1">
                  <a:gsLst>
                    <a:gs pos="0">
                      <a:srgbClr val="282828"/>
                    </a:gs>
                    <a:gs pos="100000">
                      <a:srgbClr val="282828"/>
                    </a:gs>
                  </a:gsLst>
                  <a:lin ang="5400000" scaled="0"/>
                </a:gradFill>
              </a:rPr>
            </a:br>
            <a:r>
              <a:rPr sz="1274">
                <a:gradFill flip="none" rotWithShape="1">
                  <a:gsLst>
                    <a:gs pos="0">
                      <a:srgbClr val="282828"/>
                    </a:gs>
                    <a:gs pos="100000">
                      <a:srgbClr val="282828"/>
                    </a:gs>
                  </a:gsLst>
                  <a:lin ang="5400000" scaled="0"/>
                </a:gradFill>
              </a:rPr>
              <a:t>MVP Health Care</a:t>
            </a:r>
          </a:p>
        </p:txBody>
      </p:sp>
      <p:pic>
        <p:nvPicPr>
          <p:cNvPr id="1911" name="Picture Placeholder 11">
            <a:extLst>
              <a:ext uri="{C183D7F6-B498-43B3-948B-1728B52AA6E4}">
                <adec:decorative xmlns:adec="http://schemas.microsoft.com/office/drawing/2017/decorative" val="1"/>
              </a:ext>
            </a:extLst>
          </p:cNvPr>
          <p:cNvPicPr>
            <a:picLocks noChangeAspect="1"/>
          </p:cNvPicPr>
          <p:nvPr/>
        </p:nvPicPr>
        <p:blipFill>
          <a:blip r:embed="rId4"/>
          <a:srcRect t="24092" b="26466"/>
          <a:stretch>
            <a:fillRect/>
          </a:stretch>
        </p:blipFill>
        <p:spPr>
          <a:xfrm>
            <a:off x="4272499" y="5061007"/>
            <a:ext cx="1089978" cy="538912"/>
          </a:xfrm>
          <a:prstGeom prst="rect">
            <a:avLst/>
          </a:prstGeom>
          <a:ln w="12700">
            <a:miter lim="400000"/>
          </a:ln>
        </p:spPr>
      </p:pic>
    </p:spTree>
    <p:extLst>
      <p:ext uri="{BB962C8B-B14F-4D97-AF65-F5344CB8AC3E}">
        <p14:creationId xmlns:p14="http://schemas.microsoft.com/office/powerpoint/2010/main" val="2226884086"/>
      </p:ext>
    </p:extLst>
  </p:cSld>
  <p:clrMapOvr>
    <a:masterClrMapping/>
  </p:clrMapOvr>
  <p:transition spd="slow">
    <p:fade/>
  </p:transition>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7"/>
                                        </p:tgtEl>
                                      </p:cBhvr>
                                      <p:by x="0" y="0"/>
                                    </p:animScale>
                                  </p:childTnLst>
                                </p:cTn>
                              </p:par>
                              <p:par>
                                <p:cTn id="9" presetID="42" presetClass="path" presetSubtype="0" decel="100000" fill="hold" grpId="2" nodeType="withEffect">
                                  <p:stCondLst>
                                    <p:cond delay="500"/>
                                  </p:stCondLst>
                                  <p:childTnLst>
                                    <p:animMotion origin="layout" path="M -2.70833E-6 0 L -0.21002 0.37338 " pathEditMode="relative" rAng="0" ptsTypes="AA">
                                      <p:cBhvr>
                                        <p:cTn id="10" dur="500" spd="-100000" fill="hold"/>
                                        <p:tgtEl>
                                          <p:spTgt spid="17"/>
                                        </p:tgtEl>
                                        <p:attrNameLst>
                                          <p:attrName>ppt_x</p:attrName>
                                          <p:attrName>ppt_y</p:attrName>
                                        </p:attrNameLst>
                                      </p:cBhvr>
                                      <p:rCtr x="-10508" y="18657"/>
                                    </p:animMotion>
                                  </p:childTnLst>
                                </p:cTn>
                              </p:par>
                              <p:par>
                                <p:cTn id="11" presetID="10" presetClass="entr" presetSubtype="0" fill="hold" grpId="0" nodeType="withEffect">
                                  <p:stCondLst>
                                    <p:cond delay="800"/>
                                  </p:stCondLst>
                                  <p:childTnLst>
                                    <p:set>
                                      <p:cBhvr>
                                        <p:cTn id="12" dur="1" fill="hold">
                                          <p:stCondLst>
                                            <p:cond delay="0"/>
                                          </p:stCondLst>
                                        </p:cTn>
                                        <p:tgtEl>
                                          <p:spTgt spid="1912"/>
                                        </p:tgtEl>
                                        <p:attrNameLst>
                                          <p:attrName>style.visibility</p:attrName>
                                        </p:attrNameLst>
                                      </p:cBhvr>
                                      <p:to>
                                        <p:strVal val="visible"/>
                                      </p:to>
                                    </p:set>
                                    <p:animEffect transition="in" filter="fade">
                                      <p:cBhvr>
                                        <p:cTn id="13" dur="250"/>
                                        <p:tgtEl>
                                          <p:spTgt spid="1912"/>
                                        </p:tgtEl>
                                      </p:cBhvr>
                                    </p:animEffect>
                                  </p:childTnLst>
                                </p:cTn>
                              </p:par>
                              <p:par>
                                <p:cTn id="14" presetID="35" presetClass="path" presetSubtype="0" decel="100000" fill="hold" grpId="1" nodeType="withEffect">
                                  <p:stCondLst>
                                    <p:cond delay="550"/>
                                  </p:stCondLst>
                                  <p:childTnLst>
                                    <p:animMotion origin="layout" path="M 2.08333E-6 3.7037E-7 L -0.12266 3.7037E-7 " pathEditMode="relative" rAng="0" ptsTypes="AA">
                                      <p:cBhvr>
                                        <p:cTn id="15" dur="500" spd="-100000" fill="hold"/>
                                        <p:tgtEl>
                                          <p:spTgt spid="1912"/>
                                        </p:tgtEl>
                                        <p:attrNameLst>
                                          <p:attrName>ppt_x</p:attrName>
                                          <p:attrName>ppt_y</p:attrName>
                                        </p:attrNameLst>
                                      </p:cBhvr>
                                      <p:rCtr x="-6133" y="0"/>
                                    </p:animMotion>
                                  </p:childTnLst>
                                </p:cTn>
                              </p:par>
                              <p:par>
                                <p:cTn id="16" presetID="10" presetClass="entr" presetSubtype="0" fill="hold" grpId="0" nodeType="withEffect">
                                  <p:stCondLst>
                                    <p:cond delay="800"/>
                                  </p:stCondLst>
                                  <p:childTnLst>
                                    <p:set>
                                      <p:cBhvr>
                                        <p:cTn id="17" dur="1" fill="hold">
                                          <p:stCondLst>
                                            <p:cond delay="0"/>
                                          </p:stCondLst>
                                        </p:cTn>
                                        <p:tgtEl>
                                          <p:spTgt spid="1900"/>
                                        </p:tgtEl>
                                        <p:attrNameLst>
                                          <p:attrName>style.visibility</p:attrName>
                                        </p:attrNameLst>
                                      </p:cBhvr>
                                      <p:to>
                                        <p:strVal val="visible"/>
                                      </p:to>
                                    </p:set>
                                    <p:animEffect transition="in" filter="fade">
                                      <p:cBhvr>
                                        <p:cTn id="18" dur="250"/>
                                        <p:tgtEl>
                                          <p:spTgt spid="1900"/>
                                        </p:tgtEl>
                                      </p:cBhvr>
                                    </p:animEffect>
                                  </p:childTnLst>
                                </p:cTn>
                              </p:par>
                              <p:par>
                                <p:cTn id="19" presetID="35" presetClass="path" presetSubtype="0" decel="100000" fill="hold" grpId="1" nodeType="withEffect">
                                  <p:stCondLst>
                                    <p:cond delay="550"/>
                                  </p:stCondLst>
                                  <p:childTnLst>
                                    <p:animMotion origin="layout" path="M 4.16667E-6 -2.22222E-6 L -0.12266 -2.22222E-6 " pathEditMode="relative" rAng="0" ptsTypes="AA">
                                      <p:cBhvr>
                                        <p:cTn id="20" dur="500" spd="-100000" fill="hold"/>
                                        <p:tgtEl>
                                          <p:spTgt spid="1900"/>
                                        </p:tgtEl>
                                        <p:attrNameLst>
                                          <p:attrName>ppt_x</p:attrName>
                                          <p:attrName>ppt_y</p:attrName>
                                        </p:attrNameLst>
                                      </p:cBhvr>
                                      <p:rCtr x="-6133" y="0"/>
                                    </p:animMotion>
                                  </p:childTnLst>
                                </p:cTn>
                              </p:par>
                              <p:par>
                                <p:cTn id="21" presetID="10" presetClass="entr" presetSubtype="0" fill="hold" nodeType="withEffect">
                                  <p:stCondLst>
                                    <p:cond delay="800"/>
                                  </p:stCondLst>
                                  <p:childTnLst>
                                    <p:set>
                                      <p:cBhvr>
                                        <p:cTn id="22" dur="1" fill="hold">
                                          <p:stCondLst>
                                            <p:cond delay="0"/>
                                          </p:stCondLst>
                                        </p:cTn>
                                        <p:tgtEl>
                                          <p:spTgt spid="1911"/>
                                        </p:tgtEl>
                                        <p:attrNameLst>
                                          <p:attrName>style.visibility</p:attrName>
                                        </p:attrNameLst>
                                      </p:cBhvr>
                                      <p:to>
                                        <p:strVal val="visible"/>
                                      </p:to>
                                    </p:set>
                                    <p:animEffect transition="in" filter="fade">
                                      <p:cBhvr>
                                        <p:cTn id="23" dur="250"/>
                                        <p:tgtEl>
                                          <p:spTgt spid="1911"/>
                                        </p:tgtEl>
                                      </p:cBhvr>
                                    </p:animEffect>
                                  </p:childTnLst>
                                </p:cTn>
                              </p:par>
                              <p:par>
                                <p:cTn id="24" presetID="35" presetClass="path" presetSubtype="0" decel="100000" fill="hold" nodeType="withEffect">
                                  <p:stCondLst>
                                    <p:cond delay="550"/>
                                  </p:stCondLst>
                                  <p:childTnLst>
                                    <p:animMotion origin="layout" path="M 4.16667E-6 -2.22222E-6 L -0.12266 -2.22222E-6 " pathEditMode="relative" rAng="0" ptsTypes="AA">
                                      <p:cBhvr>
                                        <p:cTn id="25" dur="500" spd="-100000" fill="hold"/>
                                        <p:tgtEl>
                                          <p:spTgt spid="191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7" grpId="2" animBg="1"/>
      <p:bldP spid="1912" grpId="0" animBg="1"/>
      <p:bldP spid="1912" grpId="1" animBg="1"/>
      <p:bldP spid="1900" grpId="0" animBg="1"/>
      <p:bldP spid="1900"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F60278-AC4A-4299-8795-384C048D3C39}"/>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r="15636"/>
          <a:stretch/>
        </p:blipFill>
        <p:spPr>
          <a:xfrm flipH="1">
            <a:off x="7610" y="8556"/>
            <a:ext cx="12268906" cy="6892643"/>
          </a:xfrm>
          <a:prstGeom prst="rect">
            <a:avLst/>
          </a:prstGeom>
        </p:spPr>
      </p:pic>
      <p:sp>
        <p:nvSpPr>
          <p:cNvPr id="15" name="Rectangle: Diagonal Corners Rounded 14">
            <a:extLst>
              <a:ext uri="{FF2B5EF4-FFF2-40B4-BE49-F238E27FC236}">
                <a16:creationId xmlns:a16="http://schemas.microsoft.com/office/drawing/2014/main" id="{7CC5B195-BC35-46AB-B40B-57DD79384205}"/>
              </a:ext>
              <a:ext uri="{C183D7F6-B498-43B3-948B-1728B52AA6E4}">
                <adec:decorative xmlns:adec="http://schemas.microsoft.com/office/drawing/2017/decorative" val="1"/>
              </a:ext>
            </a:extLst>
          </p:cNvPr>
          <p:cNvSpPr/>
          <p:nvPr/>
        </p:nvSpPr>
        <p:spPr bwMode="auto">
          <a:xfrm flipH="1">
            <a:off x="581323" y="859216"/>
            <a:ext cx="5013789" cy="5013789"/>
          </a:xfrm>
          <a:prstGeom prst="round2DiagRect">
            <a:avLst>
              <a:gd name="adj1" fmla="val 22664"/>
              <a:gd name="adj2" fmla="val 0"/>
            </a:avLst>
          </a:prstGeom>
          <a:solidFill>
            <a:schemeClr val="bg1"/>
          </a:solidFill>
          <a:ln w="12700">
            <a:miter lim="400000"/>
          </a:ln>
          <a:effectLst>
            <a:outerShdw blurRad="254000" dist="50800" dir="2700000" rotWithShape="0">
              <a:srgbClr val="000000">
                <a:alpha val="35000"/>
              </a:srgbClr>
            </a:outerShdw>
          </a:effectLst>
        </p:spPr>
        <p:txBody>
          <a:bodyPr lIns="143286" tIns="143286" rIns="143286" bIns="143286" anchor="ctr"/>
          <a:lstStyle/>
          <a:p>
            <a:pPr marL="0" marR="0" lvl="0" indent="0" algn="ctr" defTabSz="912881" rtl="0" eaLnBrk="1" fontAlgn="auto" latinLnBrk="0" hangingPunct="1">
              <a:lnSpc>
                <a:spcPct val="100000"/>
              </a:lnSpc>
              <a:spcBef>
                <a:spcPts val="0"/>
              </a:spcBef>
              <a:spcAft>
                <a:spcPts val="0"/>
              </a:spcAft>
              <a:buClrTx/>
              <a:buSzTx/>
              <a:buFontTx/>
              <a:buNone/>
              <a:tabLst/>
              <a:defRPr/>
            </a:pPr>
            <a:endParaRPr kumimoji="0" lang="en-US" sz="1958" b="0" i="0" u="none" strike="noStrike" kern="1200" cap="none" spc="0" normalizeH="0" baseline="0" noProof="0" err="1">
              <a:ln>
                <a:noFill/>
              </a:ln>
              <a:gradFill flip="none" rotWithShape="1">
                <a:gsLst>
                  <a:gs pos="0">
                    <a:srgbClr val="9BF00B">
                      <a:lumOff val="44000"/>
                    </a:srgbClr>
                  </a:gs>
                  <a:gs pos="100000">
                    <a:srgbClr val="9BF00B">
                      <a:lumOff val="44000"/>
                    </a:srgbClr>
                  </a:gs>
                </a:gsLst>
                <a:lin ang="5400000" scaled="0"/>
              </a:gradFill>
              <a:effectLst/>
              <a:uLnTx/>
              <a:uFillTx/>
              <a:latin typeface="Segoe UI Semilight"/>
              <a:ea typeface="+mn-ea"/>
              <a:cs typeface="Segoe UI Semilight"/>
            </a:endParaRPr>
          </a:p>
        </p:txBody>
      </p:sp>
      <p:sp>
        <p:nvSpPr>
          <p:cNvPr id="1983" name="Rectangle 14"/>
          <p:cNvSpPr txBox="1">
            <a:spLocks noGrp="1"/>
          </p:cNvSpPr>
          <p:nvPr>
            <p:ph type="title" idx="4294967295"/>
          </p:nvPr>
        </p:nvSpPr>
        <p:spPr>
          <a:xfrm>
            <a:off x="902003" y="1582784"/>
            <a:ext cx="4349936" cy="749653"/>
          </a:xfrm>
          <a:prstGeom prst="rect">
            <a:avLst/>
          </a:prstGeom>
          <a:noFill/>
          <a:ln w="12700">
            <a:noFill/>
            <a:prstDash/>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rot="0" spcFirstLastPara="0" vertOverflow="overflow" horzOverflow="overflow" vert="horz" wrap="square" lIns="0" tIns="45663" rIns="44776" bIns="45663" numCol="1" spcCol="0" rtlCol="0" fromWordArt="0" anchor="b" anchorCtr="0" forceAA="0" compatLnSpc="1">
            <a:prstTxWarp prst="textNoShape">
              <a:avLst/>
            </a:prstTxWarp>
            <a:spAutoFit/>
          </a:bodyPr>
          <a:lstStyle>
            <a:defPPr>
              <a:defRPr lang="en-US"/>
            </a:defPPr>
            <a:lvl1pPr defTabSz="878402" hangingPunct="0">
              <a:defRPr sz="1471" b="1" kern="0">
                <a:gradFill flip="none" rotWithShape="1">
                  <a:gsLst>
                    <a:gs pos="83000">
                      <a:srgbClr val="282828"/>
                    </a:gs>
                    <a:gs pos="100000">
                      <a:srgbClr val="282828"/>
                    </a:gs>
                  </a:gsLst>
                  <a:lin ang="5400000" scaled="0"/>
                </a:gradFill>
                <a:latin typeface="+mj-lt"/>
              </a:defRPr>
            </a:lvl1pPr>
          </a:lstStyle>
          <a:p>
            <a:pPr>
              <a:spcBef>
                <a:spcPts val="0"/>
              </a:spcBef>
            </a:pPr>
            <a:r>
              <a:rPr lang="en-US" sz="1398" spc="0">
                <a:ln>
                  <a:noFill/>
                </a:ln>
                <a:gradFill flip="none" rotWithShape="1">
                  <a:gsLst>
                    <a:gs pos="83000">
                      <a:schemeClr val="accent1"/>
                    </a:gs>
                    <a:gs pos="100000">
                      <a:schemeClr val="accent1"/>
                    </a:gs>
                  </a:gsLst>
                  <a:lin ang="5400000" scaled="0"/>
                </a:gradFill>
                <a:latin typeface="+mn-lt"/>
                <a:cs typeface="+mn-cs"/>
              </a:rPr>
              <a:t>Grow your future </a:t>
            </a:r>
            <a:r>
              <a:rPr lang="en-US" sz="1398" b="0" spc="0">
                <a:ln>
                  <a:noFill/>
                </a:ln>
                <a:gradFill>
                  <a:gsLst>
                    <a:gs pos="83000">
                      <a:schemeClr val="tx1"/>
                    </a:gs>
                    <a:gs pos="100000">
                      <a:schemeClr val="tx1"/>
                    </a:gs>
                  </a:gsLst>
                  <a:lin ang="5400000" scaled="1"/>
                </a:gradFill>
                <a:latin typeface="Segoe UI" panose="020B0502040204020203" pitchFamily="34" charset="0"/>
              </a:rPr>
              <a:t>with the company that is investing in continuous improvement on a scale that few if any other organizations can match</a:t>
            </a:r>
          </a:p>
        </p:txBody>
      </p:sp>
      <p:sp>
        <p:nvSpPr>
          <p:cNvPr id="1973" name="Title 3"/>
          <p:cNvSpPr txBox="1"/>
          <p:nvPr/>
        </p:nvSpPr>
        <p:spPr>
          <a:xfrm>
            <a:off x="902003" y="2471902"/>
            <a:ext cx="4349936" cy="25746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marL="117327" marR="0" lvl="0" indent="-117327" algn="l" defTabSz="913144" rtl="0" eaLnBrk="1" fontAlgn="auto" latinLnBrk="0" hangingPunct="1">
              <a:lnSpc>
                <a:spcPct val="100000"/>
              </a:lnSpc>
              <a:spcBef>
                <a:spcPts val="783"/>
              </a:spcBef>
              <a:spcAft>
                <a:spcPts val="0"/>
              </a:spcAft>
              <a:buClrTx/>
              <a:buSzTx/>
              <a:buFontTx/>
              <a:buNone/>
              <a:tabLst/>
              <a:defRPr b="1">
                <a:gradFill flip="none" rotWithShape="1">
                  <a:gsLst>
                    <a:gs pos="0">
                      <a:srgbClr val="282828"/>
                    </a:gs>
                    <a:gs pos="100000">
                      <a:srgbClr val="282828"/>
                    </a:gs>
                  </a:gsLst>
                  <a:lin ang="5400000" scaled="0"/>
                </a:gradFill>
              </a:defRPr>
            </a:pPr>
            <a:r>
              <a:rPr kumimoji="0"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a:t>
            </a:r>
            <a: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Until a few years ago, it could take </a:t>
            </a:r>
            <a:b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br>
            <a: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days before we could establish for </a:t>
            </a:r>
            <a:b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br>
            <a: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sure if [an alert] was a false positive. Nowadays, having Microsoft products… makes the triage much faster, down </a:t>
            </a:r>
            <a:b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br>
            <a:r>
              <a:rPr kumimoji="0" lang="en-US" sz="1763" b="1"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to ten or fifteen minutes.”</a:t>
            </a:r>
          </a:p>
          <a:p>
            <a:pPr marL="0" marR="0" lvl="0" indent="0" algn="l" defTabSz="913144" rtl="0" eaLnBrk="1" fontAlgn="auto" latinLnBrk="0" hangingPunct="1">
              <a:lnSpc>
                <a:spcPct val="100000"/>
              </a:lnSpc>
              <a:spcBef>
                <a:spcPts val="0"/>
              </a:spcBef>
              <a:spcAft>
                <a:spcPts val="0"/>
              </a:spcAft>
              <a:buClrTx/>
              <a:buSzTx/>
              <a:buFontTx/>
              <a:buNone/>
              <a:tabLst/>
              <a:defRPr b="1">
                <a:gradFill flip="none" rotWithShape="1">
                  <a:gsLst>
                    <a:gs pos="0">
                      <a:srgbClr val="282828"/>
                    </a:gs>
                    <a:gs pos="100000">
                      <a:srgbClr val="282828"/>
                    </a:gs>
                  </a:gsLst>
                  <a:lin ang="5400000" scaled="0"/>
                </a:gradFill>
              </a:defRPr>
            </a:pPr>
            <a:endParaRPr kumimoji="0" lang="en-US" sz="1469" b="1" i="0" u="none" strike="noStrike" kern="1200" cap="none" spc="0" normalizeH="0" baseline="0" noProof="0">
              <a:ln>
                <a:noFill/>
              </a:ln>
              <a:gradFill flip="none" rotWithShape="1">
                <a:gsLst>
                  <a:gs pos="83000">
                    <a:srgbClr val="0078D4"/>
                  </a:gs>
                  <a:gs pos="100000">
                    <a:srgbClr val="0078D4"/>
                  </a:gs>
                </a:gsLst>
                <a:lin ang="5400000" scaled="0"/>
              </a:gradFill>
              <a:effectLst/>
              <a:uLnTx/>
              <a:uFillTx/>
              <a:latin typeface="Segoe UI"/>
              <a:ea typeface="+mn-ea"/>
              <a:cs typeface="+mn-cs"/>
            </a:endParaRPr>
          </a:p>
          <a:p>
            <a:pPr marL="117327" marR="0" lvl="0" indent="0" algn="l" defTabSz="913144" rtl="0" eaLnBrk="1" fontAlgn="auto" latinLnBrk="0" hangingPunct="1">
              <a:lnSpc>
                <a:spcPct val="100000"/>
              </a:lnSpc>
              <a:spcBef>
                <a:spcPts val="0"/>
              </a:spcBef>
              <a:spcAft>
                <a:spcPts val="0"/>
              </a:spcAft>
              <a:buClrTx/>
              <a:buSzTx/>
              <a:buFontTx/>
              <a:buNone/>
              <a:tabLst/>
              <a:defRPr b="1">
                <a:gradFill flip="none" rotWithShape="1">
                  <a:gsLst>
                    <a:gs pos="0">
                      <a:srgbClr val="282828"/>
                    </a:gs>
                    <a:gs pos="100000">
                      <a:srgbClr val="282828"/>
                    </a:gs>
                  </a:gsLst>
                  <a:lin ang="5400000" scaled="0"/>
                </a:gradFill>
              </a:defRPr>
            </a:pPr>
            <a:r>
              <a:rPr kumimoji="0" lang="en-US" sz="1469" b="1" i="0" u="none" strike="noStrike" kern="1200" cap="none" spc="0" normalizeH="0" baseline="0" noProof="0" err="1">
                <a:ln>
                  <a:noFill/>
                </a:ln>
                <a:gradFill flip="none" rotWithShape="1">
                  <a:gsLst>
                    <a:gs pos="83000">
                      <a:srgbClr val="0078D4"/>
                    </a:gs>
                    <a:gs pos="100000">
                      <a:srgbClr val="0078D4"/>
                    </a:gs>
                  </a:gsLst>
                  <a:lin ang="5400000" scaled="0"/>
                </a:gradFill>
                <a:effectLst/>
                <a:uLnTx/>
                <a:uFillTx/>
                <a:latin typeface="Segoe UI"/>
                <a:ea typeface="+mn-ea"/>
                <a:cs typeface="+mn-cs"/>
              </a:rPr>
              <a:t>Mikko</a:t>
            </a:r>
            <a:r>
              <a:rPr kumimoji="0" lang="en-US" sz="1469" b="1" i="0" u="none" strike="noStrike" kern="1200" cap="none" spc="0" normalizeH="0" baseline="0" noProof="0">
                <a:ln>
                  <a:noFill/>
                </a:ln>
                <a:gradFill flip="none" rotWithShape="1">
                  <a:gsLst>
                    <a:gs pos="83000">
                      <a:srgbClr val="0078D4"/>
                    </a:gs>
                    <a:gs pos="100000">
                      <a:srgbClr val="0078D4"/>
                    </a:gs>
                  </a:gsLst>
                  <a:lin ang="5400000" scaled="0"/>
                </a:gradFill>
                <a:effectLst/>
                <a:uLnTx/>
                <a:uFillTx/>
                <a:latin typeface="Segoe UI"/>
                <a:ea typeface="+mn-ea"/>
                <a:cs typeface="+mn-cs"/>
              </a:rPr>
              <a:t> </a:t>
            </a:r>
            <a:r>
              <a:rPr kumimoji="0" lang="en-US" sz="1469" b="1" i="0" u="none" strike="noStrike" kern="1200" cap="none" spc="0" normalizeH="0" baseline="0" noProof="0" err="1">
                <a:ln>
                  <a:noFill/>
                </a:ln>
                <a:gradFill flip="none" rotWithShape="1">
                  <a:gsLst>
                    <a:gs pos="83000">
                      <a:srgbClr val="0078D4"/>
                    </a:gs>
                    <a:gs pos="100000">
                      <a:srgbClr val="0078D4"/>
                    </a:gs>
                  </a:gsLst>
                  <a:lin ang="5400000" scaled="0"/>
                </a:gradFill>
                <a:effectLst/>
                <a:uLnTx/>
                <a:uFillTx/>
                <a:latin typeface="Segoe UI"/>
                <a:ea typeface="+mn-ea"/>
                <a:cs typeface="+mn-cs"/>
              </a:rPr>
              <a:t>Hakuli</a:t>
            </a:r>
            <a:endParaRPr kumimoji="0" sz="3525" b="1" i="0" u="none" strike="noStrike" kern="1200" cap="none" spc="-49" normalizeH="0" baseline="0" noProof="0">
              <a:ln>
                <a:noFill/>
              </a:ln>
              <a:gradFill flip="none" rotWithShape="1">
                <a:gsLst>
                  <a:gs pos="57576">
                    <a:srgbClr val="333333"/>
                  </a:gs>
                  <a:gs pos="74359">
                    <a:srgbClr val="333333"/>
                  </a:gs>
                </a:gsLst>
                <a:lin ang="5400000" scaled="0"/>
              </a:gradFill>
              <a:effectLst/>
              <a:uLnTx/>
              <a:uFillTx/>
              <a:latin typeface="Segoe UI"/>
              <a:ea typeface="Segoe UI"/>
              <a:cs typeface="Segoe UI"/>
              <a:sym typeface="Segoe UI"/>
            </a:endParaRPr>
          </a:p>
          <a:p>
            <a:pPr marL="117327" marR="0" lvl="0" indent="0" algn="l" defTabSz="913144" rtl="0" eaLnBrk="1" fontAlgn="auto" latinLnBrk="0" hangingPunct="1">
              <a:lnSpc>
                <a:spcPct val="100000"/>
              </a:lnSpc>
              <a:spcBef>
                <a:spcPts val="783"/>
              </a:spcBef>
              <a:spcAft>
                <a:spcPts val="0"/>
              </a:spcAft>
              <a:buClrTx/>
              <a:buSzTx/>
              <a:buFontTx/>
              <a:buNone/>
              <a:tabLst/>
              <a:defRPr sz="1300">
                <a:gradFill flip="none" rotWithShape="1">
                  <a:gsLst>
                    <a:gs pos="0">
                      <a:srgbClr val="282828"/>
                    </a:gs>
                    <a:gs pos="100000">
                      <a:srgbClr val="282828"/>
                    </a:gs>
                  </a:gsLst>
                  <a:lin ang="5400000" scaled="0"/>
                </a:gradFill>
              </a:defRPr>
            </a:pPr>
            <a:r>
              <a:rPr kumimoji="0" lang="en-US" sz="1274" b="0"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Chief Security Information Officer</a:t>
            </a:r>
            <a:r>
              <a:rPr kumimoji="0" sz="1274" b="0"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t>,</a:t>
            </a:r>
            <a:br>
              <a:rPr kumimoji="0" sz="1274" b="0"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rPr>
            </a:br>
            <a:r>
              <a:rPr kumimoji="0" lang="en-US" sz="1274" b="0" i="0" u="none" strike="noStrike" kern="1200" cap="none" spc="0" normalizeH="0" baseline="0" noProof="0" err="1">
                <a:ln>
                  <a:noFill/>
                </a:ln>
                <a:gradFill flip="none" rotWithShape="1">
                  <a:gsLst>
                    <a:gs pos="0">
                      <a:srgbClr val="282828"/>
                    </a:gs>
                    <a:gs pos="100000">
                      <a:srgbClr val="282828"/>
                    </a:gs>
                  </a:gsLst>
                  <a:lin ang="5400000" scaled="0"/>
                </a:gradFill>
                <a:effectLst/>
                <a:uLnTx/>
                <a:uFillTx/>
                <a:latin typeface="Segoe UI"/>
                <a:ea typeface="+mn-ea"/>
                <a:cs typeface="+mn-cs"/>
              </a:rPr>
              <a:t>Verohallinto</a:t>
            </a:r>
            <a:endParaRPr kumimoji="0" sz="1274" b="0" i="0" u="none" strike="noStrike" kern="1200" cap="none" spc="0" normalizeH="0" baseline="0" noProof="0">
              <a:ln>
                <a:noFill/>
              </a:ln>
              <a:gradFill flip="none" rotWithShape="1">
                <a:gsLst>
                  <a:gs pos="0">
                    <a:srgbClr val="282828"/>
                  </a:gs>
                  <a:gs pos="100000">
                    <a:srgbClr val="282828"/>
                  </a:gs>
                </a:gsLst>
                <a:lin ang="5400000" scaled="0"/>
              </a:gradFill>
              <a:effectLst/>
              <a:uLnTx/>
              <a:uFillTx/>
              <a:latin typeface="Segoe UI"/>
              <a:ea typeface="+mn-ea"/>
              <a:cs typeface="+mn-cs"/>
            </a:endParaRPr>
          </a:p>
        </p:txBody>
      </p:sp>
      <p:pic>
        <p:nvPicPr>
          <p:cNvPr id="1026" name="Picture 2">
            <a:extLst>
              <a:ext uri="{FF2B5EF4-FFF2-40B4-BE49-F238E27FC236}">
                <a16:creationId xmlns:a16="http://schemas.microsoft.com/office/drawing/2014/main" id="{E97B0CA9-474F-4E48-85D2-A004F4EED3CF}"/>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3" t="32467" r="-173" b="30713"/>
          <a:stretch/>
        </p:blipFill>
        <p:spPr bwMode="auto">
          <a:xfrm>
            <a:off x="3986526" y="5097063"/>
            <a:ext cx="1232874" cy="453941"/>
          </a:xfrm>
          <a:prstGeom prst="rect">
            <a:avLst/>
          </a:prstGeom>
          <a:noFill/>
        </p:spPr>
      </p:pic>
    </p:spTree>
    <p:extLst>
      <p:ext uri="{BB962C8B-B14F-4D97-AF65-F5344CB8AC3E}">
        <p14:creationId xmlns:p14="http://schemas.microsoft.com/office/powerpoint/2010/main" val="36031057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5"/>
                                        </p:tgtEl>
                                      </p:cBhvr>
                                      <p:by x="0" y="0"/>
                                    </p:animScale>
                                  </p:childTnLst>
                                </p:cTn>
                              </p:par>
                              <p:par>
                                <p:cTn id="9" presetID="42" presetClass="path" presetSubtype="0" decel="100000" fill="hold" grpId="2" nodeType="withEffect">
                                  <p:stCondLst>
                                    <p:cond delay="500"/>
                                  </p:stCondLst>
                                  <p:childTnLst>
                                    <p:animMotion origin="layout" path="M -2.70833E-6 0 L -0.21002 0.37338 " pathEditMode="relative" rAng="0" ptsTypes="AA">
                                      <p:cBhvr>
                                        <p:cTn id="10" dur="500" spd="-100000" fill="hold"/>
                                        <p:tgtEl>
                                          <p:spTgt spid="15"/>
                                        </p:tgtEl>
                                        <p:attrNameLst>
                                          <p:attrName>ppt_x</p:attrName>
                                          <p:attrName>ppt_y</p:attrName>
                                        </p:attrNameLst>
                                      </p:cBhvr>
                                      <p:rCtr x="-10508" y="18657"/>
                                    </p:animMotion>
                                  </p:childTnLst>
                                </p:cTn>
                              </p:par>
                              <p:par>
                                <p:cTn id="11" presetID="10" presetClass="entr" presetSubtype="0" fill="hold" grpId="0" nodeType="withEffect">
                                  <p:stCondLst>
                                    <p:cond delay="800"/>
                                  </p:stCondLst>
                                  <p:childTnLst>
                                    <p:set>
                                      <p:cBhvr>
                                        <p:cTn id="12" dur="1" fill="hold">
                                          <p:stCondLst>
                                            <p:cond delay="0"/>
                                          </p:stCondLst>
                                        </p:cTn>
                                        <p:tgtEl>
                                          <p:spTgt spid="1983"/>
                                        </p:tgtEl>
                                        <p:attrNameLst>
                                          <p:attrName>style.visibility</p:attrName>
                                        </p:attrNameLst>
                                      </p:cBhvr>
                                      <p:to>
                                        <p:strVal val="visible"/>
                                      </p:to>
                                    </p:set>
                                    <p:animEffect transition="in" filter="fade">
                                      <p:cBhvr>
                                        <p:cTn id="13" dur="250"/>
                                        <p:tgtEl>
                                          <p:spTgt spid="1983"/>
                                        </p:tgtEl>
                                      </p:cBhvr>
                                    </p:animEffect>
                                  </p:childTnLst>
                                </p:cTn>
                              </p:par>
                              <p:par>
                                <p:cTn id="14" presetID="35" presetClass="path" presetSubtype="0" decel="100000" fill="hold" grpId="1" nodeType="withEffect">
                                  <p:stCondLst>
                                    <p:cond delay="550"/>
                                  </p:stCondLst>
                                  <p:childTnLst>
                                    <p:animMotion origin="layout" path="M -3.33333E-6 3.7037E-7 L -0.12265 3.7037E-7 " pathEditMode="relative" rAng="0" ptsTypes="AA">
                                      <p:cBhvr>
                                        <p:cTn id="15" dur="500" spd="-100000" fill="hold"/>
                                        <p:tgtEl>
                                          <p:spTgt spid="1983"/>
                                        </p:tgtEl>
                                        <p:attrNameLst>
                                          <p:attrName>ppt_x</p:attrName>
                                          <p:attrName>ppt_y</p:attrName>
                                        </p:attrNameLst>
                                      </p:cBhvr>
                                      <p:rCtr x="-6133" y="0"/>
                                    </p:animMotion>
                                  </p:childTnLst>
                                </p:cTn>
                              </p:par>
                              <p:par>
                                <p:cTn id="16" presetID="10" presetClass="entr" presetSubtype="0" fill="hold" grpId="0" nodeType="withEffect">
                                  <p:stCondLst>
                                    <p:cond delay="800"/>
                                  </p:stCondLst>
                                  <p:childTnLst>
                                    <p:set>
                                      <p:cBhvr>
                                        <p:cTn id="17" dur="1" fill="hold">
                                          <p:stCondLst>
                                            <p:cond delay="0"/>
                                          </p:stCondLst>
                                        </p:cTn>
                                        <p:tgtEl>
                                          <p:spTgt spid="1973"/>
                                        </p:tgtEl>
                                        <p:attrNameLst>
                                          <p:attrName>style.visibility</p:attrName>
                                        </p:attrNameLst>
                                      </p:cBhvr>
                                      <p:to>
                                        <p:strVal val="visible"/>
                                      </p:to>
                                    </p:set>
                                    <p:animEffect transition="in" filter="fade">
                                      <p:cBhvr>
                                        <p:cTn id="18" dur="250"/>
                                        <p:tgtEl>
                                          <p:spTgt spid="1973"/>
                                        </p:tgtEl>
                                      </p:cBhvr>
                                    </p:animEffect>
                                  </p:childTnLst>
                                </p:cTn>
                              </p:par>
                              <p:par>
                                <p:cTn id="19" presetID="35" presetClass="path" presetSubtype="0" decel="100000" fill="hold" grpId="1" nodeType="withEffect">
                                  <p:stCondLst>
                                    <p:cond delay="550"/>
                                  </p:stCondLst>
                                  <p:childTnLst>
                                    <p:animMotion origin="layout" path="M -3.33333E-6 1.85185E-6 L -0.12265 1.85185E-6 " pathEditMode="relative" rAng="0" ptsTypes="AA">
                                      <p:cBhvr>
                                        <p:cTn id="20" dur="500" spd="-100000" fill="hold"/>
                                        <p:tgtEl>
                                          <p:spTgt spid="1973"/>
                                        </p:tgtEl>
                                        <p:attrNameLst>
                                          <p:attrName>ppt_x</p:attrName>
                                          <p:attrName>ppt_y</p:attrName>
                                        </p:attrNameLst>
                                      </p:cBhvr>
                                      <p:rCtr x="-6133" y="0"/>
                                    </p:animMotion>
                                  </p:childTnLst>
                                </p:cTn>
                              </p:par>
                              <p:par>
                                <p:cTn id="21" presetID="10" presetClass="entr" presetSubtype="0" fill="hold" nodeType="withEffect">
                                  <p:stCondLst>
                                    <p:cond delay="800"/>
                                  </p:stCondLst>
                                  <p:childTnLst>
                                    <p:set>
                                      <p:cBhvr>
                                        <p:cTn id="22" dur="1" fill="hold">
                                          <p:stCondLst>
                                            <p:cond delay="0"/>
                                          </p:stCondLst>
                                        </p:cTn>
                                        <p:tgtEl>
                                          <p:spTgt spid="1026"/>
                                        </p:tgtEl>
                                        <p:attrNameLst>
                                          <p:attrName>style.visibility</p:attrName>
                                        </p:attrNameLst>
                                      </p:cBhvr>
                                      <p:to>
                                        <p:strVal val="visible"/>
                                      </p:to>
                                    </p:set>
                                    <p:animEffect transition="in" filter="fade">
                                      <p:cBhvr>
                                        <p:cTn id="23" dur="250"/>
                                        <p:tgtEl>
                                          <p:spTgt spid="1026"/>
                                        </p:tgtEl>
                                      </p:cBhvr>
                                    </p:animEffect>
                                  </p:childTnLst>
                                </p:cTn>
                              </p:par>
                              <p:par>
                                <p:cTn id="24" presetID="35" presetClass="path" presetSubtype="0" decel="100000" fill="hold" nodeType="withEffect">
                                  <p:stCondLst>
                                    <p:cond delay="550"/>
                                  </p:stCondLst>
                                  <p:childTnLst>
                                    <p:animMotion origin="layout" path="M 4.16667E-6 -2.22222E-6 L -0.12266 -2.22222E-6 " pathEditMode="relative" rAng="0" ptsTypes="AA">
                                      <p:cBhvr>
                                        <p:cTn id="25" dur="500" spd="-100000" fill="hold"/>
                                        <p:tgtEl>
                                          <p:spTgt spid="1026"/>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983" grpId="0"/>
      <p:bldP spid="1983" grpId="1"/>
      <p:bldP spid="1973" grpId="0" animBg="1"/>
      <p:bldP spid="1973"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E35FCA-DD7F-4437-A645-0EC5FA3C890E}"/>
              </a:ext>
            </a:extLst>
          </p:cNvPr>
          <p:cNvSpPr>
            <a:spLocks noGrp="1"/>
          </p:cNvSpPr>
          <p:nvPr>
            <p:ph type="title"/>
          </p:nvPr>
        </p:nvSpPr>
        <p:spPr>
          <a:xfrm>
            <a:off x="588263" y="457200"/>
            <a:ext cx="11018520" cy="492443"/>
          </a:xfrm>
        </p:spPr>
        <p:txBody>
          <a:bodyPr/>
          <a:lstStyle/>
          <a:p>
            <a:r>
              <a:rPr lang="en-US" sz="3200"/>
              <a:t>A Leader in Security, Compliance, Identity &amp; Management</a:t>
            </a:r>
          </a:p>
        </p:txBody>
      </p:sp>
      <p:sp>
        <p:nvSpPr>
          <p:cNvPr id="4" name="Text Placeholder 13">
            <a:extLst>
              <a:ext uri="{FF2B5EF4-FFF2-40B4-BE49-F238E27FC236}">
                <a16:creationId xmlns:a16="http://schemas.microsoft.com/office/drawing/2014/main" id="{EDADC281-2D5F-4905-9ABC-81E117644739}"/>
              </a:ext>
            </a:extLst>
          </p:cNvPr>
          <p:cNvSpPr txBox="1">
            <a:spLocks/>
          </p:cNvSpPr>
          <p:nvPr/>
        </p:nvSpPr>
        <p:spPr>
          <a:xfrm>
            <a:off x="964934" y="4122583"/>
            <a:ext cx="2743200" cy="830997"/>
          </a:xfrm>
          <a:prstGeom prst="rect">
            <a:avLst/>
          </a:prstGeom>
        </p:spPr>
        <p:txBody>
          <a:bodyPr vert="horz" wrap="square" lIns="0" tIns="0" rIns="0" bIns="0" rtlCol="0">
            <a:spAutoFit/>
          </a:bodyPr>
          <a:lstStyle>
            <a:lvl1pPr marL="0" marR="0" indent="0" algn="ctr" defTabSz="1399113" rtl="0" eaLnBrk="1" fontAlgn="auto" latinLnBrk="0" hangingPunct="1">
              <a:lnSpc>
                <a:spcPct val="100000"/>
              </a:lnSpc>
              <a:spcBef>
                <a:spcPts val="0"/>
              </a:spcBef>
              <a:spcAft>
                <a:spcPts val="0"/>
              </a:spcAft>
              <a:buClrTx/>
              <a:buSzPct val="90000"/>
              <a:buFont typeface="Wingdings" panose="05000000000000000000" pitchFamily="2" charset="2"/>
              <a:buNone/>
              <a:tabLst/>
              <a:defRPr sz="2700" kern="1200" spc="0" baseline="0">
                <a:solidFill>
                  <a:schemeClr val="tx1"/>
                </a:solidFill>
                <a:latin typeface="+mj-lt"/>
                <a:ea typeface="+mn-ea"/>
                <a:cs typeface="Segoe UI" panose="020B0502040204020203" pitchFamily="34" charset="0"/>
              </a:defRPr>
            </a:lvl1pPr>
            <a:lvl2pPr marL="685800" marR="0" indent="-342900" algn="l" defTabSz="139911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000" kern="1200" spc="0" baseline="0">
                <a:solidFill>
                  <a:schemeClr val="tx1"/>
                </a:solidFill>
                <a:latin typeface="+mn-lt"/>
                <a:ea typeface="+mn-ea"/>
                <a:cs typeface="+mn-cs"/>
              </a:defRPr>
            </a:lvl2pPr>
            <a:lvl3pPr marL="985838" marR="0" indent="-300038" algn="l" defTabSz="139911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1264445" marR="0" indent="-271463" algn="l" defTabSz="139911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solidFill>
                  <a:schemeClr val="tx1"/>
                </a:solidFill>
                <a:latin typeface="+mn-lt"/>
                <a:ea typeface="+mn-ea"/>
                <a:cs typeface="+mn-cs"/>
              </a:defRPr>
            </a:lvl4pPr>
            <a:lvl5pPr marL="1535907" marR="0" indent="-252413" algn="l" defTabSz="139911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solidFill>
                  <a:schemeClr val="tx1"/>
                </a:solidFill>
                <a:latin typeface="+mn-lt"/>
                <a:ea typeface="+mn-ea"/>
                <a:cs typeface="+mn-cs"/>
              </a:defRPr>
            </a:lvl5pPr>
            <a:lvl6pPr marL="3847560" indent="-349779" algn="l" defTabSz="1399113"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547118" indent="-349779" algn="l" defTabSz="1399113"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246675" indent="-349779" algn="l" defTabSz="1399113"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946233" indent="-349779" algn="l" defTabSz="1399113" rtl="0" eaLnBrk="1" latinLnBrk="0" hangingPunct="1">
              <a:spcBef>
                <a:spcPct val="20000"/>
              </a:spcBef>
              <a:buFont typeface="Arial" pitchFamily="34" charset="0"/>
              <a:buChar char="•"/>
              <a:defRPr sz="3000" kern="1200">
                <a:solidFill>
                  <a:schemeClr val="tx1"/>
                </a:solidFill>
                <a:latin typeface="+mn-lt"/>
                <a:ea typeface="+mn-ea"/>
                <a:cs typeface="+mn-cs"/>
              </a:defRPr>
            </a:lvl9pPr>
          </a:lstStyle>
          <a:p>
            <a:pPr marL="0" marR="0" lvl="0" indent="0" algn="ctr" defTabSz="928932" rtl="0" eaLnBrk="1" fontAlgn="base" latinLnBrk="0" hangingPunct="1">
              <a:lnSpc>
                <a:spcPct val="100000"/>
              </a:lnSpc>
              <a:spcBef>
                <a:spcPct val="0"/>
              </a:spcBef>
              <a:spcAft>
                <a:spcPts val="60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3"/>
              </a:rPr>
              <a:t>A Leader in four Gartner® Magic Quadrant™ reports</a:t>
            </a:r>
            <a:endPar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p:txBody>
      </p:sp>
      <p:sp>
        <p:nvSpPr>
          <p:cNvPr id="5" name="Text Placeholder 13">
            <a:extLst>
              <a:ext uri="{FF2B5EF4-FFF2-40B4-BE49-F238E27FC236}">
                <a16:creationId xmlns:a16="http://schemas.microsoft.com/office/drawing/2014/main" id="{3320D5BF-BD8E-4707-8568-53F8D79237B1}"/>
              </a:ext>
            </a:extLst>
          </p:cNvPr>
          <p:cNvSpPr txBox="1">
            <a:spLocks/>
          </p:cNvSpPr>
          <p:nvPr/>
        </p:nvSpPr>
        <p:spPr>
          <a:xfrm>
            <a:off x="4552633" y="4122583"/>
            <a:ext cx="3086735"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28932" rtl="0" eaLnBrk="1" fontAlgn="base" latinLnBrk="0" hangingPunct="1">
              <a:lnSpc>
                <a:spcPct val="100000"/>
              </a:lnSpc>
              <a:spcBef>
                <a:spcPct val="0"/>
              </a:spcBef>
              <a:spcAft>
                <a:spcPts val="60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4">
                  <a:extLst>
                    <a:ext uri="{A12FA001-AC4F-418D-AE19-62706E023703}">
                      <ahyp:hlinkClr xmlns:ahyp="http://schemas.microsoft.com/office/drawing/2018/hyperlinkcolor" val="tx"/>
                    </a:ext>
                  </a:extLst>
                </a:hlinkClick>
              </a:rPr>
              <a:t>A Leader in eight </a:t>
            </a:r>
            <a:b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4">
                  <a:extLst>
                    <a:ext uri="{A12FA001-AC4F-418D-AE19-62706E023703}">
                      <ahyp:hlinkClr xmlns:ahyp="http://schemas.microsoft.com/office/drawing/2018/hyperlinkcolor" val="tx"/>
                    </a:ext>
                  </a:extLst>
                </a:hlinkClick>
              </a:rPr>
            </a:b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hlinkClick r:id="rId4">
                  <a:extLst>
                    <a:ext uri="{A12FA001-AC4F-418D-AE19-62706E023703}">
                      <ahyp:hlinkClr xmlns:ahyp="http://schemas.microsoft.com/office/drawing/2018/hyperlinkcolor" val="tx"/>
                    </a:ext>
                  </a:extLst>
                </a:hlinkClick>
              </a:rPr>
              <a:t>Forrester Wave™ categories</a:t>
            </a:r>
            <a:endPar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endParaRPr>
          </a:p>
        </p:txBody>
      </p:sp>
      <p:sp>
        <p:nvSpPr>
          <p:cNvPr id="6" name="Text Placeholder 14">
            <a:extLst>
              <a:ext uri="{FF2B5EF4-FFF2-40B4-BE49-F238E27FC236}">
                <a16:creationId xmlns:a16="http://schemas.microsoft.com/office/drawing/2014/main" id="{DC18BF64-6604-48F0-8A4D-5E3593B62C1F}"/>
              </a:ext>
            </a:extLst>
          </p:cNvPr>
          <p:cNvSpPr txBox="1">
            <a:spLocks/>
          </p:cNvSpPr>
          <p:nvPr/>
        </p:nvSpPr>
        <p:spPr>
          <a:xfrm>
            <a:off x="8431694" y="4122583"/>
            <a:ext cx="2878137"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28932" rtl="0" eaLnBrk="1" fontAlgn="base" latinLnBrk="0" hangingPunct="1">
              <a:lnSpc>
                <a:spcPct val="100000"/>
              </a:lnSpc>
              <a:spcBef>
                <a:spcPct val="0"/>
              </a:spcBef>
              <a:spcAft>
                <a:spcPts val="60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 Leader in six IDC MarketScape reports</a:t>
            </a:r>
            <a:endPar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hlinkClick r:id="rId5">
                <a:extLst>
                  <a:ext uri="{A12FA001-AC4F-418D-AE19-62706E023703}">
                    <ahyp:hlinkClr xmlns:ahyp="http://schemas.microsoft.com/office/drawing/2018/hyperlinkcolor" val="tx"/>
                  </a:ext>
                </a:extLst>
              </a:hlinkClick>
            </a:endParaRPr>
          </a:p>
        </p:txBody>
      </p:sp>
      <p:sp>
        <p:nvSpPr>
          <p:cNvPr id="7" name="TextBox 6">
            <a:extLst>
              <a:ext uri="{FF2B5EF4-FFF2-40B4-BE49-F238E27FC236}">
                <a16:creationId xmlns:a16="http://schemas.microsoft.com/office/drawing/2014/main" id="{C3C1F285-0F76-4A82-9EF6-48A5D3D41FF2}"/>
              </a:ext>
            </a:extLst>
          </p:cNvPr>
          <p:cNvSpPr txBox="1"/>
          <p:nvPr/>
        </p:nvSpPr>
        <p:spPr>
          <a:xfrm>
            <a:off x="588263" y="5240903"/>
            <a:ext cx="11015474" cy="1164486"/>
          </a:xfrm>
          <a:prstGeom prst="rect">
            <a:avLst/>
          </a:prstGeom>
          <a:noFill/>
        </p:spPr>
        <p:txBody>
          <a:bodyPr wrap="square" lIns="0">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a:ea typeface="+mn-ea"/>
                <a:cs typeface="+mn-cs"/>
                <a:hlinkClick r:id="rId6"/>
              </a:rPr>
              <a:t>IDC </a:t>
            </a:r>
            <a:r>
              <a:rPr kumimoji="0" lang="en-US" sz="600" b="0" i="0" u="none" strike="noStrike" kern="1200" cap="none" spc="0" normalizeH="0" baseline="0" noProof="0" err="1">
                <a:ln>
                  <a:noFill/>
                </a:ln>
                <a:solidFill>
                  <a:srgbClr val="000000"/>
                </a:solidFill>
                <a:effectLst/>
                <a:uLnTx/>
                <a:uFillTx/>
                <a:latin typeface="Segoe UI"/>
                <a:ea typeface="+mn-ea"/>
                <a:cs typeface="+mn-cs"/>
                <a:hlinkClick r:id="rId6"/>
              </a:rPr>
              <a:t>MarketScape</a:t>
            </a:r>
            <a:r>
              <a:rPr kumimoji="0" lang="en-US" sz="600" b="0" i="0" u="none" strike="noStrike" kern="1200" cap="none" spc="0" normalizeH="0" baseline="0" noProof="0">
                <a:ln>
                  <a:noFill/>
                </a:ln>
                <a:solidFill>
                  <a:srgbClr val="000000"/>
                </a:solidFill>
                <a:effectLst/>
                <a:uLnTx/>
                <a:uFillTx/>
                <a:latin typeface="Segoe UI"/>
                <a:ea typeface="+mn-ea"/>
                <a:cs typeface="+mn-cs"/>
                <a:hlinkClick r:id="rId6"/>
              </a:rPr>
              <a:t>: Worldwide Modern Endpoint Security for Enterprises 2021 Vendor Assessment, Doc #US48306021. November 2021</a:t>
            </a:r>
            <a:r>
              <a:rPr kumimoji="0" lang="en-US" sz="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a:ea typeface="+mn-ea"/>
                <a:cs typeface="+mn-cs"/>
                <a:hlinkClick r:id="rId7"/>
              </a:rPr>
              <a:t>IDC </a:t>
            </a:r>
            <a:r>
              <a:rPr kumimoji="0" lang="en-US" sz="600" b="0" i="0" u="none" strike="noStrike" kern="1200" cap="none" spc="0" normalizeH="0" baseline="0" noProof="0" err="1">
                <a:ln>
                  <a:noFill/>
                </a:ln>
                <a:solidFill>
                  <a:srgbClr val="000000"/>
                </a:solidFill>
                <a:effectLst/>
                <a:uLnTx/>
                <a:uFillTx/>
                <a:latin typeface="Segoe UI"/>
                <a:ea typeface="+mn-ea"/>
                <a:cs typeface="+mn-cs"/>
                <a:hlinkClick r:id="rId7"/>
              </a:rPr>
              <a:t>MarketScape</a:t>
            </a:r>
            <a:r>
              <a:rPr kumimoji="0" lang="en-US" sz="600" b="0" i="0" u="none" strike="noStrike" kern="1200" cap="none" spc="0" normalizeH="0" baseline="0" noProof="0">
                <a:ln>
                  <a:noFill/>
                </a:ln>
                <a:solidFill>
                  <a:srgbClr val="000000"/>
                </a:solidFill>
                <a:effectLst/>
                <a:uLnTx/>
                <a:uFillTx/>
                <a:latin typeface="Segoe UI"/>
                <a:ea typeface="+mn-ea"/>
                <a:cs typeface="+mn-cs"/>
                <a:hlinkClick r:id="rId7"/>
              </a:rPr>
              <a:t>: Worldwide Modern Endpoint Security for Small and Midsize Businesses 2021 Vendor Assessment, Doc #48304721. November 2021</a:t>
            </a:r>
            <a:r>
              <a:rPr kumimoji="0" lang="en-US" sz="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46"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a:ea typeface="+mn-ea"/>
                <a:cs typeface="+mn-cs"/>
                <a:hlinkClick r:id="rId8"/>
              </a:rPr>
              <a:t>IDC </a:t>
            </a:r>
            <a:r>
              <a:rPr kumimoji="0" lang="en-US" sz="600" b="0" i="0" u="none" strike="noStrike" kern="1200" cap="none" spc="0" normalizeH="0" baseline="0" noProof="0" err="1">
                <a:ln>
                  <a:noFill/>
                </a:ln>
                <a:solidFill>
                  <a:srgbClr val="000000"/>
                </a:solidFill>
                <a:effectLst/>
                <a:uLnTx/>
                <a:uFillTx/>
                <a:latin typeface="Segoe UI"/>
                <a:ea typeface="+mn-ea"/>
                <a:cs typeface="+mn-cs"/>
                <a:hlinkClick r:id="rId8"/>
              </a:rPr>
              <a:t>MarketScape</a:t>
            </a:r>
            <a:r>
              <a:rPr kumimoji="0" lang="en-US" sz="600" b="0" i="0" u="none" strike="noStrike" kern="1200" cap="none" spc="0" normalizeH="0" baseline="0" noProof="0">
                <a:ln>
                  <a:noFill/>
                </a:ln>
                <a:solidFill>
                  <a:srgbClr val="000000"/>
                </a:solidFill>
                <a:effectLst/>
                <a:uLnTx/>
                <a:uFillTx/>
                <a:latin typeface="Segoe UI"/>
                <a:ea typeface="+mn-ea"/>
                <a:cs typeface="+mn-cs"/>
                <a:hlinkClick r:id="rId8"/>
              </a:rPr>
              <a:t>: Worldwide Advanced Authentication for Identity Security 2021 Vendor Assessment, Doc #US46178720, July 2021</a:t>
            </a:r>
            <a:r>
              <a:rPr kumimoji="0" lang="en-US" sz="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467" b="0" i="0" u="none" strike="noStrike" kern="1200" cap="none" spc="0" normalizeH="0" baseline="0" noProof="0">
              <a:ln>
                <a:noFill/>
              </a:ln>
              <a:solidFill>
                <a:srgbClr val="333333"/>
              </a:solidFill>
              <a:effectLst/>
              <a:uLnTx/>
              <a:uFillTx/>
              <a:latin typeface="SegoeUI"/>
              <a:ea typeface="+mn-ea"/>
              <a:cs typeface="+mn-cs"/>
            </a:endParaRP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a:ea typeface="+mn-ea"/>
                <a:cs typeface="+mn-cs"/>
              </a:rPr>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amp; Advisory organization and should not be construed as statements of fact. Gartner disclaims all warranties, expressed or implied, with respect to this research, including any warranties of merchantability or fitness for a particular purpose. The Gartner content described herein (the “Gartner Content”) represent(s) research opinion or viewpoints published, as part of a syndicated subscription service, by Gartner, Inc. ("Gartner"), and are not representations of fact. Gartner Content speaks as of its original publication date (and not as of the date of this [type of filing]), and the opinions expressed in the Gartner Content are subject to change without notice. GARTNER and MAGIC QUADRANT are registered trademark and service mark of Gartner, Inc. and/or its affiliates in the U.S. and internationally and are used herein with permission. All rights reserved</a:t>
            </a: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a:ea typeface="+mn-ea"/>
                <a:cs typeface="+mn-cs"/>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p>
        </p:txBody>
      </p:sp>
      <p:grpSp>
        <p:nvGrpSpPr>
          <p:cNvPr id="8" name="Group 7">
            <a:extLst>
              <a:ext uri="{FF2B5EF4-FFF2-40B4-BE49-F238E27FC236}">
                <a16:creationId xmlns:a16="http://schemas.microsoft.com/office/drawing/2014/main" id="{0AB64715-F157-471E-81C5-4D0AB943334F}"/>
              </a:ext>
              <a:ext uri="{C183D7F6-B498-43B3-948B-1728B52AA6E4}">
                <adec:decorative xmlns:adec="http://schemas.microsoft.com/office/drawing/2017/decorative" val="1"/>
              </a:ext>
            </a:extLst>
          </p:cNvPr>
          <p:cNvGrpSpPr/>
          <p:nvPr/>
        </p:nvGrpSpPr>
        <p:grpSpPr>
          <a:xfrm>
            <a:off x="1164522" y="1583803"/>
            <a:ext cx="2313432" cy="2313432"/>
            <a:chOff x="588263" y="1707987"/>
            <a:chExt cx="2313432" cy="2313432"/>
          </a:xfrm>
        </p:grpSpPr>
        <p:sp>
          <p:nvSpPr>
            <p:cNvPr id="9" name="Oval 8">
              <a:extLst>
                <a:ext uri="{FF2B5EF4-FFF2-40B4-BE49-F238E27FC236}">
                  <a16:creationId xmlns:a16="http://schemas.microsoft.com/office/drawing/2014/main" id="{A3EEB463-A3FE-4D35-AF6C-F88507BEDB03}"/>
                </a:ext>
              </a:extLst>
            </p:cNvPr>
            <p:cNvSpPr/>
            <p:nvPr/>
          </p:nvSpPr>
          <p:spPr bwMode="auto">
            <a:xfrm>
              <a:off x="588263" y="1707987"/>
              <a:ext cx="2313432" cy="2313432"/>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0" name="Picture 2">
              <a:extLst>
                <a:ext uri="{FF2B5EF4-FFF2-40B4-BE49-F238E27FC236}">
                  <a16:creationId xmlns:a16="http://schemas.microsoft.com/office/drawing/2014/main" id="{E4BF0F38-B83C-4145-9D55-E3D84CC45409}"/>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1080380" y="2712681"/>
              <a:ext cx="1329199" cy="3040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4435DB4C-5719-465D-82CD-F0AEE6868D52}"/>
              </a:ext>
              <a:ext uri="{C183D7F6-B498-43B3-948B-1728B52AA6E4}">
                <adec:decorative xmlns:adec="http://schemas.microsoft.com/office/drawing/2017/decorative" val="1"/>
              </a:ext>
            </a:extLst>
          </p:cNvPr>
          <p:cNvGrpSpPr/>
          <p:nvPr/>
        </p:nvGrpSpPr>
        <p:grpSpPr>
          <a:xfrm>
            <a:off x="4939284" y="1583803"/>
            <a:ext cx="2313432" cy="2313432"/>
            <a:chOff x="4939284" y="1707987"/>
            <a:chExt cx="2313432" cy="2313432"/>
          </a:xfrm>
        </p:grpSpPr>
        <p:sp>
          <p:nvSpPr>
            <p:cNvPr id="12" name="Oval 11">
              <a:extLst>
                <a:ext uri="{FF2B5EF4-FFF2-40B4-BE49-F238E27FC236}">
                  <a16:creationId xmlns:a16="http://schemas.microsoft.com/office/drawing/2014/main" id="{6F963CF7-59F8-41A3-9667-2FDF271CA283}"/>
                </a:ext>
              </a:extLst>
            </p:cNvPr>
            <p:cNvSpPr/>
            <p:nvPr/>
          </p:nvSpPr>
          <p:spPr bwMode="auto">
            <a:xfrm>
              <a:off x="4939284" y="1707987"/>
              <a:ext cx="2313432" cy="2313432"/>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3" name="Picture 2" descr="See the source image">
              <a:extLst>
                <a:ext uri="{FF2B5EF4-FFF2-40B4-BE49-F238E27FC236}">
                  <a16:creationId xmlns:a16="http://schemas.microsoft.com/office/drawing/2014/main" id="{45D25C29-D089-43AB-B402-D096AC55F3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2137" y="2712681"/>
              <a:ext cx="1907727" cy="3040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C2929841-D0A6-4A4D-BD19-2DD9CC37BC1B}"/>
              </a:ext>
              <a:ext uri="{C183D7F6-B498-43B3-948B-1728B52AA6E4}">
                <adec:decorative xmlns:adec="http://schemas.microsoft.com/office/drawing/2017/decorative" val="1"/>
              </a:ext>
            </a:extLst>
          </p:cNvPr>
          <p:cNvGrpSpPr/>
          <p:nvPr/>
        </p:nvGrpSpPr>
        <p:grpSpPr>
          <a:xfrm>
            <a:off x="8714047" y="1583803"/>
            <a:ext cx="2313432" cy="2313432"/>
            <a:chOff x="9290305" y="1707987"/>
            <a:chExt cx="2313432" cy="2313432"/>
          </a:xfrm>
        </p:grpSpPr>
        <p:sp>
          <p:nvSpPr>
            <p:cNvPr id="15" name="Oval 14">
              <a:extLst>
                <a:ext uri="{FF2B5EF4-FFF2-40B4-BE49-F238E27FC236}">
                  <a16:creationId xmlns:a16="http://schemas.microsoft.com/office/drawing/2014/main" id="{9A090E81-9430-43C5-B0F1-784145FE7794}"/>
                </a:ext>
              </a:extLst>
            </p:cNvPr>
            <p:cNvSpPr/>
            <p:nvPr/>
          </p:nvSpPr>
          <p:spPr bwMode="auto">
            <a:xfrm>
              <a:off x="9290305" y="1707987"/>
              <a:ext cx="2313432" cy="2313432"/>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6" name="Picture 15" descr="Icon&#10;&#10;Description automatically generated">
              <a:extLst>
                <a:ext uri="{FF2B5EF4-FFF2-40B4-BE49-F238E27FC236}">
                  <a16:creationId xmlns:a16="http://schemas.microsoft.com/office/drawing/2014/main" id="{8D415153-C843-456A-B0A8-6FC1A8F6060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flipV="1">
              <a:off x="9925304" y="2708500"/>
              <a:ext cx="1043434" cy="312406"/>
            </a:xfrm>
            <a:prstGeom prst="rect">
              <a:avLst/>
            </a:prstGeom>
          </p:spPr>
        </p:pic>
      </p:grpSp>
      <p:sp>
        <p:nvSpPr>
          <p:cNvPr id="17" name="TextBox 16">
            <a:extLst>
              <a:ext uri="{FF2B5EF4-FFF2-40B4-BE49-F238E27FC236}">
                <a16:creationId xmlns:a16="http://schemas.microsoft.com/office/drawing/2014/main" id="{6F86C4C5-4D04-4BCD-B961-4DEA03EEF8E5}"/>
              </a:ext>
            </a:extLst>
          </p:cNvPr>
          <p:cNvSpPr txBox="1"/>
          <p:nvPr/>
        </p:nvSpPr>
        <p:spPr>
          <a:xfrm>
            <a:off x="6572953" y="5240903"/>
            <a:ext cx="5324407" cy="461665"/>
          </a:xfrm>
          <a:prstGeom prst="rect">
            <a:avLst/>
          </a:prstGeom>
          <a:noFill/>
        </p:spPr>
        <p:txBody>
          <a:bodyPr wrap="square">
            <a:sp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33333"/>
                </a:solidFill>
                <a:effectLst/>
                <a:uLnTx/>
                <a:uFillTx/>
                <a:latin typeface="Segoe UI"/>
                <a:ea typeface="+mn-ea"/>
                <a:cs typeface="+mn-cs"/>
                <a:hlinkClick r:id="rId12"/>
              </a:rPr>
              <a:t>IDC </a:t>
            </a:r>
            <a:r>
              <a:rPr kumimoji="0" lang="en-US" sz="600" b="0" i="0" u="none" strike="noStrike" kern="1200" cap="none" spc="0" normalizeH="0" baseline="0" noProof="0" err="1">
                <a:ln>
                  <a:noFill/>
                </a:ln>
                <a:solidFill>
                  <a:srgbClr val="333333"/>
                </a:solidFill>
                <a:effectLst/>
                <a:uLnTx/>
                <a:uFillTx/>
                <a:latin typeface="Segoe UI"/>
                <a:ea typeface="+mn-ea"/>
                <a:cs typeface="+mn-cs"/>
                <a:hlinkClick r:id="rId12"/>
              </a:rPr>
              <a:t>MarketScape</a:t>
            </a:r>
            <a:r>
              <a:rPr kumimoji="0" lang="en-US" sz="600" b="0" i="0" u="none" strike="noStrike" kern="1200" cap="none" spc="0" normalizeH="0" baseline="0" noProof="0">
                <a:ln>
                  <a:noFill/>
                </a:ln>
                <a:solidFill>
                  <a:srgbClr val="333333"/>
                </a:solidFill>
                <a:effectLst/>
                <a:uLnTx/>
                <a:uFillTx/>
                <a:latin typeface="Segoe UI"/>
                <a:ea typeface="+mn-ea"/>
                <a:cs typeface="+mn-cs"/>
                <a:hlinkClick r:id="rId12"/>
              </a:rPr>
              <a:t>: Worldwide Unified Endpoint Management Software 2021 Vendor Assessment</a:t>
            </a:r>
            <a:r>
              <a:rPr kumimoji="0" lang="en-US" sz="600" b="0" i="0" u="none" strike="noStrike" kern="1200" cap="none" spc="0" normalizeH="0" baseline="0" noProof="0">
                <a:ln>
                  <a:noFill/>
                </a:ln>
                <a:solidFill>
                  <a:srgbClr val="333333"/>
                </a:solidFill>
                <a:effectLst/>
                <a:uLnTx/>
                <a:uFillTx/>
                <a:latin typeface="Segoe UI"/>
                <a:ea typeface="+mn-ea"/>
                <a:cs typeface="+mn-cs"/>
              </a:rPr>
              <a:t>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1010F"/>
                </a:solidFill>
                <a:effectLst/>
                <a:uLnTx/>
                <a:uFillTx/>
                <a:latin typeface="Segoe UI"/>
                <a:ea typeface="+mn-ea"/>
                <a:cs typeface="+mn-cs"/>
                <a:hlinkClick r:id="rId13"/>
              </a:rPr>
              <a:t>IDC </a:t>
            </a:r>
            <a:r>
              <a:rPr kumimoji="0" lang="en-US" sz="600" b="0" i="0" u="none" strike="noStrike" kern="1200" cap="none" spc="0" normalizeH="0" baseline="0" noProof="0" err="1">
                <a:ln>
                  <a:noFill/>
                </a:ln>
                <a:solidFill>
                  <a:srgbClr val="01010F"/>
                </a:solidFill>
                <a:effectLst/>
                <a:uLnTx/>
                <a:uFillTx/>
                <a:latin typeface="Segoe UI"/>
                <a:ea typeface="+mn-ea"/>
                <a:cs typeface="+mn-cs"/>
                <a:hlinkClick r:id="rId13"/>
              </a:rPr>
              <a:t>MarketScape</a:t>
            </a:r>
            <a:r>
              <a:rPr kumimoji="0" lang="en-US" sz="600" b="0" i="0" u="none" strike="noStrike" kern="1200" cap="none" spc="0" normalizeH="0" baseline="0" noProof="0">
                <a:ln>
                  <a:noFill/>
                </a:ln>
                <a:solidFill>
                  <a:srgbClr val="01010F"/>
                </a:solidFill>
                <a:effectLst/>
                <a:uLnTx/>
                <a:uFillTx/>
                <a:latin typeface="Segoe UI"/>
                <a:ea typeface="+mn-ea"/>
                <a:cs typeface="+mn-cs"/>
                <a:hlinkClick r:id="rId13"/>
              </a:rPr>
              <a:t>: Worldwide Unified Endpoint Management Software for Small and Medium-Sized Businesses 2021 Vendor Assessment</a:t>
            </a:r>
            <a:r>
              <a:rPr kumimoji="0" lang="en-US" sz="600" b="0" i="0" u="none" strike="noStrike" kern="1200" cap="none" spc="0" normalizeH="0" baseline="0" noProof="0">
                <a:ln>
                  <a:noFill/>
                </a:ln>
                <a:solidFill>
                  <a:srgbClr val="01010F"/>
                </a:solidFill>
                <a:effectLst/>
                <a:uLnTx/>
                <a:uFillTx/>
                <a:latin typeface="Segoe UI"/>
                <a:ea typeface="+mn-ea"/>
                <a:cs typeface="+mn-cs"/>
              </a:rPr>
              <a:t> </a:t>
            </a:r>
          </a:p>
          <a:p>
            <a:pPr marL="0" marR="0" lvl="0" indent="0" algn="l" defTabSz="91444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1010F"/>
                </a:solidFill>
                <a:effectLst/>
                <a:uLnTx/>
                <a:uFillTx/>
                <a:latin typeface="Segoe UI"/>
                <a:ea typeface="+mn-ea"/>
                <a:cs typeface="+mn-cs"/>
                <a:hlinkClick r:id="rId14"/>
              </a:rPr>
              <a:t>IDC </a:t>
            </a:r>
            <a:r>
              <a:rPr kumimoji="0" lang="en-US" sz="600" b="0" i="0" u="none" strike="noStrike" kern="1200" cap="none" spc="0" normalizeH="0" baseline="0" noProof="0" err="1">
                <a:ln>
                  <a:noFill/>
                </a:ln>
                <a:solidFill>
                  <a:srgbClr val="01010F"/>
                </a:solidFill>
                <a:effectLst/>
                <a:uLnTx/>
                <a:uFillTx/>
                <a:latin typeface="Segoe UI"/>
                <a:ea typeface="+mn-ea"/>
                <a:cs typeface="+mn-cs"/>
                <a:hlinkClick r:id="rId14"/>
              </a:rPr>
              <a:t>MarketScape</a:t>
            </a:r>
            <a:r>
              <a:rPr kumimoji="0" lang="en-US" sz="600" b="0" i="0" u="none" strike="noStrike" kern="1200" cap="none" spc="0" normalizeH="0" baseline="0" noProof="0">
                <a:ln>
                  <a:noFill/>
                </a:ln>
                <a:solidFill>
                  <a:srgbClr val="01010F"/>
                </a:solidFill>
                <a:effectLst/>
                <a:uLnTx/>
                <a:uFillTx/>
                <a:latin typeface="Segoe UI"/>
                <a:ea typeface="+mn-ea"/>
                <a:cs typeface="+mn-cs"/>
                <a:hlinkClick r:id="rId14"/>
              </a:rPr>
              <a:t>: Worldwide Unified Endpoint Management Software for Ruggedized/Internet of Things Deployment 2021 Vendor Assessment</a:t>
            </a:r>
            <a:endParaRPr kumimoji="0" lang="en-US" sz="600" b="0" i="0" u="none" strike="noStrike" kern="1200" cap="none" spc="0" normalizeH="0" baseline="0" noProof="0">
              <a:ln>
                <a:noFill/>
              </a:ln>
              <a:solidFill>
                <a:srgbClr val="01010F"/>
              </a:solidFill>
              <a:effectLst/>
              <a:uLnTx/>
              <a:uFillTx/>
              <a:latin typeface="Segoe UI"/>
              <a:ea typeface="+mn-ea"/>
              <a:cs typeface="+mn-cs"/>
            </a:endParaRPr>
          </a:p>
          <a:p>
            <a:pPr marL="0" marR="0" lvl="0" indent="0" algn="l" defTabSz="914446"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333333"/>
              </a:solidFill>
              <a:effectLst/>
              <a:uLnTx/>
              <a:uFillTx/>
              <a:latin typeface="SegoeUI"/>
              <a:ea typeface="+mn-ea"/>
              <a:cs typeface="+mn-cs"/>
            </a:endParaRPr>
          </a:p>
        </p:txBody>
      </p:sp>
    </p:spTree>
    <p:extLst>
      <p:ext uri="{BB962C8B-B14F-4D97-AF65-F5344CB8AC3E}">
        <p14:creationId xmlns:p14="http://schemas.microsoft.com/office/powerpoint/2010/main" val="2403008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8307850C-EAFC-110F-9706-F0185698542B}"/>
              </a:ext>
            </a:extLst>
          </p:cNvPr>
          <p:cNvSpPr txBox="1">
            <a:spLocks noGrp="1"/>
          </p:cNvSpPr>
          <p:nvPr>
            <p:ph type="title" idx="4294967295"/>
          </p:nvPr>
        </p:nvSpPr>
        <p:spPr>
          <a:xfrm>
            <a:off x="557163" y="487798"/>
            <a:ext cx="883951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s-MX" sz="3200" b="0" i="0" u="none" strike="noStrike" kern="1200" cap="none" spc="-50" normalizeH="0" baseline="0" noProof="0" dirty="0" err="1">
                <a:ln w="3175">
                  <a:noFill/>
                </a:ln>
                <a:solidFill>
                  <a:schemeClr val="tx1"/>
                </a:solidFill>
                <a:effectLst/>
                <a:uLnTx/>
                <a:uFillTx/>
                <a:latin typeface="+mj-lt"/>
                <a:ea typeface="+mn-ea"/>
                <a:cs typeface="Segoe UI" pitchFamily="34" charset="0"/>
              </a:rPr>
              <a:t>Industry-leading</a:t>
            </a:r>
            <a:r>
              <a:rPr kumimoji="0" lang="es-MX" sz="3200" b="0" i="0" u="none" strike="noStrike" kern="1200" cap="none" spc="-50" normalizeH="0" baseline="0" noProof="0" dirty="0">
                <a:ln w="3175">
                  <a:noFill/>
                </a:ln>
                <a:solidFill>
                  <a:schemeClr val="tx1"/>
                </a:solidFill>
                <a:effectLst/>
                <a:uLnTx/>
                <a:uFillTx/>
                <a:latin typeface="+mj-lt"/>
                <a:ea typeface="+mn-ea"/>
                <a:cs typeface="Segoe UI" pitchFamily="34" charset="0"/>
              </a:rPr>
              <a:t> </a:t>
            </a:r>
            <a:r>
              <a:rPr kumimoji="0" lang="es-MX" sz="3200" b="0" i="0" u="none" strike="noStrike" kern="1200" cap="none" spc="-50" normalizeH="0" baseline="0" noProof="0" dirty="0" err="1">
                <a:ln w="3175">
                  <a:noFill/>
                </a:ln>
                <a:solidFill>
                  <a:schemeClr val="tx1"/>
                </a:solidFill>
                <a:effectLst/>
                <a:uLnTx/>
                <a:uFillTx/>
                <a:latin typeface="+mj-lt"/>
                <a:ea typeface="+mn-ea"/>
                <a:cs typeface="Segoe UI" pitchFamily="34" charset="0"/>
              </a:rPr>
              <a:t>security</a:t>
            </a:r>
            <a:r>
              <a:rPr kumimoji="0" lang="es-MX" sz="3200" b="0" i="0" u="none" strike="noStrike" kern="1200" cap="none" spc="-50" normalizeH="0" baseline="0" noProof="0" dirty="0">
                <a:ln w="3175">
                  <a:noFill/>
                </a:ln>
                <a:solidFill>
                  <a:schemeClr val="tx1"/>
                </a:solidFill>
                <a:effectLst/>
                <a:uLnTx/>
                <a:uFillTx/>
                <a:latin typeface="+mj-lt"/>
                <a:ea typeface="+mn-ea"/>
                <a:cs typeface="Segoe UI" pitchFamily="34" charset="0"/>
              </a:rPr>
              <a:t> </a:t>
            </a:r>
            <a:r>
              <a:rPr kumimoji="0" lang="es-MX" sz="3200" b="0" i="0" u="none" strike="noStrike" kern="1200" cap="none" spc="-50" normalizeH="0" baseline="0" noProof="0" dirty="0" err="1">
                <a:ln w="3175">
                  <a:noFill/>
                </a:ln>
                <a:solidFill>
                  <a:schemeClr val="tx1"/>
                </a:solidFill>
                <a:effectLst/>
                <a:uLnTx/>
                <a:uFillTx/>
                <a:latin typeface="+mj-lt"/>
                <a:ea typeface="+mn-ea"/>
                <a:cs typeface="Segoe UI" pitchFamily="34" charset="0"/>
              </a:rPr>
              <a:t>from</a:t>
            </a:r>
            <a:r>
              <a:rPr kumimoji="0" lang="es-MX" sz="3200" b="0" i="0" u="none" strike="noStrike" kern="1200" cap="none" spc="-50" normalizeH="0" baseline="0" noProof="0" dirty="0">
                <a:ln w="3175">
                  <a:noFill/>
                </a:ln>
                <a:solidFill>
                  <a:schemeClr val="tx1"/>
                </a:solidFill>
                <a:effectLst/>
                <a:uLnTx/>
                <a:uFillTx/>
                <a:latin typeface="+mj-lt"/>
                <a:ea typeface="+mn-ea"/>
                <a:cs typeface="Segoe UI" pitchFamily="34" charset="0"/>
              </a:rPr>
              <a:t> Microsoft</a:t>
            </a:r>
          </a:p>
        </p:txBody>
      </p:sp>
      <p:sp>
        <p:nvSpPr>
          <p:cNvPr id="6" name="Rectangle: Diagonal Corners Rounded 5">
            <a:extLst>
              <a:ext uri="{FF2B5EF4-FFF2-40B4-BE49-F238E27FC236}">
                <a16:creationId xmlns:a16="http://schemas.microsoft.com/office/drawing/2014/main" id="{9164990D-D902-95FB-2853-DCF79075E9C3}"/>
              </a:ext>
              <a:ext uri="{C183D7F6-B498-43B3-948B-1728B52AA6E4}">
                <adec:decorative xmlns:adec="http://schemas.microsoft.com/office/drawing/2017/decorative" val="1"/>
              </a:ext>
            </a:extLst>
          </p:cNvPr>
          <p:cNvSpPr/>
          <p:nvPr/>
        </p:nvSpPr>
        <p:spPr bwMode="auto">
          <a:xfrm>
            <a:off x="611005" y="1806864"/>
            <a:ext cx="3745095" cy="3992296"/>
          </a:xfrm>
          <a:prstGeom prst="round2DiagRect">
            <a:avLst>
              <a:gd name="adj1" fmla="val 31690"/>
              <a:gd name="adj2"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329E15E4-01B2-BA0F-5055-CD39EF94946A}"/>
              </a:ext>
            </a:extLst>
          </p:cNvPr>
          <p:cNvSpPr txBox="1"/>
          <p:nvPr/>
        </p:nvSpPr>
        <p:spPr>
          <a:xfrm>
            <a:off x="1812703" y="2076812"/>
            <a:ext cx="1650380" cy="369332"/>
          </a:xfrm>
          <a:prstGeom prst="rect">
            <a:avLst/>
          </a:prstGeom>
          <a:noFill/>
        </p:spPr>
        <p:txBody>
          <a:bodyPr wrap="square">
            <a:spAutoFit/>
          </a:bodyPr>
          <a:lstStyle/>
          <a:p>
            <a:r>
              <a:rPr lang="en-US" dirty="0">
                <a:solidFill>
                  <a:schemeClr val="bg1"/>
                </a:solidFill>
                <a:latin typeface="Segoe UI Semibold"/>
              </a:rPr>
              <a:t>Monitoring</a:t>
            </a:r>
          </a:p>
        </p:txBody>
      </p:sp>
      <p:sp>
        <p:nvSpPr>
          <p:cNvPr id="7" name="TextBox 6">
            <a:extLst>
              <a:ext uri="{FF2B5EF4-FFF2-40B4-BE49-F238E27FC236}">
                <a16:creationId xmlns:a16="http://schemas.microsoft.com/office/drawing/2014/main" id="{B3031733-8706-6AE0-03BB-8B5B42593400}"/>
              </a:ext>
            </a:extLst>
          </p:cNvPr>
          <p:cNvSpPr txBox="1"/>
          <p:nvPr/>
        </p:nvSpPr>
        <p:spPr>
          <a:xfrm>
            <a:off x="1394764" y="2347060"/>
            <a:ext cx="2486258" cy="107721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7000" b="1">
                <a:solidFill>
                  <a:schemeClr val="bg1"/>
                </a:solidFill>
              </a:rPr>
              <a:t>140+</a:t>
            </a:r>
            <a:r>
              <a:rPr lang="en-US" sz="1000" b="1">
                <a:solidFill>
                  <a:schemeClr val="bg1"/>
                </a:solidFill>
              </a:rPr>
              <a:t>3</a:t>
            </a:r>
            <a:r>
              <a:rPr kumimoji="0" lang="en-US" sz="7000" b="1" i="0" u="none" strike="noStrike" kern="1200" cap="none" spc="-600" normalizeH="0" baseline="0" noProof="0">
                <a:ln>
                  <a:noFill/>
                </a:ln>
                <a:solidFill>
                  <a:schemeClr val="bg1"/>
                </a:solidFill>
                <a:effectLst/>
                <a:uLnTx/>
                <a:uFillTx/>
                <a:latin typeface="Segoe UI"/>
                <a:ea typeface="+mn-ea"/>
                <a:cs typeface="+mn-cs"/>
              </a:rPr>
              <a:t> </a:t>
            </a:r>
          </a:p>
        </p:txBody>
      </p:sp>
      <p:sp>
        <p:nvSpPr>
          <p:cNvPr id="8" name="Text Placeholder 6">
            <a:extLst>
              <a:ext uri="{FF2B5EF4-FFF2-40B4-BE49-F238E27FC236}">
                <a16:creationId xmlns:a16="http://schemas.microsoft.com/office/drawing/2014/main" id="{E2484562-95C0-5759-2142-BD5B9AE7FA29}"/>
              </a:ext>
            </a:extLst>
          </p:cNvPr>
          <p:cNvSpPr txBox="1">
            <a:spLocks/>
          </p:cNvSpPr>
          <p:nvPr/>
        </p:nvSpPr>
        <p:spPr>
          <a:xfrm>
            <a:off x="1124783" y="3275575"/>
            <a:ext cx="2727859" cy="30777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64000">
                      <a:schemeClr val="tx1"/>
                    </a:gs>
                    <a:gs pos="100000">
                      <a:schemeClr val="tx1"/>
                    </a:gs>
                  </a:gsLst>
                  <a:path path="circle">
                    <a:fillToRect l="50000" t="50000" r="50000" b="50000"/>
                  </a:path>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64000">
                      <a:schemeClr val="tx1"/>
                    </a:gs>
                    <a:gs pos="100000">
                      <a:schemeClr val="tx1"/>
                    </a:gs>
                  </a:gsLst>
                  <a:path path="circle">
                    <a:fillToRect l="50000" t="50000" r="50000" b="50000"/>
                  </a:path>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64000">
                      <a:schemeClr val="tx1"/>
                    </a:gs>
                    <a:gs pos="100000">
                      <a:schemeClr val="tx1"/>
                    </a:gs>
                  </a:gsLst>
                  <a:path path="circle">
                    <a:fillToRect l="50000" t="50000" r="50000" b="50000"/>
                  </a:path>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64000">
                      <a:schemeClr val="tx1"/>
                    </a:gs>
                    <a:gs pos="100000">
                      <a:schemeClr val="tx1"/>
                    </a:gs>
                  </a:gsLst>
                  <a:path path="circle">
                    <a:fillToRect l="50000" t="50000" r="50000" b="50000"/>
                  </a:path>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64000">
                      <a:schemeClr val="tx1"/>
                    </a:gs>
                    <a:gs pos="100000">
                      <a:schemeClr val="tx1"/>
                    </a:gs>
                  </a:gsLst>
                  <a:path path="circle">
                    <a:fillToRect l="50000" t="50000" r="50000" b="50000"/>
                  </a:path>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buNone/>
              <a:defRPr/>
            </a:pPr>
            <a:r>
              <a:rPr lang="en-US" sz="2000" dirty="0">
                <a:solidFill>
                  <a:srgbClr val="FFFFFF"/>
                </a:solidFill>
                <a:latin typeface="Segoe UI Semibold"/>
              </a:rPr>
              <a:t>Threat groups</a:t>
            </a:r>
          </a:p>
        </p:txBody>
      </p:sp>
      <p:sp>
        <p:nvSpPr>
          <p:cNvPr id="46" name="TextBox 45">
            <a:extLst>
              <a:ext uri="{FF2B5EF4-FFF2-40B4-BE49-F238E27FC236}">
                <a16:creationId xmlns:a16="http://schemas.microsoft.com/office/drawing/2014/main" id="{F503762C-9527-8222-EB5C-B99FCC28A8E1}"/>
              </a:ext>
            </a:extLst>
          </p:cNvPr>
          <p:cNvSpPr txBox="1"/>
          <p:nvPr/>
        </p:nvSpPr>
        <p:spPr>
          <a:xfrm>
            <a:off x="1652848" y="3546509"/>
            <a:ext cx="1970091" cy="107721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7000" b="1" dirty="0">
                <a:solidFill>
                  <a:schemeClr val="bg1"/>
                </a:solidFill>
              </a:rPr>
              <a:t>40+</a:t>
            </a:r>
            <a:r>
              <a:rPr lang="en-US" sz="1000" b="1" dirty="0">
                <a:solidFill>
                  <a:schemeClr val="bg1"/>
                </a:solidFill>
              </a:rPr>
              <a:t>3</a:t>
            </a:r>
            <a:r>
              <a:rPr kumimoji="0" lang="en-US" sz="7000" b="1" i="0" u="none" strike="noStrike" kern="1200" cap="none" spc="-600" normalizeH="0" baseline="0" noProof="0" dirty="0">
                <a:ln>
                  <a:noFill/>
                </a:ln>
                <a:solidFill>
                  <a:schemeClr val="bg1"/>
                </a:solidFill>
                <a:effectLst/>
                <a:uLnTx/>
                <a:uFillTx/>
                <a:latin typeface="Segoe UI"/>
                <a:ea typeface="+mn-ea"/>
                <a:cs typeface="+mn-cs"/>
              </a:rPr>
              <a:t> </a:t>
            </a:r>
          </a:p>
        </p:txBody>
      </p:sp>
      <p:sp>
        <p:nvSpPr>
          <p:cNvPr id="47" name="Text Placeholder 6">
            <a:extLst>
              <a:ext uri="{FF2B5EF4-FFF2-40B4-BE49-F238E27FC236}">
                <a16:creationId xmlns:a16="http://schemas.microsoft.com/office/drawing/2014/main" id="{3EA2658C-ED49-F791-DB1D-F19D3BCB9314}"/>
              </a:ext>
            </a:extLst>
          </p:cNvPr>
          <p:cNvSpPr txBox="1">
            <a:spLocks/>
          </p:cNvSpPr>
          <p:nvPr/>
        </p:nvSpPr>
        <p:spPr>
          <a:xfrm>
            <a:off x="1289102" y="4495030"/>
            <a:ext cx="2839370" cy="30777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64000">
                      <a:schemeClr val="tx1"/>
                    </a:gs>
                    <a:gs pos="100000">
                      <a:schemeClr val="tx1"/>
                    </a:gs>
                  </a:gsLst>
                  <a:path path="circle">
                    <a:fillToRect l="50000" t="50000" r="50000" b="50000"/>
                  </a:path>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64000">
                      <a:schemeClr val="tx1"/>
                    </a:gs>
                    <a:gs pos="100000">
                      <a:schemeClr val="tx1"/>
                    </a:gs>
                  </a:gsLst>
                  <a:path path="circle">
                    <a:fillToRect l="50000" t="50000" r="50000" b="50000"/>
                  </a:path>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64000">
                      <a:schemeClr val="tx1"/>
                    </a:gs>
                    <a:gs pos="100000">
                      <a:schemeClr val="tx1"/>
                    </a:gs>
                  </a:gsLst>
                  <a:path path="circle">
                    <a:fillToRect l="50000" t="50000" r="50000" b="50000"/>
                  </a:path>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64000">
                      <a:schemeClr val="tx1"/>
                    </a:gs>
                    <a:gs pos="100000">
                      <a:schemeClr val="tx1"/>
                    </a:gs>
                  </a:gsLst>
                  <a:path path="circle">
                    <a:fillToRect l="50000" t="50000" r="50000" b="50000"/>
                  </a:path>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64000">
                      <a:schemeClr val="tx1"/>
                    </a:gs>
                    <a:gs pos="100000">
                      <a:schemeClr val="tx1"/>
                    </a:gs>
                  </a:gsLst>
                  <a:path path="circle">
                    <a:fillToRect l="50000" t="50000" r="50000" b="50000"/>
                  </a:path>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2000" dirty="0">
                <a:solidFill>
                  <a:srgbClr val="FFFFFF"/>
                </a:solidFill>
                <a:latin typeface="Segoe UI Semibold"/>
              </a:rPr>
              <a:t>Nation state-groups</a:t>
            </a:r>
          </a:p>
        </p:txBody>
      </p:sp>
      <p:sp>
        <p:nvSpPr>
          <p:cNvPr id="38" name="TextBox 37">
            <a:extLst>
              <a:ext uri="{FF2B5EF4-FFF2-40B4-BE49-F238E27FC236}">
                <a16:creationId xmlns:a16="http://schemas.microsoft.com/office/drawing/2014/main" id="{4196188B-D017-AA8E-AD84-38CB9132AA3B}"/>
              </a:ext>
            </a:extLst>
          </p:cNvPr>
          <p:cNvSpPr txBox="1"/>
          <p:nvPr/>
        </p:nvSpPr>
        <p:spPr>
          <a:xfrm>
            <a:off x="1218208" y="4728285"/>
            <a:ext cx="2839370" cy="684074"/>
          </a:xfrm>
          <a:prstGeom prst="rect">
            <a:avLst/>
          </a:prstGeom>
          <a:noFill/>
        </p:spPr>
        <p:txBody>
          <a:bodyPr wrap="square" lIns="0" tIns="140609" rIns="175761" bIns="140609" rtlCol="0">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defTabSz="878696" rtl="0" eaLnBrk="1" fontAlgn="auto" latinLnBrk="0" hangingPunct="1">
              <a:lnSpc>
                <a:spcPct val="100000"/>
              </a:lnSpc>
              <a:spcBef>
                <a:spcPts val="0"/>
              </a:spcBef>
              <a:spcAft>
                <a:spcPts val="565"/>
              </a:spcAft>
              <a:buClrTx/>
              <a:buSzTx/>
              <a:buFontTx/>
              <a:buNone/>
              <a:tabLst/>
              <a:defRPr/>
            </a:pPr>
            <a:r>
              <a:rPr kumimoji="0" lang="en-US" sz="13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Serving billions of global customers, learning and predicting what’s next</a:t>
            </a:r>
          </a:p>
        </p:txBody>
      </p:sp>
      <p:sp>
        <p:nvSpPr>
          <p:cNvPr id="10" name="Rectangle: Single Corner Rounded 9">
            <a:extLst>
              <a:ext uri="{FF2B5EF4-FFF2-40B4-BE49-F238E27FC236}">
                <a16:creationId xmlns:a16="http://schemas.microsoft.com/office/drawing/2014/main" id="{D494C637-D7DD-21F5-3657-1BFFA097DED6}"/>
              </a:ext>
              <a:ext uri="{C183D7F6-B498-43B3-948B-1728B52AA6E4}">
                <adec:decorative xmlns:adec="http://schemas.microsoft.com/office/drawing/2017/decorative" val="1"/>
              </a:ext>
            </a:extLst>
          </p:cNvPr>
          <p:cNvSpPr/>
          <p:nvPr/>
        </p:nvSpPr>
        <p:spPr bwMode="auto">
          <a:xfrm flipH="1">
            <a:off x="4454225" y="1787126"/>
            <a:ext cx="1920240" cy="1920240"/>
          </a:xfrm>
          <a:prstGeom prst="round1Rect">
            <a:avLst>
              <a:gd name="adj" fmla="val 37510"/>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11" name="TextBox 10">
            <a:extLst>
              <a:ext uri="{FF2B5EF4-FFF2-40B4-BE49-F238E27FC236}">
                <a16:creationId xmlns:a16="http://schemas.microsoft.com/office/drawing/2014/main" id="{320CA9DA-FD87-05F2-19DD-3A8A5C3F6C85}"/>
              </a:ext>
            </a:extLst>
          </p:cNvPr>
          <p:cNvSpPr txBox="1"/>
          <p:nvPr/>
        </p:nvSpPr>
        <p:spPr>
          <a:xfrm>
            <a:off x="4351581" y="1944288"/>
            <a:ext cx="1920240" cy="1461939"/>
          </a:xfrm>
          <a:prstGeom prst="rect">
            <a:avLst/>
          </a:prstGeom>
          <a:noFill/>
        </p:spPr>
        <p:txBody>
          <a:bodyPr wrap="square" lIns="228600" tIns="0" rIns="0" bIns="0" rtlCol="0" anchor="t">
            <a:spAutoFit/>
          </a:bodyPr>
          <a:lstStyle/>
          <a:p>
            <a:pPr algn="ctr" defTabSz="914367">
              <a:defRPr/>
            </a:pPr>
            <a:r>
              <a:rPr lang="en-US" sz="4800" dirty="0">
                <a:solidFill>
                  <a:schemeClr val="bg1"/>
                </a:solidFill>
                <a:latin typeface="Segoe UI Semibold"/>
              </a:rPr>
              <a:t>43T</a:t>
            </a:r>
            <a:r>
              <a:rPr lang="en-US" sz="1000" dirty="0">
                <a:solidFill>
                  <a:schemeClr val="bg1"/>
                </a:solidFill>
                <a:latin typeface="Segoe UI Semibold"/>
              </a:rPr>
              <a:t>¹</a:t>
            </a:r>
            <a:endParaRPr kumimoji="0" lang="en-US" sz="1000" b="0" i="0" u="none" strike="noStrike" kern="1200" cap="none" spc="0" normalizeH="0" baseline="0" noProof="0" dirty="0">
              <a:ln>
                <a:noFill/>
              </a:ln>
              <a:solidFill>
                <a:schemeClr val="bg1"/>
              </a:solidFill>
              <a:effectLst/>
              <a:uLnTx/>
              <a:uFillTx/>
              <a:latin typeface="Segoe UI Semibold"/>
              <a:ea typeface="+mn-ea"/>
              <a:cs typeface="+mn-cs"/>
            </a:endParaRPr>
          </a:p>
          <a:p>
            <a:pPr marR="0" lvl="0" indent="0" algn="ctr" fontAlgn="auto">
              <a:lnSpc>
                <a:spcPct val="100000"/>
              </a:lnSpc>
              <a:spcBef>
                <a:spcPts val="0"/>
              </a:spcBef>
              <a:spcAft>
                <a:spcPts val="0"/>
              </a:spcAft>
              <a:buClrTx/>
              <a:buSzTx/>
              <a:buFontTx/>
              <a:buNone/>
              <a:tabLst/>
              <a:defRPr/>
            </a:pPr>
            <a:r>
              <a:rPr lang="en-US" dirty="0">
                <a:solidFill>
                  <a:schemeClr val="bg1"/>
                </a:solidFill>
                <a:latin typeface="Segoe UI Semibold"/>
              </a:rPr>
              <a:t>Analyzing</a:t>
            </a:r>
            <a:endParaRPr lang="en-US" dirty="0">
              <a:solidFill>
                <a:schemeClr val="bg1"/>
              </a:solidFill>
              <a:latin typeface="Segoe UI Semibold"/>
              <a:cs typeface="Segoe UI Semibold"/>
            </a:endParaRPr>
          </a:p>
          <a:p>
            <a:pPr marR="0" lvl="0" indent="0" algn="ctr" fontAlgn="auto">
              <a:lnSpc>
                <a:spcPct val="100000"/>
              </a:lnSpc>
              <a:spcBef>
                <a:spcPts val="0"/>
              </a:spcBef>
              <a:spcAft>
                <a:spcPts val="0"/>
              </a:spcAft>
              <a:buClrTx/>
              <a:buSzTx/>
              <a:buFontTx/>
              <a:buNone/>
              <a:tabLst/>
              <a:defRPr/>
            </a:pPr>
            <a:r>
              <a:rPr lang="en-US" sz="1300" kern="0" dirty="0">
                <a:solidFill>
                  <a:srgbClr val="FFFFFF"/>
                </a:solidFill>
                <a:latin typeface="Segoe UI"/>
                <a:cs typeface="Segoe UI"/>
              </a:rPr>
              <a:t>Threat signals daily</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dirty="0">
                <a:solidFill>
                  <a:srgbClr val="107C10"/>
                </a:solidFill>
                <a:latin typeface="Segoe UI Semibold"/>
              </a:rPr>
              <a:t>50% increase</a:t>
            </a:r>
            <a:endParaRPr lang="en-US" sz="1600" b="0" i="0" u="none" strike="noStrike" kern="1200" cap="none" spc="0" normalizeH="0" baseline="0" noProof="0" dirty="0">
              <a:ln>
                <a:noFill/>
              </a:ln>
              <a:solidFill>
                <a:srgbClr val="107C10"/>
              </a:solidFill>
              <a:effectLst/>
              <a:uLnTx/>
              <a:uFillTx/>
              <a:latin typeface="Segoe UI Semibold"/>
              <a:cs typeface="Segoe UI Semibold"/>
            </a:endParaRPr>
          </a:p>
        </p:txBody>
      </p:sp>
      <p:grpSp>
        <p:nvGrpSpPr>
          <p:cNvPr id="15" name="!! DLP">
            <a:extLst>
              <a:ext uri="{FF2B5EF4-FFF2-40B4-BE49-F238E27FC236}">
                <a16:creationId xmlns:a16="http://schemas.microsoft.com/office/drawing/2014/main" id="{8982DA36-0F13-4F9B-02B5-D41DD757D43F}"/>
              </a:ext>
              <a:ext uri="{C183D7F6-B498-43B3-948B-1728B52AA6E4}">
                <adec:decorative xmlns:adec="http://schemas.microsoft.com/office/drawing/2017/decorative" val="1"/>
              </a:ext>
            </a:extLst>
          </p:cNvPr>
          <p:cNvGrpSpPr/>
          <p:nvPr/>
        </p:nvGrpSpPr>
        <p:grpSpPr>
          <a:xfrm>
            <a:off x="6463357" y="1787126"/>
            <a:ext cx="2075897" cy="1920240"/>
            <a:chOff x="7051974" y="1238443"/>
            <a:chExt cx="1920240" cy="1920240"/>
          </a:xfrm>
        </p:grpSpPr>
        <p:sp>
          <p:nvSpPr>
            <p:cNvPr id="16" name="Rectangle 15">
              <a:extLst>
                <a:ext uri="{FF2B5EF4-FFF2-40B4-BE49-F238E27FC236}">
                  <a16:creationId xmlns:a16="http://schemas.microsoft.com/office/drawing/2014/main" id="{E68ED172-EDEC-540D-5A1E-8A7FE9FDBA00}"/>
                </a:ext>
                <a:ext uri="{C183D7F6-B498-43B3-948B-1728B52AA6E4}">
                  <adec:decorative xmlns:adec="http://schemas.microsoft.com/office/drawing/2017/decorative" val="1"/>
                </a:ext>
              </a:extLst>
            </p:cNvPr>
            <p:cNvSpPr/>
            <p:nvPr/>
          </p:nvSpPr>
          <p:spPr bwMode="auto">
            <a:xfrm>
              <a:off x="7051974" y="1238443"/>
              <a:ext cx="1920240" cy="192024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17" name="TextBox 16">
              <a:extLst>
                <a:ext uri="{FF2B5EF4-FFF2-40B4-BE49-F238E27FC236}">
                  <a16:creationId xmlns:a16="http://schemas.microsoft.com/office/drawing/2014/main" id="{E8BF23A5-0CF6-0AC2-2AAE-A0B30928E80C}"/>
                </a:ext>
              </a:extLst>
            </p:cNvPr>
            <p:cNvSpPr txBox="1"/>
            <p:nvPr/>
          </p:nvSpPr>
          <p:spPr>
            <a:xfrm>
              <a:off x="7055708" y="1372951"/>
              <a:ext cx="1754564" cy="261610"/>
            </a:xfrm>
            <a:prstGeom prst="rect">
              <a:avLst/>
            </a:prstGeom>
            <a:noFill/>
          </p:spPr>
          <p:txBody>
            <a:bodyPr wrap="square" lIns="22860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700" b="0" i="0" u="none" strike="noStrike" cap="none" spc="0" normalizeH="0" baseline="0">
                  <a:ln>
                    <a:noFill/>
                  </a:ln>
                  <a:gradFill>
                    <a:gsLst>
                      <a:gs pos="2917">
                        <a:srgbClr val="000000"/>
                      </a:gs>
                      <a:gs pos="30000">
                        <a:srgbClr val="000000"/>
                      </a:gs>
                    </a:gsLst>
                    <a:lin ang="5400000" scaled="0"/>
                  </a:gradFill>
                  <a:effectLst/>
                  <a:uLnTx/>
                  <a:uFillTx/>
                  <a:latin typeface="Segoe UI Semibold"/>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a:p>
          </p:txBody>
        </p:sp>
      </p:grpSp>
      <p:sp>
        <p:nvSpPr>
          <p:cNvPr id="20" name="TextBox 19">
            <a:extLst>
              <a:ext uri="{FF2B5EF4-FFF2-40B4-BE49-F238E27FC236}">
                <a16:creationId xmlns:a16="http://schemas.microsoft.com/office/drawing/2014/main" id="{FB67D033-168D-5646-433A-9F3254B10341}"/>
              </a:ext>
            </a:extLst>
          </p:cNvPr>
          <p:cNvSpPr txBox="1"/>
          <p:nvPr/>
        </p:nvSpPr>
        <p:spPr>
          <a:xfrm>
            <a:off x="6386621" y="1916440"/>
            <a:ext cx="1993832" cy="1231106"/>
          </a:xfrm>
          <a:prstGeom prst="rect">
            <a:avLst/>
          </a:prstGeom>
          <a:noFill/>
        </p:spPr>
        <p:txBody>
          <a:bodyPr wrap="square" lIns="22860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4800" dirty="0">
                <a:solidFill>
                  <a:schemeClr val="bg1"/>
                </a:solidFill>
                <a:latin typeface="Segoe UI Semibold"/>
              </a:rPr>
              <a:t>32B</a:t>
            </a:r>
            <a:r>
              <a:rPr lang="en-US" sz="1000" dirty="0">
                <a:solidFill>
                  <a:schemeClr val="bg1"/>
                </a:solidFill>
                <a:latin typeface="Segoe UI Semibold"/>
              </a:rPr>
              <a:t>¹</a:t>
            </a:r>
            <a:r>
              <a:rPr lang="en-US" sz="4800" dirty="0">
                <a:solidFill>
                  <a:schemeClr val="bg1"/>
                </a:solidFill>
                <a:latin typeface="Segoe UI Semibold"/>
              </a:rPr>
              <a:t> </a:t>
            </a:r>
            <a:r>
              <a:rPr lang="en-US" dirty="0">
                <a:solidFill>
                  <a:schemeClr val="bg1"/>
                </a:solidFill>
                <a:latin typeface="Segoe UI Semibold"/>
              </a:rPr>
              <a:t>Blocking</a:t>
            </a:r>
          </a:p>
          <a:p>
            <a:pPr algn="ctr"/>
            <a:r>
              <a:rPr lang="en-US" sz="1300" kern="0" dirty="0">
                <a:solidFill>
                  <a:srgbClr val="FFFFFF"/>
                </a:solidFill>
                <a:latin typeface="Segoe UI" panose="020B0502040204020203" pitchFamily="34" charset="0"/>
                <a:cs typeface="Segoe UI" panose="020B0502040204020203" pitchFamily="34" charset="0"/>
              </a:rPr>
              <a:t>email threats annually</a:t>
            </a:r>
          </a:p>
        </p:txBody>
      </p:sp>
      <p:grpSp>
        <p:nvGrpSpPr>
          <p:cNvPr id="12" name="!! Multifactor">
            <a:extLst>
              <a:ext uri="{FF2B5EF4-FFF2-40B4-BE49-F238E27FC236}">
                <a16:creationId xmlns:a16="http://schemas.microsoft.com/office/drawing/2014/main" id="{6B8D73FF-36F8-1D28-38A3-49949B25BCEA}"/>
              </a:ext>
              <a:ext uri="{C183D7F6-B498-43B3-948B-1728B52AA6E4}">
                <adec:decorative xmlns:adec="http://schemas.microsoft.com/office/drawing/2017/decorative" val="1"/>
              </a:ext>
            </a:extLst>
          </p:cNvPr>
          <p:cNvGrpSpPr/>
          <p:nvPr/>
        </p:nvGrpSpPr>
        <p:grpSpPr>
          <a:xfrm>
            <a:off x="4393235" y="3878918"/>
            <a:ext cx="1641550" cy="1920240"/>
            <a:chOff x="4843796" y="3330235"/>
            <a:chExt cx="2573155" cy="1920240"/>
          </a:xfrm>
        </p:grpSpPr>
        <p:sp>
          <p:nvSpPr>
            <p:cNvPr id="13" name="Rectangle 12">
              <a:extLst>
                <a:ext uri="{FF2B5EF4-FFF2-40B4-BE49-F238E27FC236}">
                  <a16:creationId xmlns:a16="http://schemas.microsoft.com/office/drawing/2014/main" id="{76FA95F7-9A9C-1300-87EF-28F251528299}"/>
                </a:ext>
                <a:ext uri="{C183D7F6-B498-43B3-948B-1728B52AA6E4}">
                  <adec:decorative xmlns:adec="http://schemas.microsoft.com/office/drawing/2017/decorative" val="1"/>
                </a:ext>
              </a:extLst>
            </p:cNvPr>
            <p:cNvSpPr/>
            <p:nvPr/>
          </p:nvSpPr>
          <p:spPr bwMode="auto">
            <a:xfrm>
              <a:off x="4948071" y="3330235"/>
              <a:ext cx="2468880" cy="192024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FF06896A-D73E-D716-EEAB-0277649905C4}"/>
                </a:ext>
              </a:extLst>
            </p:cNvPr>
            <p:cNvSpPr txBox="1"/>
            <p:nvPr/>
          </p:nvSpPr>
          <p:spPr>
            <a:xfrm>
              <a:off x="4843796" y="3476276"/>
              <a:ext cx="2269274" cy="215444"/>
            </a:xfrm>
            <a:prstGeom prst="rect">
              <a:avLst/>
            </a:prstGeom>
            <a:noFill/>
          </p:spPr>
          <p:txBody>
            <a:bodyPr wrap="square" lIns="22860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700" b="0" i="0" u="none" strike="noStrike" cap="none" spc="0" normalizeH="0" baseline="0">
                  <a:ln>
                    <a:noFill/>
                  </a:ln>
                  <a:gradFill>
                    <a:gsLst>
                      <a:gs pos="2917">
                        <a:srgbClr val="000000"/>
                      </a:gs>
                      <a:gs pos="30000">
                        <a:srgbClr val="000000"/>
                      </a:gs>
                    </a:gsLst>
                    <a:lin ang="5400000" scaled="0"/>
                  </a:gradFill>
                  <a:effectLst/>
                  <a:uLnTx/>
                  <a:uFillTx/>
                  <a:latin typeface="Segoe UI Semibold"/>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endParaRPr>
            </a:p>
          </p:txBody>
        </p:sp>
      </p:grpSp>
      <p:sp>
        <p:nvSpPr>
          <p:cNvPr id="22" name="Rectangle: Single Corner Rounded 21">
            <a:extLst>
              <a:ext uri="{FF2B5EF4-FFF2-40B4-BE49-F238E27FC236}">
                <a16:creationId xmlns:a16="http://schemas.microsoft.com/office/drawing/2014/main" id="{633B9690-1E48-5C7F-656D-228D93829383}"/>
              </a:ext>
              <a:ext uri="{C183D7F6-B498-43B3-948B-1728B52AA6E4}">
                <adec:decorative xmlns:adec="http://schemas.microsoft.com/office/drawing/2017/decorative" val="1"/>
              </a:ext>
            </a:extLst>
          </p:cNvPr>
          <p:cNvSpPr/>
          <p:nvPr/>
        </p:nvSpPr>
        <p:spPr bwMode="auto">
          <a:xfrm rot="10800000" flipH="1">
            <a:off x="9640561" y="3872752"/>
            <a:ext cx="1968827" cy="1926406"/>
          </a:xfrm>
          <a:prstGeom prst="round1Rect">
            <a:avLst>
              <a:gd name="adj" fmla="val 35672"/>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24" name="Rectangle 23">
            <a:extLst>
              <a:ext uri="{FF2B5EF4-FFF2-40B4-BE49-F238E27FC236}">
                <a16:creationId xmlns:a16="http://schemas.microsoft.com/office/drawing/2014/main" id="{DE5FBFD4-CDE3-471C-9CA2-3929E33CD818}"/>
              </a:ext>
              <a:ext uri="{C183D7F6-B498-43B3-948B-1728B52AA6E4}">
                <adec:decorative xmlns:adec="http://schemas.microsoft.com/office/drawing/2017/decorative" val="1"/>
              </a:ext>
            </a:extLst>
          </p:cNvPr>
          <p:cNvSpPr/>
          <p:nvPr/>
        </p:nvSpPr>
        <p:spPr bwMode="auto">
          <a:xfrm>
            <a:off x="6138442" y="3878918"/>
            <a:ext cx="1575301" cy="192024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5" name="Rectangle 24">
            <a:extLst>
              <a:ext uri="{FF2B5EF4-FFF2-40B4-BE49-F238E27FC236}">
                <a16:creationId xmlns:a16="http://schemas.microsoft.com/office/drawing/2014/main" id="{16B55FCB-23BF-2685-886D-35DD327A4A50}"/>
              </a:ext>
              <a:ext uri="{C183D7F6-B498-43B3-948B-1728B52AA6E4}">
                <adec:decorative xmlns:adec="http://schemas.microsoft.com/office/drawing/2017/decorative" val="1"/>
              </a:ext>
            </a:extLst>
          </p:cNvPr>
          <p:cNvSpPr/>
          <p:nvPr/>
        </p:nvSpPr>
        <p:spPr bwMode="auto">
          <a:xfrm>
            <a:off x="7817400" y="3872753"/>
            <a:ext cx="1704913" cy="192024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64" name="!! DLP">
            <a:extLst>
              <a:ext uri="{FF2B5EF4-FFF2-40B4-BE49-F238E27FC236}">
                <a16:creationId xmlns:a16="http://schemas.microsoft.com/office/drawing/2014/main" id="{9D13866F-FA55-1B98-F52C-04E59D455389}"/>
              </a:ext>
              <a:ext uri="{C183D7F6-B498-43B3-948B-1728B52AA6E4}">
                <adec:decorative xmlns:adec="http://schemas.microsoft.com/office/drawing/2017/decorative" val="1"/>
              </a:ext>
            </a:extLst>
          </p:cNvPr>
          <p:cNvGrpSpPr/>
          <p:nvPr/>
        </p:nvGrpSpPr>
        <p:grpSpPr>
          <a:xfrm>
            <a:off x="8632833" y="1787126"/>
            <a:ext cx="2976555" cy="1920240"/>
            <a:chOff x="7051974" y="1238443"/>
            <a:chExt cx="1920240" cy="1920240"/>
          </a:xfrm>
          <a:solidFill>
            <a:srgbClr val="FFC000"/>
          </a:solidFill>
        </p:grpSpPr>
        <p:sp>
          <p:nvSpPr>
            <p:cNvPr id="65" name="Rectangle 64">
              <a:extLst>
                <a:ext uri="{FF2B5EF4-FFF2-40B4-BE49-F238E27FC236}">
                  <a16:creationId xmlns:a16="http://schemas.microsoft.com/office/drawing/2014/main" id="{621BE618-2285-FE62-182C-5B41622D7A56}"/>
                </a:ext>
                <a:ext uri="{C183D7F6-B498-43B3-948B-1728B52AA6E4}">
                  <adec:decorative xmlns:adec="http://schemas.microsoft.com/office/drawing/2017/decorative" val="1"/>
                </a:ext>
              </a:extLst>
            </p:cNvPr>
            <p:cNvSpPr/>
            <p:nvPr/>
          </p:nvSpPr>
          <p:spPr bwMode="auto">
            <a:xfrm>
              <a:off x="7051974" y="1238443"/>
              <a:ext cx="1920240" cy="19202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66" name="TextBox 65">
              <a:extLst>
                <a:ext uri="{FF2B5EF4-FFF2-40B4-BE49-F238E27FC236}">
                  <a16:creationId xmlns:a16="http://schemas.microsoft.com/office/drawing/2014/main" id="{F003DFD8-1D20-14BF-78F0-6B7776A48C10}"/>
                </a:ext>
              </a:extLst>
            </p:cNvPr>
            <p:cNvSpPr txBox="1"/>
            <p:nvPr/>
          </p:nvSpPr>
          <p:spPr>
            <a:xfrm>
              <a:off x="7055708" y="1372951"/>
              <a:ext cx="1754564" cy="261610"/>
            </a:xfrm>
            <a:prstGeom prst="rect">
              <a:avLst/>
            </a:prstGeom>
            <a:grpFill/>
          </p:spPr>
          <p:txBody>
            <a:bodyPr wrap="square" lIns="22860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700" b="0" i="0" u="none" strike="noStrike" cap="none" spc="0" normalizeH="0" baseline="0">
                  <a:ln>
                    <a:noFill/>
                  </a:ln>
                  <a:gradFill>
                    <a:gsLst>
                      <a:gs pos="2917">
                        <a:srgbClr val="000000"/>
                      </a:gs>
                      <a:gs pos="30000">
                        <a:srgbClr val="000000"/>
                      </a:gs>
                    </a:gsLst>
                    <a:lin ang="5400000" scaled="0"/>
                  </a:gradFill>
                  <a:effectLst/>
                  <a:uLnTx/>
                  <a:uFillTx/>
                  <a:latin typeface="Segoe UI Semibold"/>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a:p>
          </p:txBody>
        </p:sp>
      </p:grpSp>
      <p:sp>
        <p:nvSpPr>
          <p:cNvPr id="68" name="TextBox 67">
            <a:extLst>
              <a:ext uri="{FF2B5EF4-FFF2-40B4-BE49-F238E27FC236}">
                <a16:creationId xmlns:a16="http://schemas.microsoft.com/office/drawing/2014/main" id="{7CB30FD4-012D-D8B0-ADC2-6CC860ECAB35}"/>
              </a:ext>
            </a:extLst>
          </p:cNvPr>
          <p:cNvSpPr txBox="1"/>
          <p:nvPr/>
        </p:nvSpPr>
        <p:spPr>
          <a:xfrm>
            <a:off x="9281031" y="1848972"/>
            <a:ext cx="1578510"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spAutoFit/>
          </a:bodyPr>
          <a:lstStyle/>
          <a:p>
            <a:pPr algn="ctr" defTabSz="914367">
              <a:defRPr/>
            </a:pPr>
            <a:r>
              <a:rPr lang="en-US" sz="4800" dirty="0">
                <a:latin typeface="Segoe UI Semibold"/>
              </a:rPr>
              <a:t>$20B</a:t>
            </a:r>
            <a:r>
              <a:rPr lang="en-US" sz="1000" dirty="0">
                <a:latin typeface="Segoe UI Semibold"/>
              </a:rPr>
              <a:t>1</a:t>
            </a:r>
          </a:p>
        </p:txBody>
      </p:sp>
      <p:sp>
        <p:nvSpPr>
          <p:cNvPr id="69" name="TextBox 68">
            <a:extLst>
              <a:ext uri="{FF2B5EF4-FFF2-40B4-BE49-F238E27FC236}">
                <a16:creationId xmlns:a16="http://schemas.microsoft.com/office/drawing/2014/main" id="{3ABB0D13-A029-7CC6-732F-EBD735759DDB}"/>
              </a:ext>
            </a:extLst>
          </p:cNvPr>
          <p:cNvSpPr txBox="1"/>
          <p:nvPr/>
        </p:nvSpPr>
        <p:spPr>
          <a:xfrm>
            <a:off x="8769907" y="2604878"/>
            <a:ext cx="2600758" cy="279244"/>
          </a:xfrm>
          <a:prstGeom prst="rect">
            <a:avLst/>
          </a:prstGeom>
          <a:noFill/>
        </p:spPr>
        <p:txBody>
          <a:bodyPr wrap="square">
            <a:spAutoFit/>
          </a:bodyPr>
          <a:lstStyle/>
          <a:p>
            <a:pPr algn="ctr">
              <a:lnSpc>
                <a:spcPts val="1400"/>
              </a:lnSpc>
            </a:pPr>
            <a:r>
              <a:rPr lang="en-US" dirty="0">
                <a:latin typeface="Segoe UI Semibold"/>
              </a:rPr>
              <a:t>in the next 5 years</a:t>
            </a:r>
          </a:p>
        </p:txBody>
      </p:sp>
      <p:sp>
        <p:nvSpPr>
          <p:cNvPr id="67" name="TextBox 66">
            <a:extLst>
              <a:ext uri="{FF2B5EF4-FFF2-40B4-BE49-F238E27FC236}">
                <a16:creationId xmlns:a16="http://schemas.microsoft.com/office/drawing/2014/main" id="{B445C58F-118A-9116-698C-5F96208C39D7}"/>
              </a:ext>
            </a:extLst>
          </p:cNvPr>
          <p:cNvSpPr txBox="1"/>
          <p:nvPr/>
        </p:nvSpPr>
        <p:spPr>
          <a:xfrm>
            <a:off x="8777977" y="2833054"/>
            <a:ext cx="2737832" cy="884129"/>
          </a:xfrm>
          <a:prstGeom prst="rect">
            <a:avLst/>
          </a:prstGeom>
          <a:noFill/>
        </p:spPr>
        <p:txBody>
          <a:bodyPr wrap="square" lIns="0" tIns="140609" rIns="175761" bIns="140609"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defTabSz="878696" rtl="0" eaLnBrk="1" fontAlgn="auto" latinLnBrk="0" hangingPunct="1">
              <a:lnSpc>
                <a:spcPct val="100000"/>
              </a:lnSpc>
              <a:spcBef>
                <a:spcPts val="0"/>
              </a:spcBef>
              <a:spcAft>
                <a:spcPts val="565"/>
              </a:spcAft>
              <a:buClrTx/>
              <a:buSzTx/>
              <a:buFontTx/>
              <a:buNone/>
              <a:tabLst/>
              <a:defRPr/>
            </a:pPr>
            <a:r>
              <a:rPr kumimoji="0" lang="en-US" sz="13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Investing to improve </a:t>
            </a:r>
            <a:r>
              <a:rPr lang="en-US" sz="1300" b="0" kern="0">
                <a:solidFill>
                  <a:schemeClr val="tx1"/>
                </a:solidFill>
                <a:latin typeface="+mj-lt"/>
                <a:cs typeface="Segoe UI" panose="020B0502040204020203" pitchFamily="34" charset="0"/>
              </a:rPr>
              <a:t>and </a:t>
            </a:r>
            <a:r>
              <a:rPr kumimoji="0" lang="en-US" sz="1300" b="0" i="0" u="none" strike="noStrike" kern="0" cap="none" spc="0" normalizeH="0" baseline="0" noProof="0">
                <a:ln>
                  <a:noFill/>
                </a:ln>
                <a:solidFill>
                  <a:schemeClr val="tx1"/>
                </a:solidFill>
                <a:effectLst/>
                <a:uLnTx/>
                <a:uFillTx/>
                <a:latin typeface="+mj-lt"/>
                <a:cs typeface="Segoe UI" panose="020B0502040204020203" pitchFamily="34" charset="0"/>
              </a:rPr>
              <a:t>share </a:t>
            </a:r>
            <a:r>
              <a:rPr kumimoji="0" lang="en-US" sz="1300" b="0" i="0" u="none" strike="noStrike" kern="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t>knowledge, gain insights, and combat cybercrime</a:t>
            </a:r>
          </a:p>
        </p:txBody>
      </p:sp>
      <p:sp>
        <p:nvSpPr>
          <p:cNvPr id="73" name="TextBox 72">
            <a:extLst>
              <a:ext uri="{FF2B5EF4-FFF2-40B4-BE49-F238E27FC236}">
                <a16:creationId xmlns:a16="http://schemas.microsoft.com/office/drawing/2014/main" id="{0125F8B8-FA6F-F719-CF16-F06F1EE9A8D7}"/>
              </a:ext>
            </a:extLst>
          </p:cNvPr>
          <p:cNvSpPr txBox="1"/>
          <p:nvPr/>
        </p:nvSpPr>
        <p:spPr>
          <a:xfrm>
            <a:off x="4582484" y="4572247"/>
            <a:ext cx="1504130" cy="1145739"/>
          </a:xfrm>
          <a:prstGeom prst="rect">
            <a:avLst/>
          </a:prstGeom>
          <a:noFill/>
        </p:spPr>
        <p:txBody>
          <a:bodyPr wrap="square" lIns="0" tIns="140609" rIns="175761" bIns="140609"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defTabSz="878696" rtl="0" eaLnBrk="1" fontAlgn="auto" latinLnBrk="0" hangingPunct="1">
              <a:lnSpc>
                <a:spcPct val="100000"/>
              </a:lnSpc>
              <a:spcBef>
                <a:spcPts val="0"/>
              </a:spcBef>
              <a:spcAft>
                <a:spcPts val="565"/>
              </a:spcAft>
              <a:buClrTx/>
              <a:buSzTx/>
              <a:buFontTx/>
              <a:buNone/>
              <a:tabLst/>
              <a:defRPr/>
            </a:pPr>
            <a:r>
              <a:rPr lang="en-US" sz="1400" b="0" dirty="0">
                <a:solidFill>
                  <a:srgbClr val="000000"/>
                </a:solidFill>
              </a:rPr>
              <a:t>Keeping you secure, while saving you time and resources</a:t>
            </a:r>
          </a:p>
        </p:txBody>
      </p:sp>
      <p:sp>
        <p:nvSpPr>
          <p:cNvPr id="70" name="TextBox 69">
            <a:extLst>
              <a:ext uri="{FF2B5EF4-FFF2-40B4-BE49-F238E27FC236}">
                <a16:creationId xmlns:a16="http://schemas.microsoft.com/office/drawing/2014/main" id="{F584F6DE-EF03-4682-97F3-7DEF79955C29}"/>
              </a:ext>
            </a:extLst>
          </p:cNvPr>
          <p:cNvSpPr txBox="1"/>
          <p:nvPr/>
        </p:nvSpPr>
        <p:spPr>
          <a:xfrm>
            <a:off x="6167901" y="3969125"/>
            <a:ext cx="1541870"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spAutoFit/>
          </a:bodyPr>
          <a:lstStyle/>
          <a:p>
            <a:pPr algn="ctr" defTabSz="914367">
              <a:defRPr/>
            </a:pPr>
            <a:r>
              <a:rPr lang="en-US" sz="4800">
                <a:latin typeface="Segoe UI Semibold"/>
              </a:rPr>
              <a:t>60%</a:t>
            </a:r>
            <a:endParaRPr lang="en-US" sz="1000">
              <a:latin typeface="Segoe UI Semibold"/>
            </a:endParaRPr>
          </a:p>
        </p:txBody>
      </p:sp>
      <p:sp>
        <p:nvSpPr>
          <p:cNvPr id="72" name="Rectangle 71">
            <a:extLst>
              <a:ext uri="{FF2B5EF4-FFF2-40B4-BE49-F238E27FC236}">
                <a16:creationId xmlns:a16="http://schemas.microsoft.com/office/drawing/2014/main" id="{CBB62648-494E-7D2F-BDBB-8F5E1D5AD4E3}"/>
              </a:ext>
            </a:extLst>
          </p:cNvPr>
          <p:cNvSpPr/>
          <p:nvPr/>
        </p:nvSpPr>
        <p:spPr>
          <a:xfrm>
            <a:off x="6153032" y="4705550"/>
            <a:ext cx="1538403" cy="764312"/>
          </a:xfrm>
          <a:prstGeom prst="rect">
            <a:avLst/>
          </a:prstGeom>
        </p:spPr>
        <p:txBody>
          <a:bodyPr wrap="square" lIns="0" tIns="0" rIns="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876259">
              <a:lnSpc>
                <a:spcPts val="1400"/>
              </a:lnSpc>
              <a:defRPr/>
            </a:pPr>
            <a:r>
              <a:rPr kumimoji="0" lang="en-US" sz="13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Up to </a:t>
            </a:r>
            <a:r>
              <a:rPr kumimoji="0" lang="en-US" sz="13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avings</a:t>
            </a:r>
            <a:r>
              <a:rPr kumimoji="0" lang="en-US" sz="1300" u="none" strike="noStrike" kern="120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 </a:t>
            </a:r>
            <a:r>
              <a:rPr lang="en-US" sz="1300">
                <a:solidFill>
                  <a:srgbClr val="000000"/>
                </a:solidFill>
                <a:latin typeface="Segoe UI"/>
              </a:rPr>
              <a:t>on average, over </a:t>
            </a:r>
            <a:br>
              <a:rPr lang="en-US" sz="1300">
                <a:solidFill>
                  <a:srgbClr val="000000"/>
                </a:solidFill>
                <a:latin typeface="Segoe UI"/>
              </a:rPr>
            </a:br>
            <a:r>
              <a:rPr lang="en-US" sz="1300">
                <a:solidFill>
                  <a:srgbClr val="000000"/>
                </a:solidFill>
                <a:latin typeface="Segoe UI"/>
              </a:rPr>
              <a:t>multi-vendor </a:t>
            </a:r>
            <a:br>
              <a:rPr lang="en-US" sz="1300">
                <a:solidFill>
                  <a:srgbClr val="000000"/>
                </a:solidFill>
                <a:latin typeface="Segoe UI"/>
              </a:rPr>
            </a:br>
            <a:r>
              <a:rPr lang="en-US" sz="1300">
                <a:solidFill>
                  <a:srgbClr val="000000"/>
                </a:solidFill>
                <a:latin typeface="Segoe UI"/>
              </a:rPr>
              <a:t>security solutions</a:t>
            </a:r>
          </a:p>
        </p:txBody>
      </p:sp>
      <p:sp>
        <p:nvSpPr>
          <p:cNvPr id="78" name="Rectangle 77">
            <a:extLst>
              <a:ext uri="{FF2B5EF4-FFF2-40B4-BE49-F238E27FC236}">
                <a16:creationId xmlns:a16="http://schemas.microsoft.com/office/drawing/2014/main" id="{D8E748E6-E79D-8508-8A12-95AF2499C1A0}"/>
              </a:ext>
            </a:extLst>
          </p:cNvPr>
          <p:cNvSpPr/>
          <p:nvPr/>
        </p:nvSpPr>
        <p:spPr>
          <a:xfrm>
            <a:off x="8126838" y="3964409"/>
            <a:ext cx="1086036" cy="784830"/>
          </a:xfrm>
          <a:prstGeom prst="rect">
            <a:avLst/>
          </a:prstGeom>
        </p:spPr>
        <p:txBody>
          <a:bodyPr wrap="square" lIns="0" tIns="0" rIns="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2346">
              <a:defRPr/>
            </a:pPr>
            <a:r>
              <a:rPr lang="en-US" sz="4800">
                <a:solidFill>
                  <a:schemeClr val="bg1"/>
                </a:solidFill>
                <a:latin typeface="Segoe UI Semibold"/>
              </a:rPr>
              <a:t>15K</a:t>
            </a:r>
            <a:r>
              <a:rPr lang="en-US" sz="1000">
                <a:solidFill>
                  <a:schemeClr val="bg1"/>
                </a:solidFill>
                <a:latin typeface="Segoe UI Semibold"/>
              </a:rPr>
              <a:t>1</a:t>
            </a:r>
          </a:p>
        </p:txBody>
      </p:sp>
      <p:sp>
        <p:nvSpPr>
          <p:cNvPr id="76" name="TextBox 75">
            <a:extLst>
              <a:ext uri="{FF2B5EF4-FFF2-40B4-BE49-F238E27FC236}">
                <a16:creationId xmlns:a16="http://schemas.microsoft.com/office/drawing/2014/main" id="{6BA80BFA-C318-90E3-15FC-3BF1243E3407}"/>
              </a:ext>
            </a:extLst>
          </p:cNvPr>
          <p:cNvSpPr txBox="1"/>
          <p:nvPr/>
        </p:nvSpPr>
        <p:spPr>
          <a:xfrm>
            <a:off x="7974974" y="4705570"/>
            <a:ext cx="1389765" cy="359073"/>
          </a:xfrm>
          <a:prstGeom prst="rect">
            <a:avLst/>
          </a:prstGeom>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spAutoFit/>
          </a:bodyPr>
          <a:lstStyle/>
          <a:p>
            <a:pPr marR="0" lvl="0" indent="0" algn="ctr" fontAlgn="auto">
              <a:lnSpc>
                <a:spcPts val="1400"/>
              </a:lnSpc>
              <a:spcBef>
                <a:spcPts val="0"/>
              </a:spcBef>
              <a:spcAft>
                <a:spcPts val="0"/>
              </a:spcAft>
              <a:buClrTx/>
              <a:buSzTx/>
              <a:buFontTx/>
              <a:buNone/>
              <a:tabLst/>
              <a:defRPr/>
            </a:pPr>
            <a:r>
              <a:rPr lang="en-US" sz="1300" kern="0">
                <a:solidFill>
                  <a:srgbClr val="FFFFFF"/>
                </a:solidFill>
                <a:latin typeface="Segoe UI" panose="020B0502040204020203" pitchFamily="34" charset="0"/>
                <a:cs typeface="Segoe UI" panose="020B0502040204020203" pitchFamily="34" charset="0"/>
              </a:rPr>
              <a:t>partners in security ecosystem</a:t>
            </a:r>
          </a:p>
        </p:txBody>
      </p:sp>
      <p:sp>
        <p:nvSpPr>
          <p:cNvPr id="77" name="Rectangle 76">
            <a:extLst>
              <a:ext uri="{FF2B5EF4-FFF2-40B4-BE49-F238E27FC236}">
                <a16:creationId xmlns:a16="http://schemas.microsoft.com/office/drawing/2014/main" id="{136F1FBF-9924-AAD4-E629-77FA457A38B0}"/>
              </a:ext>
            </a:extLst>
          </p:cNvPr>
          <p:cNvSpPr/>
          <p:nvPr/>
        </p:nvSpPr>
        <p:spPr>
          <a:xfrm>
            <a:off x="9831456" y="3951919"/>
            <a:ext cx="1485748" cy="784830"/>
          </a:xfrm>
          <a:prstGeom prst="rect">
            <a:avLst/>
          </a:prstGeom>
        </p:spPr>
        <p:txBody>
          <a:bodyPr wrap="square" lIns="0" tIns="0" rIns="0" anchor="ctr">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912346"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chemeClr val="bg1"/>
                </a:solidFill>
                <a:effectLst/>
                <a:uLnTx/>
                <a:uFillTx/>
                <a:latin typeface="Segoe UI Semibold"/>
                <a:ea typeface="+mn-ea"/>
                <a:cs typeface="+mn-cs"/>
              </a:rPr>
              <a:t>785K</a:t>
            </a:r>
            <a:r>
              <a:rPr kumimoji="0" lang="en-US" sz="1000" b="0" i="0" u="none" strike="noStrike" kern="1200" cap="none" spc="0" normalizeH="0" baseline="0" noProof="0">
                <a:ln>
                  <a:noFill/>
                </a:ln>
                <a:solidFill>
                  <a:schemeClr val="bg1"/>
                </a:solidFill>
                <a:effectLst/>
                <a:uLnTx/>
                <a:uFillTx/>
                <a:latin typeface="Segoe UI Semibold"/>
                <a:ea typeface="+mn-ea"/>
                <a:cs typeface="+mn-cs"/>
              </a:rPr>
              <a:t>²</a:t>
            </a:r>
          </a:p>
        </p:txBody>
      </p:sp>
      <p:sp>
        <p:nvSpPr>
          <p:cNvPr id="75" name="TextBox 74">
            <a:extLst>
              <a:ext uri="{FF2B5EF4-FFF2-40B4-BE49-F238E27FC236}">
                <a16:creationId xmlns:a16="http://schemas.microsoft.com/office/drawing/2014/main" id="{019D5A1F-D390-28C7-C474-DD88A66F3EBC}"/>
              </a:ext>
            </a:extLst>
          </p:cNvPr>
          <p:cNvSpPr txBox="1"/>
          <p:nvPr/>
        </p:nvSpPr>
        <p:spPr>
          <a:xfrm>
            <a:off x="9607982" y="4623727"/>
            <a:ext cx="1813150" cy="897682"/>
          </a:xfrm>
          <a:prstGeom prst="rect">
            <a:avLst/>
          </a:prstGeom>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spAutoFit/>
          </a:bodyPr>
          <a:lstStyle/>
          <a:p>
            <a:pPr marR="0" lvl="0" indent="0" algn="ctr" fontAlgn="auto">
              <a:lnSpc>
                <a:spcPts val="1400"/>
              </a:lnSpc>
              <a:spcBef>
                <a:spcPts val="0"/>
              </a:spcBef>
              <a:spcAft>
                <a:spcPts val="0"/>
              </a:spcAft>
              <a:buClrTx/>
              <a:buSzTx/>
              <a:buFontTx/>
              <a:buNone/>
              <a:tabLst/>
              <a:defRPr/>
            </a:pPr>
            <a:r>
              <a:rPr lang="en-US" sz="1300" kern="0">
                <a:solidFill>
                  <a:srgbClr val="FFFFFF"/>
                </a:solidFill>
                <a:latin typeface="Segoe UI" panose="020B0502040204020203" pitchFamily="34" charset="0"/>
                <a:cs typeface="Segoe UI" panose="020B0502040204020203" pitchFamily="34" charset="0"/>
              </a:rPr>
              <a:t>customers rely on Microsoft for their </a:t>
            </a:r>
            <a:r>
              <a:rPr lang="en-US" sz="1300" kern="0" err="1">
                <a:solidFill>
                  <a:srgbClr val="FFFFFF"/>
                </a:solidFill>
                <a:latin typeface="Segoe UI" panose="020B0502040204020203" pitchFamily="34" charset="0"/>
                <a:cs typeface="Segoe UI" panose="020B0502040204020203" pitchFamily="34" charset="0"/>
              </a:rPr>
              <a:t>multicloud</a:t>
            </a:r>
            <a:r>
              <a:rPr lang="en-US" sz="1300" kern="0">
                <a:solidFill>
                  <a:srgbClr val="FFFFFF"/>
                </a:solidFill>
                <a:latin typeface="Segoe UI" panose="020B0502040204020203" pitchFamily="34" charset="0"/>
                <a:cs typeface="Segoe UI" panose="020B0502040204020203" pitchFamily="34" charset="0"/>
              </a:rPr>
              <a:t>, multiplatform infrastructure security</a:t>
            </a:r>
          </a:p>
        </p:txBody>
      </p:sp>
      <p:sp>
        <p:nvSpPr>
          <p:cNvPr id="74" name="TextBox 73">
            <a:extLst>
              <a:ext uri="{FF2B5EF4-FFF2-40B4-BE49-F238E27FC236}">
                <a16:creationId xmlns:a16="http://schemas.microsoft.com/office/drawing/2014/main" id="{45293A1F-BC9F-BA0C-7A57-D0BBCA8DC0A0}"/>
              </a:ext>
            </a:extLst>
          </p:cNvPr>
          <p:cNvSpPr txBox="1"/>
          <p:nvPr/>
        </p:nvSpPr>
        <p:spPr>
          <a:xfrm>
            <a:off x="7974974" y="5935832"/>
            <a:ext cx="3078258" cy="622518"/>
          </a:xfrm>
          <a:prstGeom prst="rect">
            <a:avLst/>
          </a:prstGeom>
          <a:noFill/>
        </p:spPr>
        <p:txBody>
          <a:bodyPr wrap="square" lIns="0" tIns="140609" rIns="175761" bIns="140609"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696" rtl="0" eaLnBrk="1" fontAlgn="auto" latinLnBrk="0" hangingPunct="1">
              <a:lnSpc>
                <a:spcPct val="100000"/>
              </a:lnSpc>
              <a:spcBef>
                <a:spcPts val="0"/>
              </a:spcBef>
              <a:spcAft>
                <a:spcPts val="565"/>
              </a:spcAft>
              <a:buClrTx/>
              <a:buSzTx/>
              <a:buFontTx/>
              <a:buNone/>
              <a:tabLst/>
              <a:defRPr/>
            </a:pPr>
            <a:r>
              <a:rPr kumimoji="0" lang="en-US" sz="1100" b="0" i="0" u="none" strike="noStrike" kern="0" cap="none" spc="0" normalizeH="0" baseline="0" noProof="0">
                <a:ln>
                  <a:noFill/>
                </a:ln>
                <a:solidFill>
                  <a:srgbClr val="2F2F2F"/>
                </a:solidFill>
                <a:effectLst/>
                <a:uLnTx/>
                <a:uFillTx/>
                <a:latin typeface="Segoe UI" panose="020B0502040204020203" pitchFamily="34" charset="0"/>
                <a:cs typeface="Segoe UI" panose="020B0502040204020203" pitchFamily="34" charset="0"/>
              </a:rPr>
              <a:t>Trusted globally, protecting organizations’ multi-Cloud and multi-platform infrastructures</a:t>
            </a:r>
          </a:p>
        </p:txBody>
      </p:sp>
      <p:sp>
        <p:nvSpPr>
          <p:cNvPr id="79" name="document_6">
            <a:extLst>
              <a:ext uri="{FF2B5EF4-FFF2-40B4-BE49-F238E27FC236}">
                <a16:creationId xmlns:a16="http://schemas.microsoft.com/office/drawing/2014/main" id="{994D2F33-0C36-D839-33B7-42332B83FB94}"/>
              </a:ext>
              <a:ext uri="{C183D7F6-B498-43B3-948B-1728B52AA6E4}">
                <adec:decorative xmlns:adec="http://schemas.microsoft.com/office/drawing/2017/decorative" val="1"/>
              </a:ext>
            </a:extLst>
          </p:cNvPr>
          <p:cNvSpPr>
            <a:spLocks noChangeAspect="1" noEditPoints="1"/>
          </p:cNvSpPr>
          <p:nvPr/>
        </p:nvSpPr>
        <p:spPr bwMode="auto">
          <a:xfrm>
            <a:off x="5008021" y="4068571"/>
            <a:ext cx="411688" cy="51461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1DBC361D-FFBD-7DD2-9B6F-BFAE06580C18}"/>
              </a:ext>
              <a:ext uri="{C183D7F6-B498-43B3-948B-1728B52AA6E4}">
                <adec:decorative xmlns:adec="http://schemas.microsoft.com/office/drawing/2017/decorative" val="1"/>
              </a:ext>
            </a:extLst>
          </p:cNvPr>
          <p:cNvGrpSpPr/>
          <p:nvPr/>
        </p:nvGrpSpPr>
        <p:grpSpPr>
          <a:xfrm>
            <a:off x="7974974" y="5837767"/>
            <a:ext cx="2884567" cy="98065"/>
            <a:chOff x="7974974" y="5837767"/>
            <a:chExt cx="2884567" cy="98065"/>
          </a:xfrm>
        </p:grpSpPr>
        <p:cxnSp>
          <p:nvCxnSpPr>
            <p:cNvPr id="86" name="Straight Connector 85">
              <a:extLst>
                <a:ext uri="{FF2B5EF4-FFF2-40B4-BE49-F238E27FC236}">
                  <a16:creationId xmlns:a16="http://schemas.microsoft.com/office/drawing/2014/main" id="{AA526828-CB86-409B-29A1-463631E9E7CE}"/>
                </a:ext>
              </a:extLst>
            </p:cNvPr>
            <p:cNvCxnSpPr/>
            <p:nvPr/>
          </p:nvCxnSpPr>
          <p:spPr>
            <a:xfrm>
              <a:off x="7974974" y="5935832"/>
              <a:ext cx="2884567" cy="0"/>
            </a:xfrm>
            <a:prstGeom prst="line">
              <a:avLst/>
            </a:prstGeom>
            <a:ln>
              <a:solidFill>
                <a:srgbClr val="2F2F2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7477750-2863-9FE8-2315-8E06EACE568A}"/>
                </a:ext>
              </a:extLst>
            </p:cNvPr>
            <p:cNvCxnSpPr>
              <a:cxnSpLocks/>
            </p:cNvCxnSpPr>
            <p:nvPr/>
          </p:nvCxnSpPr>
          <p:spPr>
            <a:xfrm flipV="1">
              <a:off x="7974974" y="5837767"/>
              <a:ext cx="0" cy="98065"/>
            </a:xfrm>
            <a:prstGeom prst="line">
              <a:avLst/>
            </a:prstGeom>
            <a:ln>
              <a:solidFill>
                <a:srgbClr val="2F2F2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17FABE0-A1FD-1082-C311-022A93596172}"/>
                </a:ext>
              </a:extLst>
            </p:cNvPr>
            <p:cNvCxnSpPr>
              <a:cxnSpLocks/>
            </p:cNvCxnSpPr>
            <p:nvPr/>
          </p:nvCxnSpPr>
          <p:spPr>
            <a:xfrm flipV="1">
              <a:off x="10859541" y="5837767"/>
              <a:ext cx="0" cy="98065"/>
            </a:xfrm>
            <a:prstGeom prst="line">
              <a:avLst/>
            </a:prstGeom>
            <a:ln>
              <a:solidFill>
                <a:srgbClr val="2F2F2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436255A3-32AC-2E86-C335-68BB7BB1DACE}"/>
              </a:ext>
            </a:extLst>
          </p:cNvPr>
          <p:cNvSpPr txBox="1"/>
          <p:nvPr/>
        </p:nvSpPr>
        <p:spPr>
          <a:xfrm>
            <a:off x="147660" y="6395532"/>
            <a:ext cx="7134272" cy="369332"/>
          </a:xfrm>
          <a:prstGeom prst="rect">
            <a:avLst/>
          </a:prstGeom>
          <a:noFill/>
        </p:spPr>
        <p:txBody>
          <a:bodyPr wrap="square" lIns="0" tIns="0" rIns="0" bIns="0" rtlCol="0">
            <a:spAutoFit/>
          </a:bodyPr>
          <a:lstStyle/>
          <a:p>
            <a:pPr marL="457200" indent="-457200" algn="l">
              <a:buAutoNum type="arabicPeriod"/>
            </a:pPr>
            <a:r>
              <a:rPr lang="en-US" sz="800"/>
              <a:t>Earnings Press Release, FY22 Q4. July 26, 2022, Microsoft Investor Relations</a:t>
            </a:r>
          </a:p>
          <a:p>
            <a:pPr marL="457200" indent="-457200" algn="l">
              <a:buAutoNum type="arabicPeriod"/>
            </a:pPr>
            <a:r>
              <a:rPr lang="en-US" sz="800"/>
              <a:t>“Microsoft Digital Defense Report”. October 2021, Microsoft Security</a:t>
            </a:r>
          </a:p>
          <a:p>
            <a:pPr marL="457200" indent="-457200" algn="l">
              <a:buAutoNum type="arabicPeriod"/>
            </a:pPr>
            <a:r>
              <a:rPr lang="en-US" sz="800"/>
              <a:t>Earnings Press Release, FY22 Q2. December 16, 2021,  Microsoft Investor Relations</a:t>
            </a:r>
          </a:p>
        </p:txBody>
      </p:sp>
    </p:spTree>
    <p:extLst>
      <p:ext uri="{BB962C8B-B14F-4D97-AF65-F5344CB8AC3E}">
        <p14:creationId xmlns:p14="http://schemas.microsoft.com/office/powerpoint/2010/main" val="33592509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B7B43-7953-4E6D-AFD8-F445D4BB8244}"/>
              </a:ext>
            </a:extLst>
          </p:cNvPr>
          <p:cNvSpPr>
            <a:spLocks noGrp="1"/>
          </p:cNvSpPr>
          <p:nvPr>
            <p:ph type="title"/>
          </p:nvPr>
        </p:nvSpPr>
        <p:spPr>
          <a:xfrm>
            <a:off x="588263" y="457200"/>
            <a:ext cx="8049137" cy="1247618"/>
          </a:xfrm>
        </p:spPr>
        <p:txBody>
          <a:bodyPr/>
          <a:lstStyle/>
          <a:p>
            <a:r>
              <a:rPr lang="en-US" sz="3200" dirty="0"/>
              <a:t>Augment your security teams with our world-class research and intelligence teams </a:t>
            </a:r>
          </a:p>
        </p:txBody>
      </p:sp>
      <p:sp>
        <p:nvSpPr>
          <p:cNvPr id="41" name="TextBox 48">
            <a:extLst>
              <a:ext uri="{FF2B5EF4-FFF2-40B4-BE49-F238E27FC236}">
                <a16:creationId xmlns:a16="http://schemas.microsoft.com/office/drawing/2014/main" id="{34DB9A82-D1F9-4199-01C8-254D4565874E}"/>
              </a:ext>
            </a:extLst>
          </p:cNvPr>
          <p:cNvSpPr txBox="1"/>
          <p:nvPr/>
        </p:nvSpPr>
        <p:spPr>
          <a:xfrm>
            <a:off x="536873" y="2285919"/>
            <a:ext cx="2854496" cy="1646605"/>
          </a:xfrm>
          <a:prstGeom prst="rect">
            <a:avLst/>
          </a:prstGeom>
          <a:noFill/>
        </p:spPr>
        <p:txBody>
          <a:bodyPr wrap="square" lIns="91440" tIns="45720" rIns="91440" bIns="4572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2346"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a:ln>
                  <a:noFill/>
                </a:ln>
                <a:solidFill>
                  <a:srgbClr val="107C10"/>
                </a:solidFill>
                <a:effectLst/>
                <a:uLnTx/>
                <a:uFillTx/>
                <a:latin typeface="Segoe UI Semibold"/>
                <a:ea typeface="+mn-ea"/>
                <a:cs typeface="+mn-cs"/>
              </a:rPr>
              <a:t>8,500+</a:t>
            </a:r>
            <a:r>
              <a:rPr kumimoji="0" lang="en-US" sz="1000" b="0" i="0" u="none" strike="noStrike" kern="1200" cap="none" spc="0" normalizeH="0" baseline="0" noProof="0">
                <a:ln>
                  <a:noFill/>
                </a:ln>
                <a:solidFill>
                  <a:srgbClr val="107C10"/>
                </a:solidFill>
                <a:effectLst/>
                <a:uLnTx/>
                <a:uFillTx/>
                <a:latin typeface="Segoe UI Semibold"/>
                <a:ea typeface="+mn-ea"/>
                <a:cs typeface="+mn-cs"/>
              </a:rPr>
              <a:t>¹</a:t>
            </a:r>
            <a:r>
              <a:rPr kumimoji="0" lang="en-US" sz="4500" b="0" i="0" u="none" strike="noStrike" kern="1200" cap="none" spc="0" normalizeH="0" baseline="0" noProof="0">
                <a:ln>
                  <a:noFill/>
                </a:ln>
                <a:solidFill>
                  <a:srgbClr val="107C10"/>
                </a:solidFill>
                <a:effectLst/>
                <a:uLnTx/>
                <a:uFillTx/>
                <a:latin typeface="Segoe UI Semibold"/>
                <a:ea typeface="+mn-ea"/>
                <a:cs typeface="+mn-cs"/>
              </a:rPr>
              <a:t> </a:t>
            </a:r>
          </a:p>
          <a:p>
            <a:pPr marL="0" marR="0" lvl="0" indent="0" algn="ctr" defTabSz="9123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engineers and researcher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always working to mitigate</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and remediate the next threat</a:t>
            </a:r>
          </a:p>
          <a:p>
            <a:pPr marL="0" marR="0" lvl="0" indent="0" algn="l" defTabSz="91324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07C10"/>
              </a:solidFill>
              <a:effectLst/>
              <a:uLnTx/>
              <a:uFillTx/>
              <a:latin typeface="Segoe UI Semibold"/>
              <a:ea typeface="+mn-ea"/>
              <a:cs typeface="Segoe UI Semibold"/>
            </a:endParaRPr>
          </a:p>
        </p:txBody>
      </p:sp>
      <p:sp>
        <p:nvSpPr>
          <p:cNvPr id="42" name="TextBox 48">
            <a:extLst>
              <a:ext uri="{FF2B5EF4-FFF2-40B4-BE49-F238E27FC236}">
                <a16:creationId xmlns:a16="http://schemas.microsoft.com/office/drawing/2014/main" id="{7DCCA258-7E0B-9EC3-890A-D5A6C05F6C38}"/>
              </a:ext>
            </a:extLst>
          </p:cNvPr>
          <p:cNvSpPr txBox="1"/>
          <p:nvPr/>
        </p:nvSpPr>
        <p:spPr>
          <a:xfrm>
            <a:off x="757133" y="3971890"/>
            <a:ext cx="2350914" cy="1431161"/>
          </a:xfrm>
          <a:prstGeom prst="rect">
            <a:avLst/>
          </a:prstGeom>
          <a:noFill/>
        </p:spPr>
        <p:txBody>
          <a:bodyPr wrap="square" lIns="91440" tIns="45720" rIns="91440" bIns="4572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2346"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a:ln>
                  <a:noFill/>
                </a:ln>
                <a:solidFill>
                  <a:srgbClr val="107C10"/>
                </a:solidFill>
                <a:effectLst/>
                <a:uLnTx/>
                <a:uFillTx/>
                <a:latin typeface="Segoe UI Semibold"/>
                <a:ea typeface="+mn-ea"/>
                <a:cs typeface="+mn-cs"/>
              </a:rPr>
              <a:t> </a:t>
            </a:r>
            <a:r>
              <a:rPr lang="en-US" sz="4500">
                <a:solidFill>
                  <a:srgbClr val="107C10"/>
                </a:solidFill>
                <a:latin typeface="Segoe UI Semibold"/>
              </a:rPr>
              <a:t>300</a:t>
            </a:r>
            <a:r>
              <a:rPr kumimoji="0" lang="en-US" sz="4500" b="0" i="0" u="none" strike="noStrike" kern="1200" cap="none" spc="0" normalizeH="0" baseline="0" noProof="0">
                <a:ln>
                  <a:noFill/>
                </a:ln>
                <a:solidFill>
                  <a:srgbClr val="107C10"/>
                </a:solidFill>
                <a:effectLst/>
                <a:uLnTx/>
                <a:uFillTx/>
                <a:latin typeface="Segoe UI Semibold"/>
                <a:ea typeface="+mn-ea"/>
                <a:cs typeface="+mn-cs"/>
              </a:rPr>
              <a:t>+ </a:t>
            </a:r>
          </a:p>
          <a:p>
            <a:pPr marL="0" marR="0" lvl="0" indent="0" algn="ctr" defTabSz="91234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embers of Microsoft Intelligent Security Association (MISA)</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grpSp>
        <p:nvGrpSpPr>
          <p:cNvPr id="4" name="Group 3" descr="Center circle&#10;Microsoft Security research and intelligence&#10;Surrounding bubbles connecting to center circle&#10;Cloud Security &#10;Incident response&#10;Nation-state threats&#10;Frud&#10;Microsoft and third-party product vulnerabilities&#10;Malware&#10;IoT security&#10;Botnet attacks&#10;Global intelligence&#10;Hardware security&#10;Offensive security&#10;Firmware security&#10;Ransomware&#10;Breach recovery&#10;Phishing">
            <a:extLst>
              <a:ext uri="{FF2B5EF4-FFF2-40B4-BE49-F238E27FC236}">
                <a16:creationId xmlns:a16="http://schemas.microsoft.com/office/drawing/2014/main" id="{25CAE647-5B33-F712-855E-D67208E5835E}"/>
              </a:ext>
            </a:extLst>
          </p:cNvPr>
          <p:cNvGrpSpPr/>
          <p:nvPr/>
        </p:nvGrpSpPr>
        <p:grpSpPr>
          <a:xfrm>
            <a:off x="3856973" y="1859849"/>
            <a:ext cx="7604020" cy="3800714"/>
            <a:chOff x="3856973" y="1859849"/>
            <a:chExt cx="7604020" cy="3800714"/>
          </a:xfrm>
        </p:grpSpPr>
        <p:cxnSp>
          <p:nvCxnSpPr>
            <p:cNvPr id="84" name="Straight Connector 83">
              <a:extLst>
                <a:ext uri="{FF2B5EF4-FFF2-40B4-BE49-F238E27FC236}">
                  <a16:creationId xmlns:a16="http://schemas.microsoft.com/office/drawing/2014/main" id="{5DD9D598-EBC9-4A6B-9E0F-AABF73ECA1C9}"/>
                </a:ext>
                <a:ext uri="{C183D7F6-B498-43B3-948B-1728B52AA6E4}">
                  <adec:decorative xmlns:adec="http://schemas.microsoft.com/office/drawing/2017/decorative" val="1"/>
                </a:ext>
              </a:extLst>
            </p:cNvPr>
            <p:cNvCxnSpPr>
              <a:cxnSpLocks/>
            </p:cNvCxnSpPr>
            <p:nvPr/>
          </p:nvCxnSpPr>
          <p:spPr>
            <a:xfrm>
              <a:off x="5515938" y="2756972"/>
              <a:ext cx="2315607" cy="872213"/>
            </a:xfrm>
            <a:prstGeom prst="line">
              <a:avLst/>
            </a:prstGeom>
            <a:grpFill/>
            <a:ln w="19050" cap="flat" cmpd="sng" algn="ctr">
              <a:solidFill>
                <a:schemeClr val="bg2"/>
              </a:solidFill>
              <a:prstDash val="solid"/>
              <a:headEnd type="none" w="lg" len="med"/>
              <a:tailEnd type="none" w="lg" len="med"/>
            </a:ln>
            <a:effectLst/>
          </p:spPr>
        </p:cxnSp>
        <p:cxnSp>
          <p:nvCxnSpPr>
            <p:cNvPr id="85" name="Straight Connector 84">
              <a:extLst>
                <a:ext uri="{FF2B5EF4-FFF2-40B4-BE49-F238E27FC236}">
                  <a16:creationId xmlns:a16="http://schemas.microsoft.com/office/drawing/2014/main" id="{A47D3249-86CE-4099-AD06-3B9F99AD25A3}"/>
                </a:ext>
                <a:ext uri="{C183D7F6-B498-43B3-948B-1728B52AA6E4}">
                  <adec:decorative xmlns:adec="http://schemas.microsoft.com/office/drawing/2017/decorative" val="1"/>
                </a:ext>
              </a:extLst>
            </p:cNvPr>
            <p:cNvCxnSpPr>
              <a:cxnSpLocks/>
            </p:cNvCxnSpPr>
            <p:nvPr/>
          </p:nvCxnSpPr>
          <p:spPr>
            <a:xfrm>
              <a:off x="5459723" y="3393814"/>
              <a:ext cx="2371823" cy="235371"/>
            </a:xfrm>
            <a:prstGeom prst="line">
              <a:avLst/>
            </a:prstGeom>
            <a:grpFill/>
            <a:ln w="19050" cap="flat" cmpd="sng" algn="ctr">
              <a:solidFill>
                <a:schemeClr val="bg2"/>
              </a:solidFill>
              <a:prstDash val="solid"/>
              <a:headEnd type="none" w="lg" len="med"/>
              <a:tailEnd type="none" w="lg" len="med"/>
            </a:ln>
            <a:effectLst/>
          </p:spPr>
        </p:cxnSp>
        <p:cxnSp>
          <p:nvCxnSpPr>
            <p:cNvPr id="87" name="Straight Connector 86">
              <a:extLst>
                <a:ext uri="{FF2B5EF4-FFF2-40B4-BE49-F238E27FC236}">
                  <a16:creationId xmlns:a16="http://schemas.microsoft.com/office/drawing/2014/main" id="{3FD63581-F43D-48F2-899A-855A05ECE14E}"/>
                </a:ext>
                <a:ext uri="{C183D7F6-B498-43B3-948B-1728B52AA6E4}">
                  <adec:decorative xmlns:adec="http://schemas.microsoft.com/office/drawing/2017/decorative" val="1"/>
                </a:ext>
              </a:extLst>
            </p:cNvPr>
            <p:cNvCxnSpPr>
              <a:cxnSpLocks/>
              <a:stCxn id="62" idx="3"/>
            </p:cNvCxnSpPr>
            <p:nvPr/>
          </p:nvCxnSpPr>
          <p:spPr>
            <a:xfrm flipV="1">
              <a:off x="6249012" y="3685313"/>
              <a:ext cx="1582534" cy="159432"/>
            </a:xfrm>
            <a:prstGeom prst="line">
              <a:avLst/>
            </a:prstGeom>
            <a:grpFill/>
            <a:ln w="19050" cap="flat" cmpd="sng" algn="ctr">
              <a:solidFill>
                <a:schemeClr val="bg2"/>
              </a:solidFill>
              <a:prstDash val="solid"/>
              <a:headEnd type="none" w="lg" len="med"/>
              <a:tailEnd type="none" w="lg" len="med"/>
            </a:ln>
            <a:effectLst/>
          </p:spPr>
        </p:cxnSp>
        <p:cxnSp>
          <p:nvCxnSpPr>
            <p:cNvPr id="117" name="Straight Connector 116">
              <a:extLst>
                <a:ext uri="{FF2B5EF4-FFF2-40B4-BE49-F238E27FC236}">
                  <a16:creationId xmlns:a16="http://schemas.microsoft.com/office/drawing/2014/main" id="{52D600D8-1BBB-4340-B84F-CC7648A67B62}"/>
                </a:ext>
                <a:ext uri="{C183D7F6-B498-43B3-948B-1728B52AA6E4}">
                  <adec:decorative xmlns:adec="http://schemas.microsoft.com/office/drawing/2017/decorative" val="1"/>
                </a:ext>
              </a:extLst>
            </p:cNvPr>
            <p:cNvCxnSpPr>
              <a:cxnSpLocks/>
            </p:cNvCxnSpPr>
            <p:nvPr/>
          </p:nvCxnSpPr>
          <p:spPr>
            <a:xfrm>
              <a:off x="6707681" y="2556295"/>
              <a:ext cx="1070843" cy="973394"/>
            </a:xfrm>
            <a:prstGeom prst="line">
              <a:avLst/>
            </a:prstGeom>
            <a:grpFill/>
            <a:ln w="19050" cap="flat" cmpd="sng" algn="ctr">
              <a:solidFill>
                <a:schemeClr val="bg2"/>
              </a:solidFill>
              <a:prstDash val="solid"/>
              <a:headEnd type="none" w="lg" len="med"/>
              <a:tailEnd type="none" w="lg" len="med"/>
            </a:ln>
            <a:effectLst/>
          </p:spPr>
        </p:cxnSp>
        <p:cxnSp>
          <p:nvCxnSpPr>
            <p:cNvPr id="88" name="Straight Connector 87">
              <a:extLst>
                <a:ext uri="{FF2B5EF4-FFF2-40B4-BE49-F238E27FC236}">
                  <a16:creationId xmlns:a16="http://schemas.microsoft.com/office/drawing/2014/main" id="{2ACE737B-0AA6-4C5E-9F99-857A4C14FB66}"/>
                </a:ext>
                <a:ext uri="{C183D7F6-B498-43B3-948B-1728B52AA6E4}">
                  <adec:decorative xmlns:adec="http://schemas.microsoft.com/office/drawing/2017/decorative" val="1"/>
                </a:ext>
              </a:extLst>
            </p:cNvPr>
            <p:cNvCxnSpPr>
              <a:cxnSpLocks/>
            </p:cNvCxnSpPr>
            <p:nvPr/>
          </p:nvCxnSpPr>
          <p:spPr>
            <a:xfrm flipV="1">
              <a:off x="5373071" y="3685312"/>
              <a:ext cx="2490500" cy="746249"/>
            </a:xfrm>
            <a:prstGeom prst="line">
              <a:avLst/>
            </a:prstGeom>
            <a:grpFill/>
            <a:ln w="19050" cap="flat" cmpd="sng" algn="ctr">
              <a:solidFill>
                <a:schemeClr val="bg2"/>
              </a:solidFill>
              <a:prstDash val="solid"/>
              <a:headEnd type="none" w="lg" len="med"/>
              <a:tailEnd type="none" w="lg" len="med"/>
            </a:ln>
            <a:effectLst/>
          </p:spPr>
        </p:cxnSp>
        <p:cxnSp>
          <p:nvCxnSpPr>
            <p:cNvPr id="89" name="Straight Connector 88">
              <a:extLst>
                <a:ext uri="{FF2B5EF4-FFF2-40B4-BE49-F238E27FC236}">
                  <a16:creationId xmlns:a16="http://schemas.microsoft.com/office/drawing/2014/main" id="{A79E8845-6630-4DC2-85D6-7E9B4D03B6EE}"/>
                </a:ext>
                <a:ext uri="{C183D7F6-B498-43B3-948B-1728B52AA6E4}">
                  <adec:decorative xmlns:adec="http://schemas.microsoft.com/office/drawing/2017/decorative" val="1"/>
                </a:ext>
              </a:extLst>
            </p:cNvPr>
            <p:cNvCxnSpPr>
              <a:cxnSpLocks/>
              <a:stCxn id="70" idx="0"/>
            </p:cNvCxnSpPr>
            <p:nvPr/>
          </p:nvCxnSpPr>
          <p:spPr>
            <a:xfrm flipV="1">
              <a:off x="5953703" y="3685314"/>
              <a:ext cx="1877842" cy="1302750"/>
            </a:xfrm>
            <a:prstGeom prst="line">
              <a:avLst/>
            </a:prstGeom>
            <a:grpFill/>
            <a:ln w="19050" cap="flat" cmpd="sng" algn="ctr">
              <a:solidFill>
                <a:schemeClr val="bg2"/>
              </a:solidFill>
              <a:prstDash val="solid"/>
              <a:headEnd type="none" w="lg" len="med"/>
              <a:tailEnd type="none" w="lg" len="med"/>
            </a:ln>
            <a:effectLst/>
          </p:spPr>
        </p:cxnSp>
        <p:cxnSp>
          <p:nvCxnSpPr>
            <p:cNvPr id="91" name="Straight Connector 90">
              <a:extLst>
                <a:ext uri="{FF2B5EF4-FFF2-40B4-BE49-F238E27FC236}">
                  <a16:creationId xmlns:a16="http://schemas.microsoft.com/office/drawing/2014/main" id="{1783B39E-96D5-4A45-87F2-FB93D56C6D85}"/>
                </a:ext>
                <a:ext uri="{C183D7F6-B498-43B3-948B-1728B52AA6E4}">
                  <adec:decorative xmlns:adec="http://schemas.microsoft.com/office/drawing/2017/decorative" val="1"/>
                </a:ext>
              </a:extLst>
            </p:cNvPr>
            <p:cNvCxnSpPr>
              <a:cxnSpLocks/>
              <a:stCxn id="74" idx="0"/>
            </p:cNvCxnSpPr>
            <p:nvPr/>
          </p:nvCxnSpPr>
          <p:spPr>
            <a:xfrm flipV="1">
              <a:off x="6888580" y="3685314"/>
              <a:ext cx="974991" cy="1706918"/>
            </a:xfrm>
            <a:prstGeom prst="line">
              <a:avLst/>
            </a:prstGeom>
            <a:grpFill/>
            <a:ln w="19050" cap="flat" cmpd="sng" algn="ctr">
              <a:solidFill>
                <a:schemeClr val="bg2"/>
              </a:solidFill>
              <a:prstDash val="solid"/>
              <a:headEnd type="none" w="lg" len="med"/>
              <a:tailEnd type="none" w="lg" len="med"/>
            </a:ln>
            <a:effectLst/>
          </p:spPr>
        </p:cxnSp>
        <p:cxnSp>
          <p:nvCxnSpPr>
            <p:cNvPr id="92" name="Straight Connector 91">
              <a:extLst>
                <a:ext uri="{FF2B5EF4-FFF2-40B4-BE49-F238E27FC236}">
                  <a16:creationId xmlns:a16="http://schemas.microsoft.com/office/drawing/2014/main" id="{B94035ED-802C-4660-B1C0-42910D051415}"/>
                </a:ext>
                <a:ext uri="{C183D7F6-B498-43B3-948B-1728B52AA6E4}">
                  <adec:decorative xmlns:adec="http://schemas.microsoft.com/office/drawing/2017/decorative" val="1"/>
                </a:ext>
              </a:extLst>
            </p:cNvPr>
            <p:cNvCxnSpPr>
              <a:cxnSpLocks/>
              <a:stCxn id="78" idx="0"/>
            </p:cNvCxnSpPr>
            <p:nvPr/>
          </p:nvCxnSpPr>
          <p:spPr>
            <a:xfrm flipH="1" flipV="1">
              <a:off x="7863572" y="3685313"/>
              <a:ext cx="242095" cy="1434262"/>
            </a:xfrm>
            <a:prstGeom prst="line">
              <a:avLst/>
            </a:prstGeom>
            <a:grpFill/>
            <a:ln w="19050" cap="flat" cmpd="sng" algn="ctr">
              <a:solidFill>
                <a:schemeClr val="bg2"/>
              </a:solidFill>
              <a:prstDash val="solid"/>
              <a:headEnd type="none" w="lg" len="med"/>
              <a:tailEnd type="none" w="lg" len="med"/>
            </a:ln>
            <a:effectLst/>
          </p:spPr>
        </p:cxnSp>
        <p:cxnSp>
          <p:nvCxnSpPr>
            <p:cNvPr id="93" name="Straight Connector 92">
              <a:extLst>
                <a:ext uri="{FF2B5EF4-FFF2-40B4-BE49-F238E27FC236}">
                  <a16:creationId xmlns:a16="http://schemas.microsoft.com/office/drawing/2014/main" id="{BF7BDA00-5F5A-451F-9B68-052743912F1D}"/>
                </a:ext>
                <a:ext uri="{C183D7F6-B498-43B3-948B-1728B52AA6E4}">
                  <adec:decorative xmlns:adec="http://schemas.microsoft.com/office/drawing/2017/decorative" val="1"/>
                </a:ext>
              </a:extLst>
            </p:cNvPr>
            <p:cNvCxnSpPr>
              <a:cxnSpLocks/>
              <a:stCxn id="82" idx="0"/>
            </p:cNvCxnSpPr>
            <p:nvPr/>
          </p:nvCxnSpPr>
          <p:spPr>
            <a:xfrm flipH="1" flipV="1">
              <a:off x="7807357" y="3636175"/>
              <a:ext cx="1777289" cy="1638431"/>
            </a:xfrm>
            <a:prstGeom prst="line">
              <a:avLst/>
            </a:prstGeom>
            <a:grpFill/>
            <a:ln w="19050" cap="flat" cmpd="sng" algn="ctr">
              <a:solidFill>
                <a:schemeClr val="bg2"/>
              </a:solidFill>
              <a:prstDash val="solid"/>
              <a:headEnd type="none" w="lg" len="med"/>
              <a:tailEnd type="none" w="lg" len="med"/>
            </a:ln>
            <a:effectLst/>
          </p:spPr>
        </p:cxnSp>
        <p:cxnSp>
          <p:nvCxnSpPr>
            <p:cNvPr id="95" name="Straight Connector 94">
              <a:extLst>
                <a:ext uri="{FF2B5EF4-FFF2-40B4-BE49-F238E27FC236}">
                  <a16:creationId xmlns:a16="http://schemas.microsoft.com/office/drawing/2014/main" id="{2B299308-16C3-4628-828D-33D11A4E8AD2}"/>
                </a:ext>
                <a:ext uri="{C183D7F6-B498-43B3-948B-1728B52AA6E4}">
                  <adec:decorative xmlns:adec="http://schemas.microsoft.com/office/drawing/2017/decorative" val="1"/>
                </a:ext>
              </a:extLst>
            </p:cNvPr>
            <p:cNvCxnSpPr>
              <a:cxnSpLocks/>
            </p:cNvCxnSpPr>
            <p:nvPr/>
          </p:nvCxnSpPr>
          <p:spPr>
            <a:xfrm flipH="1" flipV="1">
              <a:off x="7831546" y="3685312"/>
              <a:ext cx="2152579" cy="937062"/>
            </a:xfrm>
            <a:prstGeom prst="line">
              <a:avLst/>
            </a:prstGeom>
            <a:grpFill/>
            <a:ln w="19050" cap="flat" cmpd="sng" algn="ctr">
              <a:solidFill>
                <a:schemeClr val="bg2"/>
              </a:solidFill>
              <a:prstDash val="solid"/>
              <a:headEnd type="none" w="lg" len="med"/>
              <a:tailEnd type="none" w="lg" len="med"/>
            </a:ln>
            <a:effectLst/>
          </p:spPr>
        </p:cxnSp>
        <p:cxnSp>
          <p:nvCxnSpPr>
            <p:cNvPr id="96" name="Straight Connector 95">
              <a:extLst>
                <a:ext uri="{FF2B5EF4-FFF2-40B4-BE49-F238E27FC236}">
                  <a16:creationId xmlns:a16="http://schemas.microsoft.com/office/drawing/2014/main" id="{92B9BB99-DC7D-4A86-A08D-4555EEA98A50}"/>
                </a:ext>
                <a:ext uri="{C183D7F6-B498-43B3-948B-1728B52AA6E4}">
                  <adec:decorative xmlns:adec="http://schemas.microsoft.com/office/drawing/2017/decorative" val="1"/>
                </a:ext>
              </a:extLst>
            </p:cNvPr>
            <p:cNvCxnSpPr>
              <a:cxnSpLocks/>
            </p:cNvCxnSpPr>
            <p:nvPr/>
          </p:nvCxnSpPr>
          <p:spPr>
            <a:xfrm flipH="1" flipV="1">
              <a:off x="7907788" y="3638908"/>
              <a:ext cx="1430156" cy="269457"/>
            </a:xfrm>
            <a:prstGeom prst="line">
              <a:avLst/>
            </a:prstGeom>
            <a:grpFill/>
            <a:ln w="19050" cap="flat" cmpd="sng" algn="ctr">
              <a:solidFill>
                <a:schemeClr val="bg2"/>
              </a:solidFill>
              <a:prstDash val="solid"/>
              <a:headEnd type="none" w="lg" len="med"/>
              <a:tailEnd type="none" w="lg" len="med"/>
            </a:ln>
            <a:effectLst/>
          </p:spPr>
        </p:cxnSp>
        <p:cxnSp>
          <p:nvCxnSpPr>
            <p:cNvPr id="99" name="Straight Connector 98">
              <a:extLst>
                <a:ext uri="{FF2B5EF4-FFF2-40B4-BE49-F238E27FC236}">
                  <a16:creationId xmlns:a16="http://schemas.microsoft.com/office/drawing/2014/main" id="{D3E2F436-663D-4232-ABE8-2304C0D45CE1}"/>
                </a:ext>
                <a:ext uri="{C183D7F6-B498-43B3-948B-1728B52AA6E4}">
                  <adec:decorative xmlns:adec="http://schemas.microsoft.com/office/drawing/2017/decorative" val="1"/>
                </a:ext>
              </a:extLst>
            </p:cNvPr>
            <p:cNvCxnSpPr>
              <a:cxnSpLocks/>
            </p:cNvCxnSpPr>
            <p:nvPr/>
          </p:nvCxnSpPr>
          <p:spPr>
            <a:xfrm flipH="1">
              <a:off x="7831546" y="3319936"/>
              <a:ext cx="2774886" cy="365377"/>
            </a:xfrm>
            <a:prstGeom prst="line">
              <a:avLst/>
            </a:prstGeom>
            <a:grpFill/>
            <a:ln w="19050" cap="flat" cmpd="sng" algn="ctr">
              <a:solidFill>
                <a:schemeClr val="bg2"/>
              </a:solidFill>
              <a:prstDash val="solid"/>
              <a:headEnd type="none" w="lg" len="med"/>
              <a:tailEnd type="none" w="lg" len="med"/>
            </a:ln>
            <a:effectLst/>
          </p:spPr>
        </p:cxnSp>
        <p:cxnSp>
          <p:nvCxnSpPr>
            <p:cNvPr id="103" name="Straight Connector 102">
              <a:extLst>
                <a:ext uri="{FF2B5EF4-FFF2-40B4-BE49-F238E27FC236}">
                  <a16:creationId xmlns:a16="http://schemas.microsoft.com/office/drawing/2014/main" id="{50357A7F-694B-4E43-84B2-4710AF6C8ECF}"/>
                </a:ext>
                <a:ext uri="{C183D7F6-B498-43B3-948B-1728B52AA6E4}">
                  <adec:decorative xmlns:adec="http://schemas.microsoft.com/office/drawing/2017/decorative" val="1"/>
                </a:ext>
              </a:extLst>
            </p:cNvPr>
            <p:cNvCxnSpPr>
              <a:cxnSpLocks/>
            </p:cNvCxnSpPr>
            <p:nvPr/>
          </p:nvCxnSpPr>
          <p:spPr>
            <a:xfrm flipH="1">
              <a:off x="8122959" y="3094293"/>
              <a:ext cx="1237174" cy="506704"/>
            </a:xfrm>
            <a:prstGeom prst="line">
              <a:avLst/>
            </a:prstGeom>
            <a:grpFill/>
            <a:ln w="19050" cap="flat" cmpd="sng" algn="ctr">
              <a:solidFill>
                <a:schemeClr val="bg2"/>
              </a:solidFill>
              <a:prstDash val="solid"/>
              <a:headEnd type="none" w="lg" len="med"/>
              <a:tailEnd type="none" w="lg" len="med"/>
            </a:ln>
            <a:effectLst/>
          </p:spPr>
        </p:cxnSp>
        <p:cxnSp>
          <p:nvCxnSpPr>
            <p:cNvPr id="106" name="Straight Connector 105">
              <a:extLst>
                <a:ext uri="{FF2B5EF4-FFF2-40B4-BE49-F238E27FC236}">
                  <a16:creationId xmlns:a16="http://schemas.microsoft.com/office/drawing/2014/main" id="{1A52106A-901E-4E6F-88C9-83471FB625C0}"/>
                </a:ext>
                <a:ext uri="{C183D7F6-B498-43B3-948B-1728B52AA6E4}">
                  <adec:decorative xmlns:adec="http://schemas.microsoft.com/office/drawing/2017/decorative" val="1"/>
                </a:ext>
              </a:extLst>
            </p:cNvPr>
            <p:cNvCxnSpPr>
              <a:cxnSpLocks/>
            </p:cNvCxnSpPr>
            <p:nvPr/>
          </p:nvCxnSpPr>
          <p:spPr>
            <a:xfrm flipH="1">
              <a:off x="7631079" y="2165387"/>
              <a:ext cx="2237257" cy="1381057"/>
            </a:xfrm>
            <a:prstGeom prst="line">
              <a:avLst/>
            </a:prstGeom>
            <a:grpFill/>
            <a:ln w="19050" cap="flat" cmpd="sng" algn="ctr">
              <a:solidFill>
                <a:schemeClr val="bg2"/>
              </a:solidFill>
              <a:prstDash val="solid"/>
              <a:headEnd type="none" w="lg" len="med"/>
              <a:tailEnd type="none" w="lg" len="med"/>
            </a:ln>
            <a:effectLst/>
          </p:spPr>
        </p:cxnSp>
        <p:cxnSp>
          <p:nvCxnSpPr>
            <p:cNvPr id="110" name="Straight Connector 109">
              <a:extLst>
                <a:ext uri="{FF2B5EF4-FFF2-40B4-BE49-F238E27FC236}">
                  <a16:creationId xmlns:a16="http://schemas.microsoft.com/office/drawing/2014/main" id="{86DE31EB-FA13-46D0-B1AD-A9052D2F7BE7}"/>
                </a:ext>
                <a:ext uri="{C183D7F6-B498-43B3-948B-1728B52AA6E4}">
                  <adec:decorative xmlns:adec="http://schemas.microsoft.com/office/drawing/2017/decorative" val="1"/>
                </a:ext>
              </a:extLst>
            </p:cNvPr>
            <p:cNvCxnSpPr>
              <a:cxnSpLocks/>
              <a:stCxn id="102" idx="2"/>
            </p:cNvCxnSpPr>
            <p:nvPr/>
          </p:nvCxnSpPr>
          <p:spPr>
            <a:xfrm flipH="1">
              <a:off x="7892587" y="2419474"/>
              <a:ext cx="507636" cy="1097414"/>
            </a:xfrm>
            <a:prstGeom prst="line">
              <a:avLst/>
            </a:prstGeom>
            <a:grpFill/>
            <a:ln w="19050" cap="flat" cmpd="sng" algn="ctr">
              <a:solidFill>
                <a:schemeClr val="bg2"/>
              </a:solidFill>
              <a:prstDash val="solid"/>
              <a:headEnd type="none" w="lg" len="med"/>
              <a:tailEnd type="none" w="lg" len="med"/>
            </a:ln>
            <a:effectLst/>
          </p:spPr>
        </p:cxnSp>
        <p:cxnSp>
          <p:nvCxnSpPr>
            <p:cNvPr id="114" name="Straight Connector 113">
              <a:extLst>
                <a:ext uri="{FF2B5EF4-FFF2-40B4-BE49-F238E27FC236}">
                  <a16:creationId xmlns:a16="http://schemas.microsoft.com/office/drawing/2014/main" id="{B4CE0B62-172F-4387-849A-466F7ABEC57D}"/>
                </a:ext>
                <a:ext uri="{C183D7F6-B498-43B3-948B-1728B52AA6E4}">
                  <adec:decorative xmlns:adec="http://schemas.microsoft.com/office/drawing/2017/decorative" val="1"/>
                </a:ext>
              </a:extLst>
            </p:cNvPr>
            <p:cNvCxnSpPr>
              <a:cxnSpLocks/>
              <a:stCxn id="104" idx="2"/>
            </p:cNvCxnSpPr>
            <p:nvPr/>
          </p:nvCxnSpPr>
          <p:spPr>
            <a:xfrm>
              <a:off x="7066781" y="2128180"/>
              <a:ext cx="804276" cy="1625046"/>
            </a:xfrm>
            <a:prstGeom prst="line">
              <a:avLst/>
            </a:prstGeom>
            <a:grpFill/>
            <a:ln w="19050" cap="flat" cmpd="sng" algn="ctr">
              <a:solidFill>
                <a:schemeClr val="bg2"/>
              </a:solidFill>
              <a:prstDash val="solid"/>
              <a:headEnd type="none" w="lg" len="med"/>
              <a:tailEnd type="none" w="lg" len="med"/>
            </a:ln>
            <a:effectLst/>
          </p:spPr>
        </p:cxnSp>
        <p:sp>
          <p:nvSpPr>
            <p:cNvPr id="60" name="Oval 59">
              <a:extLst>
                <a:ext uri="{FF2B5EF4-FFF2-40B4-BE49-F238E27FC236}">
                  <a16:creationId xmlns:a16="http://schemas.microsoft.com/office/drawing/2014/main" id="{18F747EF-19AC-615B-6506-A2D50B1C15B1}"/>
                </a:ext>
                <a:ext uri="{C183D7F6-B498-43B3-948B-1728B52AA6E4}">
                  <adec:decorative xmlns:adec="http://schemas.microsoft.com/office/drawing/2017/decorative" val="1"/>
                </a:ext>
              </a:extLst>
            </p:cNvPr>
            <p:cNvSpPr/>
            <p:nvPr/>
          </p:nvSpPr>
          <p:spPr bwMode="auto">
            <a:xfrm>
              <a:off x="6663917" y="2590401"/>
              <a:ext cx="2307804" cy="2307800"/>
            </a:xfrm>
            <a:prstGeom prst="ellipse">
              <a:avLst/>
            </a:prstGeom>
            <a:gradFill flip="none" rotWithShape="1">
              <a:gsLst>
                <a:gs pos="52000">
                  <a:srgbClr val="F2F2F2">
                    <a:lumMod val="82973"/>
                    <a:lumOff val="17027"/>
                  </a:srgbClr>
                </a:gs>
                <a:gs pos="99000">
                  <a:schemeClr val="bg1">
                    <a:alpha val="0"/>
                  </a:schemeClr>
                </a:gs>
              </a:gsLst>
              <a:path path="circle">
                <a:fillToRect l="50000" t="50000" r="50000" b="50000"/>
              </a:path>
              <a:tileRect/>
            </a:gradFill>
            <a:ln w="57150" cap="flat" cmpd="sng" algn="ctr">
              <a:noFill/>
              <a:prstDash val="solid"/>
              <a:headEnd type="none" w="med" len="med"/>
              <a:tailEnd type="none" w="med" len="med"/>
            </a:ln>
            <a:effectLst/>
          </p:spPr>
          <p:txBody>
            <a:bodyPr rot="0" spcFirstLastPara="0" vertOverflow="overflow" horzOverflow="overflow" vert="horz" wrap="square" lIns="173688" tIns="138951" rIns="173688" bIns="138951" numCol="1" spcCol="0" rtlCol="0" fromWordArt="0" anchor="t" anchorCtr="0" forceAA="0" compatLnSpc="1">
              <a:prstTxWarp prst="textNoShape">
                <a:avLst/>
              </a:prstTxWarp>
              <a:noAutofit/>
            </a:bodyPr>
            <a:lstStyle/>
            <a:p>
              <a:pPr marL="0" marR="0" lvl="0" indent="0" algn="l" defTabSz="885569"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9" name="Oval 58">
              <a:extLst>
                <a:ext uri="{FF2B5EF4-FFF2-40B4-BE49-F238E27FC236}">
                  <a16:creationId xmlns:a16="http://schemas.microsoft.com/office/drawing/2014/main" id="{1EC71641-A6AF-4200-4B4E-2F94D9C292AC}"/>
                </a:ext>
                <a:ext uri="{C183D7F6-B498-43B3-948B-1728B52AA6E4}">
                  <adec:decorative xmlns:adec="http://schemas.microsoft.com/office/drawing/2017/decorative" val="1"/>
                </a:ext>
              </a:extLst>
            </p:cNvPr>
            <p:cNvSpPr/>
            <p:nvPr/>
          </p:nvSpPr>
          <p:spPr bwMode="auto">
            <a:xfrm>
              <a:off x="6992439" y="2918921"/>
              <a:ext cx="1650761" cy="165076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521D3042-C516-42B3-8DD8-03925FAF46F8}"/>
                </a:ext>
              </a:extLst>
            </p:cNvPr>
            <p:cNvSpPr/>
            <p:nvPr/>
          </p:nvSpPr>
          <p:spPr bwMode="auto">
            <a:xfrm>
              <a:off x="6511112" y="1859849"/>
              <a:ext cx="1111338"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Cloud security</a:t>
              </a:r>
            </a:p>
          </p:txBody>
        </p:sp>
        <p:sp>
          <p:nvSpPr>
            <p:cNvPr id="102" name="Rectangle: Rounded Corners 101">
              <a:extLst>
                <a:ext uri="{FF2B5EF4-FFF2-40B4-BE49-F238E27FC236}">
                  <a16:creationId xmlns:a16="http://schemas.microsoft.com/office/drawing/2014/main" id="{64C8B418-414C-48D8-AF07-3F5492479AD9}"/>
                </a:ext>
              </a:extLst>
            </p:cNvPr>
            <p:cNvSpPr/>
            <p:nvPr/>
          </p:nvSpPr>
          <p:spPr bwMode="auto">
            <a:xfrm>
              <a:off x="7844554" y="1934747"/>
              <a:ext cx="1111338" cy="484727"/>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Incident response</a:t>
              </a:r>
            </a:p>
          </p:txBody>
        </p:sp>
        <p:sp>
          <p:nvSpPr>
            <p:cNvPr id="101" name="Rectangle: Rounded Corners 100">
              <a:extLst>
                <a:ext uri="{FF2B5EF4-FFF2-40B4-BE49-F238E27FC236}">
                  <a16:creationId xmlns:a16="http://schemas.microsoft.com/office/drawing/2014/main" id="{4F5CE97E-CFB5-4DC0-84F9-74BC1802C09B}"/>
                </a:ext>
              </a:extLst>
            </p:cNvPr>
            <p:cNvSpPr/>
            <p:nvPr/>
          </p:nvSpPr>
          <p:spPr bwMode="auto">
            <a:xfrm>
              <a:off x="9847164" y="1888209"/>
              <a:ext cx="1281053" cy="484727"/>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Nation-state threats</a:t>
              </a:r>
            </a:p>
          </p:txBody>
        </p:sp>
        <p:sp>
          <p:nvSpPr>
            <p:cNvPr id="105" name="Rectangle: Rounded Corners 104">
              <a:extLst>
                <a:ext uri="{FF2B5EF4-FFF2-40B4-BE49-F238E27FC236}">
                  <a16:creationId xmlns:a16="http://schemas.microsoft.com/office/drawing/2014/main" id="{C78DA241-773B-404A-B752-865C8A534390}"/>
                </a:ext>
              </a:extLst>
            </p:cNvPr>
            <p:cNvSpPr/>
            <p:nvPr/>
          </p:nvSpPr>
          <p:spPr bwMode="auto">
            <a:xfrm>
              <a:off x="6246488" y="2404203"/>
              <a:ext cx="529247"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Fraud</a:t>
              </a:r>
            </a:p>
          </p:txBody>
        </p:sp>
        <p:sp>
          <p:nvSpPr>
            <p:cNvPr id="3" name="Rectangle: Rounded Corners 2">
              <a:extLst>
                <a:ext uri="{FF2B5EF4-FFF2-40B4-BE49-F238E27FC236}">
                  <a16:creationId xmlns:a16="http://schemas.microsoft.com/office/drawing/2014/main" id="{66E035E3-D9F3-42F7-A1AF-A6AC20065CDB}"/>
                </a:ext>
              </a:extLst>
            </p:cNvPr>
            <p:cNvSpPr/>
            <p:nvPr/>
          </p:nvSpPr>
          <p:spPr bwMode="auto">
            <a:xfrm>
              <a:off x="3856973" y="2422915"/>
              <a:ext cx="1774914" cy="484727"/>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Microsoft and third-party </a:t>
              </a:r>
              <a:b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b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roduct vulnerabilities</a:t>
              </a:r>
            </a:p>
          </p:txBody>
        </p:sp>
        <p:sp>
          <p:nvSpPr>
            <p:cNvPr id="97" name="Rectangle: Rounded Corners 96">
              <a:extLst>
                <a:ext uri="{FF2B5EF4-FFF2-40B4-BE49-F238E27FC236}">
                  <a16:creationId xmlns:a16="http://schemas.microsoft.com/office/drawing/2014/main" id="{9136EDE7-5852-4432-AB9C-7C897CA08129}"/>
                </a:ext>
              </a:extLst>
            </p:cNvPr>
            <p:cNvSpPr/>
            <p:nvPr/>
          </p:nvSpPr>
          <p:spPr bwMode="auto">
            <a:xfrm>
              <a:off x="9327772" y="2892903"/>
              <a:ext cx="697237"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Malware</a:t>
              </a:r>
            </a:p>
          </p:txBody>
        </p:sp>
        <p:sp>
          <p:nvSpPr>
            <p:cNvPr id="98" name="Rectangle: Rounded Corners 97">
              <a:extLst>
                <a:ext uri="{FF2B5EF4-FFF2-40B4-BE49-F238E27FC236}">
                  <a16:creationId xmlns:a16="http://schemas.microsoft.com/office/drawing/2014/main" id="{EC85F715-55E0-495D-9B22-26494DCF6C32}"/>
                </a:ext>
              </a:extLst>
            </p:cNvPr>
            <p:cNvSpPr/>
            <p:nvPr/>
          </p:nvSpPr>
          <p:spPr bwMode="auto">
            <a:xfrm>
              <a:off x="10494632" y="3170466"/>
              <a:ext cx="966361"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IoT security</a:t>
              </a:r>
            </a:p>
          </p:txBody>
        </p:sp>
        <p:sp>
          <p:nvSpPr>
            <p:cNvPr id="58" name="Rectangle: Rounded Corners 57">
              <a:extLst>
                <a:ext uri="{FF2B5EF4-FFF2-40B4-BE49-F238E27FC236}">
                  <a16:creationId xmlns:a16="http://schemas.microsoft.com/office/drawing/2014/main" id="{9CF68D6B-5B7D-42B4-BFA2-87048934AAB8}"/>
                </a:ext>
              </a:extLst>
            </p:cNvPr>
            <p:cNvSpPr/>
            <p:nvPr/>
          </p:nvSpPr>
          <p:spPr bwMode="auto">
            <a:xfrm>
              <a:off x="4500212" y="3259649"/>
              <a:ext cx="1015726"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Botnet attacks</a:t>
              </a:r>
            </a:p>
          </p:txBody>
        </p:sp>
        <p:sp>
          <p:nvSpPr>
            <p:cNvPr id="7" name="TextBox 6">
              <a:extLst>
                <a:ext uri="{FF2B5EF4-FFF2-40B4-BE49-F238E27FC236}">
                  <a16:creationId xmlns:a16="http://schemas.microsoft.com/office/drawing/2014/main" id="{67BC30C2-3C98-41F5-A567-7AA6EE68B050}"/>
                </a:ext>
              </a:extLst>
            </p:cNvPr>
            <p:cNvSpPr txBox="1"/>
            <p:nvPr/>
          </p:nvSpPr>
          <p:spPr>
            <a:xfrm>
              <a:off x="7011538" y="3432518"/>
              <a:ext cx="1632888" cy="646331"/>
            </a:xfrm>
            <a:prstGeom prst="rect">
              <a:avLst/>
            </a:prstGeom>
            <a:noFill/>
          </p:spPr>
          <p:txBody>
            <a:bodyPr wrap="square">
              <a:spAutoFit/>
            </a:bodyPr>
            <a:lstStyle/>
            <a:p>
              <a:pPr marL="0" marR="0" lvl="0" indent="0" algn="ctr" defTabSz="91324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Microsoft Security research and intelligence</a:t>
              </a:r>
            </a:p>
          </p:txBody>
        </p:sp>
        <p:sp>
          <p:nvSpPr>
            <p:cNvPr id="62" name="Rectangle: Rounded Corners 61">
              <a:extLst>
                <a:ext uri="{FF2B5EF4-FFF2-40B4-BE49-F238E27FC236}">
                  <a16:creationId xmlns:a16="http://schemas.microsoft.com/office/drawing/2014/main" id="{1BB61030-29BD-49A8-8373-F2AE587F17DD}"/>
                </a:ext>
              </a:extLst>
            </p:cNvPr>
            <p:cNvSpPr/>
            <p:nvPr/>
          </p:nvSpPr>
          <p:spPr bwMode="auto">
            <a:xfrm>
              <a:off x="5030957" y="3602381"/>
              <a:ext cx="1218055" cy="484727"/>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Global intelligence</a:t>
              </a:r>
            </a:p>
          </p:txBody>
        </p:sp>
        <p:sp>
          <p:nvSpPr>
            <p:cNvPr id="90" name="Rectangle: Rounded Corners 89">
              <a:extLst>
                <a:ext uri="{FF2B5EF4-FFF2-40B4-BE49-F238E27FC236}">
                  <a16:creationId xmlns:a16="http://schemas.microsoft.com/office/drawing/2014/main" id="{5A8FA0BC-7AF3-40AA-A989-E9361E05A6AF}"/>
                </a:ext>
              </a:extLst>
            </p:cNvPr>
            <p:cNvSpPr/>
            <p:nvPr/>
          </p:nvSpPr>
          <p:spPr bwMode="auto">
            <a:xfrm>
              <a:off x="9289206" y="3672098"/>
              <a:ext cx="1317226" cy="484727"/>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Cybersecurity policies</a:t>
              </a:r>
            </a:p>
          </p:txBody>
        </p:sp>
        <p:sp>
          <p:nvSpPr>
            <p:cNvPr id="66" name="Rectangle: Rounded Corners 65">
              <a:extLst>
                <a:ext uri="{FF2B5EF4-FFF2-40B4-BE49-F238E27FC236}">
                  <a16:creationId xmlns:a16="http://schemas.microsoft.com/office/drawing/2014/main" id="{2FD79F12-EADD-44F8-BB6D-DED4775B02D3}"/>
                </a:ext>
              </a:extLst>
            </p:cNvPr>
            <p:cNvSpPr/>
            <p:nvPr/>
          </p:nvSpPr>
          <p:spPr bwMode="auto">
            <a:xfrm>
              <a:off x="4210022" y="4313133"/>
              <a:ext cx="1218055"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Hardware security</a:t>
              </a:r>
            </a:p>
          </p:txBody>
        </p:sp>
        <p:sp>
          <p:nvSpPr>
            <p:cNvPr id="70" name="Rectangle: Rounded Corners 69">
              <a:extLst>
                <a:ext uri="{FF2B5EF4-FFF2-40B4-BE49-F238E27FC236}">
                  <a16:creationId xmlns:a16="http://schemas.microsoft.com/office/drawing/2014/main" id="{294F3A4B-469B-4BF1-A4C9-B073427BF92A}"/>
                </a:ext>
              </a:extLst>
            </p:cNvPr>
            <p:cNvSpPr/>
            <p:nvPr/>
          </p:nvSpPr>
          <p:spPr bwMode="auto">
            <a:xfrm>
              <a:off x="5344675" y="4988064"/>
              <a:ext cx="1218055"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Offensive security</a:t>
              </a:r>
            </a:p>
          </p:txBody>
        </p:sp>
        <p:sp>
          <p:nvSpPr>
            <p:cNvPr id="86" name="Rectangle: Rounded Corners 85">
              <a:extLst>
                <a:ext uri="{FF2B5EF4-FFF2-40B4-BE49-F238E27FC236}">
                  <a16:creationId xmlns:a16="http://schemas.microsoft.com/office/drawing/2014/main" id="{8157B830-64F8-4C1E-8662-237CABE46A76}"/>
                </a:ext>
              </a:extLst>
            </p:cNvPr>
            <p:cNvSpPr/>
            <p:nvPr/>
          </p:nvSpPr>
          <p:spPr bwMode="auto">
            <a:xfrm>
              <a:off x="9910090" y="4522267"/>
              <a:ext cx="1214218"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Firmware security</a:t>
              </a:r>
            </a:p>
          </p:txBody>
        </p:sp>
        <p:sp>
          <p:nvSpPr>
            <p:cNvPr id="82" name="Rectangle: Rounded Corners 81">
              <a:extLst>
                <a:ext uri="{FF2B5EF4-FFF2-40B4-BE49-F238E27FC236}">
                  <a16:creationId xmlns:a16="http://schemas.microsoft.com/office/drawing/2014/main" id="{000F0619-BE1C-4C3E-8B93-537B32BF15A0}"/>
                </a:ext>
              </a:extLst>
            </p:cNvPr>
            <p:cNvSpPr/>
            <p:nvPr/>
          </p:nvSpPr>
          <p:spPr bwMode="auto">
            <a:xfrm>
              <a:off x="8993531" y="5274606"/>
              <a:ext cx="1182230"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Ransomware</a:t>
              </a:r>
            </a:p>
          </p:txBody>
        </p:sp>
        <p:sp>
          <p:nvSpPr>
            <p:cNvPr id="78" name="Rectangle: Rounded Corners 77">
              <a:extLst>
                <a:ext uri="{FF2B5EF4-FFF2-40B4-BE49-F238E27FC236}">
                  <a16:creationId xmlns:a16="http://schemas.microsoft.com/office/drawing/2014/main" id="{95FD5764-C80B-485E-AB4F-D67D818B9463}"/>
                </a:ext>
              </a:extLst>
            </p:cNvPr>
            <p:cNvSpPr/>
            <p:nvPr/>
          </p:nvSpPr>
          <p:spPr bwMode="auto">
            <a:xfrm>
              <a:off x="7573934" y="5119575"/>
              <a:ext cx="1063466" cy="484727"/>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Breach recovery</a:t>
              </a:r>
            </a:p>
          </p:txBody>
        </p:sp>
        <p:sp>
          <p:nvSpPr>
            <p:cNvPr id="74" name="Rectangle: Rounded Corners 73">
              <a:extLst>
                <a:ext uri="{FF2B5EF4-FFF2-40B4-BE49-F238E27FC236}">
                  <a16:creationId xmlns:a16="http://schemas.microsoft.com/office/drawing/2014/main" id="{530CA4ED-EFE3-4197-B181-8D7C0B76FAB0}"/>
                </a:ext>
              </a:extLst>
            </p:cNvPr>
            <p:cNvSpPr/>
            <p:nvPr/>
          </p:nvSpPr>
          <p:spPr bwMode="auto">
            <a:xfrm>
              <a:off x="6534143" y="5392232"/>
              <a:ext cx="708873" cy="268331"/>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hishing</a:t>
              </a:r>
            </a:p>
          </p:txBody>
        </p:sp>
      </p:grpSp>
      <p:sp>
        <p:nvSpPr>
          <p:cNvPr id="53" name="!! Seamless">
            <a:extLst>
              <a:ext uri="{FF2B5EF4-FFF2-40B4-BE49-F238E27FC236}">
                <a16:creationId xmlns:a16="http://schemas.microsoft.com/office/drawing/2014/main" id="{EBAA0327-5C20-4BD0-9BDB-7FAD6ACABA48}"/>
              </a:ext>
            </a:extLst>
          </p:cNvPr>
          <p:cNvSpPr txBox="1">
            <a:spLocks/>
          </p:cNvSpPr>
          <p:nvPr/>
        </p:nvSpPr>
        <p:spPr>
          <a:xfrm>
            <a:off x="5219380" y="6008470"/>
            <a:ext cx="5275252" cy="465656"/>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18872" rIns="0" bIns="1219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07C10"/>
                </a:solidFill>
                <a:effectLst/>
                <a:uLnTx/>
                <a:uFillTx/>
                <a:latin typeface="Segoe UI Semibold" panose="020B0502040204020203" pitchFamily="34" charset="0"/>
                <a:ea typeface="Segoe UI" pitchFamily="34" charset="0"/>
                <a:cs typeface="Segoe UI Semibold" panose="020B0502040204020203" pitchFamily="34" charset="0"/>
              </a:rPr>
              <a:t>Focused on all areas of the threat landscape.</a:t>
            </a:r>
            <a:endParaRPr kumimoji="0" lang="en-US" sz="1400" b="1" i="0" u="none" strike="noStrike" kern="1200" cap="none" spc="0" normalizeH="0" baseline="0" noProof="0" dirty="0">
              <a:ln>
                <a:noFill/>
              </a:ln>
              <a:solidFill>
                <a:srgbClr val="107C10"/>
              </a:solidFill>
              <a:effectLst/>
              <a:uLnTx/>
              <a:uFillTx/>
              <a:latin typeface="Segoe UI Semibold" panose="020B0502040204020203" pitchFamily="34" charset="0"/>
              <a:ea typeface="+mn-ea"/>
              <a:cs typeface="Segoe UI Semibold" panose="020B0502040204020203" pitchFamily="34" charset="0"/>
            </a:endParaRPr>
          </a:p>
        </p:txBody>
      </p:sp>
      <p:cxnSp>
        <p:nvCxnSpPr>
          <p:cNvPr id="47" name="Straight Connector 46">
            <a:extLst>
              <a:ext uri="{FF2B5EF4-FFF2-40B4-BE49-F238E27FC236}">
                <a16:creationId xmlns:a16="http://schemas.microsoft.com/office/drawing/2014/main" id="{B7B8F851-369C-8C52-5004-12A168208F28}"/>
              </a:ext>
              <a:ext uri="{C183D7F6-B498-43B3-948B-1728B52AA6E4}">
                <adec:decorative xmlns:adec="http://schemas.microsoft.com/office/drawing/2017/decorative" val="1"/>
              </a:ext>
            </a:extLst>
          </p:cNvPr>
          <p:cNvCxnSpPr>
            <a:cxnSpLocks/>
          </p:cNvCxnSpPr>
          <p:nvPr/>
        </p:nvCxnSpPr>
        <p:spPr>
          <a:xfrm>
            <a:off x="536873" y="6008470"/>
            <a:ext cx="10924120" cy="0"/>
          </a:xfrm>
          <a:prstGeom prst="line">
            <a:avLst/>
          </a:prstGeom>
          <a:grpFill/>
          <a:ln w="19050" cap="flat" cmpd="sng" algn="ctr">
            <a:solidFill>
              <a:schemeClr val="bg2"/>
            </a:solidFill>
            <a:prstDash val="solid"/>
            <a:headEnd type="none" w="lg" len="med"/>
            <a:tailEnd type="none" w="lg" len="med"/>
          </a:ln>
          <a:effectLst/>
        </p:spPr>
      </p:cxnSp>
      <p:sp>
        <p:nvSpPr>
          <p:cNvPr id="5" name="TextBox 4">
            <a:extLst>
              <a:ext uri="{FF2B5EF4-FFF2-40B4-BE49-F238E27FC236}">
                <a16:creationId xmlns:a16="http://schemas.microsoft.com/office/drawing/2014/main" id="{3BCC174B-F1B4-6032-2CF6-48F8D9778B10}"/>
              </a:ext>
            </a:extLst>
          </p:cNvPr>
          <p:cNvSpPr txBox="1"/>
          <p:nvPr/>
        </p:nvSpPr>
        <p:spPr>
          <a:xfrm>
            <a:off x="120529" y="6421992"/>
            <a:ext cx="5224146" cy="276999"/>
          </a:xfrm>
          <a:prstGeom prst="rect">
            <a:avLst/>
          </a:prstGeom>
          <a:noFill/>
        </p:spPr>
        <p:txBody>
          <a:bodyPr wrap="square">
            <a:spAutoFit/>
          </a:bodyPr>
          <a:lstStyle/>
          <a:p>
            <a:r>
              <a:rPr lang="en-US" sz="600"/>
              <a:t>1. </a:t>
            </a:r>
            <a:r>
              <a:rPr lang="en-US" sz="600" b="0" i="0">
                <a:effectLst/>
                <a:latin typeface="Segoe UI" panose="020B0502040204020203" pitchFamily="34" charset="0"/>
              </a:rPr>
              <a:t>“Defending Against Threats with the Latest Research Insights and Trends”. March 2022, Cyber Signals  </a:t>
            </a:r>
            <a:endParaRPr lang="en-US" sz="600"/>
          </a:p>
          <a:p>
            <a:r>
              <a:rPr lang="en-US" sz="600"/>
              <a:t>2. “Program Overview” 2022, MISA</a:t>
            </a:r>
          </a:p>
        </p:txBody>
      </p:sp>
    </p:spTree>
    <p:extLst>
      <p:ext uri="{BB962C8B-B14F-4D97-AF65-F5344CB8AC3E}">
        <p14:creationId xmlns:p14="http://schemas.microsoft.com/office/powerpoint/2010/main" val="382578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574D0D-F986-4828-99A2-84C44ED0FBAC}"/>
              </a:ext>
            </a:extLst>
          </p:cNvPr>
          <p:cNvSpPr>
            <a:spLocks noGrp="1"/>
          </p:cNvSpPr>
          <p:nvPr>
            <p:ph type="title"/>
          </p:nvPr>
        </p:nvSpPr>
        <p:spPr>
          <a:xfrm>
            <a:off x="588963" y="488950"/>
            <a:ext cx="6665277" cy="554038"/>
          </a:xfrm>
        </p:spPr>
        <p:txBody>
          <a:bodyPr/>
          <a:lstStyle/>
          <a:p>
            <a:r>
              <a:rPr lang="en-US"/>
              <a:t>Microsoft Security ecosystem—the experts other experts rely on </a:t>
            </a:r>
          </a:p>
        </p:txBody>
      </p:sp>
      <p:sp>
        <p:nvSpPr>
          <p:cNvPr id="40" name="Rectangle 39">
            <a:extLst>
              <a:ext uri="{FF2B5EF4-FFF2-40B4-BE49-F238E27FC236}">
                <a16:creationId xmlns:a16="http://schemas.microsoft.com/office/drawing/2014/main" id="{02BB8D15-91F3-43A9-868F-7B832718DCF4}"/>
              </a:ext>
              <a:ext uri="{C183D7F6-B498-43B3-948B-1728B52AA6E4}">
                <adec:decorative xmlns:adec="http://schemas.microsoft.com/office/drawing/2017/decorative" val="1"/>
              </a:ext>
            </a:extLst>
          </p:cNvPr>
          <p:cNvSpPr/>
          <p:nvPr/>
        </p:nvSpPr>
        <p:spPr bwMode="auto">
          <a:xfrm>
            <a:off x="7963382" y="1"/>
            <a:ext cx="4228618"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EA5B19EA-FDA3-4185-904C-2E70D1BFBF03}"/>
              </a:ext>
            </a:extLst>
          </p:cNvPr>
          <p:cNvSpPr/>
          <p:nvPr/>
        </p:nvSpPr>
        <p:spPr>
          <a:xfrm>
            <a:off x="588963" y="1974530"/>
            <a:ext cx="7008008" cy="1123384"/>
          </a:xfrm>
          <a:prstGeom prst="rect">
            <a:avLst/>
          </a:prstGeom>
        </p:spPr>
        <p:txBody>
          <a:bodyPr wrap="square" lIns="0" anchor="t">
            <a:sp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2000" b="1"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Semibold"/>
                <a:ea typeface="+mn-ea"/>
                <a:cs typeface="+mn-cs"/>
              </a:rPr>
              <a:t>Trusted advisor for your security  </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Digital Defense Report provides updated security guidance annually</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Detection and Response Team (DART) responds to security incidents </a:t>
            </a:r>
            <a:b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b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and helps Microsoft customers become cyber-resilient</a:t>
            </a:r>
          </a:p>
        </p:txBody>
      </p:sp>
      <p:sp>
        <p:nvSpPr>
          <p:cNvPr id="36" name="Rectangle 35">
            <a:extLst>
              <a:ext uri="{FF2B5EF4-FFF2-40B4-BE49-F238E27FC236}">
                <a16:creationId xmlns:a16="http://schemas.microsoft.com/office/drawing/2014/main" id="{086537C3-B99D-45CA-BF59-618EF6B6BF3D}"/>
              </a:ext>
            </a:extLst>
          </p:cNvPr>
          <p:cNvSpPr/>
          <p:nvPr/>
        </p:nvSpPr>
        <p:spPr>
          <a:xfrm>
            <a:off x="588963" y="3233792"/>
            <a:ext cx="7108202" cy="1377300"/>
          </a:xfrm>
          <a:prstGeom prst="rect">
            <a:avLst/>
          </a:prstGeom>
        </p:spPr>
        <p:txBody>
          <a:bodyPr wrap="square" lIns="0" anchor="t">
            <a:sp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2000" b="1"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Semibold"/>
                <a:ea typeface="+mn-ea"/>
                <a:cs typeface="+mn-cs"/>
              </a:rPr>
              <a:t>Streamline your deployment and save on costs</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Leverage the FastTrack service included in eligible subscriptions at no additional cost</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Large ecosystem of Microsoft certified solution providers</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Microsoft Industry Solutions helps organizations adopt tech solutions across digital strategy, data insight, sales, and more</a:t>
            </a:r>
          </a:p>
        </p:txBody>
      </p:sp>
      <p:sp>
        <p:nvSpPr>
          <p:cNvPr id="33" name="Rectangle 32">
            <a:extLst>
              <a:ext uri="{FF2B5EF4-FFF2-40B4-BE49-F238E27FC236}">
                <a16:creationId xmlns:a16="http://schemas.microsoft.com/office/drawing/2014/main" id="{9A8D19F2-71EF-451A-A434-56E15F7F9701}"/>
              </a:ext>
            </a:extLst>
          </p:cNvPr>
          <p:cNvSpPr/>
          <p:nvPr/>
        </p:nvSpPr>
        <p:spPr>
          <a:xfrm>
            <a:off x="588963" y="4651517"/>
            <a:ext cx="6448243" cy="1161857"/>
          </a:xfrm>
          <a:prstGeom prst="rect">
            <a:avLst/>
          </a:prstGeom>
        </p:spPr>
        <p:txBody>
          <a:bodyPr wrap="square" lIns="0" anchor="t">
            <a:sp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2000" b="1"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Semibold"/>
                <a:ea typeface="+mn-ea"/>
                <a:cs typeface="+mn-cs"/>
              </a:rPr>
              <a:t>Find and train the best people quickly</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Common tools and interfaces for quick uptake of new capabilities   </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Rich ecosystem of Learning partners </a:t>
            </a:r>
          </a:p>
          <a:p>
            <a:pPr marL="342900" marR="0" lvl="0" indent="-342900" algn="l" defTabSz="914400" rtl="0" eaLnBrk="1" fontAlgn="base" latinLnBrk="0" hangingPunct="1">
              <a:lnSpc>
                <a:spcPct val="100000"/>
              </a:lnSpc>
              <a:spcBef>
                <a:spcPts val="0"/>
              </a:spcBef>
              <a:spcAft>
                <a:spcPts val="300"/>
              </a:spcAft>
              <a:buClrTx/>
              <a:buSzTx/>
              <a:buFontTx/>
              <a:buBlip>
                <a:blip r:embed="rId3"/>
              </a:buBlip>
              <a:tabLst/>
              <a:defRPr/>
            </a:pPr>
            <a:r>
              <a:rPr kumimoji="0" lang="en-US" sz="1400" b="0" i="0" u="none" strike="noStrike" kern="1200" cap="none" spc="0" normalizeH="0" baseline="0" noProof="0">
                <a:ln>
                  <a:noFill/>
                </a:ln>
                <a:gradFill>
                  <a:gsLst>
                    <a:gs pos="37000">
                      <a:srgbClr val="000000"/>
                    </a:gs>
                    <a:gs pos="99000">
                      <a:srgbClr val="000000">
                        <a:alpha val="83000"/>
                      </a:srgbClr>
                    </a:gs>
                  </a:gsLst>
                  <a:lin ang="2700000" scaled="1"/>
                </a:gradFill>
                <a:effectLst/>
                <a:uLnTx/>
                <a:uFillTx/>
                <a:latin typeface="Segoe UI"/>
                <a:ea typeface="+mn-ea"/>
                <a:cs typeface="+mn-cs"/>
              </a:rPr>
              <a:t>Microsoft Certifications and skill paths streamline learning </a:t>
            </a:r>
          </a:p>
        </p:txBody>
      </p:sp>
      <p:sp>
        <p:nvSpPr>
          <p:cNvPr id="41" name="DevUpdate_ECC5">
            <a:extLst>
              <a:ext uri="{FF2B5EF4-FFF2-40B4-BE49-F238E27FC236}">
                <a16:creationId xmlns:a16="http://schemas.microsoft.com/office/drawing/2014/main" id="{BCE2E37B-D6B8-4006-9F2D-820D84D836C2}"/>
              </a:ext>
            </a:extLst>
          </p:cNvPr>
          <p:cNvSpPr>
            <a:spLocks noChangeAspect="1" noEditPoints="1"/>
          </p:cNvSpPr>
          <p:nvPr/>
        </p:nvSpPr>
        <p:spPr bwMode="auto">
          <a:xfrm>
            <a:off x="9401746" y="1534749"/>
            <a:ext cx="1472928" cy="1473283"/>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762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rPr>
              <a:t>x</a:t>
            </a:r>
          </a:p>
        </p:txBody>
      </p:sp>
      <p:sp>
        <p:nvSpPr>
          <p:cNvPr id="2" name="TextBox 1">
            <a:extLst>
              <a:ext uri="{FF2B5EF4-FFF2-40B4-BE49-F238E27FC236}">
                <a16:creationId xmlns:a16="http://schemas.microsoft.com/office/drawing/2014/main" id="{3CD1431D-F35F-053C-3C69-3B33EBD29412}"/>
              </a:ext>
            </a:extLst>
          </p:cNvPr>
          <p:cNvSpPr txBox="1"/>
          <p:nvPr/>
        </p:nvSpPr>
        <p:spPr>
          <a:xfrm>
            <a:off x="8396446" y="3678496"/>
            <a:ext cx="3362490" cy="1015663"/>
          </a:xfrm>
          <a:prstGeom prst="rect">
            <a:avLst/>
          </a:prstGeom>
          <a:noFill/>
        </p:spPr>
        <p:txBody>
          <a:bodyPr wrap="square" lIns="0" tIns="0" rIns="0" bIns="0" rtlCol="0">
            <a:spAutoFit/>
          </a:bodyPr>
          <a:lstStyle/>
          <a:p>
            <a:pPr algn="ctr"/>
            <a:r>
              <a:rPr lang="en-US" sz="6600" dirty="0">
                <a:latin typeface="+mj-lt"/>
              </a:rPr>
              <a:t>1 month</a:t>
            </a:r>
          </a:p>
        </p:txBody>
      </p:sp>
      <p:sp>
        <p:nvSpPr>
          <p:cNvPr id="4" name="TextBox 3">
            <a:extLst>
              <a:ext uri="{FF2B5EF4-FFF2-40B4-BE49-F238E27FC236}">
                <a16:creationId xmlns:a16="http://schemas.microsoft.com/office/drawing/2014/main" id="{48F49F85-8D5E-BCC0-DCD5-7C85CB8460B3}"/>
              </a:ext>
            </a:extLst>
          </p:cNvPr>
          <p:cNvSpPr txBox="1"/>
          <p:nvPr/>
        </p:nvSpPr>
        <p:spPr>
          <a:xfrm>
            <a:off x="8620788" y="4694159"/>
            <a:ext cx="3362489" cy="923330"/>
          </a:xfrm>
          <a:prstGeom prst="rect">
            <a:avLst/>
          </a:prstGeom>
          <a:noFill/>
        </p:spPr>
        <p:txBody>
          <a:bodyPr wrap="square" lIns="0" tIns="0" rIns="0" bIns="0" rtlCol="0">
            <a:spAutoFit/>
          </a:bodyPr>
          <a:lstStyle/>
          <a:p>
            <a:r>
              <a:rPr kumimoji="0" lang="en-US" sz="2000" b="0" i="0" u="none" strike="noStrike" kern="1200" cap="none" spc="-51" normalizeH="0" baseline="0" noProof="0" dirty="0">
                <a:ln w="3175">
                  <a:noFill/>
                </a:ln>
                <a:gradFill>
                  <a:gsLst>
                    <a:gs pos="1000">
                      <a:srgbClr val="000000"/>
                    </a:gs>
                    <a:gs pos="99000">
                      <a:srgbClr val="000000">
                        <a:alpha val="83000"/>
                      </a:srgbClr>
                    </a:gs>
                  </a:gsLst>
                  <a:lin ang="16200000" scaled="1"/>
                </a:gradFill>
                <a:effectLst/>
                <a:uLnTx/>
                <a:uFillTx/>
                <a:latin typeface="Segoe UI Semibold"/>
                <a:ea typeface="+mn-ea"/>
                <a:cs typeface="Segoe UI" pitchFamily="34" charset="0"/>
              </a:rPr>
              <a:t>average time reduction to onboard using FastTrack</a:t>
            </a:r>
            <a:r>
              <a:rPr kumimoji="0" lang="en-US" sz="2000" b="0" i="0" u="none" strike="noStrike" kern="1200" cap="none" spc="-51" normalizeH="0" baseline="30000" noProof="0" dirty="0">
                <a:ln w="3175">
                  <a:noFill/>
                </a:ln>
                <a:gradFill>
                  <a:gsLst>
                    <a:gs pos="1000">
                      <a:srgbClr val="000000"/>
                    </a:gs>
                    <a:gs pos="99000">
                      <a:srgbClr val="000000">
                        <a:alpha val="83000"/>
                      </a:srgbClr>
                    </a:gs>
                  </a:gsLst>
                  <a:lin ang="16200000" scaled="1"/>
                </a:gradFill>
                <a:effectLst/>
                <a:uLnTx/>
                <a:uFillTx/>
                <a:latin typeface="Segoe UI Semibold"/>
                <a:ea typeface="+mn-ea"/>
                <a:cs typeface="Segoe UI" pitchFamily="34" charset="0"/>
              </a:rPr>
              <a:t>1</a:t>
            </a:r>
          </a:p>
          <a:p>
            <a:pPr algn="l"/>
            <a:endParaRPr lang="en-US" sz="2000" dirty="0" err="1"/>
          </a:p>
        </p:txBody>
      </p:sp>
      <p:sp>
        <p:nvSpPr>
          <p:cNvPr id="18" name="TextBox 1">
            <a:extLst>
              <a:ext uri="{FF2B5EF4-FFF2-40B4-BE49-F238E27FC236}">
                <a16:creationId xmlns:a16="http://schemas.microsoft.com/office/drawing/2014/main" id="{3DE72DD8-EDE6-4F66-8F1A-A75ABAA6BB9F}"/>
              </a:ext>
            </a:extLst>
          </p:cNvPr>
          <p:cNvSpPr txBox="1"/>
          <p:nvPr/>
        </p:nvSpPr>
        <p:spPr>
          <a:xfrm>
            <a:off x="588262" y="6122464"/>
            <a:ext cx="4736092" cy="338554"/>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100" b="0" i="0" u="none" strike="noStrike" kern="1200" cap="none" spc="0" normalizeH="0" baseline="30000" noProof="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mn-cs"/>
              </a:rPr>
              <a:t>1 </a:t>
            </a:r>
            <a:r>
              <a:rPr kumimoji="0" lang="en-US" sz="1100" b="0" i="0" u="none" strike="noStrike" kern="1200" cap="none" spc="0" normalizeH="0" baseline="0" noProof="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mn-cs"/>
              </a:rPr>
              <a:t>“The Total Economic Impact™ Of Microsoft FastTrack.” </a:t>
            </a:r>
            <a:br>
              <a:rPr kumimoji="0" lang="en-US" sz="1100" b="0" i="0" u="none" strike="noStrike" kern="1200" cap="none" spc="0" normalizeH="0" baseline="0" noProof="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mn-cs"/>
              </a:rPr>
            </a:br>
            <a:r>
              <a:rPr kumimoji="0" lang="en-US" sz="1100" b="0" i="0" u="none" strike="noStrike" kern="1200" cap="none" spc="0" normalizeH="0" baseline="0" noProof="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mn-cs"/>
              </a:rPr>
              <a:t>Forrester Consulting. October 2017, commissioned by Microsoft</a:t>
            </a:r>
          </a:p>
        </p:txBody>
      </p:sp>
    </p:spTree>
    <p:extLst>
      <p:ext uri="{BB962C8B-B14F-4D97-AF65-F5344CB8AC3E}">
        <p14:creationId xmlns:p14="http://schemas.microsoft.com/office/powerpoint/2010/main" val="39533761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BAB28322-E326-47D4-8287-5F358BF732F0}"/>
              </a:ext>
              <a:ext uri="{C183D7F6-B498-43B3-948B-1728B52AA6E4}">
                <adec:decorative xmlns:adec="http://schemas.microsoft.com/office/drawing/2017/decorative" val="1"/>
              </a:ext>
            </a:extLst>
          </p:cNvPr>
          <p:cNvGrpSpPr/>
          <p:nvPr/>
        </p:nvGrpSpPr>
        <p:grpSpPr>
          <a:xfrm>
            <a:off x="5328368" y="2435034"/>
            <a:ext cx="1618538" cy="1618539"/>
            <a:chOff x="7710834" y="2609784"/>
            <a:chExt cx="1620562" cy="1620563"/>
          </a:xfrm>
        </p:grpSpPr>
        <p:sp>
          <p:nvSpPr>
            <p:cNvPr id="64" name="Oval 63">
              <a:extLst>
                <a:ext uri="{FF2B5EF4-FFF2-40B4-BE49-F238E27FC236}">
                  <a16:creationId xmlns:a16="http://schemas.microsoft.com/office/drawing/2014/main" id="{B97B7ED0-D8BF-494F-8AF4-A67D92D81E26}"/>
                </a:ext>
              </a:extLst>
            </p:cNvPr>
            <p:cNvSpPr/>
            <p:nvPr/>
          </p:nvSpPr>
          <p:spPr bwMode="auto">
            <a:xfrm>
              <a:off x="7710834" y="2609784"/>
              <a:ext cx="1620562" cy="1620563"/>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65" name="Group 64">
              <a:extLst>
                <a:ext uri="{FF2B5EF4-FFF2-40B4-BE49-F238E27FC236}">
                  <a16:creationId xmlns:a16="http://schemas.microsoft.com/office/drawing/2014/main" id="{38D680F5-6C53-4AE7-AAEF-46F2429A685D}"/>
                </a:ext>
              </a:extLst>
            </p:cNvPr>
            <p:cNvGrpSpPr/>
            <p:nvPr/>
          </p:nvGrpSpPr>
          <p:grpSpPr>
            <a:xfrm>
              <a:off x="8067341" y="2966291"/>
              <a:ext cx="907548" cy="907548"/>
              <a:chOff x="8067341" y="2966291"/>
              <a:chExt cx="907548" cy="907548"/>
            </a:xfrm>
          </p:grpSpPr>
          <p:sp>
            <p:nvSpPr>
              <p:cNvPr id="66" name="Oval 65">
                <a:extLst>
                  <a:ext uri="{FF2B5EF4-FFF2-40B4-BE49-F238E27FC236}">
                    <a16:creationId xmlns:a16="http://schemas.microsoft.com/office/drawing/2014/main" id="{17A073DF-4D94-4A5C-85F5-622C0CAB1CB2}"/>
                  </a:ext>
                </a:extLst>
              </p:cNvPr>
              <p:cNvSpPr/>
              <p:nvPr/>
            </p:nvSpPr>
            <p:spPr bwMode="auto">
              <a:xfrm>
                <a:off x="8067341" y="2966291"/>
                <a:ext cx="907548" cy="907548"/>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7" name="Group 66">
                <a:extLst>
                  <a:ext uri="{FF2B5EF4-FFF2-40B4-BE49-F238E27FC236}">
                    <a16:creationId xmlns:a16="http://schemas.microsoft.com/office/drawing/2014/main" id="{A3B8AF33-6DC8-4268-9C6D-7A3C865E944B}"/>
                  </a:ext>
                </a:extLst>
              </p:cNvPr>
              <p:cNvGrpSpPr/>
              <p:nvPr/>
            </p:nvGrpSpPr>
            <p:grpSpPr>
              <a:xfrm>
                <a:off x="8221291" y="3192133"/>
                <a:ext cx="590184" cy="455896"/>
                <a:chOff x="3658239" y="4490333"/>
                <a:chExt cx="637564" cy="492490"/>
              </a:xfrm>
              <a:solidFill>
                <a:schemeClr val="accent1"/>
              </a:solidFill>
            </p:grpSpPr>
            <p:sp>
              <p:nvSpPr>
                <p:cNvPr id="68" name="cloud">
                  <a:extLst>
                    <a:ext uri="{FF2B5EF4-FFF2-40B4-BE49-F238E27FC236}">
                      <a16:creationId xmlns:a16="http://schemas.microsoft.com/office/drawing/2014/main" id="{518B3F86-6FAE-47A3-9636-04BAB31B76ED}"/>
                    </a:ext>
                  </a:extLst>
                </p:cNvPr>
                <p:cNvSpPr>
                  <a:spLocks noChangeAspect="1"/>
                </p:cNvSpPr>
                <p:nvPr/>
              </p:nvSpPr>
              <p:spPr bwMode="auto">
                <a:xfrm>
                  <a:off x="3658239" y="4490333"/>
                  <a:ext cx="540780" cy="34452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B900"/>
                </a:solidFill>
                <a:ln w="15875" cap="sq">
                  <a:solidFill>
                    <a:srgbClr val="000000"/>
                  </a:solidFill>
                  <a:prstDash val="solid"/>
                  <a:miter lim="800000"/>
                  <a:headEnd/>
                  <a:tailEnd/>
                </a:ln>
              </p:spPr>
              <p:txBody>
                <a:bodyPr vert="horz" wrap="square" lIns="89530" tIns="44765" rIns="89530" bIns="44765" numCol="1" anchor="t" anchorCtr="0" compatLnSpc="1">
                  <a:prstTxWarp prst="textNoShape">
                    <a:avLst/>
                  </a:prstTxWarp>
                </a:bodyPr>
                <a:lstStyle/>
                <a:p>
                  <a:pPr marL="0" marR="0" lvl="0" indent="0" algn="l" defTabSz="931568" rtl="0" eaLnBrk="1" fontAlgn="auto" latinLnBrk="0" hangingPunct="1">
                    <a:lnSpc>
                      <a:spcPct val="100000"/>
                    </a:lnSpc>
                    <a:spcBef>
                      <a:spcPts val="0"/>
                    </a:spcBef>
                    <a:spcAft>
                      <a:spcPts val="0"/>
                    </a:spcAft>
                    <a:buClrTx/>
                    <a:buSzTx/>
                    <a:buFontTx/>
                    <a:buNone/>
                    <a:tabLst/>
                    <a:defRPr/>
                  </a:pPr>
                  <a:endParaRPr kumimoji="0" lang="en-US" sz="7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Shield_EA18">
                  <a:extLst>
                    <a:ext uri="{FF2B5EF4-FFF2-40B4-BE49-F238E27FC236}">
                      <a16:creationId xmlns:a16="http://schemas.microsoft.com/office/drawing/2014/main" id="{078092F0-F74D-4060-B3FB-90C0BA42907E}"/>
                    </a:ext>
                  </a:extLst>
                </p:cNvPr>
                <p:cNvSpPr>
                  <a:spLocks noChangeAspect="1"/>
                </p:cNvSpPr>
                <p:nvPr/>
              </p:nvSpPr>
              <p:spPr bwMode="auto">
                <a:xfrm>
                  <a:off x="4036759" y="4707028"/>
                  <a:ext cx="259044" cy="27579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FFB900"/>
                </a:solidFill>
                <a:ln w="15875" cap="sq">
                  <a:solidFill>
                    <a:srgbClr val="000000"/>
                  </a:solidFill>
                  <a:prstDash val="solid"/>
                  <a:miter lim="800000"/>
                  <a:headEnd/>
                  <a:tailEnd/>
                </a:ln>
              </p:spPr>
              <p:txBody>
                <a:bodyPr vert="horz" wrap="square" lIns="89530" tIns="44765" rIns="89530" bIns="44765" numCol="1" anchor="t" anchorCtr="0" compatLnSpc="1">
                  <a:prstTxWarp prst="textNoShape">
                    <a:avLst/>
                  </a:prstTxWarp>
                </a:bodyPr>
                <a:lstStyle/>
                <a:p>
                  <a:pPr marL="0" marR="0" lvl="0" indent="0" algn="l" defTabSz="931568" rtl="0" eaLnBrk="1" fontAlgn="auto" latinLnBrk="0" hangingPunct="1">
                    <a:lnSpc>
                      <a:spcPct val="100000"/>
                    </a:lnSpc>
                    <a:spcBef>
                      <a:spcPts val="0"/>
                    </a:spcBef>
                    <a:spcAft>
                      <a:spcPts val="0"/>
                    </a:spcAft>
                    <a:buClrTx/>
                    <a:buSzTx/>
                    <a:buFontTx/>
                    <a:buNone/>
                    <a:tabLst/>
                    <a:defRPr/>
                  </a:pPr>
                  <a:endParaRPr kumimoji="0" lang="en-US" sz="159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sp>
        <p:nvSpPr>
          <p:cNvPr id="1893" name="Protection aligned to priorities."/>
          <p:cNvSpPr txBox="1">
            <a:spLocks noGrp="1"/>
          </p:cNvSpPr>
          <p:nvPr>
            <p:ph type="title"/>
          </p:nvPr>
        </p:nvSpPr>
        <p:spPr>
          <a:prstGeom prst="rect">
            <a:avLst/>
          </a:prstGeom>
        </p:spPr>
        <p:txBody>
          <a:bodyPr/>
          <a:lstStyle>
            <a:lvl1pPr>
              <a:defRPr spc="-100"/>
            </a:lvl1pPr>
          </a:lstStyle>
          <a:p>
            <a:r>
              <a:rPr lang="en-US" spc="-50">
                <a:gradFill>
                  <a:gsLst>
                    <a:gs pos="83000">
                      <a:schemeClr val="tx1"/>
                    </a:gs>
                    <a:gs pos="100000">
                      <a:schemeClr val="tx1"/>
                    </a:gs>
                  </a:gsLst>
                  <a:lin ang="5400000" scaled="1"/>
                </a:gradFill>
              </a:rPr>
              <a:t>Protection aligned to where you're going</a:t>
            </a:r>
          </a:p>
        </p:txBody>
      </p:sp>
      <p:sp>
        <p:nvSpPr>
          <p:cNvPr id="1894" name="Solutions to support your digital journey"/>
          <p:cNvSpPr txBox="1">
            <a:spLocks noGrp="1"/>
          </p:cNvSpPr>
          <p:nvPr>
            <p:ph type="body" sz="quarter" idx="10"/>
          </p:nvPr>
        </p:nvSpPr>
        <p:spPr>
          <a:prstGeom prst="rect">
            <a:avLst/>
          </a:prstGeom>
        </p:spPr>
        <p:txBody>
          <a:bodyPr/>
          <a:lstStyle>
            <a:lvl1pPr>
              <a:defRPr spc="-100"/>
            </a:lvl1pPr>
          </a:lstStyle>
          <a:p>
            <a:r>
              <a:rPr lang="en-US" sz="1955" spc="-50">
                <a:sym typeface="Segoe Pro Display"/>
              </a:rPr>
              <a:t>Solutions to support your digital journey</a:t>
            </a:r>
          </a:p>
        </p:txBody>
      </p:sp>
      <p:sp>
        <p:nvSpPr>
          <p:cNvPr id="1855" name="Rectangle 4"/>
          <p:cNvSpPr txBox="1"/>
          <p:nvPr/>
        </p:nvSpPr>
        <p:spPr>
          <a:xfrm>
            <a:off x="467230" y="4375173"/>
            <a:ext cx="2131298" cy="77059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4776" rIns="44776" anchor="ctr">
            <a:spAutoFit/>
          </a:bodyPr>
          <a:lstStyle>
            <a:lvl1pPr algn="ctr" defTabSz="878131">
              <a:defRPr sz="1500">
                <a:gradFill flip="none" rotWithShape="1">
                  <a:gsLst>
                    <a:gs pos="83000">
                      <a:srgbClr val="282828"/>
                    </a:gs>
                    <a:gs pos="100000">
                      <a:srgbClr val="282828"/>
                    </a:gs>
                  </a:gsLst>
                  <a:lin ang="5400000" scaled="0"/>
                </a:gradFill>
              </a:defRPr>
            </a:lvl1pPr>
          </a:lstStyle>
          <a:p>
            <a:pPr marL="0" marR="0" lvl="0" indent="0" algn="ctr" defTabSz="860011" rtl="0" eaLnBrk="1" fontAlgn="auto" latinLnBrk="0" hangingPunct="1">
              <a:lnSpc>
                <a:spcPct val="100000"/>
              </a:lnSpc>
              <a:spcBef>
                <a:spcPts val="0"/>
              </a:spcBef>
              <a:spcAft>
                <a:spcPts val="0"/>
              </a:spcAft>
              <a:buClrTx/>
              <a:buSzTx/>
              <a:buFontTx/>
              <a:buNone/>
              <a:tabLst/>
              <a:defRPr/>
            </a:pP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Protect identity &amp; </a:t>
            </a:r>
            <a:r>
              <a:rPr kumimoji="0" lang="en-US"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access</a:t>
            </a:r>
            <a:r>
              <a:rPr kumimoji="0" lang="en-US" sz="1469" b="0" i="0" u="none" strike="noStrike" kern="1200" cap="none" spc="0" normalizeH="0" noProof="0">
                <a:ln>
                  <a:noFill/>
                </a:ln>
                <a:gradFill flip="none" rotWithShape="1">
                  <a:gsLst>
                    <a:gs pos="83000">
                      <a:srgbClr val="282828"/>
                    </a:gs>
                    <a:gs pos="100000">
                      <a:srgbClr val="282828"/>
                    </a:gs>
                  </a:gsLst>
                  <a:lin ang="5400000" scaled="0"/>
                </a:gradFill>
                <a:effectLst/>
                <a:uLnTx/>
                <a:uFillTx/>
                <a:latin typeface="Segoe UI"/>
                <a:ea typeface="+mn-ea"/>
                <a:cs typeface="+mn-cs"/>
              </a:rPr>
              <a:t> </a:t>
            </a: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for strong </a:t>
            </a:r>
            <a:r>
              <a:rPr kumimoji="0"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Zero Trust </a:t>
            </a: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foundations</a:t>
            </a:r>
          </a:p>
        </p:txBody>
      </p:sp>
      <p:sp>
        <p:nvSpPr>
          <p:cNvPr id="1856" name="Rectangle 5"/>
          <p:cNvSpPr txBox="1"/>
          <p:nvPr/>
        </p:nvSpPr>
        <p:spPr>
          <a:xfrm>
            <a:off x="3008054" y="4369026"/>
            <a:ext cx="1714960" cy="78289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4776" rIns="44776" anchor="ctr">
            <a:spAutoFit/>
          </a:bodyPr>
          <a:lstStyle>
            <a:lvl1pPr algn="ctr" defTabSz="878131">
              <a:defRPr sz="1500">
                <a:gradFill flip="none" rotWithShape="1">
                  <a:gsLst>
                    <a:gs pos="83000">
                      <a:srgbClr val="282828"/>
                    </a:gs>
                    <a:gs pos="100000">
                      <a:srgbClr val="282828"/>
                    </a:gs>
                  </a:gsLst>
                  <a:lin ang="5400000" scaled="0"/>
                </a:gradFill>
              </a:defRPr>
            </a:lvl1pPr>
          </a:lstStyle>
          <a:p>
            <a:pPr marL="0" marR="0" lvl="0" indent="0" algn="ctr" defTabSz="860011" rtl="0" eaLnBrk="1" fontAlgn="auto" latinLnBrk="0" hangingPunct="1">
              <a:lnSpc>
                <a:spcPct val="100000"/>
              </a:lnSpc>
              <a:spcBef>
                <a:spcPts val="0"/>
              </a:spcBef>
              <a:spcAft>
                <a:spcPts val="0"/>
              </a:spcAft>
              <a:buClrTx/>
              <a:buSzTx/>
              <a:buFontTx/>
              <a:buNone/>
              <a:tabLst/>
              <a:defRPr/>
            </a:pP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Modernize </a:t>
            </a:r>
            <a:br>
              <a:rPr kumimoji="0" lang="en-US"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b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security &amp; </a:t>
            </a:r>
            <a:r>
              <a:rPr kumimoji="0"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defend </a:t>
            </a:r>
            <a:br>
              <a:rPr kumimoji="0" lang="en-US"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br>
            <a:r>
              <a:rPr kumimoji="0"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against threats</a:t>
            </a:r>
          </a:p>
        </p:txBody>
      </p:sp>
      <p:sp>
        <p:nvSpPr>
          <p:cNvPr id="1857" name="Rectangle 6"/>
          <p:cNvSpPr txBox="1"/>
          <p:nvPr/>
        </p:nvSpPr>
        <p:spPr>
          <a:xfrm>
            <a:off x="5041127" y="4308433"/>
            <a:ext cx="2221521" cy="5445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4776" rIns="44776" anchor="ctr">
            <a:spAutoFit/>
          </a:bodyPr>
          <a:lstStyle>
            <a:lvl1pPr algn="ctr" defTabSz="878131">
              <a:defRPr sz="1500">
                <a:gradFill flip="none" rotWithShape="1">
                  <a:gsLst>
                    <a:gs pos="83000">
                      <a:srgbClr val="282828"/>
                    </a:gs>
                    <a:gs pos="100000">
                      <a:srgbClr val="282828"/>
                    </a:gs>
                  </a:gsLst>
                  <a:lin ang="5400000" scaled="0"/>
                </a:gradFill>
              </a:defRPr>
            </a:lvl1pPr>
          </a:lstStyle>
          <a:p>
            <a:pPr marL="0" marR="0" lvl="0" indent="0" algn="ctr" defTabSz="860011" rtl="0" eaLnBrk="1" fontAlgn="auto" latinLnBrk="0" hangingPunct="1">
              <a:lnSpc>
                <a:spcPct val="100000"/>
              </a:lnSpc>
              <a:spcBef>
                <a:spcPts val="0"/>
              </a:spcBef>
              <a:spcAft>
                <a:spcPts val="0"/>
              </a:spcAft>
              <a:buClrTx/>
              <a:buSzTx/>
              <a:buFontTx/>
              <a:buNone/>
              <a:tabLst/>
              <a:defRPr/>
            </a:pP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Secure </a:t>
            </a:r>
            <a:r>
              <a:rPr kumimoji="0" lang="en-US"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multi-</a:t>
            </a:r>
            <a:r>
              <a:rPr kumimoji="0"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cloud</a:t>
            </a: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 </a:t>
            </a:r>
            <a:r>
              <a:rPr kumimoji="0" lang="en-US" sz="1469" b="0" i="0" u="none" strike="noStrike" kern="1200" cap="none" spc="0" normalizeH="0" baseline="0" noProof="0" dirty="0">
                <a:ln>
                  <a:noFill/>
                </a:ln>
                <a:gradFill flip="none" rotWithShape="1">
                  <a:gsLst>
                    <a:gs pos="83000">
                      <a:srgbClr val="282828"/>
                    </a:gs>
                    <a:gs pos="100000">
                      <a:srgbClr val="282828"/>
                    </a:gs>
                  </a:gsLst>
                  <a:lin ang="5400000" scaled="0"/>
                </a:gradFill>
                <a:effectLst/>
                <a:uLnTx/>
                <a:uFillTx/>
                <a:latin typeface="Segoe UI"/>
                <a:ea typeface="+mn-ea"/>
                <a:cs typeface="+mn-cs"/>
              </a:rPr>
              <a:t>environments</a:t>
            </a:r>
            <a:endParaRPr kumimoji="0" sz="1469" b="0" i="0" u="none" strike="noStrike" kern="1200" cap="none" spc="0" normalizeH="0" baseline="0" noProof="0" dirty="0">
              <a:ln>
                <a:noFill/>
              </a:ln>
              <a:gradFill flip="none" rotWithShape="1">
                <a:gsLst>
                  <a:gs pos="83000">
                    <a:srgbClr val="282828"/>
                  </a:gs>
                  <a:gs pos="100000">
                    <a:srgbClr val="282828"/>
                  </a:gs>
                </a:gsLst>
                <a:lin ang="5400000" scaled="0"/>
              </a:gradFill>
              <a:effectLst/>
              <a:uLnTx/>
              <a:uFillTx/>
              <a:latin typeface="Segoe UI"/>
              <a:ea typeface="+mn-ea"/>
              <a:cs typeface="+mn-cs"/>
            </a:endParaRPr>
          </a:p>
        </p:txBody>
      </p:sp>
      <p:sp>
        <p:nvSpPr>
          <p:cNvPr id="1858" name="Rectangle 7"/>
          <p:cNvSpPr txBox="1"/>
          <p:nvPr/>
        </p:nvSpPr>
        <p:spPr>
          <a:xfrm>
            <a:off x="7615465" y="4369026"/>
            <a:ext cx="1714960" cy="5526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4776" rIns="44776" anchor="ctr">
            <a:spAutoFit/>
          </a:bodyPr>
          <a:lstStyle>
            <a:lvl1pPr algn="ctr" defTabSz="878131">
              <a:defRPr sz="1500">
                <a:gradFill flip="none" rotWithShape="1">
                  <a:gsLst>
                    <a:gs pos="83000">
                      <a:srgbClr val="282828"/>
                    </a:gs>
                    <a:gs pos="100000">
                      <a:srgbClr val="282828"/>
                    </a:gs>
                  </a:gsLst>
                  <a:lin ang="5400000" scaled="0"/>
                </a:gradFill>
              </a:defRPr>
            </a:lvl1pPr>
          </a:lstStyle>
          <a:p>
            <a:pPr marL="0" marR="0" lvl="0" indent="0" algn="ctr" defTabSz="860011" rtl="0" eaLnBrk="1" fontAlgn="auto" latinLnBrk="0" hangingPunct="1">
              <a:lnSpc>
                <a:spcPct val="100000"/>
              </a:lnSpc>
              <a:spcBef>
                <a:spcPts val="0"/>
              </a:spcBef>
              <a:spcAft>
                <a:spcPts val="0"/>
              </a:spcAft>
              <a:buClrTx/>
              <a:buSzTx/>
              <a:buFontTx/>
              <a:buNone/>
              <a:tabLst/>
              <a:defRPr/>
            </a:pPr>
            <a:r>
              <a:rPr kumimoji="0"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Protect &amp; govern </a:t>
            </a: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sensitive data</a:t>
            </a:r>
          </a:p>
        </p:txBody>
      </p:sp>
      <p:sp>
        <p:nvSpPr>
          <p:cNvPr id="1859" name="Rectangle 8"/>
          <p:cNvSpPr txBox="1"/>
          <p:nvPr/>
        </p:nvSpPr>
        <p:spPr>
          <a:xfrm>
            <a:off x="9870748" y="4369025"/>
            <a:ext cx="1714960" cy="77059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4776" rIns="44776" anchor="ctr">
            <a:spAutoFit/>
          </a:bodyPr>
          <a:lstStyle>
            <a:lvl1pPr algn="ctr" defTabSz="878131">
              <a:defRPr sz="1500">
                <a:gradFill flip="none" rotWithShape="1">
                  <a:gsLst>
                    <a:gs pos="83000">
                      <a:srgbClr val="282828"/>
                    </a:gs>
                    <a:gs pos="100000">
                      <a:srgbClr val="282828"/>
                    </a:gs>
                  </a:gsLst>
                  <a:lin ang="5400000" scaled="0"/>
                </a:gradFill>
              </a:defRPr>
            </a:lvl1pPr>
          </a:lstStyle>
          <a:p>
            <a:pPr marL="0" marR="0" lvl="0" indent="0" algn="ctr" defTabSz="860011" rtl="0" eaLnBrk="1" fontAlgn="auto" latinLnBrk="0" hangingPunct="1">
              <a:lnSpc>
                <a:spcPct val="100000"/>
              </a:lnSpc>
              <a:spcBef>
                <a:spcPts val="0"/>
              </a:spcBef>
              <a:spcAft>
                <a:spcPts val="0"/>
              </a:spcAft>
              <a:buClrTx/>
              <a:buSzTx/>
              <a:buFontTx/>
              <a:buNone/>
              <a:tabLst/>
              <a:defRPr/>
            </a:pPr>
            <a:r>
              <a:rPr kumimoji="0"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M</a:t>
            </a:r>
            <a:r>
              <a:rPr kumimoji="0" lang="en-US" sz="1469" b="0"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itigate compliance</a:t>
            </a:r>
            <a:r>
              <a:rPr kumimoji="0" lang="en-US" sz="1469" b="0" i="0" u="none" strike="noStrike" kern="1200" cap="none" spc="0" normalizeH="0" noProof="0">
                <a:ln>
                  <a:noFill/>
                </a:ln>
                <a:gradFill flip="none" rotWithShape="1">
                  <a:gsLst>
                    <a:gs pos="83000">
                      <a:srgbClr val="282828"/>
                    </a:gs>
                    <a:gs pos="100000">
                      <a:srgbClr val="282828"/>
                    </a:gs>
                  </a:gsLst>
                  <a:lin ang="5400000" scaled="0"/>
                </a:gradFill>
                <a:effectLst/>
                <a:uLnTx/>
                <a:uFillTx/>
                <a:latin typeface="Segoe UI"/>
                <a:ea typeface="+mn-ea"/>
                <a:cs typeface="+mn-cs"/>
              </a:rPr>
              <a:t> &amp; privacy </a:t>
            </a:r>
            <a:r>
              <a:rPr kumimoji="0" sz="1469" b="1" i="0" u="none" strike="noStrike" kern="1200" cap="none" spc="0" normalizeH="0" baseline="0" noProof="0">
                <a:ln>
                  <a:noFill/>
                </a:ln>
                <a:gradFill flip="none" rotWithShape="1">
                  <a:gsLst>
                    <a:gs pos="83000">
                      <a:srgbClr val="282828"/>
                    </a:gs>
                    <a:gs pos="100000">
                      <a:srgbClr val="282828"/>
                    </a:gs>
                  </a:gsLst>
                  <a:lin ang="5400000" scaled="0"/>
                </a:gradFill>
                <a:effectLst/>
                <a:uLnTx/>
                <a:uFillTx/>
                <a:latin typeface="Segoe UI"/>
                <a:ea typeface="+mn-ea"/>
                <a:cs typeface="+mn-cs"/>
              </a:rPr>
              <a:t>risk</a:t>
            </a:r>
          </a:p>
        </p:txBody>
      </p:sp>
      <p:grpSp>
        <p:nvGrpSpPr>
          <p:cNvPr id="12" name="Group 11">
            <a:extLst>
              <a:ext uri="{FF2B5EF4-FFF2-40B4-BE49-F238E27FC236}">
                <a16:creationId xmlns:a16="http://schemas.microsoft.com/office/drawing/2014/main" id="{40424A68-6D6F-4465-A01C-3358069FFD20}"/>
              </a:ext>
              <a:ext uri="{C183D7F6-B498-43B3-948B-1728B52AA6E4}">
                <adec:decorative xmlns:adec="http://schemas.microsoft.com/office/drawing/2017/decorative" val="1"/>
              </a:ext>
            </a:extLst>
          </p:cNvPr>
          <p:cNvGrpSpPr/>
          <p:nvPr/>
        </p:nvGrpSpPr>
        <p:grpSpPr>
          <a:xfrm>
            <a:off x="3025989" y="2447390"/>
            <a:ext cx="1618538" cy="1618539"/>
            <a:chOff x="3022151" y="2270317"/>
            <a:chExt cx="1620562" cy="1620563"/>
          </a:xfrm>
        </p:grpSpPr>
        <p:sp>
          <p:nvSpPr>
            <p:cNvPr id="85" name="Oval 84">
              <a:extLst>
                <a:ext uri="{FF2B5EF4-FFF2-40B4-BE49-F238E27FC236}">
                  <a16:creationId xmlns:a16="http://schemas.microsoft.com/office/drawing/2014/main" id="{4D5E864C-8B35-4D58-A795-665ADD5D9BA5}"/>
                </a:ext>
              </a:extLst>
            </p:cNvPr>
            <p:cNvSpPr/>
            <p:nvPr/>
          </p:nvSpPr>
          <p:spPr bwMode="auto">
            <a:xfrm>
              <a:off x="3022151" y="2270317"/>
              <a:ext cx="1620562" cy="1620563"/>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7" name="Oval 86">
              <a:extLst>
                <a:ext uri="{FF2B5EF4-FFF2-40B4-BE49-F238E27FC236}">
                  <a16:creationId xmlns:a16="http://schemas.microsoft.com/office/drawing/2014/main" id="{1C7D75D3-ED96-438A-8FC0-39A173571032}"/>
                </a:ext>
              </a:extLst>
            </p:cNvPr>
            <p:cNvSpPr/>
            <p:nvPr/>
          </p:nvSpPr>
          <p:spPr bwMode="auto">
            <a:xfrm>
              <a:off x="3378658" y="2626824"/>
              <a:ext cx="907548" cy="907548"/>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Graphic 5">
              <a:extLst>
                <a:ext uri="{FF2B5EF4-FFF2-40B4-BE49-F238E27FC236}">
                  <a16:creationId xmlns:a16="http://schemas.microsoft.com/office/drawing/2014/main" id="{7527D493-703B-4C6A-8862-1C81AC4F07EE}"/>
                </a:ext>
              </a:extLst>
            </p:cNvPr>
            <p:cNvSpPr/>
            <p:nvPr/>
          </p:nvSpPr>
          <p:spPr>
            <a:xfrm>
              <a:off x="3575820" y="2815254"/>
              <a:ext cx="513224" cy="530688"/>
            </a:xfrm>
            <a:custGeom>
              <a:avLst/>
              <a:gdLst>
                <a:gd name="connsiteX0" fmla="*/ 41523 w 257555"/>
                <a:gd name="connsiteY0" fmla="*/ 198642 h 266319"/>
                <a:gd name="connsiteX1" fmla="*/ -292 w 257555"/>
                <a:gd name="connsiteY1" fmla="*/ 81294 h 266319"/>
                <a:gd name="connsiteX2" fmla="*/ -292 w 257555"/>
                <a:gd name="connsiteY2" fmla="*/ 35193 h 266319"/>
                <a:gd name="connsiteX3" fmla="*/ 55525 w 257555"/>
                <a:gd name="connsiteY3" fmla="*/ 27096 h 266319"/>
                <a:gd name="connsiteX4" fmla="*/ 128486 w 257555"/>
                <a:gd name="connsiteY4" fmla="*/ -431 h 266319"/>
                <a:gd name="connsiteX5" fmla="*/ 201448 w 257555"/>
                <a:gd name="connsiteY5" fmla="*/ 27096 h 266319"/>
                <a:gd name="connsiteX6" fmla="*/ 257264 w 257555"/>
                <a:gd name="connsiteY6" fmla="*/ 35193 h 266319"/>
                <a:gd name="connsiteX7" fmla="*/ 257264 w 257555"/>
                <a:gd name="connsiteY7" fmla="*/ 81294 h 266319"/>
                <a:gd name="connsiteX8" fmla="*/ 215449 w 257555"/>
                <a:gd name="connsiteY8" fmla="*/ 198642 h 266319"/>
                <a:gd name="connsiteX9" fmla="*/ 128486 w 257555"/>
                <a:gd name="connsiteY9" fmla="*/ 265888 h 266319"/>
                <a:gd name="connsiteX10" fmla="*/ 41523 w 257555"/>
                <a:gd name="connsiteY10" fmla="*/ 198642 h 266319"/>
                <a:gd name="connsiteX11" fmla="*/ 128486 w 257555"/>
                <a:gd name="connsiteY11" fmla="*/ 42431 h 266319"/>
                <a:gd name="connsiteX12" fmla="*/ 128486 w 257555"/>
                <a:gd name="connsiteY12" fmla="*/ 148064 h 266319"/>
                <a:gd name="connsiteX13" fmla="*/ 128486 w 257555"/>
                <a:gd name="connsiteY13" fmla="*/ 186164 h 266319"/>
                <a:gd name="connsiteX14" fmla="*/ 128486 w 257555"/>
                <a:gd name="connsiteY14" fmla="*/ 202356 h 266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7555" h="266319">
                  <a:moveTo>
                    <a:pt x="41523" y="198642"/>
                  </a:moveTo>
                  <a:cubicBezTo>
                    <a:pt x="14481" y="165513"/>
                    <a:pt x="-283" y="124061"/>
                    <a:pt x="-292" y="81294"/>
                  </a:cubicBezTo>
                  <a:lnTo>
                    <a:pt x="-292" y="35193"/>
                  </a:lnTo>
                  <a:cubicBezTo>
                    <a:pt x="18615" y="35269"/>
                    <a:pt x="37417" y="32544"/>
                    <a:pt x="55525" y="27096"/>
                  </a:cubicBezTo>
                  <a:cubicBezTo>
                    <a:pt x="84100" y="17571"/>
                    <a:pt x="98101" y="-431"/>
                    <a:pt x="128486" y="-431"/>
                  </a:cubicBezTo>
                  <a:cubicBezTo>
                    <a:pt x="158871" y="-431"/>
                    <a:pt x="172777" y="17381"/>
                    <a:pt x="201448" y="27096"/>
                  </a:cubicBezTo>
                  <a:cubicBezTo>
                    <a:pt x="219555" y="32544"/>
                    <a:pt x="238357" y="35269"/>
                    <a:pt x="257264" y="35193"/>
                  </a:cubicBezTo>
                  <a:lnTo>
                    <a:pt x="257264" y="81294"/>
                  </a:lnTo>
                  <a:cubicBezTo>
                    <a:pt x="257255" y="124061"/>
                    <a:pt x="242491" y="165513"/>
                    <a:pt x="215449" y="198642"/>
                  </a:cubicBezTo>
                  <a:cubicBezTo>
                    <a:pt x="188303" y="231027"/>
                    <a:pt x="128486" y="265888"/>
                    <a:pt x="128486" y="265888"/>
                  </a:cubicBezTo>
                  <a:cubicBezTo>
                    <a:pt x="128486" y="265888"/>
                    <a:pt x="68669" y="231027"/>
                    <a:pt x="41523" y="198642"/>
                  </a:cubicBezTo>
                  <a:close/>
                  <a:moveTo>
                    <a:pt x="128486" y="42431"/>
                  </a:moveTo>
                  <a:lnTo>
                    <a:pt x="128486" y="148064"/>
                  </a:lnTo>
                  <a:moveTo>
                    <a:pt x="128486" y="186164"/>
                  </a:moveTo>
                  <a:lnTo>
                    <a:pt x="128486" y="202356"/>
                  </a:lnTo>
                </a:path>
              </a:pathLst>
            </a:custGeom>
            <a:noFill/>
            <a:ln w="15875" cap="sq">
              <a:solidFill>
                <a:srgbClr val="FFFFFF"/>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81B87D19-DFAD-4B04-BA3B-2C39EE16804D}"/>
              </a:ext>
              <a:ext uri="{C183D7F6-B498-43B3-948B-1728B52AA6E4}">
                <adec:decorative xmlns:adec="http://schemas.microsoft.com/office/drawing/2017/decorative" val="1"/>
              </a:ext>
            </a:extLst>
          </p:cNvPr>
          <p:cNvGrpSpPr/>
          <p:nvPr/>
        </p:nvGrpSpPr>
        <p:grpSpPr>
          <a:xfrm>
            <a:off x="9933126" y="2394424"/>
            <a:ext cx="1618538" cy="1618539"/>
            <a:chOff x="9937922" y="2217284"/>
            <a:chExt cx="1620562" cy="1620563"/>
          </a:xfrm>
        </p:grpSpPr>
        <p:sp>
          <p:nvSpPr>
            <p:cNvPr id="78" name="Oval 77">
              <a:extLst>
                <a:ext uri="{FF2B5EF4-FFF2-40B4-BE49-F238E27FC236}">
                  <a16:creationId xmlns:a16="http://schemas.microsoft.com/office/drawing/2014/main" id="{BE07D382-477A-4760-8A95-F2218016E580}"/>
                </a:ext>
              </a:extLst>
            </p:cNvPr>
            <p:cNvSpPr/>
            <p:nvPr/>
          </p:nvSpPr>
          <p:spPr bwMode="auto">
            <a:xfrm>
              <a:off x="9937922" y="2217284"/>
              <a:ext cx="1620562" cy="1620563"/>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0" name="Oval 79">
              <a:extLst>
                <a:ext uri="{FF2B5EF4-FFF2-40B4-BE49-F238E27FC236}">
                  <a16:creationId xmlns:a16="http://schemas.microsoft.com/office/drawing/2014/main" id="{3483B728-8FEF-459A-B32A-01FC09E0E6FE}"/>
                </a:ext>
              </a:extLst>
            </p:cNvPr>
            <p:cNvSpPr/>
            <p:nvPr/>
          </p:nvSpPr>
          <p:spPr bwMode="auto">
            <a:xfrm>
              <a:off x="10294429" y="2573791"/>
              <a:ext cx="907548" cy="907548"/>
            </a:xfrm>
            <a:prstGeom prst="ellips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9" name="Group 108">
              <a:extLst>
                <a:ext uri="{FF2B5EF4-FFF2-40B4-BE49-F238E27FC236}">
                  <a16:creationId xmlns:a16="http://schemas.microsoft.com/office/drawing/2014/main" id="{70FAD88B-1F19-4C6E-A9CD-496CA65BA3AC}"/>
                </a:ext>
              </a:extLst>
            </p:cNvPr>
            <p:cNvGrpSpPr/>
            <p:nvPr/>
          </p:nvGrpSpPr>
          <p:grpSpPr>
            <a:xfrm>
              <a:off x="10540153" y="2821541"/>
              <a:ext cx="416100" cy="412048"/>
              <a:chOff x="1798695" y="2230980"/>
              <a:chExt cx="293369" cy="290512"/>
            </a:xfrm>
          </p:grpSpPr>
          <p:sp>
            <p:nvSpPr>
              <p:cNvPr id="110" name="Graphic 3">
                <a:extLst>
                  <a:ext uri="{FF2B5EF4-FFF2-40B4-BE49-F238E27FC236}">
                    <a16:creationId xmlns:a16="http://schemas.microsoft.com/office/drawing/2014/main" id="{DCBA35BF-7257-4F65-9C09-08D7F9E5F752}"/>
                  </a:ext>
                </a:extLst>
              </p:cNvPr>
              <p:cNvSpPr/>
              <p:nvPr/>
            </p:nvSpPr>
            <p:spPr>
              <a:xfrm>
                <a:off x="1798695" y="2234790"/>
                <a:ext cx="273367" cy="286702"/>
              </a:xfrm>
              <a:custGeom>
                <a:avLst/>
                <a:gdLst>
                  <a:gd name="connsiteX0" fmla="*/ 273368 w 273367"/>
                  <a:gd name="connsiteY0" fmla="*/ 205740 h 286702"/>
                  <a:gd name="connsiteX1" fmla="*/ 143828 w 273367"/>
                  <a:gd name="connsiteY1" fmla="*/ 286703 h 286702"/>
                  <a:gd name="connsiteX2" fmla="*/ 0 w 273367"/>
                  <a:gd name="connsiteY2" fmla="*/ 142875 h 286702"/>
                  <a:gd name="connsiteX3" fmla="*/ 143828 w 273367"/>
                  <a:gd name="connsiteY3" fmla="*/ 0 h 286702"/>
                  <a:gd name="connsiteX4" fmla="*/ 219075 w 273367"/>
                  <a:gd name="connsiteY4" fmla="*/ 20955 h 286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67" h="286702">
                    <a:moveTo>
                      <a:pt x="273368" y="205740"/>
                    </a:moveTo>
                    <a:cubicBezTo>
                      <a:pt x="250508" y="254318"/>
                      <a:pt x="200978" y="286703"/>
                      <a:pt x="143828" y="286703"/>
                    </a:cubicBezTo>
                    <a:cubicBezTo>
                      <a:pt x="64770" y="286703"/>
                      <a:pt x="0" y="222885"/>
                      <a:pt x="0" y="142875"/>
                    </a:cubicBezTo>
                    <a:cubicBezTo>
                      <a:pt x="0" y="62865"/>
                      <a:pt x="64770" y="0"/>
                      <a:pt x="143828" y="0"/>
                    </a:cubicBezTo>
                    <a:cubicBezTo>
                      <a:pt x="171450" y="0"/>
                      <a:pt x="197168" y="7620"/>
                      <a:pt x="219075" y="20955"/>
                    </a:cubicBezTo>
                  </a:path>
                </a:pathLst>
              </a:custGeom>
              <a:noFill/>
              <a:ln w="15875" cap="sq">
                <a:solidFill>
                  <a:srgbClr val="000000"/>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sp>
            <p:nvSpPr>
              <p:cNvPr id="111" name="Graphic 3">
                <a:extLst>
                  <a:ext uri="{FF2B5EF4-FFF2-40B4-BE49-F238E27FC236}">
                    <a16:creationId xmlns:a16="http://schemas.microsoft.com/office/drawing/2014/main" id="{1886C735-A7CB-49D4-B8F1-6422EC198141}"/>
                  </a:ext>
                </a:extLst>
              </p:cNvPr>
              <p:cNvSpPr/>
              <p:nvPr/>
            </p:nvSpPr>
            <p:spPr>
              <a:xfrm>
                <a:off x="1844415" y="2279558"/>
                <a:ext cx="185737" cy="197167"/>
              </a:xfrm>
              <a:custGeom>
                <a:avLst/>
                <a:gdLst>
                  <a:gd name="connsiteX0" fmla="*/ 185738 w 185737"/>
                  <a:gd name="connsiteY0" fmla="*/ 142875 h 197167"/>
                  <a:gd name="connsiteX1" fmla="*/ 98108 w 185737"/>
                  <a:gd name="connsiteY1" fmla="*/ 197168 h 197167"/>
                  <a:gd name="connsiteX2" fmla="*/ 0 w 185737"/>
                  <a:gd name="connsiteY2" fmla="*/ 99060 h 197167"/>
                  <a:gd name="connsiteX3" fmla="*/ 98108 w 185737"/>
                  <a:gd name="connsiteY3" fmla="*/ 0 h 197167"/>
                  <a:gd name="connsiteX4" fmla="*/ 143828 w 185737"/>
                  <a:gd name="connsiteY4" fmla="*/ 11430 h 19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737" h="197167">
                    <a:moveTo>
                      <a:pt x="185738" y="142875"/>
                    </a:moveTo>
                    <a:cubicBezTo>
                      <a:pt x="169545" y="175260"/>
                      <a:pt x="136208" y="197168"/>
                      <a:pt x="98108" y="197168"/>
                    </a:cubicBezTo>
                    <a:cubicBezTo>
                      <a:pt x="43815" y="197168"/>
                      <a:pt x="0" y="153353"/>
                      <a:pt x="0" y="99060"/>
                    </a:cubicBezTo>
                    <a:cubicBezTo>
                      <a:pt x="0" y="44768"/>
                      <a:pt x="43815" y="0"/>
                      <a:pt x="98108" y="0"/>
                    </a:cubicBezTo>
                    <a:cubicBezTo>
                      <a:pt x="114300" y="0"/>
                      <a:pt x="130493" y="3810"/>
                      <a:pt x="143828" y="11430"/>
                    </a:cubicBezTo>
                  </a:path>
                </a:pathLst>
              </a:custGeom>
              <a:noFill/>
              <a:ln w="15875" cap="sq">
                <a:solidFill>
                  <a:srgbClr val="000000"/>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sp>
            <p:nvSpPr>
              <p:cNvPr id="112" name="Graphic 3">
                <a:extLst>
                  <a:ext uri="{FF2B5EF4-FFF2-40B4-BE49-F238E27FC236}">
                    <a16:creationId xmlns:a16="http://schemas.microsoft.com/office/drawing/2014/main" id="{9404208B-C58D-4B0C-8FBA-D7BE06A744A1}"/>
                  </a:ext>
                </a:extLst>
              </p:cNvPr>
              <p:cNvSpPr/>
              <p:nvPr/>
            </p:nvSpPr>
            <p:spPr>
              <a:xfrm>
                <a:off x="1894897" y="2330992"/>
                <a:ext cx="88582" cy="95250"/>
              </a:xfrm>
              <a:custGeom>
                <a:avLst/>
                <a:gdLst>
                  <a:gd name="connsiteX0" fmla="*/ 88583 w 88582"/>
                  <a:gd name="connsiteY0" fmla="*/ 71438 h 95250"/>
                  <a:gd name="connsiteX1" fmla="*/ 47625 w 88582"/>
                  <a:gd name="connsiteY1" fmla="*/ 95250 h 95250"/>
                  <a:gd name="connsiteX2" fmla="*/ 0 w 88582"/>
                  <a:gd name="connsiteY2" fmla="*/ 47625 h 95250"/>
                  <a:gd name="connsiteX3" fmla="*/ 47625 w 88582"/>
                  <a:gd name="connsiteY3" fmla="*/ 0 h 95250"/>
                </a:gdLst>
                <a:ahLst/>
                <a:cxnLst>
                  <a:cxn ang="0">
                    <a:pos x="connsiteX0" y="connsiteY0"/>
                  </a:cxn>
                  <a:cxn ang="0">
                    <a:pos x="connsiteX1" y="connsiteY1"/>
                  </a:cxn>
                  <a:cxn ang="0">
                    <a:pos x="connsiteX2" y="connsiteY2"/>
                  </a:cxn>
                  <a:cxn ang="0">
                    <a:pos x="connsiteX3" y="connsiteY3"/>
                  </a:cxn>
                </a:cxnLst>
                <a:rect l="l" t="t" r="r" b="b"/>
                <a:pathLst>
                  <a:path w="88582" h="95250">
                    <a:moveTo>
                      <a:pt x="88583" y="71438"/>
                    </a:moveTo>
                    <a:cubicBezTo>
                      <a:pt x="80010" y="85725"/>
                      <a:pt x="64770" y="95250"/>
                      <a:pt x="47625" y="95250"/>
                    </a:cubicBezTo>
                    <a:cubicBezTo>
                      <a:pt x="20955" y="95250"/>
                      <a:pt x="0" y="74295"/>
                      <a:pt x="0" y="47625"/>
                    </a:cubicBezTo>
                    <a:cubicBezTo>
                      <a:pt x="0" y="20955"/>
                      <a:pt x="20955" y="0"/>
                      <a:pt x="47625" y="0"/>
                    </a:cubicBezTo>
                  </a:path>
                </a:pathLst>
              </a:custGeom>
              <a:noFill/>
              <a:ln w="15875" cap="sq">
                <a:solidFill>
                  <a:srgbClr val="000000"/>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sp>
            <p:nvSpPr>
              <p:cNvPr id="113" name="Graphic 3">
                <a:extLst>
                  <a:ext uri="{FF2B5EF4-FFF2-40B4-BE49-F238E27FC236}">
                    <a16:creationId xmlns:a16="http://schemas.microsoft.com/office/drawing/2014/main" id="{AE2A2852-D637-4FC7-BDEA-3274B62AF914}"/>
                  </a:ext>
                </a:extLst>
              </p:cNvPr>
              <p:cNvSpPr/>
              <p:nvPr/>
            </p:nvSpPr>
            <p:spPr>
              <a:xfrm>
                <a:off x="1942522" y="2230980"/>
                <a:ext cx="149542" cy="146685"/>
              </a:xfrm>
              <a:custGeom>
                <a:avLst/>
                <a:gdLst>
                  <a:gd name="connsiteX0" fmla="*/ 149543 w 149542"/>
                  <a:gd name="connsiteY0" fmla="*/ 0 h 146685"/>
                  <a:gd name="connsiteX1" fmla="*/ 0 w 149542"/>
                  <a:gd name="connsiteY1" fmla="*/ 146685 h 146685"/>
                </a:gdLst>
                <a:ahLst/>
                <a:cxnLst>
                  <a:cxn ang="0">
                    <a:pos x="connsiteX0" y="connsiteY0"/>
                  </a:cxn>
                  <a:cxn ang="0">
                    <a:pos x="connsiteX1" y="connsiteY1"/>
                  </a:cxn>
                </a:cxnLst>
                <a:rect l="l" t="t" r="r" b="b"/>
                <a:pathLst>
                  <a:path w="149542" h="146685">
                    <a:moveTo>
                      <a:pt x="149543" y="0"/>
                    </a:moveTo>
                    <a:lnTo>
                      <a:pt x="0" y="146685"/>
                    </a:lnTo>
                  </a:path>
                </a:pathLst>
              </a:custGeom>
              <a:ln w="15875" cap="sq">
                <a:solidFill>
                  <a:srgbClr val="000000"/>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F13DC02D-9EAB-4990-9A8E-758C8F8D944D}"/>
              </a:ext>
              <a:ext uri="{C183D7F6-B498-43B3-948B-1728B52AA6E4}">
                <adec:decorative xmlns:adec="http://schemas.microsoft.com/office/drawing/2017/decorative" val="1"/>
              </a:ext>
            </a:extLst>
          </p:cNvPr>
          <p:cNvGrpSpPr/>
          <p:nvPr/>
        </p:nvGrpSpPr>
        <p:grpSpPr>
          <a:xfrm>
            <a:off x="723610" y="2435033"/>
            <a:ext cx="1618538" cy="1618539"/>
            <a:chOff x="716894" y="2433789"/>
            <a:chExt cx="1620562" cy="1620563"/>
          </a:xfrm>
        </p:grpSpPr>
        <p:sp>
          <p:nvSpPr>
            <p:cNvPr id="92" name="Oval 91">
              <a:extLst>
                <a:ext uri="{FF2B5EF4-FFF2-40B4-BE49-F238E27FC236}">
                  <a16:creationId xmlns:a16="http://schemas.microsoft.com/office/drawing/2014/main" id="{7D6BF3BB-05D9-45EB-924C-F509B90FB956}"/>
                </a:ext>
              </a:extLst>
            </p:cNvPr>
            <p:cNvSpPr/>
            <p:nvPr/>
          </p:nvSpPr>
          <p:spPr bwMode="auto">
            <a:xfrm>
              <a:off x="716894" y="2433789"/>
              <a:ext cx="1620562" cy="1620563"/>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12E8146E-3949-4AC2-9C7F-B980F4D8D99A}"/>
                </a:ext>
              </a:extLst>
            </p:cNvPr>
            <p:cNvGrpSpPr/>
            <p:nvPr/>
          </p:nvGrpSpPr>
          <p:grpSpPr>
            <a:xfrm>
              <a:off x="1073401" y="2790296"/>
              <a:ext cx="907548" cy="907548"/>
              <a:chOff x="1079319" y="2799173"/>
              <a:chExt cx="907548" cy="907548"/>
            </a:xfrm>
          </p:grpSpPr>
          <p:sp>
            <p:nvSpPr>
              <p:cNvPr id="94" name="Oval 93">
                <a:extLst>
                  <a:ext uri="{FF2B5EF4-FFF2-40B4-BE49-F238E27FC236}">
                    <a16:creationId xmlns:a16="http://schemas.microsoft.com/office/drawing/2014/main" id="{B386BC35-F2D7-40CA-81F9-D36583992ADB}"/>
                  </a:ext>
                </a:extLst>
              </p:cNvPr>
              <p:cNvSpPr/>
              <p:nvPr/>
            </p:nvSpPr>
            <p:spPr bwMode="auto">
              <a:xfrm>
                <a:off x="1079319" y="2799173"/>
                <a:ext cx="907548" cy="9075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4BD25651-6E4D-462D-BC2B-725E2516CBD6}"/>
                  </a:ext>
                </a:extLst>
              </p:cNvPr>
              <p:cNvGrpSpPr/>
              <p:nvPr/>
            </p:nvGrpSpPr>
            <p:grpSpPr>
              <a:xfrm>
                <a:off x="1293256" y="2956320"/>
                <a:ext cx="497864" cy="531149"/>
                <a:chOff x="1257661" y="2930564"/>
                <a:chExt cx="527658" cy="562934"/>
              </a:xfrm>
            </p:grpSpPr>
            <p:sp>
              <p:nvSpPr>
                <p:cNvPr id="47" name="people_4">
                  <a:extLst>
                    <a:ext uri="{FF2B5EF4-FFF2-40B4-BE49-F238E27FC236}">
                      <a16:creationId xmlns:a16="http://schemas.microsoft.com/office/drawing/2014/main" id="{E241A0F3-48C1-4FD9-B5F4-847DE15BF83B}"/>
                    </a:ext>
                  </a:extLst>
                </p:cNvPr>
                <p:cNvSpPr>
                  <a:spLocks noChangeAspect="1" noEditPoints="1"/>
                </p:cNvSpPr>
                <p:nvPr/>
              </p:nvSpPr>
              <p:spPr bwMode="auto">
                <a:xfrm>
                  <a:off x="1257661" y="2930564"/>
                  <a:ext cx="370137" cy="4138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26" tIns="45663" rIns="91326" bIns="4566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sp>
              <p:nvSpPr>
                <p:cNvPr id="46" name="Graphic 3">
                  <a:extLst>
                    <a:ext uri="{FF2B5EF4-FFF2-40B4-BE49-F238E27FC236}">
                      <a16:creationId xmlns:a16="http://schemas.microsoft.com/office/drawing/2014/main" id="{4ABBA22B-1352-49C1-8748-D99CB0846A3F}"/>
                    </a:ext>
                  </a:extLst>
                </p:cNvPr>
                <p:cNvSpPr/>
                <p:nvPr/>
              </p:nvSpPr>
              <p:spPr>
                <a:xfrm>
                  <a:off x="1383668" y="3221054"/>
                  <a:ext cx="401651" cy="272444"/>
                </a:xfrm>
                <a:custGeom>
                  <a:avLst/>
                  <a:gdLst>
                    <a:gd name="connsiteX0" fmla="*/ 392524 w 452820"/>
                    <a:gd name="connsiteY0" fmla="*/ 214918 h 307153"/>
                    <a:gd name="connsiteX1" fmla="*/ 60446 w 452820"/>
                    <a:gd name="connsiteY1" fmla="*/ 214918 h 307153"/>
                    <a:gd name="connsiteX2" fmla="*/ 60446 w 452820"/>
                    <a:gd name="connsiteY2" fmla="*/ 0 h 307153"/>
                    <a:gd name="connsiteX3" fmla="*/ 392524 w 452820"/>
                    <a:gd name="connsiteY3" fmla="*/ 0 h 307153"/>
                    <a:gd name="connsiteX4" fmla="*/ 392524 w 452820"/>
                    <a:gd name="connsiteY4" fmla="*/ 214918 h 307153"/>
                    <a:gd name="connsiteX5" fmla="*/ 392524 w 452820"/>
                    <a:gd name="connsiteY5" fmla="*/ 214918 h 307153"/>
                    <a:gd name="connsiteX6" fmla="*/ 392524 w 452820"/>
                    <a:gd name="connsiteY6" fmla="*/ 214918 h 307153"/>
                    <a:gd name="connsiteX7" fmla="*/ 0 w 452820"/>
                    <a:gd name="connsiteY7" fmla="*/ 291781 h 307153"/>
                    <a:gd name="connsiteX8" fmla="*/ 15074 w 452820"/>
                    <a:gd name="connsiteY8" fmla="*/ 307154 h 307153"/>
                    <a:gd name="connsiteX9" fmla="*/ 437746 w 452820"/>
                    <a:gd name="connsiteY9" fmla="*/ 307154 h 307153"/>
                    <a:gd name="connsiteX10" fmla="*/ 452821 w 452820"/>
                    <a:gd name="connsiteY10" fmla="*/ 291781 h 307153"/>
                    <a:gd name="connsiteX11" fmla="*/ 445358 w 452820"/>
                    <a:gd name="connsiteY11" fmla="*/ 268648 h 307153"/>
                    <a:gd name="connsiteX12" fmla="*/ 392524 w 452820"/>
                    <a:gd name="connsiteY12" fmla="*/ 214918 h 307153"/>
                    <a:gd name="connsiteX13" fmla="*/ 60446 w 452820"/>
                    <a:gd name="connsiteY13" fmla="*/ 214918 h 307153"/>
                    <a:gd name="connsiteX14" fmla="*/ 7612 w 452820"/>
                    <a:gd name="connsiteY14" fmla="*/ 268648 h 307153"/>
                    <a:gd name="connsiteX15" fmla="*/ 0 w 452820"/>
                    <a:gd name="connsiteY15" fmla="*/ 291781 h 307153"/>
                    <a:gd name="connsiteX16" fmla="*/ 0 w 452820"/>
                    <a:gd name="connsiteY16" fmla="*/ 291781 h 307153"/>
                    <a:gd name="connsiteX0" fmla="*/ 392524 w 452821"/>
                    <a:gd name="connsiteY0" fmla="*/ 214918 h 307154"/>
                    <a:gd name="connsiteX1" fmla="*/ 60446 w 452821"/>
                    <a:gd name="connsiteY1" fmla="*/ 214918 h 307154"/>
                    <a:gd name="connsiteX2" fmla="*/ 60446 w 452821"/>
                    <a:gd name="connsiteY2" fmla="*/ 0 h 307154"/>
                    <a:gd name="connsiteX3" fmla="*/ 392524 w 452821"/>
                    <a:gd name="connsiteY3" fmla="*/ 0 h 307154"/>
                    <a:gd name="connsiteX4" fmla="*/ 392524 w 452821"/>
                    <a:gd name="connsiteY4" fmla="*/ 214918 h 307154"/>
                    <a:gd name="connsiteX5" fmla="*/ 392524 w 452821"/>
                    <a:gd name="connsiteY5" fmla="*/ 214918 h 307154"/>
                    <a:gd name="connsiteX6" fmla="*/ 392524 w 452821"/>
                    <a:gd name="connsiteY6" fmla="*/ 214918 h 307154"/>
                    <a:gd name="connsiteX7" fmla="*/ 0 w 452821"/>
                    <a:gd name="connsiteY7" fmla="*/ 291781 h 307154"/>
                    <a:gd name="connsiteX8" fmla="*/ 15074 w 452821"/>
                    <a:gd name="connsiteY8" fmla="*/ 307154 h 307154"/>
                    <a:gd name="connsiteX9" fmla="*/ 437746 w 452821"/>
                    <a:gd name="connsiteY9" fmla="*/ 307154 h 307154"/>
                    <a:gd name="connsiteX10" fmla="*/ 452821 w 452821"/>
                    <a:gd name="connsiteY10" fmla="*/ 291781 h 307154"/>
                    <a:gd name="connsiteX11" fmla="*/ 445358 w 452821"/>
                    <a:gd name="connsiteY11" fmla="*/ 268648 h 307154"/>
                    <a:gd name="connsiteX12" fmla="*/ 392524 w 452821"/>
                    <a:gd name="connsiteY12" fmla="*/ 214918 h 307154"/>
                    <a:gd name="connsiteX13" fmla="*/ 60446 w 452821"/>
                    <a:gd name="connsiteY13" fmla="*/ 214918 h 307154"/>
                    <a:gd name="connsiteX14" fmla="*/ 7612 w 452821"/>
                    <a:gd name="connsiteY14" fmla="*/ 268648 h 307154"/>
                    <a:gd name="connsiteX15" fmla="*/ 0 w 452821"/>
                    <a:gd name="connsiteY15" fmla="*/ 291781 h 307154"/>
                    <a:gd name="connsiteX16" fmla="*/ 0 w 452821"/>
                    <a:gd name="connsiteY16" fmla="*/ 291781 h 30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821" h="307154">
                      <a:moveTo>
                        <a:pt x="392524" y="214918"/>
                      </a:moveTo>
                      <a:lnTo>
                        <a:pt x="60446" y="214918"/>
                      </a:lnTo>
                      <a:lnTo>
                        <a:pt x="60446" y="0"/>
                      </a:lnTo>
                      <a:lnTo>
                        <a:pt x="392524" y="0"/>
                      </a:lnTo>
                      <a:lnTo>
                        <a:pt x="392524" y="214918"/>
                      </a:lnTo>
                      <a:lnTo>
                        <a:pt x="392524" y="214918"/>
                      </a:lnTo>
                      <a:lnTo>
                        <a:pt x="392524" y="214918"/>
                      </a:lnTo>
                      <a:close/>
                      <a:moveTo>
                        <a:pt x="0" y="291781"/>
                      </a:moveTo>
                      <a:cubicBezTo>
                        <a:pt x="0" y="300288"/>
                        <a:pt x="6716" y="307154"/>
                        <a:pt x="15074" y="307154"/>
                      </a:cubicBezTo>
                      <a:lnTo>
                        <a:pt x="437746" y="307154"/>
                      </a:lnTo>
                      <a:cubicBezTo>
                        <a:pt x="446104" y="307154"/>
                        <a:pt x="452821" y="300288"/>
                        <a:pt x="452821" y="291781"/>
                      </a:cubicBezTo>
                      <a:cubicBezTo>
                        <a:pt x="452821" y="282826"/>
                        <a:pt x="449985" y="274618"/>
                        <a:pt x="445358" y="268648"/>
                      </a:cubicBezTo>
                      <a:lnTo>
                        <a:pt x="392524" y="214918"/>
                      </a:lnTo>
                      <a:lnTo>
                        <a:pt x="60446" y="214918"/>
                      </a:lnTo>
                      <a:lnTo>
                        <a:pt x="7612" y="268648"/>
                      </a:lnTo>
                      <a:cubicBezTo>
                        <a:pt x="2985" y="274618"/>
                        <a:pt x="0" y="282826"/>
                        <a:pt x="0" y="291781"/>
                      </a:cubicBezTo>
                      <a:lnTo>
                        <a:pt x="0" y="291781"/>
                      </a:lnTo>
                      <a:close/>
                    </a:path>
                  </a:pathLst>
                </a:custGeom>
                <a:solidFill>
                  <a:srgbClr val="0078D4"/>
                </a:solidFill>
                <a:ln w="15875" cap="sq">
                  <a:solidFill>
                    <a:srgbClr val="FFFFFF"/>
                  </a:solidFill>
                  <a:prstDash val="solid"/>
                  <a:miter lim="800000"/>
                  <a:headEnd/>
                  <a:tailEnd/>
                </a:ln>
              </p:spPr>
              <p:txBody>
                <a:bodyPr vert="horz" wrap="square" lIns="91326" tIns="45663" rIns="91326" bIns="4566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5" name="Group 14">
            <a:extLst>
              <a:ext uri="{FF2B5EF4-FFF2-40B4-BE49-F238E27FC236}">
                <a16:creationId xmlns:a16="http://schemas.microsoft.com/office/drawing/2014/main" id="{7B8419A8-11E8-4386-AA9E-65A880949CAF}"/>
              </a:ext>
              <a:ext uri="{C183D7F6-B498-43B3-948B-1728B52AA6E4}">
                <adec:decorative xmlns:adec="http://schemas.microsoft.com/office/drawing/2017/decorative" val="1"/>
              </a:ext>
            </a:extLst>
          </p:cNvPr>
          <p:cNvGrpSpPr/>
          <p:nvPr/>
        </p:nvGrpSpPr>
        <p:grpSpPr>
          <a:xfrm>
            <a:off x="7630747" y="2394425"/>
            <a:ext cx="1618538" cy="1618539"/>
            <a:chOff x="7632665" y="2393130"/>
            <a:chExt cx="1620562" cy="1620563"/>
          </a:xfrm>
        </p:grpSpPr>
        <p:sp>
          <p:nvSpPr>
            <p:cNvPr id="71" name="Oval 70">
              <a:extLst>
                <a:ext uri="{FF2B5EF4-FFF2-40B4-BE49-F238E27FC236}">
                  <a16:creationId xmlns:a16="http://schemas.microsoft.com/office/drawing/2014/main" id="{29B23098-F4FE-4E1C-BB10-214D63592050}"/>
                </a:ext>
              </a:extLst>
            </p:cNvPr>
            <p:cNvSpPr/>
            <p:nvPr/>
          </p:nvSpPr>
          <p:spPr bwMode="auto">
            <a:xfrm>
              <a:off x="7632665" y="2393130"/>
              <a:ext cx="1620562" cy="1620563"/>
            </a:xfrm>
            <a:prstGeom prst="ellipse">
              <a:avLst/>
            </a:prstGeom>
            <a:solidFill>
              <a:schemeClr val="bg1"/>
            </a:solidFill>
            <a:ln w="88900">
              <a:solidFill>
                <a:srgbClr val="E6E6E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DF5A15A0-1FBE-4231-9FE0-EAFB3C4540AD}"/>
                </a:ext>
              </a:extLst>
            </p:cNvPr>
            <p:cNvGrpSpPr/>
            <p:nvPr/>
          </p:nvGrpSpPr>
          <p:grpSpPr>
            <a:xfrm>
              <a:off x="7989172" y="2749637"/>
              <a:ext cx="907548" cy="907548"/>
              <a:chOff x="7989172" y="2749637"/>
              <a:chExt cx="907548" cy="907548"/>
            </a:xfrm>
          </p:grpSpPr>
          <p:sp>
            <p:nvSpPr>
              <p:cNvPr id="73" name="Oval 72">
                <a:extLst>
                  <a:ext uri="{FF2B5EF4-FFF2-40B4-BE49-F238E27FC236}">
                    <a16:creationId xmlns:a16="http://schemas.microsoft.com/office/drawing/2014/main" id="{FE9BE0E3-4B2A-4DDB-A970-5E9CD91EC771}"/>
                  </a:ext>
                </a:extLst>
              </p:cNvPr>
              <p:cNvSpPr/>
              <p:nvPr/>
            </p:nvSpPr>
            <p:spPr bwMode="auto">
              <a:xfrm>
                <a:off x="7989172" y="2749637"/>
                <a:ext cx="907548" cy="907548"/>
              </a:xfrm>
              <a:prstGeom prst="ellipse">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52" tIns="146121" rIns="182652" bIns="146121" numCol="1" spcCol="0" rtlCol="0" fromWordArt="0" anchor="t" anchorCtr="0" forceAA="0" compatLnSpc="1">
                <a:prstTxWarp prst="textNoShape">
                  <a:avLst/>
                </a:prstTxWarp>
                <a:noAutofit/>
              </a:bodyPr>
              <a:lstStyle/>
              <a:p>
                <a:pPr marL="0" marR="0" lvl="0" indent="0" algn="l" defTabSz="93129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51" name="Group 51">
                <a:extLst>
                  <a:ext uri="{FF2B5EF4-FFF2-40B4-BE49-F238E27FC236}">
                    <a16:creationId xmlns:a16="http://schemas.microsoft.com/office/drawing/2014/main" id="{49B088DB-5338-4E09-9606-1CC4A6211794}"/>
                  </a:ext>
                </a:extLst>
              </p:cNvPr>
              <p:cNvGrpSpPr>
                <a:grpSpLocks noChangeAspect="1"/>
              </p:cNvGrpSpPr>
              <p:nvPr/>
            </p:nvGrpSpPr>
            <p:grpSpPr bwMode="auto">
              <a:xfrm>
                <a:off x="8244575" y="2944277"/>
                <a:ext cx="396743" cy="496823"/>
                <a:chOff x="3329" y="889"/>
                <a:chExt cx="111" cy="139"/>
              </a:xfrm>
            </p:grpSpPr>
            <p:sp>
              <p:nvSpPr>
                <p:cNvPr id="52" name="Rectangle 52">
                  <a:extLst>
                    <a:ext uri="{FF2B5EF4-FFF2-40B4-BE49-F238E27FC236}">
                      <a16:creationId xmlns:a16="http://schemas.microsoft.com/office/drawing/2014/main" id="{CCCC2A6E-9E6D-4CD8-8B35-E5F873E31E4A}"/>
                    </a:ext>
                  </a:extLst>
                </p:cNvPr>
                <p:cNvSpPr>
                  <a:spLocks noChangeArrowheads="1"/>
                </p:cNvSpPr>
                <p:nvPr/>
              </p:nvSpPr>
              <p:spPr bwMode="auto">
                <a:xfrm>
                  <a:off x="3385" y="982"/>
                  <a:ext cx="55" cy="46"/>
                </a:xfrm>
                <a:prstGeom prst="rect">
                  <a:avLst/>
                </a:pr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30" tIns="44765" rIns="89530" bIns="4476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3" name="Freeform 53">
                  <a:extLst>
                    <a:ext uri="{FF2B5EF4-FFF2-40B4-BE49-F238E27FC236}">
                      <a16:creationId xmlns:a16="http://schemas.microsoft.com/office/drawing/2014/main" id="{21684E12-53C9-4133-B839-D905EF19E582}"/>
                    </a:ext>
                  </a:extLst>
                </p:cNvPr>
                <p:cNvSpPr>
                  <a:spLocks/>
                </p:cNvSpPr>
                <p:nvPr/>
              </p:nvSpPr>
              <p:spPr bwMode="auto">
                <a:xfrm>
                  <a:off x="3329" y="889"/>
                  <a:ext cx="101" cy="139"/>
                </a:xfrm>
                <a:custGeom>
                  <a:avLst/>
                  <a:gdLst>
                    <a:gd name="T0" fmla="*/ 43 w 101"/>
                    <a:gd name="T1" fmla="*/ 139 h 139"/>
                    <a:gd name="T2" fmla="*/ 0 w 101"/>
                    <a:gd name="T3" fmla="*/ 139 h 139"/>
                    <a:gd name="T4" fmla="*/ 0 w 101"/>
                    <a:gd name="T5" fmla="*/ 20 h 139"/>
                    <a:gd name="T6" fmla="*/ 19 w 101"/>
                    <a:gd name="T7" fmla="*/ 0 h 139"/>
                    <a:gd name="T8" fmla="*/ 101 w 101"/>
                    <a:gd name="T9" fmla="*/ 0 h 139"/>
                    <a:gd name="T10" fmla="*/ 101 w 101"/>
                    <a:gd name="T11" fmla="*/ 55 h 139"/>
                  </a:gdLst>
                  <a:ahLst/>
                  <a:cxnLst>
                    <a:cxn ang="0">
                      <a:pos x="T0" y="T1"/>
                    </a:cxn>
                    <a:cxn ang="0">
                      <a:pos x="T2" y="T3"/>
                    </a:cxn>
                    <a:cxn ang="0">
                      <a:pos x="T4" y="T5"/>
                    </a:cxn>
                    <a:cxn ang="0">
                      <a:pos x="T6" y="T7"/>
                    </a:cxn>
                    <a:cxn ang="0">
                      <a:pos x="T8" y="T9"/>
                    </a:cxn>
                    <a:cxn ang="0">
                      <a:pos x="T10" y="T11"/>
                    </a:cxn>
                  </a:cxnLst>
                  <a:rect l="0" t="0" r="r" b="b"/>
                  <a:pathLst>
                    <a:path w="101" h="139">
                      <a:moveTo>
                        <a:pt x="43" y="139"/>
                      </a:moveTo>
                      <a:lnTo>
                        <a:pt x="0" y="139"/>
                      </a:lnTo>
                      <a:lnTo>
                        <a:pt x="0" y="20"/>
                      </a:lnTo>
                      <a:lnTo>
                        <a:pt x="19" y="0"/>
                      </a:lnTo>
                      <a:lnTo>
                        <a:pt x="101" y="0"/>
                      </a:lnTo>
                      <a:lnTo>
                        <a:pt x="101" y="55"/>
                      </a:ln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30" tIns="44765" rIns="89530" bIns="4476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 name="Freeform 54">
                  <a:extLst>
                    <a:ext uri="{FF2B5EF4-FFF2-40B4-BE49-F238E27FC236}">
                      <a16:creationId xmlns:a16="http://schemas.microsoft.com/office/drawing/2014/main" id="{CC0DAB24-0884-4BDC-BADB-90D902E8CC5B}"/>
                    </a:ext>
                  </a:extLst>
                </p:cNvPr>
                <p:cNvSpPr>
                  <a:spLocks/>
                </p:cNvSpPr>
                <p:nvPr/>
              </p:nvSpPr>
              <p:spPr bwMode="auto">
                <a:xfrm>
                  <a:off x="3395" y="954"/>
                  <a:ext cx="37" cy="28"/>
                </a:xfrm>
                <a:custGeom>
                  <a:avLst/>
                  <a:gdLst>
                    <a:gd name="T0" fmla="*/ 26 w 26"/>
                    <a:gd name="T1" fmla="*/ 20 h 20"/>
                    <a:gd name="T2" fmla="*/ 26 w 26"/>
                    <a:gd name="T3" fmla="*/ 13 h 20"/>
                    <a:gd name="T4" fmla="*/ 13 w 26"/>
                    <a:gd name="T5" fmla="*/ 0 h 20"/>
                    <a:gd name="T6" fmla="*/ 0 w 26"/>
                    <a:gd name="T7" fmla="*/ 13 h 20"/>
                    <a:gd name="T8" fmla="*/ 0 w 26"/>
                    <a:gd name="T9" fmla="*/ 20 h 20"/>
                  </a:gdLst>
                  <a:ahLst/>
                  <a:cxnLst>
                    <a:cxn ang="0">
                      <a:pos x="T0" y="T1"/>
                    </a:cxn>
                    <a:cxn ang="0">
                      <a:pos x="T2" y="T3"/>
                    </a:cxn>
                    <a:cxn ang="0">
                      <a:pos x="T4" y="T5"/>
                    </a:cxn>
                    <a:cxn ang="0">
                      <a:pos x="T6" y="T7"/>
                    </a:cxn>
                    <a:cxn ang="0">
                      <a:pos x="T8" y="T9"/>
                    </a:cxn>
                  </a:cxnLst>
                  <a:rect l="0" t="0" r="r" b="b"/>
                  <a:pathLst>
                    <a:path w="26" h="20">
                      <a:moveTo>
                        <a:pt x="26" y="20"/>
                      </a:moveTo>
                      <a:cubicBezTo>
                        <a:pt x="26" y="13"/>
                        <a:pt x="26" y="13"/>
                        <a:pt x="26" y="13"/>
                      </a:cubicBezTo>
                      <a:cubicBezTo>
                        <a:pt x="26" y="6"/>
                        <a:pt x="21" y="0"/>
                        <a:pt x="13" y="0"/>
                      </a:cubicBezTo>
                      <a:cubicBezTo>
                        <a:pt x="6" y="0"/>
                        <a:pt x="0" y="6"/>
                        <a:pt x="0" y="13"/>
                      </a:cubicBezTo>
                      <a:cubicBezTo>
                        <a:pt x="0" y="20"/>
                        <a:pt x="0" y="20"/>
                        <a:pt x="0" y="2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30" tIns="44765" rIns="89530" bIns="4476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Tree>
    <p:extLst>
      <p:ext uri="{BB962C8B-B14F-4D97-AF65-F5344CB8AC3E}">
        <p14:creationId xmlns:p14="http://schemas.microsoft.com/office/powerpoint/2010/main" val="260002596"/>
      </p:ext>
    </p:extLst>
  </p:cSld>
  <p:clrMapOvr>
    <a:masterClrMapping/>
  </p:clrMapOvr>
  <p:transition>
    <p:fade/>
  </p:transition>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55"/>
                                        </p:tgtEl>
                                        <p:attrNameLst>
                                          <p:attrName>style.visibility</p:attrName>
                                        </p:attrNameLst>
                                      </p:cBhvr>
                                      <p:to>
                                        <p:strVal val="visible"/>
                                      </p:to>
                                    </p:set>
                                    <p:animEffect transition="in" filter="fade">
                                      <p:cBhvr>
                                        <p:cTn id="7" dur="500"/>
                                        <p:tgtEl>
                                          <p:spTgt spid="1855"/>
                                        </p:tgtEl>
                                      </p:cBhvr>
                                    </p:animEffect>
                                  </p:childTnLst>
                                </p:cTn>
                              </p:par>
                              <p:par>
                                <p:cTn id="8" presetID="42" presetClass="path" presetSubtype="0" decel="100000" fill="hold" grpId="1" nodeType="withEffect">
                                  <p:stCondLst>
                                    <p:cond delay="0"/>
                                  </p:stCondLst>
                                  <p:childTnLst>
                                    <p:animMotion origin="layout" path="M -1.04167E-6 -0.03472 L -1.04167E-6 -1.48148E-6 " pathEditMode="relative" rAng="0" ptsTypes="AA">
                                      <p:cBhvr>
                                        <p:cTn id="9" dur="500" fill="hold"/>
                                        <p:tgtEl>
                                          <p:spTgt spid="1855"/>
                                        </p:tgtEl>
                                        <p:attrNameLst>
                                          <p:attrName>ppt_x</p:attrName>
                                          <p:attrName>ppt_y</p:attrName>
                                        </p:attrNameLst>
                                      </p:cBhvr>
                                      <p:rCtr x="0" y="1736"/>
                                    </p:animMotion>
                                  </p:childTnLst>
                                </p:cTn>
                              </p:par>
                              <p:par>
                                <p:cTn id="10" presetID="10"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0"/>
                                  </p:stCondLst>
                                  <p:childTnLst>
                                    <p:animMotion origin="layout" path="M 4.58333E-6 0.03889 L 4.58333E-6 3.33333E-6 " pathEditMode="relative" rAng="0" ptsTypes="AA">
                                      <p:cBhvr>
                                        <p:cTn id="14" dur="500" fill="hold"/>
                                        <p:tgtEl>
                                          <p:spTgt spid="7"/>
                                        </p:tgtEl>
                                        <p:attrNameLst>
                                          <p:attrName>ppt_x</p:attrName>
                                          <p:attrName>ppt_y</p:attrName>
                                        </p:attrNameLst>
                                      </p:cBhvr>
                                      <p:rCtr x="0" y="-1944"/>
                                    </p:animMotion>
                                  </p:childTnLst>
                                </p:cTn>
                              </p:par>
                              <p:par>
                                <p:cTn id="15" presetID="10" presetClass="entr" presetSubtype="0" fill="hold" grpId="0" nodeType="withEffect">
                                  <p:stCondLst>
                                    <p:cond delay="250"/>
                                  </p:stCondLst>
                                  <p:childTnLst>
                                    <p:set>
                                      <p:cBhvr>
                                        <p:cTn id="16" dur="1" fill="hold">
                                          <p:stCondLst>
                                            <p:cond delay="0"/>
                                          </p:stCondLst>
                                        </p:cTn>
                                        <p:tgtEl>
                                          <p:spTgt spid="1856"/>
                                        </p:tgtEl>
                                        <p:attrNameLst>
                                          <p:attrName>style.visibility</p:attrName>
                                        </p:attrNameLst>
                                      </p:cBhvr>
                                      <p:to>
                                        <p:strVal val="visible"/>
                                      </p:to>
                                    </p:set>
                                    <p:animEffect transition="in" filter="fade">
                                      <p:cBhvr>
                                        <p:cTn id="17" dur="500"/>
                                        <p:tgtEl>
                                          <p:spTgt spid="1856"/>
                                        </p:tgtEl>
                                      </p:cBhvr>
                                    </p:animEffect>
                                  </p:childTnLst>
                                </p:cTn>
                              </p:par>
                              <p:par>
                                <p:cTn id="18" presetID="42" presetClass="path" presetSubtype="0" decel="100000" fill="hold" grpId="1" nodeType="withEffect">
                                  <p:stCondLst>
                                    <p:cond delay="250"/>
                                  </p:stCondLst>
                                  <p:childTnLst>
                                    <p:animMotion origin="layout" path="M 2.70833E-6 -0.03472 L 2.70833E-6 -1.48148E-6 " pathEditMode="relative" rAng="0" ptsTypes="AA">
                                      <p:cBhvr>
                                        <p:cTn id="19" dur="500" fill="hold"/>
                                        <p:tgtEl>
                                          <p:spTgt spid="1856"/>
                                        </p:tgtEl>
                                        <p:attrNameLst>
                                          <p:attrName>ppt_x</p:attrName>
                                          <p:attrName>ppt_y</p:attrName>
                                        </p:attrNameLst>
                                      </p:cBhvr>
                                      <p:rCtr x="0" y="1736"/>
                                    </p:animMotion>
                                  </p:childTnLst>
                                </p:cTn>
                              </p:par>
                              <p:par>
                                <p:cTn id="20" presetID="10" presetClass="entr" presetSubtype="0" fill="hold" nodeType="withEffect">
                                  <p:stCondLst>
                                    <p:cond delay="2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nodeType="withEffect">
                                  <p:stCondLst>
                                    <p:cond delay="250"/>
                                  </p:stCondLst>
                                  <p:childTnLst>
                                    <p:animMotion origin="layout" path="M -2.91667E-6 0.03889 L -2.91667E-6 1.48148E-6 " pathEditMode="relative" rAng="0" ptsTypes="AA">
                                      <p:cBhvr>
                                        <p:cTn id="24" dur="500" fill="hold"/>
                                        <p:tgtEl>
                                          <p:spTgt spid="12"/>
                                        </p:tgtEl>
                                        <p:attrNameLst>
                                          <p:attrName>ppt_x</p:attrName>
                                          <p:attrName>ppt_y</p:attrName>
                                        </p:attrNameLst>
                                      </p:cBhvr>
                                      <p:rCtr x="0" y="-1944"/>
                                    </p:animMotion>
                                  </p:childTnLst>
                                </p:cTn>
                              </p:par>
                              <p:par>
                                <p:cTn id="25" presetID="10" presetClass="entr" presetSubtype="0" fill="hold" grpId="0" nodeType="withEffect">
                                  <p:stCondLst>
                                    <p:cond delay="500"/>
                                  </p:stCondLst>
                                  <p:childTnLst>
                                    <p:set>
                                      <p:cBhvr>
                                        <p:cTn id="26" dur="1" fill="hold">
                                          <p:stCondLst>
                                            <p:cond delay="0"/>
                                          </p:stCondLst>
                                        </p:cTn>
                                        <p:tgtEl>
                                          <p:spTgt spid="1857"/>
                                        </p:tgtEl>
                                        <p:attrNameLst>
                                          <p:attrName>style.visibility</p:attrName>
                                        </p:attrNameLst>
                                      </p:cBhvr>
                                      <p:to>
                                        <p:strVal val="visible"/>
                                      </p:to>
                                    </p:set>
                                    <p:animEffect transition="in" filter="fade">
                                      <p:cBhvr>
                                        <p:cTn id="27" dur="500"/>
                                        <p:tgtEl>
                                          <p:spTgt spid="1857"/>
                                        </p:tgtEl>
                                      </p:cBhvr>
                                    </p:animEffect>
                                  </p:childTnLst>
                                </p:cTn>
                              </p:par>
                              <p:par>
                                <p:cTn id="28" presetID="42" presetClass="path" presetSubtype="0" decel="100000" fill="hold" grpId="1" nodeType="withEffect">
                                  <p:stCondLst>
                                    <p:cond delay="500"/>
                                  </p:stCondLst>
                                  <p:childTnLst>
                                    <p:animMotion origin="layout" path="M 2.70833E-6 -0.03472 L 2.70833E-6 -4.07407E-6 " pathEditMode="relative" rAng="0" ptsTypes="AA">
                                      <p:cBhvr>
                                        <p:cTn id="29" dur="500" fill="hold"/>
                                        <p:tgtEl>
                                          <p:spTgt spid="1857"/>
                                        </p:tgtEl>
                                        <p:attrNameLst>
                                          <p:attrName>ppt_x</p:attrName>
                                          <p:attrName>ppt_y</p:attrName>
                                        </p:attrNameLst>
                                      </p:cBhvr>
                                      <p:rCtr x="0" y="1736"/>
                                    </p:animMotion>
                                  </p:childTnLst>
                                </p:cTn>
                              </p:par>
                              <p:par>
                                <p:cTn id="30" presetID="10" presetClass="entr" presetSubtype="0" fill="hold" nodeType="withEffect">
                                  <p:stCondLst>
                                    <p:cond delay="50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par>
                                <p:cTn id="33" presetID="42" presetClass="path" presetSubtype="0" decel="100000" fill="hold" nodeType="withEffect">
                                  <p:stCondLst>
                                    <p:cond delay="500"/>
                                  </p:stCondLst>
                                  <p:childTnLst>
                                    <p:animMotion origin="layout" path="M 4.58333E-6 0.03889 L 4.58333E-6 3.33333E-6 " pathEditMode="relative" rAng="0" ptsTypes="AA">
                                      <p:cBhvr>
                                        <p:cTn id="34" dur="500" fill="hold"/>
                                        <p:tgtEl>
                                          <p:spTgt spid="63"/>
                                        </p:tgtEl>
                                        <p:attrNameLst>
                                          <p:attrName>ppt_x</p:attrName>
                                          <p:attrName>ppt_y</p:attrName>
                                        </p:attrNameLst>
                                      </p:cBhvr>
                                      <p:rCtr x="0" y="-1944"/>
                                    </p:animMotion>
                                  </p:childTnLst>
                                </p:cTn>
                              </p:par>
                              <p:par>
                                <p:cTn id="35" presetID="10" presetClass="entr" presetSubtype="0" fill="hold" grpId="0" nodeType="withEffect">
                                  <p:stCondLst>
                                    <p:cond delay="750"/>
                                  </p:stCondLst>
                                  <p:childTnLst>
                                    <p:set>
                                      <p:cBhvr>
                                        <p:cTn id="36" dur="1" fill="hold">
                                          <p:stCondLst>
                                            <p:cond delay="0"/>
                                          </p:stCondLst>
                                        </p:cTn>
                                        <p:tgtEl>
                                          <p:spTgt spid="1858"/>
                                        </p:tgtEl>
                                        <p:attrNameLst>
                                          <p:attrName>style.visibility</p:attrName>
                                        </p:attrNameLst>
                                      </p:cBhvr>
                                      <p:to>
                                        <p:strVal val="visible"/>
                                      </p:to>
                                    </p:set>
                                    <p:animEffect transition="in" filter="fade">
                                      <p:cBhvr>
                                        <p:cTn id="37" dur="500"/>
                                        <p:tgtEl>
                                          <p:spTgt spid="1858"/>
                                        </p:tgtEl>
                                      </p:cBhvr>
                                    </p:animEffect>
                                  </p:childTnLst>
                                </p:cTn>
                              </p:par>
                              <p:par>
                                <p:cTn id="38" presetID="42" presetClass="path" presetSubtype="0" decel="100000" fill="hold" grpId="1" nodeType="withEffect">
                                  <p:stCondLst>
                                    <p:cond delay="750"/>
                                  </p:stCondLst>
                                  <p:childTnLst>
                                    <p:animMotion origin="layout" path="M -1.875E-6 -0.03472 L -1.875E-6 -4.81481E-6 " pathEditMode="relative" rAng="0" ptsTypes="AA">
                                      <p:cBhvr>
                                        <p:cTn id="39" dur="500" fill="hold"/>
                                        <p:tgtEl>
                                          <p:spTgt spid="1858"/>
                                        </p:tgtEl>
                                        <p:attrNameLst>
                                          <p:attrName>ppt_x</p:attrName>
                                          <p:attrName>ppt_y</p:attrName>
                                        </p:attrNameLst>
                                      </p:cBhvr>
                                      <p:rCtr x="0" y="1736"/>
                                    </p:animMotion>
                                  </p:childTnLst>
                                </p:cTn>
                              </p:par>
                              <p:par>
                                <p:cTn id="40" presetID="10" presetClass="entr" presetSubtype="0" fill="hold" nodeType="withEffect">
                                  <p:stCondLst>
                                    <p:cond delay="75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42" presetClass="path" presetSubtype="0" decel="100000" fill="hold" nodeType="withEffect">
                                  <p:stCondLst>
                                    <p:cond delay="750"/>
                                  </p:stCondLst>
                                  <p:childTnLst>
                                    <p:animMotion origin="layout" path="M 4.58333E-6 0.03889 L 4.58333E-6 3.33333E-6 " pathEditMode="relative" rAng="0" ptsTypes="AA">
                                      <p:cBhvr>
                                        <p:cTn id="44" dur="500" fill="hold"/>
                                        <p:tgtEl>
                                          <p:spTgt spid="15"/>
                                        </p:tgtEl>
                                        <p:attrNameLst>
                                          <p:attrName>ppt_x</p:attrName>
                                          <p:attrName>ppt_y</p:attrName>
                                        </p:attrNameLst>
                                      </p:cBhvr>
                                      <p:rCtr x="0" y="-1944"/>
                                    </p:animMotion>
                                  </p:childTnLst>
                                </p:cTn>
                              </p:par>
                              <p:par>
                                <p:cTn id="45" presetID="10" presetClass="entr" presetSubtype="0" fill="hold" grpId="0" nodeType="withEffect">
                                  <p:stCondLst>
                                    <p:cond delay="1000"/>
                                  </p:stCondLst>
                                  <p:childTnLst>
                                    <p:set>
                                      <p:cBhvr>
                                        <p:cTn id="46" dur="1" fill="hold">
                                          <p:stCondLst>
                                            <p:cond delay="0"/>
                                          </p:stCondLst>
                                        </p:cTn>
                                        <p:tgtEl>
                                          <p:spTgt spid="1859"/>
                                        </p:tgtEl>
                                        <p:attrNameLst>
                                          <p:attrName>style.visibility</p:attrName>
                                        </p:attrNameLst>
                                      </p:cBhvr>
                                      <p:to>
                                        <p:strVal val="visible"/>
                                      </p:to>
                                    </p:set>
                                    <p:animEffect transition="in" filter="fade">
                                      <p:cBhvr>
                                        <p:cTn id="47" dur="500"/>
                                        <p:tgtEl>
                                          <p:spTgt spid="1859"/>
                                        </p:tgtEl>
                                      </p:cBhvr>
                                    </p:animEffect>
                                  </p:childTnLst>
                                </p:cTn>
                              </p:par>
                              <p:par>
                                <p:cTn id="48" presetID="42" presetClass="path" presetSubtype="0" decel="100000" fill="hold" grpId="1" nodeType="withEffect">
                                  <p:stCondLst>
                                    <p:cond delay="1000"/>
                                  </p:stCondLst>
                                  <p:childTnLst>
                                    <p:animMotion origin="layout" path="M 2.08333E-6 -0.03473 L 2.08333E-6 2.96296E-6 " pathEditMode="relative" rAng="0" ptsTypes="AA">
                                      <p:cBhvr>
                                        <p:cTn id="49" dur="500" fill="hold"/>
                                        <p:tgtEl>
                                          <p:spTgt spid="1859"/>
                                        </p:tgtEl>
                                        <p:attrNameLst>
                                          <p:attrName>ppt_x</p:attrName>
                                          <p:attrName>ppt_y</p:attrName>
                                        </p:attrNameLst>
                                      </p:cBhvr>
                                      <p:rCtr x="0" y="1736"/>
                                    </p:animMotion>
                                  </p:childTnLst>
                                </p:cTn>
                              </p:par>
                              <p:par>
                                <p:cTn id="50" presetID="10" presetClass="entr" presetSubtype="0" fill="hold" nodeType="withEffect">
                                  <p:stCondLst>
                                    <p:cond delay="10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42" presetClass="path" presetSubtype="0" decel="100000" fill="hold" nodeType="withEffect">
                                  <p:stCondLst>
                                    <p:cond delay="1000"/>
                                  </p:stCondLst>
                                  <p:childTnLst>
                                    <p:animMotion origin="layout" path="M -4.16667E-7 0.03889 L -4.16667E-7 1.85185E-6 " pathEditMode="relative" rAng="0" ptsTypes="AA">
                                      <p:cBhvr>
                                        <p:cTn id="54" dur="500" fill="hold"/>
                                        <p:tgtEl>
                                          <p:spTgt spid="14"/>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5" grpId="0" animBg="1"/>
      <p:bldP spid="1855" grpId="1" animBg="1"/>
      <p:bldP spid="1856" grpId="0" animBg="1"/>
      <p:bldP spid="1856" grpId="1" animBg="1"/>
      <p:bldP spid="1857" grpId="0" animBg="1"/>
      <p:bldP spid="1857" grpId="1" animBg="1"/>
      <p:bldP spid="1858" grpId="0" animBg="1"/>
      <p:bldP spid="1858" grpId="1" animBg="1"/>
      <p:bldP spid="1859" grpId="0" animBg="1"/>
      <p:bldP spid="1859"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43EC1431-7C43-4015-226C-186DEBD6A91A}"/>
              </a:ext>
            </a:extLst>
          </p:cNvPr>
          <p:cNvSpPr>
            <a:spLocks noGrp="1"/>
          </p:cNvSpPr>
          <p:nvPr>
            <p:ph type="title"/>
          </p:nvPr>
        </p:nvSpPr>
        <p:spPr>
          <a:xfrm>
            <a:off x="635915" y="271996"/>
            <a:ext cx="11018520" cy="430887"/>
          </a:xfrm>
        </p:spPr>
        <p:txBody>
          <a:bodyPr/>
          <a:lstStyle/>
          <a:p>
            <a:pPr algn="ctr"/>
            <a:r>
              <a:rPr lang="en-US" sz="2800" dirty="0">
                <a:latin typeface="+mj-lt"/>
              </a:rPr>
              <a:t>Do More With Less with Microsoft </a:t>
            </a:r>
            <a:r>
              <a:rPr lang="en-US" sz="2800" dirty="0"/>
              <a:t>Security </a:t>
            </a:r>
          </a:p>
        </p:txBody>
      </p:sp>
      <p:graphicFrame>
        <p:nvGraphicFramePr>
          <p:cNvPr id="14" name="Table 13">
            <a:extLst>
              <a:ext uri="{FF2B5EF4-FFF2-40B4-BE49-F238E27FC236}">
                <a16:creationId xmlns:a16="http://schemas.microsoft.com/office/drawing/2014/main" id="{BBB5E627-00D1-B166-A411-8479C8BC7A39}"/>
              </a:ext>
            </a:extLst>
          </p:cNvPr>
          <p:cNvGraphicFramePr>
            <a:graphicFrameLocks noGrp="1"/>
          </p:cNvGraphicFramePr>
          <p:nvPr>
            <p:extLst>
              <p:ext uri="{D42A27DB-BD31-4B8C-83A1-F6EECF244321}">
                <p14:modId xmlns:p14="http://schemas.microsoft.com/office/powerpoint/2010/main" val="3075455162"/>
              </p:ext>
            </p:extLst>
          </p:nvPr>
        </p:nvGraphicFramePr>
        <p:xfrm>
          <a:off x="767020" y="1308088"/>
          <a:ext cx="10961502" cy="2444479"/>
        </p:xfrm>
        <a:graphic>
          <a:graphicData uri="http://schemas.openxmlformats.org/drawingml/2006/table">
            <a:tbl>
              <a:tblPr firstRow="1">
                <a:tableStyleId>{5C22544A-7EE6-4342-B048-85BDC9FD1C3A}</a:tableStyleId>
              </a:tblPr>
              <a:tblGrid>
                <a:gridCol w="3653834">
                  <a:extLst>
                    <a:ext uri="{9D8B030D-6E8A-4147-A177-3AD203B41FA5}">
                      <a16:colId xmlns:a16="http://schemas.microsoft.com/office/drawing/2014/main" val="3697152575"/>
                    </a:ext>
                  </a:extLst>
                </a:gridCol>
                <a:gridCol w="3653834">
                  <a:extLst>
                    <a:ext uri="{9D8B030D-6E8A-4147-A177-3AD203B41FA5}">
                      <a16:colId xmlns:a16="http://schemas.microsoft.com/office/drawing/2014/main" val="3933331468"/>
                    </a:ext>
                  </a:extLst>
                </a:gridCol>
                <a:gridCol w="3653834">
                  <a:extLst>
                    <a:ext uri="{9D8B030D-6E8A-4147-A177-3AD203B41FA5}">
                      <a16:colId xmlns:a16="http://schemas.microsoft.com/office/drawing/2014/main" val="2560484229"/>
                    </a:ext>
                  </a:extLst>
                </a:gridCol>
              </a:tblGrid>
              <a:tr h="244447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j-lt"/>
                          <a:ea typeface="Segoe UI" pitchFamily="34" charset="0"/>
                          <a:cs typeface="Segoe UI"/>
                        </a:rPr>
                        <a:t>Simplify Vendor Management</a:t>
                      </a:r>
                    </a:p>
                  </a:txBody>
                  <a:tcPr marL="137160" marR="137160" marT="137160" marB="137160">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j-lt"/>
                          <a:ea typeface="Segoe UI" pitchFamily="34" charset="0"/>
                          <a:cs typeface="Segoe UI"/>
                        </a:rPr>
                        <a:t>Reduce threats with AI and Automation </a:t>
                      </a:r>
                    </a:p>
                  </a:txBody>
                  <a:tcPr marL="274320" marR="137160" marT="137160" marB="1371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j-lt"/>
                          <a:ea typeface="Segoe UI" pitchFamily="34" charset="0"/>
                          <a:cs typeface="Segoe UI"/>
                        </a:rPr>
                        <a:t>Improve Operational Efficiency</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j-lt"/>
                          <a:ea typeface="Segoe UI" pitchFamily="34" charset="0"/>
                          <a:cs typeface="Segoe UI"/>
                        </a:rPr>
                        <a:t> </a:t>
                      </a:r>
                    </a:p>
                  </a:txBody>
                  <a:tcPr marL="274320" marR="137160" marT="137160" marB="1371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634715763"/>
                  </a:ext>
                </a:extLst>
              </a:tr>
            </a:tbl>
          </a:graphicData>
        </a:graphic>
      </p:graphicFrame>
      <p:sp>
        <p:nvSpPr>
          <p:cNvPr id="63" name="TextBox 62">
            <a:extLst>
              <a:ext uri="{FF2B5EF4-FFF2-40B4-BE49-F238E27FC236}">
                <a16:creationId xmlns:a16="http://schemas.microsoft.com/office/drawing/2014/main" id="{3ADA82D3-DE2C-7380-A3A3-274132CFE464}"/>
              </a:ext>
            </a:extLst>
          </p:cNvPr>
          <p:cNvSpPr txBox="1"/>
          <p:nvPr/>
        </p:nvSpPr>
        <p:spPr>
          <a:xfrm>
            <a:off x="1157672" y="1963470"/>
            <a:ext cx="2829968" cy="1092607"/>
          </a:xfrm>
          <a:prstGeom prst="rect">
            <a:avLst/>
          </a:prstGeom>
          <a:noFill/>
        </p:spPr>
        <p:txBody>
          <a:bodyPr wrap="square">
            <a:spAutoFit/>
          </a:bodyPr>
          <a:lstStyle/>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Integrate up to 50 product categories</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Eliminate redundant capabilities</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Consolidate number of contracts to manage</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Cut third party consulting and deployment costs</a:t>
            </a:r>
          </a:p>
        </p:txBody>
      </p:sp>
      <p:sp>
        <p:nvSpPr>
          <p:cNvPr id="65" name="TextBox 64">
            <a:extLst>
              <a:ext uri="{FF2B5EF4-FFF2-40B4-BE49-F238E27FC236}">
                <a16:creationId xmlns:a16="http://schemas.microsoft.com/office/drawing/2014/main" id="{4C5719A2-A17F-B6D9-BA0F-DA8889CF3E72}"/>
              </a:ext>
            </a:extLst>
          </p:cNvPr>
          <p:cNvSpPr txBox="1"/>
          <p:nvPr/>
        </p:nvSpPr>
        <p:spPr>
          <a:xfrm>
            <a:off x="4607765" y="1935127"/>
            <a:ext cx="3280012" cy="1708160"/>
          </a:xfrm>
          <a:prstGeom prst="rect">
            <a:avLst/>
          </a:prstGeom>
          <a:noFill/>
        </p:spPr>
        <p:txBody>
          <a:bodyPr wrap="square" rIns="0">
            <a:spAutoFit/>
          </a:bodyPr>
          <a:lstStyle/>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Detect and respond faster and more accurately to attacks and insider risks </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Protect and govern your sensitive data</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Manage and govern your on-premises, multi-cloud, and software-as-a-service (SaaS) data</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Improve compliance, monitor and remediate potentially risky activity, and safely enable productive work for employees using multiple devices in multiple locations.</a:t>
            </a:r>
          </a:p>
        </p:txBody>
      </p:sp>
      <p:sp>
        <p:nvSpPr>
          <p:cNvPr id="61" name="TextBox 60">
            <a:extLst>
              <a:ext uri="{FF2B5EF4-FFF2-40B4-BE49-F238E27FC236}">
                <a16:creationId xmlns:a16="http://schemas.microsoft.com/office/drawing/2014/main" id="{4EF7054A-3E93-BF4F-846E-70C72A950516}"/>
              </a:ext>
            </a:extLst>
          </p:cNvPr>
          <p:cNvSpPr txBox="1"/>
          <p:nvPr/>
        </p:nvSpPr>
        <p:spPr>
          <a:xfrm>
            <a:off x="8313727" y="1935127"/>
            <a:ext cx="3280012" cy="1554272"/>
          </a:xfrm>
          <a:prstGeom prst="rect">
            <a:avLst/>
          </a:prstGeom>
          <a:noFill/>
        </p:spPr>
        <p:txBody>
          <a:bodyPr wrap="square" lIns="91440" tIns="45720" rIns="91440" bIns="45720" anchor="t">
            <a:spAutoFit/>
          </a:bodyPr>
          <a:lstStyle/>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a:ea typeface="+mn-ea"/>
                <a:cs typeface="Segoe UI Semilight"/>
              </a:rPr>
              <a:t>Increase SecOps efficiency with a unified </a:t>
            </a:r>
            <a:br>
              <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br>
            <a:r>
              <a:rPr kumimoji="0" lang="en-US" sz="1000" b="0" i="0" u="none" strike="noStrike" kern="1200" cap="none" spc="0" normalizeH="0" baseline="0" noProof="0" dirty="0">
                <a:ln>
                  <a:noFill/>
                </a:ln>
                <a:solidFill>
                  <a:srgbClr val="000000"/>
                </a:solidFill>
                <a:effectLst/>
                <a:uLnTx/>
                <a:uFillTx/>
                <a:latin typeface="Segoe UI Semilight"/>
                <a:ea typeface="+mn-ea"/>
                <a:cs typeface="Segoe UI Semilight"/>
              </a:rPr>
              <a:t>SIEM and XDR experience</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a:ea typeface="+mn-ea"/>
                <a:cs typeface="Segoe UI Semilight"/>
              </a:rPr>
              <a:t>Secure access across your multifaceted digital landscape and the connected world</a:t>
            </a: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a:ea typeface="+mn-ea"/>
                <a:cs typeface="Segoe UI Semilight"/>
              </a:rPr>
              <a:t>Protect against breaches with deeply integrated solutions that secure identities, devices apps and data </a:t>
            </a:r>
            <a:endPar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171450" marR="0" lvl="0" indent="-171450" algn="l" defTabSz="914367"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Segoe UI Semilight"/>
                <a:ea typeface="+mn-ea"/>
                <a:cs typeface="Segoe UI Semilight"/>
              </a:rPr>
              <a:t>Improve visibility across identities and endpoints </a:t>
            </a:r>
            <a:endParaRPr kumimoji="0" lang="en-US" sz="1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98" name="TextBox 97">
            <a:extLst>
              <a:ext uri="{FF2B5EF4-FFF2-40B4-BE49-F238E27FC236}">
                <a16:creationId xmlns:a16="http://schemas.microsoft.com/office/drawing/2014/main" id="{CD15EEA0-FC5B-3496-7D6A-ECEB5E4142F2}"/>
              </a:ext>
            </a:extLst>
          </p:cNvPr>
          <p:cNvSpPr txBox="1"/>
          <p:nvPr/>
        </p:nvSpPr>
        <p:spPr>
          <a:xfrm>
            <a:off x="774935" y="3939136"/>
            <a:ext cx="3403439" cy="76944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60%</a:t>
            </a: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000" b="0" i="0" u="none" strike="noStrike" kern="1200" cap="none" spc="0" normalizeH="0" baseline="0" noProof="0" dirty="0">
                <a:ln>
                  <a:noFill/>
                </a:ln>
                <a:solidFill>
                  <a:srgbClr val="000000"/>
                </a:solidFill>
                <a:effectLst/>
                <a:uLnTx/>
                <a:uFillTx/>
                <a:latin typeface="Segoe UI"/>
                <a:ea typeface="+mn-ea"/>
                <a:cs typeface="+mn-cs"/>
              </a:rPr>
              <a:t>savings by consolidating licenses with </a:t>
            </a:r>
            <a:r>
              <a:rPr kumimoji="0" lang="en-US" sz="10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365 E5 Security </a:t>
            </a:r>
            <a:r>
              <a:rPr kumimoji="0" lang="en-US" sz="1000" b="0" i="0" u="none" strike="noStrike" kern="1200" cap="none" spc="0" normalizeH="0" baseline="0" noProof="0" dirty="0">
                <a:ln>
                  <a:noFill/>
                </a:ln>
                <a:solidFill>
                  <a:srgbClr val="000000"/>
                </a:solidFill>
                <a:effectLst/>
                <a:uLnTx/>
                <a:uFillTx/>
                <a:latin typeface="Segoe UI"/>
                <a:ea typeface="+mn-ea"/>
                <a:cs typeface="+mn-cs"/>
              </a:rPr>
              <a:t>and </a:t>
            </a:r>
            <a:r>
              <a:rPr kumimoji="0" lang="en-US" sz="10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365 E5 Compliance </a:t>
            </a: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1</a:t>
            </a:r>
            <a:r>
              <a:rPr kumimoji="0" lang="en-US" sz="10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 30% </a:t>
            </a:r>
            <a:r>
              <a:rPr kumimoji="0" lang="en-US" sz="1000" b="0" i="0" u="none" strike="noStrike" kern="1200" cap="none" spc="0" normalizeH="0" baseline="0" noProof="0" dirty="0">
                <a:ln>
                  <a:noFill/>
                </a:ln>
                <a:solidFill>
                  <a:srgbClr val="000000"/>
                </a:solidFill>
                <a:effectLst/>
                <a:uLnTx/>
                <a:uFillTx/>
                <a:latin typeface="Segoe UI"/>
                <a:ea typeface="+mn-ea"/>
                <a:cs typeface="Segoe UI"/>
              </a:rPr>
              <a:t>savings from unifying cloud security </a:t>
            </a:r>
            <a:r>
              <a:rPr kumimoji="0" lang="en-US" sz="1000" b="0" i="0" u="none" strike="noStrike" kern="1200" cap="none" spc="0" normalizeH="0" baseline="0" noProof="0" dirty="0">
                <a:ln>
                  <a:noFill/>
                </a:ln>
                <a:solidFill>
                  <a:srgbClr val="000000"/>
                </a:solidFill>
                <a:effectLst/>
                <a:uLnTx/>
                <a:uFillTx/>
                <a:latin typeface="Segoe UI"/>
                <a:ea typeface="+mn-ea"/>
                <a:cs typeface="+mn-cs"/>
              </a:rPr>
              <a:t>tools with </a:t>
            </a:r>
            <a:r>
              <a:rPr kumimoji="0" lang="en-US" sz="10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Defender for Cloud </a:t>
            </a: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2 </a:t>
            </a:r>
          </a:p>
        </p:txBody>
      </p:sp>
      <p:sp>
        <p:nvSpPr>
          <p:cNvPr id="3" name="TextBox 2">
            <a:extLst>
              <a:ext uri="{FF2B5EF4-FFF2-40B4-BE49-F238E27FC236}">
                <a16:creationId xmlns:a16="http://schemas.microsoft.com/office/drawing/2014/main" id="{493D5421-E6B1-FF73-F408-F3BC69100B2F}"/>
              </a:ext>
            </a:extLst>
          </p:cNvPr>
          <p:cNvSpPr txBox="1"/>
          <p:nvPr/>
        </p:nvSpPr>
        <p:spPr>
          <a:xfrm>
            <a:off x="4467253" y="3941211"/>
            <a:ext cx="3479800" cy="2372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60% </a:t>
            </a:r>
            <a:r>
              <a:rPr kumimoji="0" lang="en-US" sz="1000" b="0" i="0" u="none" strike="noStrike" kern="1200" cap="none" spc="0" normalizeH="0" baseline="0" noProof="0" dirty="0">
                <a:ln>
                  <a:noFill/>
                </a:ln>
                <a:solidFill>
                  <a:srgbClr val="000000"/>
                </a:solidFill>
                <a:effectLst/>
                <a:uLnTx/>
                <a:uFillTx/>
                <a:latin typeface="Segoe UI"/>
                <a:ea typeface="+mn-ea"/>
                <a:cs typeface="+mn-cs"/>
              </a:rPr>
              <a:t>reduced risk of material breach,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65% </a:t>
            </a:r>
            <a:r>
              <a:rPr kumimoji="0" lang="en-US" sz="1000" b="0" i="0" u="none" strike="noStrike" kern="1200" cap="none" spc="0" normalizeH="0" baseline="0" noProof="0" dirty="0">
                <a:ln>
                  <a:noFill/>
                </a:ln>
                <a:solidFill>
                  <a:srgbClr val="000000"/>
                </a:solidFill>
                <a:effectLst/>
                <a:uLnTx/>
                <a:uFillTx/>
                <a:latin typeface="Segoe UI"/>
                <a:ea typeface="+mn-ea"/>
                <a:cs typeface="+mn-cs"/>
              </a:rPr>
              <a:t>less time to investigate threats, and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88% </a:t>
            </a:r>
            <a:r>
              <a:rPr kumimoji="0" lang="en-US" sz="1000" b="0" i="0" u="none" strike="noStrike" kern="1200" cap="none" spc="0" normalizeH="0" baseline="0" noProof="0" dirty="0">
                <a:ln>
                  <a:noFill/>
                </a:ln>
                <a:solidFill>
                  <a:srgbClr val="000000"/>
                </a:solidFill>
                <a:effectLst/>
                <a:uLnTx/>
                <a:uFillTx/>
                <a:latin typeface="Segoe UI"/>
                <a:ea typeface="+mn-ea"/>
                <a:cs typeface="+mn-cs"/>
              </a:rPr>
              <a:t>less time</a:t>
            </a: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000" b="0" i="0" u="none" strike="noStrike" kern="1200" cap="none" spc="0" normalizeH="0" baseline="0" noProof="0" dirty="0">
                <a:ln>
                  <a:noFill/>
                </a:ln>
                <a:solidFill>
                  <a:srgbClr val="000000"/>
                </a:solidFill>
                <a:effectLst/>
                <a:uLnTx/>
                <a:uFillTx/>
                <a:latin typeface="Segoe UI"/>
                <a:ea typeface="+mn-ea"/>
                <a:cs typeface="+mn-cs"/>
              </a:rPr>
              <a:t>responding to threats with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nn-NO"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Sentinel, Microsoft 365 Defender,</a:t>
            </a:r>
            <a:r>
              <a:rPr kumimoji="0" lang="nn-NO" sz="1000" b="0" i="0" u="none" strike="noStrike" kern="1200" cap="none" spc="0" normalizeH="0" baseline="0" noProof="0" dirty="0">
                <a:ln>
                  <a:noFill/>
                </a:ln>
                <a:solidFill>
                  <a:srgbClr val="000000"/>
                </a:solidFill>
                <a:effectLst/>
                <a:uLnTx/>
                <a:uFillTx/>
                <a:latin typeface="Segoe UI"/>
                <a:ea typeface="+mn-ea"/>
                <a:cs typeface="+mn-cs"/>
              </a:rPr>
              <a:t> and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nn-NO"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a:t>
            </a: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Defender for Cloud</a:t>
            </a:r>
            <a:r>
              <a:rPr kumimoji="0" lang="en-US" sz="1000" b="1" i="0" u="none" strike="noStrike" kern="1200" cap="none" spc="0" normalizeH="0" baseline="0" noProof="0" dirty="0">
                <a:ln>
                  <a:noFill/>
                </a:ln>
                <a:solidFill>
                  <a:srgbClr val="000000"/>
                </a:solidFill>
                <a:effectLst/>
                <a:uLnTx/>
                <a:uFillTx/>
                <a:latin typeface="Segoe UI"/>
                <a:ea typeface="+mn-ea"/>
                <a:cs typeface="+mn-cs"/>
              </a:rPr>
              <a:t> </a:t>
            </a:r>
            <a:r>
              <a:rPr kumimoji="0" lang="en-US" sz="700" b="0" i="0" u="none" strike="noStrike" kern="1200" cap="none" spc="0" normalizeH="0" baseline="0" noProof="0" dirty="0">
                <a:ln>
                  <a:noFill/>
                </a:ln>
                <a:solidFill>
                  <a:srgbClr val="000000"/>
                </a:solidFill>
                <a:effectLst/>
                <a:uLnTx/>
                <a:uFillTx/>
                <a:latin typeface="Segoe UI"/>
                <a:ea typeface="+mn-ea"/>
                <a:cs typeface="+mn-cs"/>
              </a:rPr>
              <a:t>3</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96%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less time spent monitoring potential suspicious activity with </a:t>
            </a: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Purview </a:t>
            </a:r>
            <a:r>
              <a:rPr kumimoji="0" lang="en-US" sz="10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4</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10.5 million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additional end user productivity from  automation and process improvements i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365 Defender </a:t>
            </a:r>
            <a:r>
              <a:rPr kumimoji="0" lang="en-US" sz="10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5</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90%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reduction in noise,</a:t>
            </a:r>
            <a:r>
              <a:rPr kumimoji="0" lang="en-US" sz="1000" b="1"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elevating the most critical issue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with </a:t>
            </a:r>
            <a:r>
              <a:rPr kumimoji="0" lang="en-US" sz="10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Sentinel </a:t>
            </a:r>
            <a:r>
              <a:rPr kumimoji="0" lang="en-US" sz="10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6</a:t>
            </a:r>
            <a:endPar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endParaRPr>
          </a:p>
        </p:txBody>
      </p:sp>
      <p:sp>
        <p:nvSpPr>
          <p:cNvPr id="15" name="TextBox 14">
            <a:extLst>
              <a:ext uri="{FF2B5EF4-FFF2-40B4-BE49-F238E27FC236}">
                <a16:creationId xmlns:a16="http://schemas.microsoft.com/office/drawing/2014/main" id="{5DE856D3-AF8F-8817-D36D-1FC2883066BD}"/>
              </a:ext>
            </a:extLst>
          </p:cNvPr>
          <p:cNvSpPr txBox="1"/>
          <p:nvPr/>
        </p:nvSpPr>
        <p:spPr>
          <a:xfrm>
            <a:off x="8252014" y="3936388"/>
            <a:ext cx="3403438" cy="200824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73%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Calibri" panose="020F0502020204030204" pitchFamily="34" charset="0"/>
              </a:rPr>
              <a:t>improved efficiency of network-related IT work with </a:t>
            </a: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Azure Network Security </a:t>
            </a:r>
            <a:r>
              <a:rPr kumimoji="0" lang="en-US" sz="7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Calibri" panose="020F0502020204030204" pitchFamily="34" charset="0"/>
              </a:rPr>
              <a:t>7</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67%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reduced time to deployment with </a:t>
            </a:r>
            <a:b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b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Microsoft Sentinel </a:t>
            </a:r>
            <a:r>
              <a:rPr kumimoji="0" lang="en-US" sz="1000" b="0" i="0" u="none" strike="noStrike" kern="1200" cap="none" spc="0" normalizeH="0" baseline="3000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75%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reduction in password requests after introduc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a:ea typeface="+mn-ea"/>
                <a:cs typeface="Calibri" panose="020F0502020204030204" pitchFamily="34" charset="0"/>
              </a:rPr>
              <a:t>Self-service Single-Sign-On (SSO) wi</a:t>
            </a:r>
            <a:r>
              <a:rPr kumimoji="0" lang="en-US" sz="1000" b="0" i="0" u="none" strike="noStrike" kern="1200" cap="none" spc="0" normalizeH="0" baseline="0" noProof="0" dirty="0">
                <a:ln>
                  <a:noFill/>
                </a:ln>
                <a:solidFill>
                  <a:srgbClr val="000000"/>
                </a:solidFill>
                <a:effectLst/>
                <a:uLnTx/>
                <a:uFillTx/>
                <a:latin typeface="Segoe UI"/>
                <a:ea typeface="+mn-ea"/>
                <a:cs typeface="+mn-cs"/>
              </a:rPr>
              <a:t>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zure Active Directory </a:t>
            </a:r>
            <a:r>
              <a:rPr kumimoji="0" lang="en-US" sz="700" b="0" i="0" u="none" strike="noStrike" kern="1200" cap="none" spc="0" normalizeH="0" baseline="0" noProof="0" dirty="0">
                <a:ln>
                  <a:noFill/>
                </a:ln>
                <a:solidFill>
                  <a:srgbClr val="000000"/>
                </a:solidFill>
                <a:effectLst/>
                <a:uLnTx/>
                <a:uFillTx/>
                <a:latin typeface="Segoe UI"/>
                <a:ea typeface="+mn-ea"/>
                <a:cs typeface="+mn-cs"/>
              </a:rPr>
              <a:t>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479,000 </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Calibri" panose="020F0502020204030204" pitchFamily="34" charset="0"/>
              </a:rPr>
              <a:t>in human capital freed up by redeploying IT time with </a:t>
            </a:r>
            <a:r>
              <a:rPr kumimoji="0" lang="en-US" sz="1000" b="1" i="0" u="none" strike="noStrike" kern="1200" cap="none" spc="0" normalizeH="0" baseline="0" noProof="0" dirty="0">
                <a:ln>
                  <a:noFill/>
                </a:ln>
                <a:solidFill>
                  <a:srgbClr val="000000"/>
                </a:solidFill>
                <a:effectLst/>
                <a:uLnTx/>
                <a:uFillTx/>
                <a:latin typeface="Segoe UI Semibold"/>
                <a:ea typeface="+mn-ea"/>
                <a:cs typeface="+mn-cs"/>
              </a:rPr>
              <a:t>Microsoft Endpoint Manager</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Calibri" panose="020F0502020204030204" pitchFamily="34" charset="0"/>
              </a:rPr>
              <a:t> </a:t>
            </a:r>
            <a:r>
              <a:rPr kumimoji="0" lang="en-US" sz="5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Calibri" panose="020F0502020204030204" pitchFamily="34" charset="0"/>
              </a:rPr>
              <a:t>10</a:t>
            </a:r>
            <a:r>
              <a:rPr kumimoji="0" lang="en-US" sz="1000" b="0" i="0" u="none" strike="noStrike" kern="1200" cap="none" spc="0" normalizeH="0" baseline="0" noProof="0" dirty="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 name="Text Placeholder 2">
            <a:extLst>
              <a:ext uri="{FF2B5EF4-FFF2-40B4-BE49-F238E27FC236}">
                <a16:creationId xmlns:a16="http://schemas.microsoft.com/office/drawing/2014/main" id="{636B01D3-D0EC-B55A-0F96-B5F0E5230CC1}"/>
              </a:ext>
            </a:extLst>
          </p:cNvPr>
          <p:cNvSpPr txBox="1">
            <a:spLocks/>
          </p:cNvSpPr>
          <p:nvPr/>
        </p:nvSpPr>
        <p:spPr>
          <a:xfrm>
            <a:off x="132593" y="6129834"/>
            <a:ext cx="3807395" cy="10772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700" b="1" dirty="0"/>
              <a:t>Forrester Consulting </a:t>
            </a:r>
            <a:r>
              <a:rPr lang="en-US" sz="700" dirty="0"/>
              <a:t>showed organizations saved substantially by moving to Microsoft Security  </a:t>
            </a:r>
          </a:p>
        </p:txBody>
      </p:sp>
      <p:sp>
        <p:nvSpPr>
          <p:cNvPr id="4" name="TextBox 3">
            <a:extLst>
              <a:ext uri="{FF2B5EF4-FFF2-40B4-BE49-F238E27FC236}">
                <a16:creationId xmlns:a16="http://schemas.microsoft.com/office/drawing/2014/main" id="{80582538-E80A-FA21-0162-807F1628A31F}"/>
              </a:ext>
            </a:extLst>
          </p:cNvPr>
          <p:cNvSpPr txBox="1"/>
          <p:nvPr/>
        </p:nvSpPr>
        <p:spPr>
          <a:xfrm>
            <a:off x="132593" y="6297377"/>
            <a:ext cx="4800887" cy="461665"/>
          </a:xfrm>
          <a:prstGeom prst="rect">
            <a:avLst/>
          </a:prstGeom>
          <a:noFill/>
        </p:spPr>
        <p:txBody>
          <a:bodyPr wrap="square" lIns="0" tIns="0" rIns="0" bIns="0" rtlCol="0" anchor="b" anchorCtr="0">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 </a:t>
            </a:r>
            <a:r>
              <a:rPr kumimoji="0" lang="en-US" sz="600" b="0" i="0" u="none" strike="noStrike" kern="1200" cap="none" spc="0" normalizeH="0" baseline="0" noProof="0" dirty="0">
                <a:ln>
                  <a:noFill/>
                </a:ln>
                <a:solidFill>
                  <a:srgbClr val="000000"/>
                </a:solidFill>
                <a:effectLst/>
                <a:uLnTx/>
                <a:uFillTx/>
                <a:latin typeface="Segoe UI"/>
                <a:ea typeface="+mn-ea"/>
                <a:cs typeface="+mn-cs"/>
              </a:rPr>
              <a:t>Savings based on</a:t>
            </a:r>
            <a:r>
              <a:rPr kumimoji="0" lang="en-US" sz="600" b="0" i="0" u="none" strike="noStrike" kern="0" cap="none" spc="0" normalizeH="0" baseline="0" noProof="0" dirty="0">
                <a:ln>
                  <a:noFill/>
                </a:ln>
                <a:solidFill>
                  <a:srgbClr val="1A1A1A"/>
                </a:solidFill>
                <a:effectLst/>
                <a:uLnTx/>
                <a:uFillTx/>
                <a:latin typeface="Segoe UI"/>
                <a:ea typeface="+mn-ea"/>
                <a:cs typeface="+mn-cs"/>
              </a:rPr>
              <a:t> publicly available estimated pricing for other vendor solutions and Web Direct/Base Price shown for Microsoft offerings</a:t>
            </a: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2. Forrester Consulting, “The Total Economic Impact</a:t>
            </a:r>
            <a:r>
              <a:rPr kumimoji="0" lang="en-US" sz="600" b="0" i="0" u="none" strike="noStrike" kern="1200" cap="none" spc="0" normalizeH="0" baseline="0" noProof="0" dirty="0">
                <a:ln>
                  <a:noFill/>
                </a:ln>
                <a:solidFill>
                  <a:srgbClr val="000000"/>
                </a:solidFill>
                <a:effectLst/>
                <a:uLnTx/>
                <a:uFillTx/>
                <a:latin typeface="Segoe UI"/>
                <a:ea typeface="+mn-ea"/>
                <a:cs typeface="+mn-cs"/>
              </a:rPr>
              <a: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Azure Security Center,” June,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3. 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 </a:t>
            </a:r>
            <a:r>
              <a:rPr kumimoji="0" lang="en-US" sz="600" b="0" i="0" u="none" strike="noStrike" kern="1200" cap="none" spc="0" normalizeH="0" baseline="0" noProof="0" dirty="0">
                <a:ln>
                  <a:noFill/>
                </a:ln>
                <a:solidFill>
                  <a:srgbClr val="000000"/>
                </a:solidFill>
                <a:effectLst/>
                <a:uLnTx/>
                <a:uFillTx/>
                <a:latin typeface="Segoe UI"/>
                <a:ea typeface="+mn-ea"/>
                <a:cs typeface="+mn-cs"/>
              </a:rPr>
              <a:t> SIEM and XDR”, August 2022,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4. Forrester Consulting, “The Total Economic Impact</a:t>
            </a:r>
            <a:r>
              <a:rPr kumimoji="0" lang="en-US" sz="600" b="0" i="0" u="none" strike="noStrike" kern="1200" cap="none" spc="0" normalizeH="0" baseline="0" noProof="0" dirty="0">
                <a:ln>
                  <a:noFill/>
                </a:ln>
                <a:solidFill>
                  <a:srgbClr val="000000"/>
                </a:solidFill>
                <a:effectLst/>
                <a:uLnTx/>
                <a:uFillTx/>
                <a:latin typeface="Segoe UI"/>
                <a:ea typeface="+mn-ea"/>
                <a:cs typeface="+mn-cs"/>
              </a:rPr>
              <a: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365 E5 Compliance,” February, 2021,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5. 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Microsoft</a:t>
            </a:r>
            <a:r>
              <a:rPr kumimoji="0" lang="en-US" sz="600" b="0" i="0" u="none" strike="noStrike" kern="1200" cap="none" spc="0" normalizeH="0" baseline="0" noProof="0" dirty="0">
                <a:ln>
                  <a:noFill/>
                </a:ln>
                <a:solidFill>
                  <a:srgbClr val="000000"/>
                </a:solidFill>
                <a:effectLst/>
                <a:uLnTx/>
                <a:uFillTx/>
                <a:latin typeface="Segoe UI"/>
                <a:ea typeface="+mn-ea"/>
                <a:cs typeface="+mn-cs"/>
              </a:rPr>
              <a:t> 365 Defender”, April 2022,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p>
        </p:txBody>
      </p:sp>
      <p:grpSp>
        <p:nvGrpSpPr>
          <p:cNvPr id="11" name="Group 10">
            <a:extLst>
              <a:ext uri="{FF2B5EF4-FFF2-40B4-BE49-F238E27FC236}">
                <a16:creationId xmlns:a16="http://schemas.microsoft.com/office/drawing/2014/main" id="{6017F22E-F34D-F91F-CBC0-129CA2B37857}"/>
              </a:ext>
              <a:ext uri="{C183D7F6-B498-43B3-948B-1728B52AA6E4}">
                <adec:decorative xmlns:adec="http://schemas.microsoft.com/office/drawing/2017/decorative" val="1"/>
              </a:ext>
            </a:extLst>
          </p:cNvPr>
          <p:cNvGrpSpPr/>
          <p:nvPr/>
        </p:nvGrpSpPr>
        <p:grpSpPr>
          <a:xfrm>
            <a:off x="2072481" y="891726"/>
            <a:ext cx="8269344" cy="302837"/>
            <a:chOff x="2031842" y="1298026"/>
            <a:chExt cx="8269344" cy="302837"/>
          </a:xfrm>
        </p:grpSpPr>
        <p:sp>
          <p:nvSpPr>
            <p:cNvPr id="51" name="Right Bracket 50">
              <a:extLst>
                <a:ext uri="{FF2B5EF4-FFF2-40B4-BE49-F238E27FC236}">
                  <a16:creationId xmlns:a16="http://schemas.microsoft.com/office/drawing/2014/main" id="{5E1159E0-11C6-BE7D-F2E7-893C35FABFBE}"/>
                </a:ext>
              </a:extLst>
            </p:cNvPr>
            <p:cNvSpPr/>
            <p:nvPr/>
          </p:nvSpPr>
          <p:spPr>
            <a:xfrm rot="16200000">
              <a:off x="6045761" y="-2715893"/>
              <a:ext cx="241506" cy="8269344"/>
            </a:xfrm>
            <a:prstGeom prst="rightBracket">
              <a:avLst>
                <a:gd name="adj" fmla="val 93966"/>
              </a:avLst>
            </a:prstGeom>
            <a:ln w="28575">
              <a:solidFill>
                <a:schemeClr val="bg1">
                  <a:lumMod val="8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03B23956-96FA-5772-E5AA-A4614CD32E17}"/>
                </a:ext>
              </a:extLst>
            </p:cNvPr>
            <p:cNvCxnSpPr>
              <a:cxnSpLocks/>
              <a:stCxn id="51" idx="2"/>
            </p:cNvCxnSpPr>
            <p:nvPr/>
          </p:nvCxnSpPr>
          <p:spPr>
            <a:xfrm>
              <a:off x="6166514" y="1298026"/>
              <a:ext cx="7915" cy="302837"/>
            </a:xfrm>
            <a:prstGeom prst="straightConnector1">
              <a:avLst/>
            </a:prstGeom>
            <a:ln w="28575">
              <a:solidFill>
                <a:schemeClr val="bg1">
                  <a:lumMod val="85000"/>
                </a:schemeClr>
              </a:solidFill>
              <a:headEnd type="none" w="lg" len="med"/>
              <a:tailEnd type="triangle"/>
            </a:ln>
          </p:spPr>
          <p:style>
            <a:lnRef idx="1">
              <a:schemeClr val="accent2"/>
            </a:lnRef>
            <a:fillRef idx="0">
              <a:schemeClr val="accent2"/>
            </a:fillRef>
            <a:effectRef idx="0">
              <a:schemeClr val="accent2"/>
            </a:effectRef>
            <a:fontRef idx="minor">
              <a:schemeClr val="tx1"/>
            </a:fontRef>
          </p:style>
        </p:cxnSp>
      </p:grpSp>
      <p:sp>
        <p:nvSpPr>
          <p:cNvPr id="6" name="TextBox 5">
            <a:extLst>
              <a:ext uri="{FF2B5EF4-FFF2-40B4-BE49-F238E27FC236}">
                <a16:creationId xmlns:a16="http://schemas.microsoft.com/office/drawing/2014/main" id="{932815E5-9ECC-876C-3BD5-355B442E986A}"/>
              </a:ext>
            </a:extLst>
          </p:cNvPr>
          <p:cNvSpPr txBox="1"/>
          <p:nvPr/>
        </p:nvSpPr>
        <p:spPr>
          <a:xfrm>
            <a:off x="7454522" y="6313655"/>
            <a:ext cx="4800887" cy="461665"/>
          </a:xfrm>
          <a:prstGeom prst="rect">
            <a:avLst/>
          </a:prstGeom>
          <a:noFill/>
        </p:spPr>
        <p:txBody>
          <a:bodyPr wrap="square" lIns="0" tIns="0" rIns="0" bIns="0" rtlCol="0" anchor="b" anchorCtr="0">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hlinkClick r:id="rId3"/>
              </a:rPr>
              <a:t>6. Microsoft blog: Azure Sentinel uncovers the real threats hidden in billions of low fidelity signals</a:t>
            </a:r>
            <a:r>
              <a:rPr kumimoji="0" lang="en-US" sz="6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rPr>
              <a:t>, Feb 2020</a:t>
            </a:r>
            <a:endPar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endParaRP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7 Forrester Consulting, “The Total Economic Impact</a:t>
            </a:r>
            <a:r>
              <a:rPr kumimoji="0" lang="en-US" sz="600" b="0" i="0" u="none" strike="noStrike" kern="1200" cap="none" spc="0" normalizeH="0" baseline="0" noProof="0" dirty="0">
                <a:ln>
                  <a:noFill/>
                </a:ln>
                <a:solidFill>
                  <a:srgbClr val="000000"/>
                </a:solidFill>
                <a:effectLst/>
                <a:uLnTx/>
                <a:uFillTx/>
                <a:latin typeface="Segoe UI"/>
                <a:ea typeface="+mn-ea"/>
                <a:cs typeface="+mn-cs"/>
              </a:rPr>
              <a: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Azure Network Security” May,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8. Forrester Consulting, “The Total Economic Impact</a:t>
            </a:r>
            <a:r>
              <a:rPr kumimoji="0" lang="en-US" sz="600" b="0" i="0" u="none" strike="noStrike" kern="1200" cap="none" spc="0" normalizeH="0" baseline="0" noProof="0" dirty="0">
                <a:ln>
                  <a:noFill/>
                </a:ln>
                <a:solidFill>
                  <a:srgbClr val="000000"/>
                </a:solidFill>
                <a:effectLst/>
                <a:uLnTx/>
                <a:uFillTx/>
                <a:latin typeface="Segoe UI"/>
                <a:ea typeface="+mn-ea"/>
                <a:cs typeface="+mn-cs"/>
              </a:rPr>
              <a: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Azure Sentinel,” November, 2020,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9. Forrester Consulting, “</a:t>
            </a:r>
            <a:r>
              <a:rPr kumimoji="0" lang="en-US" sz="600" b="0" i="0" u="none" strike="noStrike" kern="1200" cap="none" spc="0" normalizeH="0" baseline="0" noProof="0" dirty="0">
                <a:ln>
                  <a:noFill/>
                </a:ln>
                <a:solidFill>
                  <a:srgbClr val="000000"/>
                </a:solidFill>
                <a:effectLst/>
                <a:uLnTx/>
                <a:uFillTx/>
                <a:latin typeface="Segoe UI"/>
                <a:ea typeface="+mn-ea"/>
                <a:cs typeface="+mn-cs"/>
              </a:rPr>
              <a:t>The Total Economic Impact™ Of Zero Trust Solutions From Microsof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December 2021,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10. Forrester Consulting, “The Total Economic Impact</a:t>
            </a:r>
            <a:r>
              <a:rPr kumimoji="0" lang="en-US" sz="600" b="0" i="0" u="none" strike="noStrike" kern="1200" cap="none" spc="0" normalizeH="0" baseline="0" noProof="0" dirty="0">
                <a:ln>
                  <a:noFill/>
                </a:ln>
                <a:solidFill>
                  <a:srgbClr val="000000"/>
                </a:solidFill>
                <a:effectLst/>
                <a:uLnTx/>
                <a:uFillTx/>
                <a:latin typeface="Segoe UI"/>
                <a:ea typeface="+mn-ea"/>
                <a:cs typeface="+mn-cs"/>
              </a:rPr>
              <a:t> ™</a:t>
            </a:r>
            <a:r>
              <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Endpoint Manager,” April 2021, commissioned by Microsoft </a:t>
            </a:r>
          </a:p>
        </p:txBody>
      </p:sp>
    </p:spTree>
    <p:extLst>
      <p:ext uri="{BB962C8B-B14F-4D97-AF65-F5344CB8AC3E}">
        <p14:creationId xmlns:p14="http://schemas.microsoft.com/office/powerpoint/2010/main" val="40112365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7CC8415-2B3C-0680-8E4F-42834536B94D}"/>
              </a:ext>
              <a:ext uri="{C183D7F6-B498-43B3-948B-1728B52AA6E4}">
                <adec:decorative xmlns:adec="http://schemas.microsoft.com/office/drawing/2017/decorative" val="1"/>
              </a:ext>
            </a:extLst>
          </p:cNvPr>
          <p:cNvGrpSpPr/>
          <p:nvPr/>
        </p:nvGrpSpPr>
        <p:grpSpPr>
          <a:xfrm>
            <a:off x="4451753" y="933450"/>
            <a:ext cx="6597652" cy="4114800"/>
            <a:chOff x="5172931" y="2452800"/>
            <a:chExt cx="6436457" cy="3164198"/>
          </a:xfrm>
        </p:grpSpPr>
        <p:cxnSp>
          <p:nvCxnSpPr>
            <p:cNvPr id="10" name="Straight Connector 9">
              <a:extLst>
                <a:ext uri="{FF2B5EF4-FFF2-40B4-BE49-F238E27FC236}">
                  <a16:creationId xmlns:a16="http://schemas.microsoft.com/office/drawing/2014/main" id="{DB00502C-8DF8-AAF3-F6C5-512FC9D53B9D}"/>
                </a:ext>
                <a:ext uri="{C183D7F6-B498-43B3-948B-1728B52AA6E4}">
                  <adec:decorative xmlns:adec="http://schemas.microsoft.com/office/drawing/2017/decorative" val="1"/>
                </a:ext>
              </a:extLst>
            </p:cNvPr>
            <p:cNvCxnSpPr>
              <a:cxnSpLocks/>
            </p:cNvCxnSpPr>
            <p:nvPr/>
          </p:nvCxnSpPr>
          <p:spPr>
            <a:xfrm>
              <a:off x="5172931" y="3978773"/>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9194C0-1399-B45B-6DB3-67C2594FDE9E}"/>
                </a:ext>
                <a:ext uri="{C183D7F6-B498-43B3-948B-1728B52AA6E4}">
                  <adec:decorative xmlns:adec="http://schemas.microsoft.com/office/drawing/2017/decorative" val="1"/>
                </a:ext>
              </a:extLst>
            </p:cNvPr>
            <p:cNvCxnSpPr>
              <a:cxnSpLocks/>
            </p:cNvCxnSpPr>
            <p:nvPr/>
          </p:nvCxnSpPr>
          <p:spPr>
            <a:xfrm>
              <a:off x="5172932" y="5616998"/>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0F2E14D-0279-C1FB-96E8-2BF9C1C622AA}"/>
                </a:ext>
                <a:ext uri="{C183D7F6-B498-43B3-948B-1728B52AA6E4}">
                  <adec:decorative xmlns:adec="http://schemas.microsoft.com/office/drawing/2017/decorative" val="1"/>
                </a:ext>
              </a:extLst>
            </p:cNvPr>
            <p:cNvCxnSpPr>
              <a:cxnSpLocks/>
            </p:cNvCxnSpPr>
            <p:nvPr/>
          </p:nvCxnSpPr>
          <p:spPr>
            <a:xfrm>
              <a:off x="5172932" y="2452800"/>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8E76039-C304-1C39-6316-1C995A92B9D2}"/>
              </a:ext>
              <a:ext uri="{C183D7F6-B498-43B3-948B-1728B52AA6E4}">
                <adec:decorative xmlns:adec="http://schemas.microsoft.com/office/drawing/2017/decorative" val="1"/>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dirty="0"/>
              <a:t>.</a:t>
            </a:r>
          </a:p>
        </p:txBody>
      </p:sp>
      <p:grpSp>
        <p:nvGrpSpPr>
          <p:cNvPr id="21" name="Group 20" descr="80% of Organizations interested in vendor consolidation strategy1 &#10;">
            <a:extLst>
              <a:ext uri="{FF2B5EF4-FFF2-40B4-BE49-F238E27FC236}">
                <a16:creationId xmlns:a16="http://schemas.microsoft.com/office/drawing/2014/main" id="{56F355DA-964C-29CA-0455-AC52B79DB31F}"/>
              </a:ext>
            </a:extLst>
          </p:cNvPr>
          <p:cNvGrpSpPr/>
          <p:nvPr/>
        </p:nvGrpSpPr>
        <p:grpSpPr>
          <a:xfrm>
            <a:off x="4451755" y="978710"/>
            <a:ext cx="2632469" cy="1392145"/>
            <a:chOff x="7707608" y="1902601"/>
            <a:chExt cx="3522355" cy="1392145"/>
          </a:xfrm>
        </p:grpSpPr>
        <p:sp>
          <p:nvSpPr>
            <p:cNvPr id="22" name="TextBox 21" descr="80% of organizations plan to consolidate vendors over the next three years1 &#10;">
              <a:extLst>
                <a:ext uri="{FF2B5EF4-FFF2-40B4-BE49-F238E27FC236}">
                  <a16:creationId xmlns:a16="http://schemas.microsoft.com/office/drawing/2014/main" id="{DA857E1D-492B-4A62-9B3E-7BF0878E115E}"/>
                </a:ext>
              </a:extLst>
            </p:cNvPr>
            <p:cNvSpPr txBox="1"/>
            <p:nvPr/>
          </p:nvSpPr>
          <p:spPr>
            <a:xfrm>
              <a:off x="7707608" y="2709971"/>
              <a:ext cx="3522355" cy="584775"/>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of organizations plan to consolidate vendors over the next three years</a:t>
              </a:r>
              <a:r>
                <a:rPr kumimoji="0" lang="en-US" sz="1600" b="0" i="0" u="none" strike="noStrike" kern="1200" cap="none" spc="0" normalizeH="0" baseline="30000" noProof="0" dirty="0">
                  <a:ln>
                    <a:noFill/>
                  </a:ln>
                  <a:gradFill>
                    <a:gsLst>
                      <a:gs pos="83000">
                        <a:srgbClr val="000000"/>
                      </a:gs>
                      <a:gs pos="100000">
                        <a:srgbClr val="000000"/>
                      </a:gs>
                    </a:gsLst>
                    <a:lin ang="5400000" scaled="1"/>
                  </a:gradFill>
                  <a:effectLst/>
                  <a:uLnTx/>
                  <a:uFillTx/>
                  <a:latin typeface="Segoe UI"/>
                  <a:ea typeface="+mn-ea"/>
                  <a:cs typeface="+mn-cs"/>
                </a:rPr>
                <a:t>1</a:t>
              </a: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 </a:t>
              </a:r>
            </a:p>
          </p:txBody>
        </p:sp>
        <p:sp>
          <p:nvSpPr>
            <p:cNvPr id="23" name="Rectangle 22">
              <a:extLst>
                <a:ext uri="{FF2B5EF4-FFF2-40B4-BE49-F238E27FC236}">
                  <a16:creationId xmlns:a16="http://schemas.microsoft.com/office/drawing/2014/main" id="{AD7240BB-885F-4735-2A6D-A703B4E34497}"/>
                </a:ext>
              </a:extLst>
            </p:cNvPr>
            <p:cNvSpPr/>
            <p:nvPr/>
          </p:nvSpPr>
          <p:spPr>
            <a:xfrm>
              <a:off x="7707609" y="1902601"/>
              <a:ext cx="1920044"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gradFill>
                    <a:gsLst>
                      <a:gs pos="100000">
                        <a:srgbClr val="0078D4"/>
                      </a:gs>
                      <a:gs pos="83000">
                        <a:srgbClr val="0078D4"/>
                      </a:gs>
                    </a:gsLst>
                    <a:lin ang="5400000" scaled="1"/>
                  </a:gradFill>
                  <a:effectLst/>
                  <a:uLnTx/>
                  <a:uFillTx/>
                  <a:latin typeface="Segoe UI Semibold"/>
                  <a:ea typeface="+mn-ea"/>
                  <a:cs typeface="+mn-cs"/>
                </a:rPr>
                <a:t>80%</a:t>
              </a:r>
            </a:p>
          </p:txBody>
        </p:sp>
      </p:grpSp>
      <p:grpSp>
        <p:nvGrpSpPr>
          <p:cNvPr id="18" name="Group 17" descr="75% reduction in likelihood of a &#10;user-generated security event with Microsoft 365 E5 security solutions2&#10;">
            <a:extLst>
              <a:ext uri="{FF2B5EF4-FFF2-40B4-BE49-F238E27FC236}">
                <a16:creationId xmlns:a16="http://schemas.microsoft.com/office/drawing/2014/main" id="{28B90E61-AB8C-ADF6-26FB-7F8496435090}"/>
              </a:ext>
            </a:extLst>
          </p:cNvPr>
          <p:cNvGrpSpPr/>
          <p:nvPr/>
        </p:nvGrpSpPr>
        <p:grpSpPr>
          <a:xfrm>
            <a:off x="7933143" y="954821"/>
            <a:ext cx="3522355" cy="1666011"/>
            <a:chOff x="7707608" y="1874957"/>
            <a:chExt cx="3522355" cy="1666011"/>
          </a:xfrm>
        </p:grpSpPr>
        <p:sp>
          <p:nvSpPr>
            <p:cNvPr id="19" name="TextBox 18" descr="75% reduction in likelihood of a &#10;user-generated security event with Microsoft 365 E5 security solutions2&#10;">
              <a:extLst>
                <a:ext uri="{FF2B5EF4-FFF2-40B4-BE49-F238E27FC236}">
                  <a16:creationId xmlns:a16="http://schemas.microsoft.com/office/drawing/2014/main" id="{3666103B-FDEE-26EF-3A72-B6ECD4B19EB9}"/>
                </a:ext>
              </a:extLst>
            </p:cNvPr>
            <p:cNvSpPr txBox="1"/>
            <p:nvPr/>
          </p:nvSpPr>
          <p:spPr>
            <a:xfrm>
              <a:off x="7707608" y="2709971"/>
              <a:ext cx="3522355" cy="83099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reduction in likelihood of a </a:t>
              </a:r>
              <a:b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b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user-generated security event with Microsoft 365 E5 security solutions</a:t>
              </a:r>
              <a:r>
                <a:rPr kumimoji="0" lang="en-US" sz="1600" b="0" i="0" u="none" strike="noStrike" kern="1200" cap="none" spc="0" normalizeH="0" baseline="30000" noProof="0" dirty="0">
                  <a:ln>
                    <a:noFill/>
                  </a:ln>
                  <a:gradFill>
                    <a:gsLst>
                      <a:gs pos="83000">
                        <a:srgbClr val="000000"/>
                      </a:gs>
                      <a:gs pos="100000">
                        <a:srgbClr val="000000"/>
                      </a:gs>
                    </a:gsLst>
                    <a:lin ang="5400000" scaled="1"/>
                  </a:gradFill>
                  <a:effectLst/>
                  <a:uLnTx/>
                  <a:uFillTx/>
                  <a:latin typeface="Segoe UI"/>
                  <a:ea typeface="+mn-ea"/>
                  <a:cs typeface="+mn-cs"/>
                </a:rPr>
                <a:t>2</a:t>
              </a:r>
            </a:p>
          </p:txBody>
        </p:sp>
        <p:sp>
          <p:nvSpPr>
            <p:cNvPr id="20" name="Rectangle 19">
              <a:extLst>
                <a:ext uri="{FF2B5EF4-FFF2-40B4-BE49-F238E27FC236}">
                  <a16:creationId xmlns:a16="http://schemas.microsoft.com/office/drawing/2014/main" id="{039D5445-9DA2-63ED-8193-18D358A3C17F}"/>
                </a:ext>
              </a:extLst>
            </p:cNvPr>
            <p:cNvSpPr/>
            <p:nvPr/>
          </p:nvSpPr>
          <p:spPr>
            <a:xfrm>
              <a:off x="7707609" y="1874957"/>
              <a:ext cx="1920044"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gradFill>
                    <a:gsLst>
                      <a:gs pos="100000">
                        <a:srgbClr val="0078D4"/>
                      </a:gs>
                      <a:gs pos="83000">
                        <a:srgbClr val="0078D4"/>
                      </a:gs>
                    </a:gsLst>
                    <a:lin ang="5400000" scaled="1"/>
                  </a:gradFill>
                  <a:effectLst/>
                  <a:uLnTx/>
                  <a:uFillTx/>
                  <a:latin typeface="Segoe UI Semibold"/>
                  <a:ea typeface="+mn-ea"/>
                  <a:cs typeface="+mn-cs"/>
                </a:rPr>
                <a:t>75%</a:t>
              </a:r>
            </a:p>
          </p:txBody>
        </p:sp>
      </p:grpSp>
      <p:grpSp>
        <p:nvGrpSpPr>
          <p:cNvPr id="30" name="Group 29" descr="88% of organizations that consolidate their security portfolio report that they diminished their breach risk.3">
            <a:extLst>
              <a:ext uri="{FF2B5EF4-FFF2-40B4-BE49-F238E27FC236}">
                <a16:creationId xmlns:a16="http://schemas.microsoft.com/office/drawing/2014/main" id="{753FC318-9DDC-F59D-5101-A9A6669D0B91}"/>
              </a:ext>
            </a:extLst>
          </p:cNvPr>
          <p:cNvGrpSpPr/>
          <p:nvPr/>
        </p:nvGrpSpPr>
        <p:grpSpPr>
          <a:xfrm>
            <a:off x="4372167" y="3065469"/>
            <a:ext cx="3055862" cy="1812490"/>
            <a:chOff x="7971556" y="5304424"/>
            <a:chExt cx="3055862" cy="1812490"/>
          </a:xfrm>
        </p:grpSpPr>
        <p:sp>
          <p:nvSpPr>
            <p:cNvPr id="24" name="TextBox 23">
              <a:extLst>
                <a:ext uri="{FF2B5EF4-FFF2-40B4-BE49-F238E27FC236}">
                  <a16:creationId xmlns:a16="http://schemas.microsoft.com/office/drawing/2014/main" id="{6E06B98E-D599-9590-C60F-004BCA8C38F6}"/>
                </a:ext>
              </a:extLst>
            </p:cNvPr>
            <p:cNvSpPr txBox="1"/>
            <p:nvPr/>
          </p:nvSpPr>
          <p:spPr>
            <a:xfrm>
              <a:off x="8000132" y="6039696"/>
              <a:ext cx="3027286"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Segoe UI"/>
                  <a:ea typeface="+mn-ea"/>
                  <a:cs typeface="Segoe UI Semibold" panose="020B0502040204020203" pitchFamily="34" charset="0"/>
                </a:rPr>
                <a:t>of organizations that consolidate their security portfolio </a:t>
              </a:r>
              <a:r>
                <a:rPr kumimoji="0" lang="en-US" sz="1600" b="0" i="0" u="none" strike="noStrike" kern="1200" cap="none" spc="0" normalizeH="0" baseline="0" noProof="0" dirty="0">
                  <a:ln>
                    <a:noFill/>
                  </a:ln>
                  <a:solidFill>
                    <a:sysClr val="windowText" lastClr="000000"/>
                  </a:solidFill>
                  <a:effectLst/>
                  <a:uLnTx/>
                  <a:uFillTx/>
                  <a:latin typeface="Segoe UI Semibold"/>
                  <a:ea typeface="+mn-ea"/>
                  <a:cs typeface="Segoe UI Semibold" panose="020B0502040204020203" pitchFamily="34" charset="0"/>
                </a:rPr>
                <a:t>report that they diminished their breach risk</a:t>
              </a:r>
              <a:r>
                <a:rPr kumimoji="0" lang="en-US" sz="1400" b="0" i="0" u="none" strike="noStrike" kern="1200" cap="none" spc="0" normalizeH="0" baseline="0" noProof="0" dirty="0">
                  <a:ln>
                    <a:noFill/>
                  </a:ln>
                  <a:solidFill>
                    <a:sysClr val="windowText" lastClr="000000"/>
                  </a:solidFill>
                  <a:effectLst/>
                  <a:uLnTx/>
                  <a:uFillTx/>
                  <a:latin typeface="Segoe UI Semibold"/>
                  <a:ea typeface="+mn-ea"/>
                  <a:cs typeface="Segoe UI Semibold" panose="020B0502040204020203" pitchFamily="34" charset="0"/>
                </a:rPr>
                <a:t>.</a:t>
              </a:r>
              <a:r>
                <a:rPr kumimoji="0" lang="en-US" sz="1400" b="0" i="0" u="none" strike="noStrike" kern="1200" cap="none" spc="0" normalizeH="0" baseline="30000" noProof="0" dirty="0">
                  <a:ln>
                    <a:noFill/>
                  </a:ln>
                  <a:solidFill>
                    <a:sysClr val="windowText" lastClr="000000"/>
                  </a:solidFill>
                  <a:effectLst/>
                  <a:uLnTx/>
                  <a:uFillTx/>
                  <a:latin typeface="Segoe UI Semibold"/>
                  <a:ea typeface="+mn-ea"/>
                  <a:cs typeface="Segoe UI Semibold" panose="020B0502040204020203" pitchFamily="34" charset="0"/>
                </a:rPr>
                <a:t>3</a:t>
              </a:r>
            </a:p>
          </p:txBody>
        </p:sp>
        <p:sp>
          <p:nvSpPr>
            <p:cNvPr id="29" name="TextBox 28">
              <a:extLst>
                <a:ext uri="{FF2B5EF4-FFF2-40B4-BE49-F238E27FC236}">
                  <a16:creationId xmlns:a16="http://schemas.microsoft.com/office/drawing/2014/main" id="{A9CF196D-951D-DF1E-6195-421B64E3D739}"/>
                </a:ext>
              </a:extLst>
            </p:cNvPr>
            <p:cNvSpPr txBox="1"/>
            <p:nvPr/>
          </p:nvSpPr>
          <p:spPr>
            <a:xfrm>
              <a:off x="7971556" y="5304424"/>
              <a:ext cx="167907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gradFill>
                    <a:gsLst>
                      <a:gs pos="100000">
                        <a:srgbClr val="0078D4"/>
                      </a:gs>
                      <a:gs pos="83000">
                        <a:srgbClr val="0078D4"/>
                      </a:gs>
                    </a:gsLst>
                    <a:lin ang="5400000" scaled="1"/>
                  </a:gradFill>
                  <a:effectLst/>
                  <a:uLnTx/>
                  <a:uFillTx/>
                  <a:latin typeface="Segoe UI Semibold"/>
                  <a:ea typeface="+mn-ea"/>
                  <a:cs typeface="+mn-cs"/>
                </a:rPr>
                <a:t>88%</a:t>
              </a:r>
            </a:p>
          </p:txBody>
        </p:sp>
      </p:grpSp>
      <p:grpSp>
        <p:nvGrpSpPr>
          <p:cNvPr id="5" name="Group 4" descr="$1.2m added to the organization’s bottom line with improved security 4&#10;">
            <a:extLst>
              <a:ext uri="{FF2B5EF4-FFF2-40B4-BE49-F238E27FC236}">
                <a16:creationId xmlns:a16="http://schemas.microsoft.com/office/drawing/2014/main" id="{51FF007F-6295-C1F1-0123-70738ABEC26A}"/>
              </a:ext>
            </a:extLst>
          </p:cNvPr>
          <p:cNvGrpSpPr/>
          <p:nvPr/>
        </p:nvGrpSpPr>
        <p:grpSpPr>
          <a:xfrm>
            <a:off x="7806045" y="3129122"/>
            <a:ext cx="3322154" cy="1492605"/>
            <a:chOff x="7094157" y="3245850"/>
            <a:chExt cx="3322154" cy="1492605"/>
          </a:xfrm>
        </p:grpSpPr>
        <p:sp>
          <p:nvSpPr>
            <p:cNvPr id="6" name="Rectangle 5">
              <a:extLst>
                <a:ext uri="{FF2B5EF4-FFF2-40B4-BE49-F238E27FC236}">
                  <a16:creationId xmlns:a16="http://schemas.microsoft.com/office/drawing/2014/main" id="{BEDE4058-DAED-C420-F044-87E8CFB2165C}"/>
                </a:ext>
              </a:extLst>
            </p:cNvPr>
            <p:cNvSpPr/>
            <p:nvPr/>
          </p:nvSpPr>
          <p:spPr>
            <a:xfrm>
              <a:off x="7094157" y="3245850"/>
              <a:ext cx="1857469" cy="701727"/>
            </a:xfrm>
            <a:prstGeom prst="rect">
              <a:avLst/>
            </a:prstGeom>
          </p:spPr>
          <p:txBody>
            <a:bodyPr wrap="square" lIns="91438" tIns="45718" rIns="91438" bIns="45718">
              <a:spAutoFit/>
            </a:bodyPr>
            <a:lstStyle/>
            <a:p>
              <a:pPr marL="0" marR="0" lvl="3" indent="0" algn="l" defTabSz="950430" rtl="0" eaLnBrk="1" fontAlgn="base" latinLnBrk="0" hangingPunct="1">
                <a:lnSpc>
                  <a:spcPct val="90000"/>
                </a:lnSpc>
                <a:spcBef>
                  <a:spcPts val="1836"/>
                </a:spcBef>
                <a:spcAft>
                  <a:spcPts val="0"/>
                </a:spcAft>
                <a:buClrTx/>
                <a:buSzTx/>
                <a:buFontTx/>
                <a:buNone/>
                <a:tabLst/>
                <a:defRPr/>
              </a:pPr>
              <a:r>
                <a:rPr kumimoji="0" lang="en-US" sz="4400" b="0" i="0" u="none" strike="noStrike" kern="1200" cap="none" spc="-204" normalizeH="0" baseline="0" noProof="0" dirty="0">
                  <a:ln>
                    <a:noFill/>
                  </a:ln>
                  <a:solidFill>
                    <a:srgbClr val="0078D4"/>
                  </a:solidFill>
                  <a:effectLst/>
                  <a:uLnTx/>
                  <a:uFillTx/>
                  <a:latin typeface="Segoe UI Semibold"/>
                  <a:ea typeface="ＭＳ Ｐゴシック" charset="0"/>
                  <a:cs typeface="Segoe UI Semibold" panose="020B0702040204020203" pitchFamily="34" charset="0"/>
                </a:rPr>
                <a:t>$1.2m</a:t>
              </a:r>
            </a:p>
          </p:txBody>
        </p:sp>
        <p:sp>
          <p:nvSpPr>
            <p:cNvPr id="7" name="Rectangle 6">
              <a:extLst>
                <a:ext uri="{FF2B5EF4-FFF2-40B4-BE49-F238E27FC236}">
                  <a16:creationId xmlns:a16="http://schemas.microsoft.com/office/drawing/2014/main" id="{41934BF8-8608-C1A1-1414-DDC5514D455A}"/>
                </a:ext>
              </a:extLst>
            </p:cNvPr>
            <p:cNvSpPr/>
            <p:nvPr/>
          </p:nvSpPr>
          <p:spPr>
            <a:xfrm>
              <a:off x="7122733" y="3907458"/>
              <a:ext cx="3293578" cy="830997"/>
            </a:xfrm>
            <a:prstGeom prst="rect">
              <a:avLst/>
            </a:prstGeom>
          </p:spPr>
          <p:txBody>
            <a:bodyPr wrap="square">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added to the organization’s bottom line with improved security </a:t>
              </a:r>
              <a:r>
                <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4</a:t>
              </a:r>
            </a:p>
          </p:txBody>
        </p:sp>
      </p:grpSp>
      <p:sp>
        <p:nvSpPr>
          <p:cNvPr id="35" name="TextBox 34">
            <a:extLst>
              <a:ext uri="{FF2B5EF4-FFF2-40B4-BE49-F238E27FC236}">
                <a16:creationId xmlns:a16="http://schemas.microsoft.com/office/drawing/2014/main" id="{AC43AA55-0AC4-D52A-7B66-62725CF00F6A}"/>
              </a:ext>
            </a:extLst>
          </p:cNvPr>
          <p:cNvSpPr txBox="1"/>
          <p:nvPr/>
        </p:nvSpPr>
        <p:spPr>
          <a:xfrm>
            <a:off x="4372167" y="5836769"/>
            <a:ext cx="7381469" cy="1072601"/>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90000"/>
              </a:lnSpc>
              <a:spcBef>
                <a:spcPts val="0"/>
              </a:spcBef>
              <a:spcAft>
                <a:spcPts val="264"/>
              </a:spcAft>
              <a:buClrTx/>
              <a:buSzTx/>
              <a:buFontTx/>
              <a:buNone/>
              <a:tabLst/>
              <a:defRPr/>
            </a:pPr>
            <a:r>
              <a:rPr kumimoji="0" lang="en-US" sz="900" b="0" i="0" u="none" strike="noStrike" kern="1200" cap="none" spc="0" normalizeH="0" baseline="30000" noProof="0">
                <a:ln>
                  <a:noFill/>
                </a:ln>
                <a:solidFill>
                  <a:srgbClr val="000000"/>
                </a:solidFill>
                <a:effectLst/>
                <a:uLnTx/>
                <a:uFillTx/>
                <a:latin typeface="Segoe UI"/>
                <a:ea typeface="+mn-ea"/>
                <a:cs typeface="+mn-cs"/>
              </a:rPr>
              <a:t>1 </a:t>
            </a:r>
            <a:r>
              <a:rPr kumimoji="0" lang="en-US" sz="900" b="0" i="0" u="none" strike="noStrike" kern="1200" cap="none" spc="0" normalizeH="0" baseline="0" noProof="0">
                <a:ln>
                  <a:noFill/>
                </a:ln>
                <a:solidFill>
                  <a:srgbClr val="000000"/>
                </a:solidFill>
                <a:effectLst/>
                <a:uLnTx/>
                <a:uFillTx/>
                <a:latin typeface="Segoe UI"/>
                <a:ea typeface="+mn-ea"/>
                <a:cs typeface="+mn-cs"/>
              </a:rPr>
              <a:t>Gartner, “Gartner Top Security and Risk Trends for 2021”, April, 2021 </a:t>
            </a:r>
          </a:p>
          <a:p>
            <a:pPr marL="0" marR="0" lvl="0" indent="0" algn="l" defTabSz="914400" rtl="0" eaLnBrk="1" fontAlgn="auto" latinLnBrk="0" hangingPunct="1">
              <a:lnSpc>
                <a:spcPct val="90000"/>
              </a:lnSpc>
              <a:spcBef>
                <a:spcPts val="0"/>
              </a:spcBef>
              <a:spcAft>
                <a:spcPts val="264"/>
              </a:spcAft>
              <a:buClrTx/>
              <a:buSzTx/>
              <a:buFontTx/>
              <a:buNone/>
              <a:tabLst/>
              <a:defRPr/>
            </a:pPr>
            <a:r>
              <a:rPr kumimoji="0" lang="en-US" sz="900" b="0" i="0" u="none" strike="noStrike" kern="1200" cap="none" spc="0" normalizeH="0" baseline="30000" noProof="0">
                <a:ln>
                  <a:noFill/>
                </a:ln>
                <a:solidFill>
                  <a:srgbClr val="000000"/>
                </a:solidFill>
                <a:effectLst/>
                <a:uLnTx/>
                <a:uFillTx/>
                <a:latin typeface="Segoe UI"/>
                <a:ea typeface="+mn-ea"/>
                <a:cs typeface="+mn-cs"/>
              </a:rPr>
              <a:t>2</a:t>
            </a:r>
            <a:r>
              <a:rPr kumimoji="0" lang="en-US" sz="900" b="0" i="0" u="none" strike="noStrike" kern="1200" cap="none" spc="0" normalizeH="0" baseline="0" noProof="0">
                <a:ln>
                  <a:noFill/>
                </a:ln>
                <a:solidFill>
                  <a:srgbClr val="000000"/>
                </a:solidFill>
                <a:effectLst/>
                <a:uLnTx/>
                <a:uFillTx/>
                <a:latin typeface="Segoe UI"/>
                <a:ea typeface="+mn-ea"/>
                <a:cs typeface="+mn-cs"/>
              </a:rPr>
              <a:t> Forrester Consulting, “The Total Economic Impact™ Of The Microsoft 365 E5 Solutions”, October, 2018, commissioned by Microsoft</a:t>
            </a:r>
          </a:p>
          <a:p>
            <a:pPr marL="0" marR="0" lvl="0" indent="0" algn="l" defTabSz="914400" rtl="0" eaLnBrk="1" fontAlgn="auto" latinLnBrk="0" hangingPunct="1">
              <a:lnSpc>
                <a:spcPct val="90000"/>
              </a:lnSpc>
              <a:spcBef>
                <a:spcPts val="0"/>
              </a:spcBef>
              <a:spcAft>
                <a:spcPts val="264"/>
              </a:spcAft>
              <a:buClrTx/>
              <a:buSzTx/>
              <a:buFontTx/>
              <a:buNone/>
              <a:tabLst/>
              <a:defRPr/>
            </a:pPr>
            <a:r>
              <a:rPr kumimoji="0" lang="en-US" sz="900" b="1" i="0" u="none" strike="noStrike" kern="1200" cap="none" spc="0" normalizeH="0" baseline="30000" noProof="0">
                <a:ln>
                  <a:noFill/>
                </a:ln>
                <a:solidFill>
                  <a:srgbClr val="000000"/>
                </a:solidFill>
                <a:effectLst/>
                <a:uLnTx/>
                <a:uFillTx/>
                <a:latin typeface="Segoe UI" panose="020B0502040204020203" pitchFamily="34" charset="0"/>
                <a:ea typeface="+mn-ea"/>
                <a:cs typeface="+mn-cs"/>
              </a:rPr>
              <a:t>3 </a:t>
            </a:r>
            <a:r>
              <a:rPr kumimoji="0" lang="en-US" sz="900" b="0" i="0" u="none" strike="noStrike" kern="1200" cap="none" spc="0" normalizeH="0" baseline="0" noProof="0">
                <a:ln>
                  <a:noFill/>
                </a:ln>
                <a:solidFill>
                  <a:srgbClr val="000000"/>
                </a:solidFill>
                <a:effectLst/>
                <a:uLnTx/>
                <a:uFillTx/>
                <a:latin typeface="Segoe UI"/>
                <a:ea typeface="+mn-ea"/>
                <a:cs typeface="+mn-cs"/>
              </a:rPr>
              <a:t>Forrester Consulting: “Security Through Simplicity”, December, 2018, commissioned by Microsoft</a:t>
            </a:r>
          </a:p>
          <a:p>
            <a:pPr marL="0" marR="0" lvl="0" indent="0" algn="l" defTabSz="914400" rtl="0" eaLnBrk="1" fontAlgn="auto" latinLnBrk="0" hangingPunct="1">
              <a:lnSpc>
                <a:spcPct val="90000"/>
              </a:lnSpc>
              <a:spcBef>
                <a:spcPts val="0"/>
              </a:spcBef>
              <a:spcAft>
                <a:spcPts val="264"/>
              </a:spcAft>
              <a:buClrTx/>
              <a:buSzTx/>
              <a:buFontTx/>
              <a:buNone/>
              <a:tabLst/>
              <a:defRPr/>
            </a:pPr>
            <a:r>
              <a:rPr kumimoji="0" lang="en-US" sz="900" b="0" i="0" u="none" strike="noStrike" kern="1200" cap="none" spc="0" normalizeH="0" baseline="30000" noProof="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mn-cs"/>
              </a:rPr>
              <a:t>4 </a:t>
            </a:r>
            <a:r>
              <a:rPr kumimoji="0" lang="en-US" sz="900" b="0" i="0" u="none" strike="noStrike" kern="1200" cap="none" spc="0" normalizeH="0" baseline="0" noProof="0">
                <a:ln>
                  <a:noFill/>
                </a:ln>
                <a:gradFill>
                  <a:gsLst>
                    <a:gs pos="1000">
                      <a:srgbClr val="000000"/>
                    </a:gs>
                    <a:gs pos="99000">
                      <a:srgbClr val="000000">
                        <a:alpha val="83000"/>
                      </a:srgbClr>
                    </a:gs>
                  </a:gsLst>
                  <a:lin ang="16200000" scaled="1"/>
                </a:gradFill>
                <a:effectLst/>
                <a:uLnTx/>
                <a:uFillTx/>
                <a:latin typeface="Segoe UI" panose="020B0502040204020203" pitchFamily="34" charset="0"/>
                <a:ea typeface="+mn-ea"/>
                <a:cs typeface="+mn-cs"/>
              </a:rPr>
              <a:t>Forrester Consulting, “The Total Economic Impact™ Of Azure Sentinel”, November, 2020, commissioned by Microsoft</a:t>
            </a:r>
            <a:endParaRPr kumimoji="0" lang="en-US" sz="9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264"/>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486030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94C295-D2D9-46E1-A408-A8B51ABBFE6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auto">
          <a:xfrm>
            <a:off x="-86667" y="16232"/>
            <a:ext cx="483843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Title 2">
            <a:extLst>
              <a:ext uri="{FF2B5EF4-FFF2-40B4-BE49-F238E27FC236}">
                <a16:creationId xmlns:a16="http://schemas.microsoft.com/office/drawing/2014/main" id="{DD8EE86B-8097-8B71-BE5E-894488965C59}"/>
              </a:ext>
            </a:extLst>
          </p:cNvPr>
          <p:cNvSpPr txBox="1">
            <a:spLocks noGrp="1"/>
          </p:cNvSpPr>
          <p:nvPr>
            <p:ph type="title" idx="4294967295"/>
          </p:nvPr>
        </p:nvSpPr>
        <p:spPr>
          <a:xfrm>
            <a:off x="588263" y="689487"/>
            <a:ext cx="3288296" cy="179115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mj-lt"/>
                <a:ea typeface="+mn-ea"/>
                <a:cs typeface="Segoe UI" pitchFamily="34" charset="0"/>
              </a:rPr>
              <a:t>Simplify vendor management </a:t>
            </a:r>
          </a:p>
        </p:txBody>
      </p:sp>
      <p:grpSp>
        <p:nvGrpSpPr>
          <p:cNvPr id="10" name="Group 9" descr="Microsoft Security badge">
            <a:extLst>
              <a:ext uri="{FF2B5EF4-FFF2-40B4-BE49-F238E27FC236}">
                <a16:creationId xmlns:a16="http://schemas.microsoft.com/office/drawing/2014/main" id="{75718EDF-700C-465F-8456-374D3F906B6D}"/>
              </a:ext>
            </a:extLst>
          </p:cNvPr>
          <p:cNvGrpSpPr/>
          <p:nvPr/>
        </p:nvGrpSpPr>
        <p:grpSpPr>
          <a:xfrm>
            <a:off x="1017119" y="2862423"/>
            <a:ext cx="3001888" cy="3140507"/>
            <a:chOff x="773278" y="1407244"/>
            <a:chExt cx="3896815" cy="4043553"/>
          </a:xfrm>
        </p:grpSpPr>
        <p:sp>
          <p:nvSpPr>
            <p:cNvPr id="172" name="Freeform 171">
              <a:extLst>
                <a:ext uri="{FF2B5EF4-FFF2-40B4-BE49-F238E27FC236}">
                  <a16:creationId xmlns:a16="http://schemas.microsoft.com/office/drawing/2014/main" id="{C873EDD4-ACC0-7E4B-997C-939A0B2D407C}"/>
                </a:ext>
                <a:ext uri="{C183D7F6-B498-43B3-948B-1728B52AA6E4}">
                  <adec:decorative xmlns:adec="http://schemas.microsoft.com/office/drawing/2017/decorative" val="1"/>
                </a:ext>
              </a:extLst>
            </p:cNvPr>
            <p:cNvSpPr/>
            <p:nvPr/>
          </p:nvSpPr>
          <p:spPr>
            <a:xfrm>
              <a:off x="870343" y="1407244"/>
              <a:ext cx="3799750" cy="4043513"/>
            </a:xfrm>
            <a:custGeom>
              <a:avLst/>
              <a:gdLst>
                <a:gd name="connsiteX0" fmla="*/ 2278743 w 4726995"/>
                <a:gd name="connsiteY0" fmla="*/ 4981459 h 5030241"/>
                <a:gd name="connsiteX1" fmla="*/ 1729702 w 4726995"/>
                <a:gd name="connsiteY1" fmla="*/ 4630622 h 5030241"/>
                <a:gd name="connsiteX2" fmla="*/ 1202128 w 4726995"/>
                <a:gd name="connsiteY2" fmla="*/ 4209745 h 5030241"/>
                <a:gd name="connsiteX3" fmla="*/ 733314 w 4726995"/>
                <a:gd name="connsiteY3" fmla="*/ 3724195 h 5030241"/>
                <a:gd name="connsiteX4" fmla="*/ 350368 w 4726995"/>
                <a:gd name="connsiteY4" fmla="*/ 3168877 h 5030241"/>
                <a:gd name="connsiteX5" fmla="*/ 94585 w 4726995"/>
                <a:gd name="connsiteY5" fmla="*/ 2547067 h 5030241"/>
                <a:gd name="connsiteX6" fmla="*/ -378 w 4726995"/>
                <a:gd name="connsiteY6" fmla="*/ 1857127 h 5030241"/>
                <a:gd name="connsiteX7" fmla="*/ -378 w 4726995"/>
                <a:gd name="connsiteY7" fmla="*/ 678816 h 5030241"/>
                <a:gd name="connsiteX8" fmla="*/ 159349 w 4726995"/>
                <a:gd name="connsiteY8" fmla="*/ 670630 h 5030241"/>
                <a:gd name="connsiteX9" fmla="*/ 874031 w 4726995"/>
                <a:gd name="connsiteY9" fmla="*/ 550652 h 5030241"/>
                <a:gd name="connsiteX10" fmla="*/ 1522674 w 4726995"/>
                <a:gd name="connsiteY10" fmla="*/ 251299 h 5030241"/>
                <a:gd name="connsiteX11" fmla="*/ 1922175 w 4726995"/>
                <a:gd name="connsiteY11" fmla="*/ 61190 h 5030241"/>
                <a:gd name="connsiteX12" fmla="*/ 2803862 w 4726995"/>
                <a:gd name="connsiteY12" fmla="*/ 61190 h 5030241"/>
                <a:gd name="connsiteX13" fmla="*/ 3204090 w 4726995"/>
                <a:gd name="connsiteY13" fmla="*/ 251117 h 5030241"/>
                <a:gd name="connsiteX14" fmla="*/ 3852370 w 4726995"/>
                <a:gd name="connsiteY14" fmla="*/ 550197 h 5030241"/>
                <a:gd name="connsiteX15" fmla="*/ 4566870 w 4726995"/>
                <a:gd name="connsiteY15" fmla="*/ 670630 h 5030241"/>
                <a:gd name="connsiteX16" fmla="*/ 4726598 w 4726995"/>
                <a:gd name="connsiteY16" fmla="*/ 679726 h 5030241"/>
                <a:gd name="connsiteX17" fmla="*/ 4726598 w 4726995"/>
                <a:gd name="connsiteY17" fmla="*/ 1857127 h 5030241"/>
                <a:gd name="connsiteX18" fmla="*/ 4631725 w 4726995"/>
                <a:gd name="connsiteY18" fmla="*/ 2547067 h 5030241"/>
                <a:gd name="connsiteX19" fmla="*/ 4376125 w 4726995"/>
                <a:gd name="connsiteY19" fmla="*/ 3168877 h 5030241"/>
                <a:gd name="connsiteX20" fmla="*/ 3992905 w 4726995"/>
                <a:gd name="connsiteY20" fmla="*/ 3724195 h 5030241"/>
                <a:gd name="connsiteX21" fmla="*/ 3523728 w 4726995"/>
                <a:gd name="connsiteY21" fmla="*/ 4209745 h 5030241"/>
                <a:gd name="connsiteX22" fmla="*/ 2996153 w 4726995"/>
                <a:gd name="connsiteY22" fmla="*/ 4630622 h 5030241"/>
                <a:gd name="connsiteX23" fmla="*/ 2447112 w 4726995"/>
                <a:gd name="connsiteY23" fmla="*/ 4981459 h 5030241"/>
                <a:gd name="connsiteX24" fmla="*/ 2362519 w 4726995"/>
                <a:gd name="connsiteY24" fmla="*/ 5030215 h 503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26995" h="5030241">
                  <a:moveTo>
                    <a:pt x="2278743" y="4981459"/>
                  </a:moveTo>
                  <a:cubicBezTo>
                    <a:pt x="2095275" y="4875216"/>
                    <a:pt x="1910533" y="4757240"/>
                    <a:pt x="1729702" y="4630622"/>
                  </a:cubicBezTo>
                  <a:cubicBezTo>
                    <a:pt x="1545124" y="4501621"/>
                    <a:pt x="1368914" y="4361041"/>
                    <a:pt x="1202128" y="4209745"/>
                  </a:cubicBezTo>
                  <a:cubicBezTo>
                    <a:pt x="1035432" y="4058295"/>
                    <a:pt x="878824" y="3896102"/>
                    <a:pt x="733314" y="3724195"/>
                  </a:cubicBezTo>
                  <a:cubicBezTo>
                    <a:pt x="587458" y="3552333"/>
                    <a:pt x="459166" y="3366299"/>
                    <a:pt x="350368" y="3168877"/>
                  </a:cubicBezTo>
                  <a:cubicBezTo>
                    <a:pt x="242151" y="2971810"/>
                    <a:pt x="156356" y="2763236"/>
                    <a:pt x="94585" y="2547067"/>
                  </a:cubicBezTo>
                  <a:cubicBezTo>
                    <a:pt x="30967" y="2322629"/>
                    <a:pt x="-997" y="2090406"/>
                    <a:pt x="-378" y="1857127"/>
                  </a:cubicBezTo>
                  <a:lnTo>
                    <a:pt x="-378" y="678816"/>
                  </a:lnTo>
                  <a:lnTo>
                    <a:pt x="159349" y="670630"/>
                  </a:lnTo>
                  <a:cubicBezTo>
                    <a:pt x="401406" y="658314"/>
                    <a:pt x="641225" y="618054"/>
                    <a:pt x="874031" y="550652"/>
                  </a:cubicBezTo>
                  <a:cubicBezTo>
                    <a:pt x="1103426" y="482340"/>
                    <a:pt x="1321859" y="381537"/>
                    <a:pt x="1522674" y="251299"/>
                  </a:cubicBezTo>
                  <a:cubicBezTo>
                    <a:pt x="1646400" y="169745"/>
                    <a:pt x="1780849" y="105765"/>
                    <a:pt x="1922175" y="61190"/>
                  </a:cubicBezTo>
                  <a:cubicBezTo>
                    <a:pt x="2210404" y="-20433"/>
                    <a:pt x="2515634" y="-20433"/>
                    <a:pt x="2803862" y="61190"/>
                  </a:cubicBezTo>
                  <a:cubicBezTo>
                    <a:pt x="2945388" y="105755"/>
                    <a:pt x="3080074" y="169669"/>
                    <a:pt x="3204090" y="251117"/>
                  </a:cubicBezTo>
                  <a:cubicBezTo>
                    <a:pt x="3404769" y="381294"/>
                    <a:pt x="3623085" y="482013"/>
                    <a:pt x="3852370" y="550197"/>
                  </a:cubicBezTo>
                  <a:cubicBezTo>
                    <a:pt x="4085104" y="617745"/>
                    <a:pt x="4324859" y="658150"/>
                    <a:pt x="4566870" y="670630"/>
                  </a:cubicBezTo>
                  <a:lnTo>
                    <a:pt x="4726598" y="679726"/>
                  </a:lnTo>
                  <a:lnTo>
                    <a:pt x="4726598" y="1857127"/>
                  </a:lnTo>
                  <a:cubicBezTo>
                    <a:pt x="4727298" y="2090406"/>
                    <a:pt x="4695362" y="2322638"/>
                    <a:pt x="4631725" y="2547067"/>
                  </a:cubicBezTo>
                  <a:cubicBezTo>
                    <a:pt x="4569981" y="2763218"/>
                    <a:pt x="4484250" y="2971792"/>
                    <a:pt x="4376125" y="3168877"/>
                  </a:cubicBezTo>
                  <a:cubicBezTo>
                    <a:pt x="4267107" y="3366226"/>
                    <a:pt x="4138734" y="3552251"/>
                    <a:pt x="3992905" y="3724195"/>
                  </a:cubicBezTo>
                  <a:cubicBezTo>
                    <a:pt x="3847277" y="3896111"/>
                    <a:pt x="3690541" y="4058304"/>
                    <a:pt x="3523728" y="4209745"/>
                  </a:cubicBezTo>
                  <a:cubicBezTo>
                    <a:pt x="3356987" y="4361104"/>
                    <a:pt x="3180777" y="4501676"/>
                    <a:pt x="2996153" y="4630622"/>
                  </a:cubicBezTo>
                  <a:cubicBezTo>
                    <a:pt x="2814868" y="4757967"/>
                    <a:pt x="2629944" y="4875581"/>
                    <a:pt x="2447112" y="4981459"/>
                  </a:cubicBezTo>
                  <a:lnTo>
                    <a:pt x="2362519" y="5030215"/>
                  </a:lnTo>
                  <a:close/>
                </a:path>
              </a:pathLst>
            </a:custGeom>
            <a:solidFill>
              <a:srgbClr val="FFFFFF"/>
            </a:solidFill>
            <a:ln w="22225" cap="flat">
              <a:solidFill>
                <a:srgbClr val="D2D2D2">
                  <a:alpha val="61000"/>
                </a:srgbClr>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Line 127">
              <a:extLst>
                <a:ext uri="{FF2B5EF4-FFF2-40B4-BE49-F238E27FC236}">
                  <a16:creationId xmlns:a16="http://schemas.microsoft.com/office/drawing/2014/main" id="{C01CC13F-8DC8-3C42-BBF2-DC91E55BBD81}"/>
                </a:ext>
                <a:ext uri="{C183D7F6-B498-43B3-948B-1728B52AA6E4}">
                  <adec:decorative xmlns:adec="http://schemas.microsoft.com/office/drawing/2017/decorative" val="1"/>
                </a:ext>
              </a:extLst>
            </p:cNvPr>
            <p:cNvSpPr>
              <a:spLocks noChangeShapeType="1"/>
            </p:cNvSpPr>
            <p:nvPr/>
          </p:nvSpPr>
          <p:spPr bwMode="auto">
            <a:xfrm>
              <a:off x="4539219" y="3805504"/>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6" name="Line 136">
              <a:extLst>
                <a:ext uri="{FF2B5EF4-FFF2-40B4-BE49-F238E27FC236}">
                  <a16:creationId xmlns:a16="http://schemas.microsoft.com/office/drawing/2014/main" id="{4626FAB1-C88D-9645-BDD7-1DA7BF8D5B75}"/>
                </a:ext>
                <a:ext uri="{C183D7F6-B498-43B3-948B-1728B52AA6E4}">
                  <adec:decorative xmlns:adec="http://schemas.microsoft.com/office/drawing/2017/decorative" val="1"/>
                </a:ext>
              </a:extLst>
            </p:cNvPr>
            <p:cNvSpPr>
              <a:spLocks noChangeShapeType="1"/>
            </p:cNvSpPr>
            <p:nvPr/>
          </p:nvSpPr>
          <p:spPr bwMode="auto">
            <a:xfrm>
              <a:off x="4287496" y="4133593"/>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Line 153">
              <a:extLst>
                <a:ext uri="{FF2B5EF4-FFF2-40B4-BE49-F238E27FC236}">
                  <a16:creationId xmlns:a16="http://schemas.microsoft.com/office/drawing/2014/main" id="{511282C8-47DD-3342-84B8-4FC36F50A8D0}"/>
                </a:ext>
                <a:ext uri="{C183D7F6-B498-43B3-948B-1728B52AA6E4}">
                  <adec:decorative xmlns:adec="http://schemas.microsoft.com/office/drawing/2017/decorative" val="1"/>
                </a:ext>
              </a:extLst>
            </p:cNvPr>
            <p:cNvSpPr>
              <a:spLocks noChangeShapeType="1"/>
            </p:cNvSpPr>
            <p:nvPr/>
          </p:nvSpPr>
          <p:spPr bwMode="auto">
            <a:xfrm>
              <a:off x="3216968" y="4629967"/>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8" name="Line 154">
              <a:extLst>
                <a:ext uri="{FF2B5EF4-FFF2-40B4-BE49-F238E27FC236}">
                  <a16:creationId xmlns:a16="http://schemas.microsoft.com/office/drawing/2014/main" id="{CCB83108-DB4B-9C48-B024-125E0E7E0608}"/>
                </a:ext>
                <a:ext uri="{C183D7F6-B498-43B3-948B-1728B52AA6E4}">
                  <adec:decorative xmlns:adec="http://schemas.microsoft.com/office/drawing/2017/decorative" val="1"/>
                </a:ext>
              </a:extLst>
            </p:cNvPr>
            <p:cNvSpPr>
              <a:spLocks noChangeShapeType="1"/>
            </p:cNvSpPr>
            <p:nvPr/>
          </p:nvSpPr>
          <p:spPr bwMode="auto">
            <a:xfrm>
              <a:off x="2539579" y="4629967"/>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79" name="Line 167">
              <a:extLst>
                <a:ext uri="{FF2B5EF4-FFF2-40B4-BE49-F238E27FC236}">
                  <a16:creationId xmlns:a16="http://schemas.microsoft.com/office/drawing/2014/main" id="{B3ADC923-26DE-9341-9F84-ED0525C372E6}"/>
                </a:ext>
                <a:ext uri="{C183D7F6-B498-43B3-948B-1728B52AA6E4}">
                  <adec:decorative xmlns:adec="http://schemas.microsoft.com/office/drawing/2017/decorative" val="1"/>
                </a:ext>
              </a:extLst>
            </p:cNvPr>
            <p:cNvSpPr>
              <a:spLocks noChangeShapeType="1"/>
            </p:cNvSpPr>
            <p:nvPr/>
          </p:nvSpPr>
          <p:spPr bwMode="auto">
            <a:xfrm>
              <a:off x="773278" y="3627554"/>
              <a:ext cx="0" cy="0"/>
            </a:xfrm>
            <a:prstGeom prst="line">
              <a:avLst/>
            </a:prstGeom>
            <a:noFill/>
            <a:ln w="28575" cap="flat">
              <a:solidFill>
                <a:schemeClr val="accent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49" name="Line 148">
              <a:extLst>
                <a:ext uri="{FF2B5EF4-FFF2-40B4-BE49-F238E27FC236}">
                  <a16:creationId xmlns:a16="http://schemas.microsoft.com/office/drawing/2014/main" id="{9D70BD66-9943-B348-8B78-F86457D06990}"/>
                </a:ext>
              </a:extLst>
            </p:cNvPr>
            <p:cNvSpPr>
              <a:spLocks noChangeShapeType="1"/>
            </p:cNvSpPr>
            <p:nvPr/>
          </p:nvSpPr>
          <p:spPr bwMode="auto">
            <a:xfrm flipV="1">
              <a:off x="1261393" y="3901122"/>
              <a:ext cx="574292" cy="23557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50" name="Line 152">
              <a:extLst>
                <a:ext uri="{FF2B5EF4-FFF2-40B4-BE49-F238E27FC236}">
                  <a16:creationId xmlns:a16="http://schemas.microsoft.com/office/drawing/2014/main" id="{26FB4FDE-1E8C-C440-A1D1-DCA58C128E9E}"/>
                </a:ext>
              </a:extLst>
            </p:cNvPr>
            <p:cNvSpPr>
              <a:spLocks noChangeShapeType="1"/>
            </p:cNvSpPr>
            <p:nvPr/>
          </p:nvSpPr>
          <p:spPr bwMode="auto">
            <a:xfrm>
              <a:off x="1394611" y="3168939"/>
              <a:ext cx="441073" cy="72716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1" name="Group 250">
              <a:extLst>
                <a:ext uri="{FF2B5EF4-FFF2-40B4-BE49-F238E27FC236}">
                  <a16:creationId xmlns:a16="http://schemas.microsoft.com/office/drawing/2014/main" id="{2A926CE3-2825-5C4E-8C81-0255A25D9729}"/>
                </a:ext>
              </a:extLst>
            </p:cNvPr>
            <p:cNvGrpSpPr/>
            <p:nvPr/>
          </p:nvGrpSpPr>
          <p:grpSpPr>
            <a:xfrm>
              <a:off x="865123" y="1448206"/>
              <a:ext cx="3802721" cy="4002591"/>
              <a:chOff x="4469839" y="1397246"/>
              <a:chExt cx="4257646" cy="4895140"/>
            </a:xfrm>
          </p:grpSpPr>
          <p:sp>
            <p:nvSpPr>
              <p:cNvPr id="252" name="Line 121">
                <a:extLst>
                  <a:ext uri="{FF2B5EF4-FFF2-40B4-BE49-F238E27FC236}">
                    <a16:creationId xmlns:a16="http://schemas.microsoft.com/office/drawing/2014/main" id="{33671A74-F241-C64F-821B-A7BA84E136E0}"/>
                  </a:ext>
                </a:extLst>
              </p:cNvPr>
              <p:cNvSpPr>
                <a:spLocks noChangeShapeType="1"/>
              </p:cNvSpPr>
              <p:nvPr/>
            </p:nvSpPr>
            <p:spPr bwMode="auto">
              <a:xfrm flipH="1">
                <a:off x="7683088" y="4301037"/>
                <a:ext cx="813539" cy="5539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3" name="Group 252">
                <a:extLst>
                  <a:ext uri="{FF2B5EF4-FFF2-40B4-BE49-F238E27FC236}">
                    <a16:creationId xmlns:a16="http://schemas.microsoft.com/office/drawing/2014/main" id="{46A539A2-2F6C-8046-A27B-E3007DD2FF8C}"/>
                  </a:ext>
                </a:extLst>
              </p:cNvPr>
              <p:cNvGrpSpPr/>
              <p:nvPr/>
            </p:nvGrpSpPr>
            <p:grpSpPr>
              <a:xfrm>
                <a:off x="4469839" y="1397246"/>
                <a:ext cx="4257646" cy="4895140"/>
                <a:chOff x="4469839" y="1397246"/>
                <a:chExt cx="4257646" cy="4895140"/>
              </a:xfrm>
            </p:grpSpPr>
            <p:sp>
              <p:nvSpPr>
                <p:cNvPr id="257" name="Line 106">
                  <a:extLst>
                    <a:ext uri="{FF2B5EF4-FFF2-40B4-BE49-F238E27FC236}">
                      <a16:creationId xmlns:a16="http://schemas.microsoft.com/office/drawing/2014/main" id="{ACEF8E01-38C3-1045-B9F6-A7E6B5B58914}"/>
                    </a:ext>
                  </a:extLst>
                </p:cNvPr>
                <p:cNvSpPr>
                  <a:spLocks noChangeShapeType="1"/>
                </p:cNvSpPr>
                <p:nvPr/>
              </p:nvSpPr>
              <p:spPr bwMode="auto">
                <a:xfrm flipH="1" flipV="1">
                  <a:off x="5913468" y="1548572"/>
                  <a:ext cx="672475" cy="42071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58" name="Group 257">
                  <a:extLst>
                    <a:ext uri="{FF2B5EF4-FFF2-40B4-BE49-F238E27FC236}">
                      <a16:creationId xmlns:a16="http://schemas.microsoft.com/office/drawing/2014/main" id="{C988B9E5-BDA3-CD40-9D19-24B811936731}"/>
                    </a:ext>
                  </a:extLst>
                </p:cNvPr>
                <p:cNvGrpSpPr/>
                <p:nvPr/>
              </p:nvGrpSpPr>
              <p:grpSpPr>
                <a:xfrm>
                  <a:off x="4469839" y="1397556"/>
                  <a:ext cx="4257646" cy="4894830"/>
                  <a:chOff x="4469839" y="1397556"/>
                  <a:chExt cx="4257646" cy="4894830"/>
                </a:xfrm>
              </p:grpSpPr>
              <p:grpSp>
                <p:nvGrpSpPr>
                  <p:cNvPr id="263" name="Group 262">
                    <a:extLst>
                      <a:ext uri="{FF2B5EF4-FFF2-40B4-BE49-F238E27FC236}">
                        <a16:creationId xmlns:a16="http://schemas.microsoft.com/office/drawing/2014/main" id="{D228BB70-6370-F34B-BB3E-4B1AB27D0D03}"/>
                      </a:ext>
                    </a:extLst>
                  </p:cNvPr>
                  <p:cNvGrpSpPr/>
                  <p:nvPr/>
                </p:nvGrpSpPr>
                <p:grpSpPr>
                  <a:xfrm>
                    <a:off x="4469839" y="1557903"/>
                    <a:ext cx="4257646" cy="4734483"/>
                    <a:chOff x="4469839" y="1557903"/>
                    <a:chExt cx="4257646" cy="4734483"/>
                  </a:xfrm>
                </p:grpSpPr>
                <p:sp>
                  <p:nvSpPr>
                    <p:cNvPr id="270" name="Line 129">
                      <a:extLst>
                        <a:ext uri="{FF2B5EF4-FFF2-40B4-BE49-F238E27FC236}">
                          <a16:creationId xmlns:a16="http://schemas.microsoft.com/office/drawing/2014/main" id="{E06B933C-274B-6741-9AC8-E88DAD20EF33}"/>
                        </a:ext>
                      </a:extLst>
                    </p:cNvPr>
                    <p:cNvSpPr>
                      <a:spLocks noChangeShapeType="1"/>
                    </p:cNvSpPr>
                    <p:nvPr/>
                  </p:nvSpPr>
                  <p:spPr bwMode="auto">
                    <a:xfrm flipV="1">
                      <a:off x="8139758" y="2027541"/>
                      <a:ext cx="587727" cy="41281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1" name="Line 130">
                      <a:extLst>
                        <a:ext uri="{FF2B5EF4-FFF2-40B4-BE49-F238E27FC236}">
                          <a16:creationId xmlns:a16="http://schemas.microsoft.com/office/drawing/2014/main" id="{A3F52D4F-EB68-1542-AE56-D2D9C7FE5ECC}"/>
                        </a:ext>
                      </a:extLst>
                    </p:cNvPr>
                    <p:cNvSpPr>
                      <a:spLocks noChangeShapeType="1"/>
                    </p:cNvSpPr>
                    <p:nvPr/>
                  </p:nvSpPr>
                  <p:spPr bwMode="auto">
                    <a:xfrm flipV="1">
                      <a:off x="8052348" y="2451709"/>
                      <a:ext cx="107381" cy="98562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72" name="Group 271">
                      <a:extLst>
                        <a:ext uri="{FF2B5EF4-FFF2-40B4-BE49-F238E27FC236}">
                          <a16:creationId xmlns:a16="http://schemas.microsoft.com/office/drawing/2014/main" id="{59E7B3B8-9D80-7645-9A04-8218F482F186}"/>
                        </a:ext>
                      </a:extLst>
                    </p:cNvPr>
                    <p:cNvGrpSpPr/>
                    <p:nvPr/>
                  </p:nvGrpSpPr>
                  <p:grpSpPr>
                    <a:xfrm>
                      <a:off x="4469839" y="1557903"/>
                      <a:ext cx="4026788" cy="4734483"/>
                      <a:chOff x="4469839" y="1557903"/>
                      <a:chExt cx="4026788" cy="4734483"/>
                    </a:xfrm>
                  </p:grpSpPr>
                  <p:sp>
                    <p:nvSpPr>
                      <p:cNvPr id="273" name="Line 122">
                        <a:extLst>
                          <a:ext uri="{FF2B5EF4-FFF2-40B4-BE49-F238E27FC236}">
                            <a16:creationId xmlns:a16="http://schemas.microsoft.com/office/drawing/2014/main" id="{0B822E6C-8237-3847-8500-6981CD998059}"/>
                          </a:ext>
                        </a:extLst>
                      </p:cNvPr>
                      <p:cNvSpPr>
                        <a:spLocks noChangeShapeType="1"/>
                      </p:cNvSpPr>
                      <p:nvPr/>
                    </p:nvSpPr>
                    <p:spPr bwMode="auto">
                      <a:xfrm flipV="1">
                        <a:off x="6622536" y="4356433"/>
                        <a:ext cx="1060553" cy="6784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4" name="Line 140">
                        <a:extLst>
                          <a:ext uri="{FF2B5EF4-FFF2-40B4-BE49-F238E27FC236}">
                            <a16:creationId xmlns:a16="http://schemas.microsoft.com/office/drawing/2014/main" id="{B7F233F6-D07B-0342-9E94-5DA1210BC99E}"/>
                          </a:ext>
                        </a:extLst>
                      </p:cNvPr>
                      <p:cNvSpPr>
                        <a:spLocks noChangeShapeType="1"/>
                      </p:cNvSpPr>
                      <p:nvPr/>
                    </p:nvSpPr>
                    <p:spPr bwMode="auto">
                      <a:xfrm>
                        <a:off x="6629224" y="4430744"/>
                        <a:ext cx="572778" cy="56532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5" name="Line 147">
                        <a:extLst>
                          <a:ext uri="{FF2B5EF4-FFF2-40B4-BE49-F238E27FC236}">
                            <a16:creationId xmlns:a16="http://schemas.microsoft.com/office/drawing/2014/main" id="{B05B3E72-7FC1-A54D-9546-AEE259054653}"/>
                          </a:ext>
                        </a:extLst>
                      </p:cNvPr>
                      <p:cNvSpPr>
                        <a:spLocks noChangeShapeType="1"/>
                      </p:cNvSpPr>
                      <p:nvPr/>
                    </p:nvSpPr>
                    <p:spPr bwMode="auto">
                      <a:xfrm>
                        <a:off x="6093932" y="4938235"/>
                        <a:ext cx="528605" cy="60579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76" name="Group 275">
                        <a:extLst>
                          <a:ext uri="{FF2B5EF4-FFF2-40B4-BE49-F238E27FC236}">
                            <a16:creationId xmlns:a16="http://schemas.microsoft.com/office/drawing/2014/main" id="{4233A1BD-D0AC-A94C-BF43-9A0D559AB32C}"/>
                          </a:ext>
                        </a:extLst>
                      </p:cNvPr>
                      <p:cNvGrpSpPr/>
                      <p:nvPr/>
                    </p:nvGrpSpPr>
                    <p:grpSpPr>
                      <a:xfrm>
                        <a:off x="4469839" y="1557903"/>
                        <a:ext cx="4026788" cy="4734483"/>
                        <a:chOff x="4469839" y="1557903"/>
                        <a:chExt cx="4026788" cy="4734483"/>
                      </a:xfrm>
                    </p:grpSpPr>
                    <p:sp>
                      <p:nvSpPr>
                        <p:cNvPr id="286" name="Line 164">
                          <a:extLst>
                            <a:ext uri="{FF2B5EF4-FFF2-40B4-BE49-F238E27FC236}">
                              <a16:creationId xmlns:a16="http://schemas.microsoft.com/office/drawing/2014/main" id="{E7993F73-7E45-FE46-B46B-58C4653DF702}"/>
                            </a:ext>
                          </a:extLst>
                        </p:cNvPr>
                        <p:cNvSpPr>
                          <a:spLocks noChangeShapeType="1"/>
                        </p:cNvSpPr>
                        <p:nvPr/>
                      </p:nvSpPr>
                      <p:spPr bwMode="auto">
                        <a:xfrm flipH="1" flipV="1">
                          <a:off x="4593838" y="3966269"/>
                          <a:ext cx="985737" cy="42477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7" name="Line 173">
                          <a:extLst>
                            <a:ext uri="{FF2B5EF4-FFF2-40B4-BE49-F238E27FC236}">
                              <a16:creationId xmlns:a16="http://schemas.microsoft.com/office/drawing/2014/main" id="{38655FBA-4C42-C345-88C0-8F9A867D883F}"/>
                            </a:ext>
                          </a:extLst>
                        </p:cNvPr>
                        <p:cNvSpPr>
                          <a:spLocks noChangeShapeType="1"/>
                        </p:cNvSpPr>
                        <p:nvPr/>
                      </p:nvSpPr>
                      <p:spPr bwMode="auto">
                        <a:xfrm>
                          <a:off x="5560811" y="4391043"/>
                          <a:ext cx="103186" cy="118907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8" name="Line 174">
                          <a:extLst>
                            <a:ext uri="{FF2B5EF4-FFF2-40B4-BE49-F238E27FC236}">
                              <a16:creationId xmlns:a16="http://schemas.microsoft.com/office/drawing/2014/main" id="{0516BDE4-2247-2741-8746-023E4F719E06}"/>
                            </a:ext>
                          </a:extLst>
                        </p:cNvPr>
                        <p:cNvSpPr>
                          <a:spLocks noChangeShapeType="1"/>
                        </p:cNvSpPr>
                        <p:nvPr/>
                      </p:nvSpPr>
                      <p:spPr bwMode="auto">
                        <a:xfrm flipV="1">
                          <a:off x="5654389" y="5529645"/>
                          <a:ext cx="951998" cy="5047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9" name="Line 176">
                          <a:extLst>
                            <a:ext uri="{FF2B5EF4-FFF2-40B4-BE49-F238E27FC236}">
                              <a16:creationId xmlns:a16="http://schemas.microsoft.com/office/drawing/2014/main" id="{5F13FEF2-8854-D14A-B93B-619AB809FAD5}"/>
                            </a:ext>
                          </a:extLst>
                        </p:cNvPr>
                        <p:cNvSpPr>
                          <a:spLocks noChangeShapeType="1"/>
                        </p:cNvSpPr>
                        <p:nvPr/>
                      </p:nvSpPr>
                      <p:spPr bwMode="auto">
                        <a:xfrm flipH="1">
                          <a:off x="6605268" y="5544032"/>
                          <a:ext cx="1118" cy="74835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90" name="Group 289">
                          <a:extLst>
                            <a:ext uri="{FF2B5EF4-FFF2-40B4-BE49-F238E27FC236}">
                              <a16:creationId xmlns:a16="http://schemas.microsoft.com/office/drawing/2014/main" id="{B1ADEB8F-F8E0-5641-B726-99387F797825}"/>
                            </a:ext>
                          </a:extLst>
                        </p:cNvPr>
                        <p:cNvGrpSpPr/>
                        <p:nvPr/>
                      </p:nvGrpSpPr>
                      <p:grpSpPr>
                        <a:xfrm>
                          <a:off x="4469839" y="1557903"/>
                          <a:ext cx="4026788" cy="2743130"/>
                          <a:chOff x="4469839" y="1557903"/>
                          <a:chExt cx="4026788" cy="2743130"/>
                        </a:xfrm>
                      </p:grpSpPr>
                      <p:sp>
                        <p:nvSpPr>
                          <p:cNvPr id="299" name="Line 107">
                            <a:extLst>
                              <a:ext uri="{FF2B5EF4-FFF2-40B4-BE49-F238E27FC236}">
                                <a16:creationId xmlns:a16="http://schemas.microsoft.com/office/drawing/2014/main" id="{D9B6FCA8-7FEB-1A4E-959F-1F419908DEE1}"/>
                              </a:ext>
                            </a:extLst>
                          </p:cNvPr>
                          <p:cNvSpPr>
                            <a:spLocks noChangeShapeType="1"/>
                          </p:cNvSpPr>
                          <p:nvPr/>
                        </p:nvSpPr>
                        <p:spPr bwMode="auto">
                          <a:xfrm flipH="1">
                            <a:off x="4469839" y="2413863"/>
                            <a:ext cx="589613" cy="38590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00" name="Group 299">
                            <a:extLst>
                              <a:ext uri="{FF2B5EF4-FFF2-40B4-BE49-F238E27FC236}">
                                <a16:creationId xmlns:a16="http://schemas.microsoft.com/office/drawing/2014/main" id="{E662341F-8C7A-8C4E-A8A1-DA105B4699AC}"/>
                              </a:ext>
                            </a:extLst>
                          </p:cNvPr>
                          <p:cNvGrpSpPr/>
                          <p:nvPr/>
                        </p:nvGrpSpPr>
                        <p:grpSpPr>
                          <a:xfrm>
                            <a:off x="4470637" y="1557903"/>
                            <a:ext cx="4025990" cy="2743130"/>
                            <a:chOff x="4470637" y="1557903"/>
                            <a:chExt cx="4025990" cy="2743130"/>
                          </a:xfrm>
                        </p:grpSpPr>
                        <p:sp>
                          <p:nvSpPr>
                            <p:cNvPr id="303" name="Line 111">
                              <a:extLst>
                                <a:ext uri="{FF2B5EF4-FFF2-40B4-BE49-F238E27FC236}">
                                  <a16:creationId xmlns:a16="http://schemas.microsoft.com/office/drawing/2014/main" id="{B0B05125-ED10-DE4B-8324-768DA3A2A68F}"/>
                                </a:ext>
                              </a:extLst>
                            </p:cNvPr>
                            <p:cNvSpPr>
                              <a:spLocks noChangeShapeType="1"/>
                            </p:cNvSpPr>
                            <p:nvPr/>
                          </p:nvSpPr>
                          <p:spPr bwMode="auto">
                            <a:xfrm flipH="1">
                              <a:off x="5052952" y="2403978"/>
                              <a:ext cx="9715" cy="109338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04" name="Line 115">
                              <a:extLst>
                                <a:ext uri="{FF2B5EF4-FFF2-40B4-BE49-F238E27FC236}">
                                  <a16:creationId xmlns:a16="http://schemas.microsoft.com/office/drawing/2014/main" id="{C16FD17B-6B6C-6B4D-8E72-239D442D2E8D}"/>
                                </a:ext>
                              </a:extLst>
                            </p:cNvPr>
                            <p:cNvSpPr>
                              <a:spLocks noChangeShapeType="1"/>
                            </p:cNvSpPr>
                            <p:nvPr/>
                          </p:nvSpPr>
                          <p:spPr bwMode="auto">
                            <a:xfrm flipH="1" flipV="1">
                              <a:off x="8049829" y="3479948"/>
                              <a:ext cx="446798" cy="82108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05" name="Group 304">
                              <a:extLst>
                                <a:ext uri="{FF2B5EF4-FFF2-40B4-BE49-F238E27FC236}">
                                  <a16:creationId xmlns:a16="http://schemas.microsoft.com/office/drawing/2014/main" id="{82C35BB3-B187-CB44-A2EE-818247DD6681}"/>
                                </a:ext>
                              </a:extLst>
                            </p:cNvPr>
                            <p:cNvGrpSpPr/>
                            <p:nvPr/>
                          </p:nvGrpSpPr>
                          <p:grpSpPr>
                            <a:xfrm>
                              <a:off x="4599126" y="1557903"/>
                              <a:ext cx="3441884" cy="2414685"/>
                              <a:chOff x="4599126" y="1557903"/>
                              <a:chExt cx="3441884" cy="2414685"/>
                            </a:xfrm>
                          </p:grpSpPr>
                          <p:sp>
                            <p:nvSpPr>
                              <p:cNvPr id="307" name="Line 117">
                                <a:extLst>
                                  <a:ext uri="{FF2B5EF4-FFF2-40B4-BE49-F238E27FC236}">
                                    <a16:creationId xmlns:a16="http://schemas.microsoft.com/office/drawing/2014/main" id="{E331C3F1-32A9-E348-8CB5-BC973C0857AA}"/>
                                  </a:ext>
                                </a:extLst>
                              </p:cNvPr>
                              <p:cNvSpPr>
                                <a:spLocks noChangeShapeType="1"/>
                              </p:cNvSpPr>
                              <p:nvPr/>
                            </p:nvSpPr>
                            <p:spPr bwMode="auto">
                              <a:xfrm flipV="1">
                                <a:off x="5854417" y="1557903"/>
                                <a:ext cx="59051" cy="71135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08" name="Group 307">
                                <a:extLst>
                                  <a:ext uri="{FF2B5EF4-FFF2-40B4-BE49-F238E27FC236}">
                                    <a16:creationId xmlns:a16="http://schemas.microsoft.com/office/drawing/2014/main" id="{5B3AE94A-2FD0-BB4C-8776-64C759FE13F2}"/>
                                  </a:ext>
                                </a:extLst>
                              </p:cNvPr>
                              <p:cNvGrpSpPr/>
                              <p:nvPr/>
                            </p:nvGrpSpPr>
                            <p:grpSpPr>
                              <a:xfrm>
                                <a:off x="4599126" y="1962345"/>
                                <a:ext cx="3441884" cy="2010243"/>
                                <a:chOff x="4599126" y="1962345"/>
                                <a:chExt cx="3441884" cy="2010243"/>
                              </a:xfrm>
                            </p:grpSpPr>
                            <p:sp>
                              <p:nvSpPr>
                                <p:cNvPr id="312" name="Line 110">
                                  <a:extLst>
                                    <a:ext uri="{FF2B5EF4-FFF2-40B4-BE49-F238E27FC236}">
                                      <a16:creationId xmlns:a16="http://schemas.microsoft.com/office/drawing/2014/main" id="{F92947D1-0A3D-F44A-9243-10B89F8B6620}"/>
                                    </a:ext>
                                  </a:extLst>
                                </p:cNvPr>
                                <p:cNvSpPr>
                                  <a:spLocks noChangeShapeType="1"/>
                                </p:cNvSpPr>
                                <p:nvPr/>
                              </p:nvSpPr>
                              <p:spPr bwMode="auto">
                                <a:xfrm flipH="1">
                                  <a:off x="4599126" y="3497359"/>
                                  <a:ext cx="470945" cy="47522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3" name="Line 113">
                                  <a:extLst>
                                    <a:ext uri="{FF2B5EF4-FFF2-40B4-BE49-F238E27FC236}">
                                      <a16:creationId xmlns:a16="http://schemas.microsoft.com/office/drawing/2014/main" id="{55C423E7-1DB3-0C46-8853-7FA3B5C8F673}"/>
                                    </a:ext>
                                  </a:extLst>
                                </p:cNvPr>
                                <p:cNvSpPr>
                                  <a:spLocks noChangeShapeType="1"/>
                                </p:cNvSpPr>
                                <p:nvPr/>
                              </p:nvSpPr>
                              <p:spPr bwMode="auto">
                                <a:xfrm flipV="1">
                                  <a:off x="5067986" y="2298516"/>
                                  <a:ext cx="779305" cy="10546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4" name="Line 114">
                                  <a:extLst>
                                    <a:ext uri="{FF2B5EF4-FFF2-40B4-BE49-F238E27FC236}">
                                      <a16:creationId xmlns:a16="http://schemas.microsoft.com/office/drawing/2014/main" id="{849DEA2B-17BB-A14A-A631-D233F58DE15D}"/>
                                    </a:ext>
                                  </a:extLst>
                                </p:cNvPr>
                                <p:cNvSpPr>
                                  <a:spLocks noChangeShapeType="1"/>
                                </p:cNvSpPr>
                                <p:nvPr/>
                              </p:nvSpPr>
                              <p:spPr bwMode="auto">
                                <a:xfrm flipH="1">
                                  <a:off x="5062462" y="3013384"/>
                                  <a:ext cx="885064" cy="48397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Line 182">
                                  <a:extLst>
                                    <a:ext uri="{FF2B5EF4-FFF2-40B4-BE49-F238E27FC236}">
                                      <a16:creationId xmlns:a16="http://schemas.microsoft.com/office/drawing/2014/main" id="{6DCFDFFF-20BA-FF4B-8B0A-B9F9FFFB5946}"/>
                                    </a:ext>
                                  </a:extLst>
                                </p:cNvPr>
                                <p:cNvSpPr>
                                  <a:spLocks noChangeShapeType="1"/>
                                </p:cNvSpPr>
                                <p:nvPr/>
                              </p:nvSpPr>
                              <p:spPr bwMode="auto">
                                <a:xfrm>
                                  <a:off x="7324292" y="3045206"/>
                                  <a:ext cx="716718" cy="39902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6" name="Line 113">
                                  <a:extLst>
                                    <a:ext uri="{FF2B5EF4-FFF2-40B4-BE49-F238E27FC236}">
                                      <a16:creationId xmlns:a16="http://schemas.microsoft.com/office/drawing/2014/main" id="{A0594591-4B80-A944-8413-0EBC1919ECDA}"/>
                                    </a:ext>
                                  </a:extLst>
                                </p:cNvPr>
                                <p:cNvSpPr>
                                  <a:spLocks noChangeShapeType="1"/>
                                </p:cNvSpPr>
                                <p:nvPr/>
                              </p:nvSpPr>
                              <p:spPr bwMode="auto">
                                <a:xfrm flipV="1">
                                  <a:off x="5850521" y="1962345"/>
                                  <a:ext cx="733353" cy="34405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7" name="Line 113">
                                  <a:extLst>
                                    <a:ext uri="{FF2B5EF4-FFF2-40B4-BE49-F238E27FC236}">
                                      <a16:creationId xmlns:a16="http://schemas.microsoft.com/office/drawing/2014/main" id="{6976FB61-323E-1A48-A376-2EE02E836E6E}"/>
                                    </a:ext>
                                  </a:extLst>
                                </p:cNvPr>
                                <p:cNvSpPr>
                                  <a:spLocks noChangeShapeType="1"/>
                                </p:cNvSpPr>
                                <p:nvPr/>
                              </p:nvSpPr>
                              <p:spPr bwMode="auto">
                                <a:xfrm>
                                  <a:off x="5881198" y="2285720"/>
                                  <a:ext cx="757344" cy="70264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09" name="Line 184">
                                <a:extLst>
                                  <a:ext uri="{FF2B5EF4-FFF2-40B4-BE49-F238E27FC236}">
                                    <a16:creationId xmlns:a16="http://schemas.microsoft.com/office/drawing/2014/main" id="{7D483A7E-FC74-8143-A363-3D41856BD876}"/>
                                  </a:ext>
                                </a:extLst>
                              </p:cNvPr>
                              <p:cNvSpPr>
                                <a:spLocks noChangeShapeType="1"/>
                              </p:cNvSpPr>
                              <p:nvPr/>
                            </p:nvSpPr>
                            <p:spPr bwMode="auto">
                              <a:xfrm flipH="1" flipV="1">
                                <a:off x="5866780" y="2305249"/>
                                <a:ext cx="70384" cy="70603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0" name="Line 117">
                                <a:extLst>
                                  <a:ext uri="{FF2B5EF4-FFF2-40B4-BE49-F238E27FC236}">
                                    <a16:creationId xmlns:a16="http://schemas.microsoft.com/office/drawing/2014/main" id="{1FB4DC1F-CFBB-EF4F-B61A-EF1325A3ACE1}"/>
                                  </a:ext>
                                </a:extLst>
                              </p:cNvPr>
                              <p:cNvSpPr>
                                <a:spLocks noChangeShapeType="1"/>
                              </p:cNvSpPr>
                              <p:nvPr/>
                            </p:nvSpPr>
                            <p:spPr bwMode="auto">
                              <a:xfrm flipH="1" flipV="1">
                                <a:off x="5448898" y="1813984"/>
                                <a:ext cx="398393" cy="47986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11" name="Line 117">
                                <a:extLst>
                                  <a:ext uri="{FF2B5EF4-FFF2-40B4-BE49-F238E27FC236}">
                                    <a16:creationId xmlns:a16="http://schemas.microsoft.com/office/drawing/2014/main" id="{FB26ACED-2CE6-AB40-8A1D-FDBE6E5B7E0D}"/>
                                  </a:ext>
                                </a:extLst>
                              </p:cNvPr>
                              <p:cNvSpPr>
                                <a:spLocks noChangeShapeType="1"/>
                              </p:cNvSpPr>
                              <p:nvPr/>
                            </p:nvSpPr>
                            <p:spPr bwMode="auto">
                              <a:xfrm flipV="1">
                                <a:off x="5062228" y="1822871"/>
                                <a:ext cx="398392" cy="58485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06" name="Line 111">
                              <a:extLst>
                                <a:ext uri="{FF2B5EF4-FFF2-40B4-BE49-F238E27FC236}">
                                  <a16:creationId xmlns:a16="http://schemas.microsoft.com/office/drawing/2014/main" id="{86AD17E8-D363-BD4A-AD59-9723169E5EC4}"/>
                                </a:ext>
                              </a:extLst>
                            </p:cNvPr>
                            <p:cNvSpPr>
                              <a:spLocks noChangeShapeType="1"/>
                            </p:cNvSpPr>
                            <p:nvPr/>
                          </p:nvSpPr>
                          <p:spPr bwMode="auto">
                            <a:xfrm>
                              <a:off x="4470637" y="2799014"/>
                              <a:ext cx="583770" cy="68883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01" name="Line 107">
                            <a:extLst>
                              <a:ext uri="{FF2B5EF4-FFF2-40B4-BE49-F238E27FC236}">
                                <a16:creationId xmlns:a16="http://schemas.microsoft.com/office/drawing/2014/main" id="{CB99062A-A58F-F243-B050-358B54A03E80}"/>
                              </a:ext>
                            </a:extLst>
                          </p:cNvPr>
                          <p:cNvSpPr>
                            <a:spLocks noChangeShapeType="1"/>
                          </p:cNvSpPr>
                          <p:nvPr/>
                        </p:nvSpPr>
                        <p:spPr bwMode="auto">
                          <a:xfrm>
                            <a:off x="5059453" y="2408629"/>
                            <a:ext cx="879242" cy="57327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302" name="Line 107">
                            <a:extLst>
                              <a:ext uri="{FF2B5EF4-FFF2-40B4-BE49-F238E27FC236}">
                                <a16:creationId xmlns:a16="http://schemas.microsoft.com/office/drawing/2014/main" id="{E8DFD264-B60C-954C-A76F-6520F8335B73}"/>
                              </a:ext>
                            </a:extLst>
                          </p:cNvPr>
                          <p:cNvSpPr>
                            <a:spLocks noChangeShapeType="1"/>
                          </p:cNvSpPr>
                          <p:nvPr/>
                        </p:nvSpPr>
                        <p:spPr bwMode="auto">
                          <a:xfrm flipH="1" flipV="1">
                            <a:off x="4489310" y="2010667"/>
                            <a:ext cx="572918" cy="397961"/>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91" name="Line 188">
                          <a:extLst>
                            <a:ext uri="{FF2B5EF4-FFF2-40B4-BE49-F238E27FC236}">
                              <a16:creationId xmlns:a16="http://schemas.microsoft.com/office/drawing/2014/main" id="{86A77FB3-626B-0A49-8062-4C5CE8C792AC}"/>
                            </a:ext>
                          </a:extLst>
                        </p:cNvPr>
                        <p:cNvSpPr>
                          <a:spLocks noChangeShapeType="1"/>
                        </p:cNvSpPr>
                        <p:nvPr/>
                      </p:nvSpPr>
                      <p:spPr bwMode="auto">
                        <a:xfrm flipV="1">
                          <a:off x="7318947" y="2436180"/>
                          <a:ext cx="826457" cy="58818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2" name="Line 142">
                          <a:extLst>
                            <a:ext uri="{FF2B5EF4-FFF2-40B4-BE49-F238E27FC236}">
                              <a16:creationId xmlns:a16="http://schemas.microsoft.com/office/drawing/2014/main" id="{AE5B8B12-A1B0-0648-8183-B94178DBF743}"/>
                            </a:ext>
                          </a:extLst>
                        </p:cNvPr>
                        <p:cNvSpPr>
                          <a:spLocks noChangeShapeType="1"/>
                        </p:cNvSpPr>
                        <p:nvPr/>
                      </p:nvSpPr>
                      <p:spPr bwMode="auto">
                        <a:xfrm flipH="1">
                          <a:off x="6606386" y="5003441"/>
                          <a:ext cx="595614" cy="54059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3" name="Line 142">
                          <a:extLst>
                            <a:ext uri="{FF2B5EF4-FFF2-40B4-BE49-F238E27FC236}">
                              <a16:creationId xmlns:a16="http://schemas.microsoft.com/office/drawing/2014/main" id="{4519DC84-84E6-1143-B392-98D9C2424E86}"/>
                            </a:ext>
                          </a:extLst>
                        </p:cNvPr>
                        <p:cNvSpPr>
                          <a:spLocks noChangeShapeType="1"/>
                        </p:cNvSpPr>
                        <p:nvPr/>
                      </p:nvSpPr>
                      <p:spPr bwMode="auto">
                        <a:xfrm>
                          <a:off x="7693572" y="4356430"/>
                          <a:ext cx="192249" cy="86021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Line 142">
                          <a:extLst>
                            <a:ext uri="{FF2B5EF4-FFF2-40B4-BE49-F238E27FC236}">
                              <a16:creationId xmlns:a16="http://schemas.microsoft.com/office/drawing/2014/main" id="{96CD0836-6000-0240-8BAE-E7F990932861}"/>
                            </a:ext>
                          </a:extLst>
                        </p:cNvPr>
                        <p:cNvSpPr>
                          <a:spLocks noChangeShapeType="1"/>
                        </p:cNvSpPr>
                        <p:nvPr/>
                      </p:nvSpPr>
                      <p:spPr bwMode="auto">
                        <a:xfrm>
                          <a:off x="7256448" y="5037273"/>
                          <a:ext cx="164067" cy="65257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5" name="Line 142">
                          <a:extLst>
                            <a:ext uri="{FF2B5EF4-FFF2-40B4-BE49-F238E27FC236}">
                              <a16:creationId xmlns:a16="http://schemas.microsoft.com/office/drawing/2014/main" id="{C6364454-322A-8442-8C50-B2F272519B7C}"/>
                            </a:ext>
                          </a:extLst>
                        </p:cNvPr>
                        <p:cNvSpPr>
                          <a:spLocks noChangeShapeType="1"/>
                        </p:cNvSpPr>
                        <p:nvPr/>
                      </p:nvSpPr>
                      <p:spPr bwMode="auto">
                        <a:xfrm>
                          <a:off x="7271766" y="4990960"/>
                          <a:ext cx="614055" cy="22568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6" name="Line 142">
                          <a:extLst>
                            <a:ext uri="{FF2B5EF4-FFF2-40B4-BE49-F238E27FC236}">
                              <a16:creationId xmlns:a16="http://schemas.microsoft.com/office/drawing/2014/main" id="{ACE5A0D1-3425-EF4E-B238-8BA1939119E3}"/>
                            </a:ext>
                          </a:extLst>
                        </p:cNvPr>
                        <p:cNvSpPr>
                          <a:spLocks noChangeShapeType="1"/>
                        </p:cNvSpPr>
                        <p:nvPr/>
                      </p:nvSpPr>
                      <p:spPr bwMode="auto">
                        <a:xfrm flipH="1" flipV="1">
                          <a:off x="6606385" y="5544032"/>
                          <a:ext cx="814130" cy="14581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7" name="Line 142">
                          <a:extLst>
                            <a:ext uri="{FF2B5EF4-FFF2-40B4-BE49-F238E27FC236}">
                              <a16:creationId xmlns:a16="http://schemas.microsoft.com/office/drawing/2014/main" id="{E020A8AF-8DCC-C846-9E8C-5ECB18508D47}"/>
                            </a:ext>
                          </a:extLst>
                        </p:cNvPr>
                        <p:cNvSpPr>
                          <a:spLocks noChangeShapeType="1"/>
                        </p:cNvSpPr>
                        <p:nvPr/>
                      </p:nvSpPr>
                      <p:spPr bwMode="auto">
                        <a:xfrm flipV="1">
                          <a:off x="7212486" y="4343222"/>
                          <a:ext cx="488900" cy="64127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98" name="Line 142">
                          <a:extLst>
                            <a:ext uri="{FF2B5EF4-FFF2-40B4-BE49-F238E27FC236}">
                              <a16:creationId xmlns:a16="http://schemas.microsoft.com/office/drawing/2014/main" id="{9F3411AD-E480-B94A-94A7-711CF5A141C6}"/>
                            </a:ext>
                          </a:extLst>
                        </p:cNvPr>
                        <p:cNvSpPr>
                          <a:spLocks noChangeShapeType="1"/>
                        </p:cNvSpPr>
                        <p:nvPr/>
                      </p:nvSpPr>
                      <p:spPr bwMode="auto">
                        <a:xfrm flipH="1">
                          <a:off x="6605268" y="4469756"/>
                          <a:ext cx="5649" cy="105830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77" name="Line 147">
                        <a:extLst>
                          <a:ext uri="{FF2B5EF4-FFF2-40B4-BE49-F238E27FC236}">
                            <a16:creationId xmlns:a16="http://schemas.microsoft.com/office/drawing/2014/main" id="{528653FF-E912-704C-9302-1E7BDCDC2783}"/>
                          </a:ext>
                        </a:extLst>
                      </p:cNvPr>
                      <p:cNvSpPr>
                        <a:spLocks noChangeShapeType="1"/>
                      </p:cNvSpPr>
                      <p:nvPr/>
                    </p:nvSpPr>
                    <p:spPr bwMode="auto">
                      <a:xfrm flipH="1">
                        <a:off x="6082401" y="4434891"/>
                        <a:ext cx="542293" cy="47463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8" name="Line 147">
                        <a:extLst>
                          <a:ext uri="{FF2B5EF4-FFF2-40B4-BE49-F238E27FC236}">
                            <a16:creationId xmlns:a16="http://schemas.microsoft.com/office/drawing/2014/main" id="{2C05E863-313F-1140-A8AB-D744AA0AC4A7}"/>
                          </a:ext>
                        </a:extLst>
                      </p:cNvPr>
                      <p:cNvSpPr>
                        <a:spLocks noChangeShapeType="1"/>
                      </p:cNvSpPr>
                      <p:nvPr/>
                    </p:nvSpPr>
                    <p:spPr bwMode="auto">
                      <a:xfrm>
                        <a:off x="5561039" y="4380479"/>
                        <a:ext cx="515729" cy="52396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79" name="Line 147">
                        <a:extLst>
                          <a:ext uri="{FF2B5EF4-FFF2-40B4-BE49-F238E27FC236}">
                            <a16:creationId xmlns:a16="http://schemas.microsoft.com/office/drawing/2014/main" id="{D34EB7FF-36A7-DE4E-81D5-8D9FC7B1FD96}"/>
                          </a:ext>
                        </a:extLst>
                      </p:cNvPr>
                      <p:cNvSpPr>
                        <a:spLocks noChangeShapeType="1"/>
                      </p:cNvSpPr>
                      <p:nvPr/>
                    </p:nvSpPr>
                    <p:spPr bwMode="auto">
                      <a:xfrm flipH="1" flipV="1">
                        <a:off x="5579537" y="4394529"/>
                        <a:ext cx="1042998" cy="3687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0" name="Line 147">
                        <a:extLst>
                          <a:ext uri="{FF2B5EF4-FFF2-40B4-BE49-F238E27FC236}">
                            <a16:creationId xmlns:a16="http://schemas.microsoft.com/office/drawing/2014/main" id="{58A87C5D-D597-3944-9C49-CA5DA2EF553F}"/>
                          </a:ext>
                        </a:extLst>
                      </p:cNvPr>
                      <p:cNvSpPr>
                        <a:spLocks noChangeShapeType="1"/>
                      </p:cNvSpPr>
                      <p:nvPr/>
                    </p:nvSpPr>
                    <p:spPr bwMode="auto">
                      <a:xfrm flipH="1">
                        <a:off x="5654390" y="4904445"/>
                        <a:ext cx="417527" cy="69087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1" name="Line 147">
                        <a:extLst>
                          <a:ext uri="{FF2B5EF4-FFF2-40B4-BE49-F238E27FC236}">
                            <a16:creationId xmlns:a16="http://schemas.microsoft.com/office/drawing/2014/main" id="{1DD0BC0C-2237-EF41-8A39-0597DA34ACFB}"/>
                          </a:ext>
                        </a:extLst>
                      </p:cNvPr>
                      <p:cNvSpPr>
                        <a:spLocks noChangeShapeType="1"/>
                      </p:cNvSpPr>
                      <p:nvPr/>
                    </p:nvSpPr>
                    <p:spPr bwMode="auto">
                      <a:xfrm flipH="1" flipV="1">
                        <a:off x="5967014" y="3016015"/>
                        <a:ext cx="628612" cy="1436849"/>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2" name="Line 147">
                        <a:extLst>
                          <a:ext uri="{FF2B5EF4-FFF2-40B4-BE49-F238E27FC236}">
                            <a16:creationId xmlns:a16="http://schemas.microsoft.com/office/drawing/2014/main" id="{E057FDB3-1703-8F4C-9F3C-21BC5A97FFC7}"/>
                          </a:ext>
                        </a:extLst>
                      </p:cNvPr>
                      <p:cNvSpPr>
                        <a:spLocks noChangeShapeType="1"/>
                      </p:cNvSpPr>
                      <p:nvPr/>
                    </p:nvSpPr>
                    <p:spPr bwMode="auto">
                      <a:xfrm flipV="1">
                        <a:off x="6622534" y="3016015"/>
                        <a:ext cx="691125" cy="1374133"/>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3" name="Line 147">
                        <a:extLst>
                          <a:ext uri="{FF2B5EF4-FFF2-40B4-BE49-F238E27FC236}">
                            <a16:creationId xmlns:a16="http://schemas.microsoft.com/office/drawing/2014/main" id="{D42E1764-C064-BA4A-82CE-068ACC09FA0F}"/>
                          </a:ext>
                        </a:extLst>
                      </p:cNvPr>
                      <p:cNvSpPr>
                        <a:spLocks noChangeShapeType="1"/>
                      </p:cNvSpPr>
                      <p:nvPr/>
                    </p:nvSpPr>
                    <p:spPr bwMode="auto">
                      <a:xfrm flipV="1">
                        <a:off x="5556508" y="2996957"/>
                        <a:ext cx="420314" cy="1359472"/>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4" name="Line 147">
                        <a:extLst>
                          <a:ext uri="{FF2B5EF4-FFF2-40B4-BE49-F238E27FC236}">
                            <a16:creationId xmlns:a16="http://schemas.microsoft.com/office/drawing/2014/main" id="{B6A7DBF5-2637-4440-9210-F7EC7C466F07}"/>
                          </a:ext>
                        </a:extLst>
                      </p:cNvPr>
                      <p:cNvSpPr>
                        <a:spLocks noChangeShapeType="1"/>
                      </p:cNvSpPr>
                      <p:nvPr/>
                    </p:nvSpPr>
                    <p:spPr bwMode="auto">
                      <a:xfrm flipH="1" flipV="1">
                        <a:off x="7351766" y="3064112"/>
                        <a:ext cx="324318" cy="1247573"/>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85" name="Line 147">
                        <a:extLst>
                          <a:ext uri="{FF2B5EF4-FFF2-40B4-BE49-F238E27FC236}">
                            <a16:creationId xmlns:a16="http://schemas.microsoft.com/office/drawing/2014/main" id="{515B4EBF-93DD-4144-B1B9-0482D4D62595}"/>
                          </a:ext>
                        </a:extLst>
                      </p:cNvPr>
                      <p:cNvSpPr>
                        <a:spLocks noChangeShapeType="1"/>
                      </p:cNvSpPr>
                      <p:nvPr/>
                    </p:nvSpPr>
                    <p:spPr bwMode="auto">
                      <a:xfrm flipV="1">
                        <a:off x="6607938" y="3016015"/>
                        <a:ext cx="17762" cy="1418566"/>
                      </a:xfrm>
                      <a:prstGeom prst="line">
                        <a:avLst/>
                      </a:prstGeom>
                      <a:noFill/>
                      <a:ln w="22225" cap="flat">
                        <a:solidFill>
                          <a:srgbClr val="D2D2D2">
                            <a:alpha val="27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64" name="Line 179">
                    <a:extLst>
                      <a:ext uri="{FF2B5EF4-FFF2-40B4-BE49-F238E27FC236}">
                        <a16:creationId xmlns:a16="http://schemas.microsoft.com/office/drawing/2014/main" id="{0B657336-AC1D-4C40-BE1B-5C9C1AF120B8}"/>
                      </a:ext>
                    </a:extLst>
                  </p:cNvPr>
                  <p:cNvSpPr>
                    <a:spLocks noChangeShapeType="1"/>
                  </p:cNvSpPr>
                  <p:nvPr/>
                </p:nvSpPr>
                <p:spPr bwMode="auto">
                  <a:xfrm>
                    <a:off x="6636017" y="2976425"/>
                    <a:ext cx="674636" cy="5025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5" name="Line 179">
                    <a:extLst>
                      <a:ext uri="{FF2B5EF4-FFF2-40B4-BE49-F238E27FC236}">
                        <a16:creationId xmlns:a16="http://schemas.microsoft.com/office/drawing/2014/main" id="{BA874A87-BE31-BA42-B17D-6090F942D24B}"/>
                      </a:ext>
                    </a:extLst>
                  </p:cNvPr>
                  <p:cNvSpPr>
                    <a:spLocks noChangeShapeType="1"/>
                  </p:cNvSpPr>
                  <p:nvPr/>
                </p:nvSpPr>
                <p:spPr bwMode="auto">
                  <a:xfrm flipV="1">
                    <a:off x="6642596" y="2358262"/>
                    <a:ext cx="802831" cy="613319"/>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6" name="Line 179">
                    <a:extLst>
                      <a:ext uri="{FF2B5EF4-FFF2-40B4-BE49-F238E27FC236}">
                        <a16:creationId xmlns:a16="http://schemas.microsoft.com/office/drawing/2014/main" id="{5B5AA426-E2C2-C04C-A391-27355B1BEA3E}"/>
                      </a:ext>
                    </a:extLst>
                  </p:cNvPr>
                  <p:cNvSpPr>
                    <a:spLocks noChangeShapeType="1"/>
                  </p:cNvSpPr>
                  <p:nvPr/>
                </p:nvSpPr>
                <p:spPr bwMode="auto">
                  <a:xfrm>
                    <a:off x="6599192" y="1962346"/>
                    <a:ext cx="845600" cy="36866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7" name="Line 179">
                    <a:extLst>
                      <a:ext uri="{FF2B5EF4-FFF2-40B4-BE49-F238E27FC236}">
                        <a16:creationId xmlns:a16="http://schemas.microsoft.com/office/drawing/2014/main" id="{04AC0E7A-924C-8841-9E68-BB5C977948DA}"/>
                      </a:ext>
                    </a:extLst>
                  </p:cNvPr>
                  <p:cNvSpPr>
                    <a:spLocks noChangeShapeType="1"/>
                  </p:cNvSpPr>
                  <p:nvPr/>
                </p:nvSpPr>
                <p:spPr bwMode="auto">
                  <a:xfrm>
                    <a:off x="7448564" y="2347575"/>
                    <a:ext cx="708871" cy="9582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8" name="Line 179">
                    <a:extLst>
                      <a:ext uri="{FF2B5EF4-FFF2-40B4-BE49-F238E27FC236}">
                        <a16:creationId xmlns:a16="http://schemas.microsoft.com/office/drawing/2014/main" id="{2DAA85DE-E6F3-D84B-937D-C0F872F39520}"/>
                      </a:ext>
                    </a:extLst>
                  </p:cNvPr>
                  <p:cNvSpPr>
                    <a:spLocks noChangeShapeType="1"/>
                  </p:cNvSpPr>
                  <p:nvPr/>
                </p:nvSpPr>
                <p:spPr bwMode="auto">
                  <a:xfrm>
                    <a:off x="6934016" y="1397556"/>
                    <a:ext cx="513610" cy="937410"/>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Line 179">
                    <a:extLst>
                      <a:ext uri="{FF2B5EF4-FFF2-40B4-BE49-F238E27FC236}">
                        <a16:creationId xmlns:a16="http://schemas.microsoft.com/office/drawing/2014/main" id="{1CDC67C7-B7D8-D446-88FC-31EF158B39B9}"/>
                      </a:ext>
                    </a:extLst>
                  </p:cNvPr>
                  <p:cNvSpPr>
                    <a:spLocks noChangeShapeType="1"/>
                  </p:cNvSpPr>
                  <p:nvPr/>
                </p:nvSpPr>
                <p:spPr bwMode="auto">
                  <a:xfrm flipV="1">
                    <a:off x="5950032" y="2988368"/>
                    <a:ext cx="683465" cy="1703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59" name="Line 106">
                  <a:extLst>
                    <a:ext uri="{FF2B5EF4-FFF2-40B4-BE49-F238E27FC236}">
                      <a16:creationId xmlns:a16="http://schemas.microsoft.com/office/drawing/2014/main" id="{20621B05-088E-F247-B36A-DA9ADD543CD5}"/>
                    </a:ext>
                  </a:extLst>
                </p:cNvPr>
                <p:cNvSpPr>
                  <a:spLocks noChangeShapeType="1"/>
                </p:cNvSpPr>
                <p:nvPr/>
              </p:nvSpPr>
              <p:spPr bwMode="auto">
                <a:xfrm flipV="1">
                  <a:off x="7457649" y="1813983"/>
                  <a:ext cx="295074" cy="530647"/>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0" name="Line 106">
                  <a:extLst>
                    <a:ext uri="{FF2B5EF4-FFF2-40B4-BE49-F238E27FC236}">
                      <a16:creationId xmlns:a16="http://schemas.microsoft.com/office/drawing/2014/main" id="{469F7C57-CF54-1C49-9840-85FDCA929CC3}"/>
                    </a:ext>
                  </a:extLst>
                </p:cNvPr>
                <p:cNvSpPr>
                  <a:spLocks noChangeShapeType="1"/>
                </p:cNvSpPr>
                <p:nvPr/>
              </p:nvSpPr>
              <p:spPr bwMode="auto">
                <a:xfrm flipV="1">
                  <a:off x="6587972" y="1397246"/>
                  <a:ext cx="346043" cy="551588"/>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1" name="Line 106">
                  <a:extLst>
                    <a:ext uri="{FF2B5EF4-FFF2-40B4-BE49-F238E27FC236}">
                      <a16:creationId xmlns:a16="http://schemas.microsoft.com/office/drawing/2014/main" id="{47AD161B-E41F-7747-8AB8-C5943D2C7461}"/>
                    </a:ext>
                  </a:extLst>
                </p:cNvPr>
                <p:cNvSpPr>
                  <a:spLocks noChangeShapeType="1"/>
                </p:cNvSpPr>
                <p:nvPr/>
              </p:nvSpPr>
              <p:spPr bwMode="auto">
                <a:xfrm flipH="1" flipV="1">
                  <a:off x="6585317" y="1945408"/>
                  <a:ext cx="40237" cy="1036496"/>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Line 106">
                  <a:extLst>
                    <a:ext uri="{FF2B5EF4-FFF2-40B4-BE49-F238E27FC236}">
                      <a16:creationId xmlns:a16="http://schemas.microsoft.com/office/drawing/2014/main" id="{A405F921-D407-A04F-ACED-8601C17E518F}"/>
                    </a:ext>
                  </a:extLst>
                </p:cNvPr>
                <p:cNvSpPr>
                  <a:spLocks noChangeShapeType="1"/>
                </p:cNvSpPr>
                <p:nvPr/>
              </p:nvSpPr>
              <p:spPr bwMode="auto">
                <a:xfrm flipV="1">
                  <a:off x="7337562" y="2353732"/>
                  <a:ext cx="116747" cy="687664"/>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54" name="Line 121">
                <a:extLst>
                  <a:ext uri="{FF2B5EF4-FFF2-40B4-BE49-F238E27FC236}">
                    <a16:creationId xmlns:a16="http://schemas.microsoft.com/office/drawing/2014/main" id="{84545B4B-DD80-3B49-AC27-7C507FE1494F}"/>
                  </a:ext>
                </a:extLst>
              </p:cNvPr>
              <p:cNvSpPr>
                <a:spLocks noChangeShapeType="1"/>
              </p:cNvSpPr>
              <p:nvPr/>
            </p:nvSpPr>
            <p:spPr bwMode="auto">
              <a:xfrm flipH="1">
                <a:off x="8041010" y="2898548"/>
                <a:ext cx="686472" cy="552842"/>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55" name="Line 121">
                <a:extLst>
                  <a:ext uri="{FF2B5EF4-FFF2-40B4-BE49-F238E27FC236}">
                    <a16:creationId xmlns:a16="http://schemas.microsoft.com/office/drawing/2014/main" id="{9818DB0A-3A70-1D46-872F-40C18E47E429}"/>
                  </a:ext>
                </a:extLst>
              </p:cNvPr>
              <p:cNvSpPr>
                <a:spLocks noChangeShapeType="1"/>
              </p:cNvSpPr>
              <p:nvPr/>
            </p:nvSpPr>
            <p:spPr bwMode="auto">
              <a:xfrm flipV="1">
                <a:off x="7687423" y="3457165"/>
                <a:ext cx="341120" cy="899265"/>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56" name="Line 121">
                <a:extLst>
                  <a:ext uri="{FF2B5EF4-FFF2-40B4-BE49-F238E27FC236}">
                    <a16:creationId xmlns:a16="http://schemas.microsoft.com/office/drawing/2014/main" id="{AC776D12-B1B8-3E49-AE65-EA360F091B11}"/>
                  </a:ext>
                </a:extLst>
              </p:cNvPr>
              <p:cNvSpPr>
                <a:spLocks noChangeShapeType="1"/>
              </p:cNvSpPr>
              <p:nvPr/>
            </p:nvSpPr>
            <p:spPr bwMode="auto">
              <a:xfrm flipH="1" flipV="1">
                <a:off x="8052346" y="3464326"/>
                <a:ext cx="656038" cy="63613"/>
              </a:xfrm>
              <a:prstGeom prst="line">
                <a:avLst/>
              </a:prstGeom>
              <a:noFill/>
              <a:ln w="22225" cap="flat">
                <a:solidFill>
                  <a:srgbClr val="D2D2D2">
                    <a:alpha val="61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84" name="Oval 70">
              <a:extLst>
                <a:ext uri="{FF2B5EF4-FFF2-40B4-BE49-F238E27FC236}">
                  <a16:creationId xmlns:a16="http://schemas.microsoft.com/office/drawing/2014/main" id="{4B14A4D7-BEFF-CE41-8057-CF70B32BCF73}"/>
                </a:ext>
                <a:ext uri="{C183D7F6-B498-43B3-948B-1728B52AA6E4}">
                  <adec:decorative xmlns:adec="http://schemas.microsoft.com/office/drawing/2017/decorative" val="1"/>
                </a:ext>
              </a:extLst>
            </p:cNvPr>
            <p:cNvSpPr>
              <a:spLocks noChangeArrowheads="1"/>
            </p:cNvSpPr>
            <p:nvPr/>
          </p:nvSpPr>
          <p:spPr bwMode="auto">
            <a:xfrm>
              <a:off x="1321484" y="3088112"/>
              <a:ext cx="142810" cy="142810"/>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Oval 124">
              <a:extLst>
                <a:ext uri="{FF2B5EF4-FFF2-40B4-BE49-F238E27FC236}">
                  <a16:creationId xmlns:a16="http://schemas.microsoft.com/office/drawing/2014/main" id="{C2B004BD-DCCA-D64D-9437-405484106D1D}"/>
                </a:ext>
                <a:ext uri="{C183D7F6-B498-43B3-948B-1728B52AA6E4}">
                  <adec:decorative xmlns:adec="http://schemas.microsoft.com/office/drawing/2017/decorative" val="1"/>
                </a:ext>
              </a:extLst>
            </p:cNvPr>
            <p:cNvSpPr>
              <a:spLocks noChangeArrowheads="1"/>
            </p:cNvSpPr>
            <p:nvPr/>
          </p:nvSpPr>
          <p:spPr bwMode="auto">
            <a:xfrm>
              <a:off x="3456248" y="2157551"/>
              <a:ext cx="133368" cy="127466"/>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Oval 141">
              <a:extLst>
                <a:ext uri="{FF2B5EF4-FFF2-40B4-BE49-F238E27FC236}">
                  <a16:creationId xmlns:a16="http://schemas.microsoft.com/office/drawing/2014/main" id="{A59C3785-0B4B-A74D-A4BD-C178A2F873E6}"/>
                </a:ext>
                <a:ext uri="{C183D7F6-B498-43B3-948B-1728B52AA6E4}">
                  <adec:decorative xmlns:adec="http://schemas.microsoft.com/office/drawing/2017/decorative" val="1"/>
                </a:ext>
              </a:extLst>
            </p:cNvPr>
            <p:cNvSpPr>
              <a:spLocks noChangeArrowheads="1"/>
            </p:cNvSpPr>
            <p:nvPr/>
          </p:nvSpPr>
          <p:spPr bwMode="auto">
            <a:xfrm>
              <a:off x="2229564" y="4275273"/>
              <a:ext cx="121565" cy="121565"/>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187" name="Oval 124">
              <a:extLst>
                <a:ext uri="{FF2B5EF4-FFF2-40B4-BE49-F238E27FC236}">
                  <a16:creationId xmlns:a16="http://schemas.microsoft.com/office/drawing/2014/main" id="{977A1C9C-EB90-3140-AF8B-B13DE3566FFE}"/>
                </a:ext>
                <a:ext uri="{C183D7F6-B498-43B3-948B-1728B52AA6E4}">
                  <adec:decorative xmlns:adec="http://schemas.microsoft.com/office/drawing/2017/decorative" val="1"/>
                </a:ext>
              </a:extLst>
            </p:cNvPr>
            <p:cNvSpPr>
              <a:spLocks noChangeArrowheads="1"/>
            </p:cNvSpPr>
            <p:nvPr/>
          </p:nvSpPr>
          <p:spPr bwMode="auto">
            <a:xfrm>
              <a:off x="3988436" y="3072929"/>
              <a:ext cx="133368" cy="127466"/>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38" name="Oval 237">
              <a:extLst>
                <a:ext uri="{FF2B5EF4-FFF2-40B4-BE49-F238E27FC236}">
                  <a16:creationId xmlns:a16="http://schemas.microsoft.com/office/drawing/2014/main" id="{EA7FE36F-02C0-6943-9E22-D40E82C8493A}"/>
                </a:ext>
              </a:extLst>
            </p:cNvPr>
            <p:cNvSpPr/>
            <p:nvPr/>
          </p:nvSpPr>
          <p:spPr bwMode="auto">
            <a:xfrm>
              <a:off x="2540971" y="3736962"/>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231" name="Oval 230">
              <a:extLst>
                <a:ext uri="{FF2B5EF4-FFF2-40B4-BE49-F238E27FC236}">
                  <a16:creationId xmlns:a16="http://schemas.microsoft.com/office/drawing/2014/main" id="{8E3D782B-48F2-AD43-A682-FB81C6D09580}"/>
                </a:ext>
              </a:extLst>
            </p:cNvPr>
            <p:cNvSpPr/>
            <p:nvPr/>
          </p:nvSpPr>
          <p:spPr bwMode="auto">
            <a:xfrm>
              <a:off x="2519856" y="1692217"/>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227" name="Oval 226">
              <a:extLst>
                <a:ext uri="{FF2B5EF4-FFF2-40B4-BE49-F238E27FC236}">
                  <a16:creationId xmlns:a16="http://schemas.microsoft.com/office/drawing/2014/main" id="{C9B9E07B-3537-364C-95F0-F961FD10C3EA}"/>
                </a:ext>
              </a:extLst>
            </p:cNvPr>
            <p:cNvSpPr/>
            <p:nvPr/>
          </p:nvSpPr>
          <p:spPr bwMode="auto">
            <a:xfrm>
              <a:off x="1580556" y="3642699"/>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97" name="Oval 74">
              <a:extLst>
                <a:ext uri="{FF2B5EF4-FFF2-40B4-BE49-F238E27FC236}">
                  <a16:creationId xmlns:a16="http://schemas.microsoft.com/office/drawing/2014/main" id="{56807D61-44A8-5345-B511-E288488F6BC1}"/>
                </a:ext>
                <a:ext uri="{C183D7F6-B498-43B3-948B-1728B52AA6E4}">
                  <adec:decorative xmlns:adec="http://schemas.microsoft.com/office/drawing/2017/decorative" val="1"/>
                </a:ext>
              </a:extLst>
            </p:cNvPr>
            <p:cNvSpPr>
              <a:spLocks noChangeArrowheads="1"/>
            </p:cNvSpPr>
            <p:nvPr/>
          </p:nvSpPr>
          <p:spPr bwMode="auto">
            <a:xfrm>
              <a:off x="2701694" y="2650546"/>
              <a:ext cx="183508" cy="18062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8" name="Oval 74">
              <a:extLst>
                <a:ext uri="{FF2B5EF4-FFF2-40B4-BE49-F238E27FC236}">
                  <a16:creationId xmlns:a16="http://schemas.microsoft.com/office/drawing/2014/main" id="{6B90DECB-0121-024F-947E-B92C72CFCB2E}"/>
                </a:ext>
                <a:ext uri="{C183D7F6-B498-43B3-948B-1728B52AA6E4}">
                  <adec:decorative xmlns:adec="http://schemas.microsoft.com/office/drawing/2017/decorative" val="1"/>
                </a:ext>
              </a:extLst>
            </p:cNvPr>
            <p:cNvSpPr>
              <a:spLocks noChangeArrowheads="1"/>
            </p:cNvSpPr>
            <p:nvPr/>
          </p:nvSpPr>
          <p:spPr bwMode="auto">
            <a:xfrm>
              <a:off x="2039108" y="2110345"/>
              <a:ext cx="132618" cy="1305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9" name="Oval 124">
              <a:extLst>
                <a:ext uri="{FF2B5EF4-FFF2-40B4-BE49-F238E27FC236}">
                  <a16:creationId xmlns:a16="http://schemas.microsoft.com/office/drawing/2014/main" id="{2FD5D520-314F-1D46-A96C-BBE1CFBD95D3}"/>
                </a:ext>
                <a:ext uri="{C183D7F6-B498-43B3-948B-1728B52AA6E4}">
                  <adec:decorative xmlns:adec="http://schemas.microsoft.com/office/drawing/2017/decorative" val="1"/>
                </a:ext>
              </a:extLst>
            </p:cNvPr>
            <p:cNvSpPr>
              <a:spLocks noChangeArrowheads="1"/>
            </p:cNvSpPr>
            <p:nvPr/>
          </p:nvSpPr>
          <p:spPr bwMode="auto">
            <a:xfrm>
              <a:off x="3234754" y="4302639"/>
              <a:ext cx="179828" cy="171871"/>
            </a:xfrm>
            <a:prstGeom prst="ellipse">
              <a:avLst/>
            </a:pr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200" name="04R">
              <a:extLst>
                <a:ext uri="{FF2B5EF4-FFF2-40B4-BE49-F238E27FC236}">
                  <a16:creationId xmlns:a16="http://schemas.microsoft.com/office/drawing/2014/main" id="{30102537-7A1E-274C-8861-3FC17564F637}"/>
                </a:ext>
                <a:ext uri="{C183D7F6-B498-43B3-948B-1728B52AA6E4}">
                  <adec:decorative xmlns:adec="http://schemas.microsoft.com/office/drawing/2017/decorative" val="1"/>
                </a:ext>
              </a:extLst>
            </p:cNvPr>
            <p:cNvSpPr/>
            <p:nvPr/>
          </p:nvSpPr>
          <p:spPr bwMode="auto">
            <a:xfrm>
              <a:off x="996332" y="3066938"/>
              <a:ext cx="3488847" cy="556377"/>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1" tIns="89641" rIns="89641" bIns="89641" numCol="1" spcCol="0" rtlCol="0" fromWordArt="0" anchor="ctr" anchorCtr="0" forceAA="0" compatLnSpc="1">
              <a:prstTxWarp prst="textNoShape">
                <a:avLst/>
              </a:prstTxWarp>
              <a:noAutofit/>
            </a:bodyPr>
            <a:lstStyle/>
            <a:p>
              <a:pPr marL="0" marR="0" lvl="0" indent="0" algn="ctr" defTabSz="914378" rtl="0" eaLnBrk="1" fontAlgn="auto" latinLnBrk="0" hangingPunct="1">
                <a:lnSpc>
                  <a:spcPts val="2420"/>
                </a:lnSpc>
                <a:spcBef>
                  <a:spcPct val="0"/>
                </a:spcBef>
                <a:spcAft>
                  <a:spcPts val="0"/>
                </a:spcAft>
                <a:buClrTx/>
                <a:buSzTx/>
                <a:buFontTx/>
                <a:buNone/>
                <a:tabLst/>
                <a:defRPr/>
              </a:pPr>
              <a:r>
                <a:rPr kumimoji="0" lang="en-US" sz="1400" b="0" i="0" u="none" strike="noStrike" kern="1200" cap="none" spc="0" normalizeH="0" baseline="0" noProof="0">
                  <a:ln w="3175">
                    <a:noFill/>
                  </a:ln>
                  <a:gradFill>
                    <a:gsLst>
                      <a:gs pos="100000">
                        <a:srgbClr val="000000"/>
                      </a:gs>
                      <a:gs pos="83000">
                        <a:srgbClr val="000000"/>
                      </a:gs>
                    </a:gsLst>
                    <a:lin ang="5400000" scaled="1"/>
                  </a:gradFill>
                  <a:effectLst/>
                  <a:uLnTx/>
                  <a:uFillTx/>
                  <a:latin typeface="Segoe UI Semibold"/>
                  <a:ea typeface="Segoe UI Semibold" panose="020B0502040204020203" pitchFamily="34" charset="0"/>
                  <a:cs typeface="Segoe UI Semibold" panose="020B0502040204020203" pitchFamily="34" charset="0"/>
                </a:rPr>
                <a:t>Microsoft </a:t>
              </a:r>
              <a:r>
                <a:rPr kumimoji="0" lang="en-US" sz="1400" b="0" i="0" u="none" strike="noStrike" kern="1200" cap="none" spc="0" normalizeH="0" baseline="0" noProof="0">
                  <a:ln w="3175">
                    <a:noFill/>
                  </a:ln>
                  <a:gradFill>
                    <a:gsLst>
                      <a:gs pos="100000">
                        <a:srgbClr val="000000"/>
                      </a:gs>
                      <a:gs pos="83000">
                        <a:srgbClr val="000000"/>
                      </a:gs>
                    </a:gsLst>
                    <a:lin ang="5400000" scaled="1"/>
                  </a:gradFill>
                  <a:effectLst/>
                  <a:uLnTx/>
                  <a:uFillTx/>
                  <a:latin typeface="Segoe UI Semibold"/>
                  <a:ea typeface="+mn-ea"/>
                  <a:cs typeface="Segoe UI Semibold" panose="020B0502040204020203" pitchFamily="34" charset="0"/>
                </a:rPr>
                <a:t>Security</a:t>
              </a:r>
            </a:p>
          </p:txBody>
        </p:sp>
        <p:sp>
          <p:nvSpPr>
            <p:cNvPr id="148" name="house">
              <a:extLst>
                <a:ext uri="{FF2B5EF4-FFF2-40B4-BE49-F238E27FC236}">
                  <a16:creationId xmlns:a16="http://schemas.microsoft.com/office/drawing/2014/main" id="{85F8E2FD-FC2C-4D9F-90FB-04D2024D48A3}"/>
                </a:ext>
              </a:extLst>
            </p:cNvPr>
            <p:cNvSpPr>
              <a:spLocks noChangeAspect="1" noEditPoints="1"/>
            </p:cNvSpPr>
            <p:nvPr/>
          </p:nvSpPr>
          <p:spPr bwMode="auto">
            <a:xfrm>
              <a:off x="2619582" y="1803270"/>
              <a:ext cx="276423" cy="24521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 name="Group 2">
              <a:extLst>
                <a:ext uri="{FF2B5EF4-FFF2-40B4-BE49-F238E27FC236}">
                  <a16:creationId xmlns:a16="http://schemas.microsoft.com/office/drawing/2014/main" id="{A47F2D80-853A-474F-BAC3-72F0F252F1A9}"/>
                </a:ext>
              </a:extLst>
            </p:cNvPr>
            <p:cNvGrpSpPr/>
            <p:nvPr/>
          </p:nvGrpSpPr>
          <p:grpSpPr>
            <a:xfrm>
              <a:off x="1136822" y="2060366"/>
              <a:ext cx="475874" cy="475874"/>
              <a:chOff x="1136822" y="2060366"/>
              <a:chExt cx="475874" cy="475874"/>
            </a:xfrm>
          </p:grpSpPr>
          <p:sp>
            <p:nvSpPr>
              <p:cNvPr id="201" name="Oval 200">
                <a:extLst>
                  <a:ext uri="{FF2B5EF4-FFF2-40B4-BE49-F238E27FC236}">
                    <a16:creationId xmlns:a16="http://schemas.microsoft.com/office/drawing/2014/main" id="{9FC4186E-5EBD-2147-8F5F-5CC51D3C8915}"/>
                  </a:ext>
                </a:extLst>
              </p:cNvPr>
              <p:cNvSpPr/>
              <p:nvPr/>
            </p:nvSpPr>
            <p:spPr bwMode="auto">
              <a:xfrm>
                <a:off x="1136822" y="2060366"/>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49" name="monitor">
                <a:extLst>
                  <a:ext uri="{FF2B5EF4-FFF2-40B4-BE49-F238E27FC236}">
                    <a16:creationId xmlns:a16="http://schemas.microsoft.com/office/drawing/2014/main" id="{589BCAC4-F9F9-4C38-81A4-488FE29974E7}"/>
                  </a:ext>
                </a:extLst>
              </p:cNvPr>
              <p:cNvSpPr>
                <a:spLocks noChangeAspect="1" noEditPoints="1"/>
              </p:cNvSpPr>
              <p:nvPr/>
            </p:nvSpPr>
            <p:spPr bwMode="auto">
              <a:xfrm>
                <a:off x="1229253" y="2186788"/>
                <a:ext cx="291012" cy="2230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18ECFF74-C972-4856-BE4E-4E7E9EF2D873}"/>
                </a:ext>
              </a:extLst>
            </p:cNvPr>
            <p:cNvGrpSpPr/>
            <p:nvPr/>
          </p:nvGrpSpPr>
          <p:grpSpPr>
            <a:xfrm>
              <a:off x="3161373" y="2562304"/>
              <a:ext cx="475874" cy="475874"/>
              <a:chOff x="3161373" y="2562304"/>
              <a:chExt cx="475874" cy="475874"/>
            </a:xfrm>
          </p:grpSpPr>
          <p:sp>
            <p:nvSpPr>
              <p:cNvPr id="222" name="Oval 221">
                <a:extLst>
                  <a:ext uri="{FF2B5EF4-FFF2-40B4-BE49-F238E27FC236}">
                    <a16:creationId xmlns:a16="http://schemas.microsoft.com/office/drawing/2014/main" id="{E8E10DC8-F915-7C48-8FF0-8561FFD423A7}"/>
                  </a:ext>
                </a:extLst>
              </p:cNvPr>
              <p:cNvSpPr/>
              <p:nvPr/>
            </p:nvSpPr>
            <p:spPr bwMode="auto">
              <a:xfrm>
                <a:off x="3161373" y="2562304"/>
                <a:ext cx="475874" cy="47587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0" name="people_4">
                <a:extLst>
                  <a:ext uri="{FF2B5EF4-FFF2-40B4-BE49-F238E27FC236}">
                    <a16:creationId xmlns:a16="http://schemas.microsoft.com/office/drawing/2014/main" id="{FC59DC79-FA8D-492A-9993-C8EE80867F9E}"/>
                  </a:ext>
                </a:extLst>
              </p:cNvPr>
              <p:cNvSpPr>
                <a:spLocks noChangeAspect="1" noEditPoints="1"/>
              </p:cNvSpPr>
              <p:nvPr/>
            </p:nvSpPr>
            <p:spPr bwMode="auto">
              <a:xfrm>
                <a:off x="3312926" y="2703665"/>
                <a:ext cx="172769" cy="1931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1" name="Graphic 3">
              <a:extLst>
                <a:ext uri="{FF2B5EF4-FFF2-40B4-BE49-F238E27FC236}">
                  <a16:creationId xmlns:a16="http://schemas.microsoft.com/office/drawing/2014/main" id="{9808B1D5-902C-47E6-9FE0-83D9E00BA5C5}"/>
                </a:ext>
              </a:extLst>
            </p:cNvPr>
            <p:cNvSpPr/>
            <p:nvPr/>
          </p:nvSpPr>
          <p:spPr>
            <a:xfrm>
              <a:off x="2630562" y="3874274"/>
              <a:ext cx="296693" cy="201250"/>
            </a:xfrm>
            <a:custGeom>
              <a:avLst/>
              <a:gdLst>
                <a:gd name="connsiteX0" fmla="*/ 392524 w 452820"/>
                <a:gd name="connsiteY0" fmla="*/ 214918 h 307153"/>
                <a:gd name="connsiteX1" fmla="*/ 60446 w 452820"/>
                <a:gd name="connsiteY1" fmla="*/ 214918 h 307153"/>
                <a:gd name="connsiteX2" fmla="*/ 60446 w 452820"/>
                <a:gd name="connsiteY2" fmla="*/ 0 h 307153"/>
                <a:gd name="connsiteX3" fmla="*/ 392524 w 452820"/>
                <a:gd name="connsiteY3" fmla="*/ 0 h 307153"/>
                <a:gd name="connsiteX4" fmla="*/ 392524 w 452820"/>
                <a:gd name="connsiteY4" fmla="*/ 214918 h 307153"/>
                <a:gd name="connsiteX5" fmla="*/ 392524 w 452820"/>
                <a:gd name="connsiteY5" fmla="*/ 214918 h 307153"/>
                <a:gd name="connsiteX6" fmla="*/ 392524 w 452820"/>
                <a:gd name="connsiteY6" fmla="*/ 214918 h 307153"/>
                <a:gd name="connsiteX7" fmla="*/ 0 w 452820"/>
                <a:gd name="connsiteY7" fmla="*/ 291781 h 307153"/>
                <a:gd name="connsiteX8" fmla="*/ 15074 w 452820"/>
                <a:gd name="connsiteY8" fmla="*/ 307154 h 307153"/>
                <a:gd name="connsiteX9" fmla="*/ 437746 w 452820"/>
                <a:gd name="connsiteY9" fmla="*/ 307154 h 307153"/>
                <a:gd name="connsiteX10" fmla="*/ 452821 w 452820"/>
                <a:gd name="connsiteY10" fmla="*/ 291781 h 307153"/>
                <a:gd name="connsiteX11" fmla="*/ 445358 w 452820"/>
                <a:gd name="connsiteY11" fmla="*/ 268648 h 307153"/>
                <a:gd name="connsiteX12" fmla="*/ 392524 w 452820"/>
                <a:gd name="connsiteY12" fmla="*/ 214918 h 307153"/>
                <a:gd name="connsiteX13" fmla="*/ 60446 w 452820"/>
                <a:gd name="connsiteY13" fmla="*/ 214918 h 307153"/>
                <a:gd name="connsiteX14" fmla="*/ 7612 w 452820"/>
                <a:gd name="connsiteY14" fmla="*/ 268648 h 307153"/>
                <a:gd name="connsiteX15" fmla="*/ 0 w 452820"/>
                <a:gd name="connsiteY15" fmla="*/ 291781 h 307153"/>
                <a:gd name="connsiteX16" fmla="*/ 0 w 452820"/>
                <a:gd name="connsiteY16" fmla="*/ 291781 h 307153"/>
                <a:gd name="connsiteX0" fmla="*/ 392524 w 452821"/>
                <a:gd name="connsiteY0" fmla="*/ 214918 h 307154"/>
                <a:gd name="connsiteX1" fmla="*/ 60446 w 452821"/>
                <a:gd name="connsiteY1" fmla="*/ 214918 h 307154"/>
                <a:gd name="connsiteX2" fmla="*/ 60446 w 452821"/>
                <a:gd name="connsiteY2" fmla="*/ 0 h 307154"/>
                <a:gd name="connsiteX3" fmla="*/ 392524 w 452821"/>
                <a:gd name="connsiteY3" fmla="*/ 0 h 307154"/>
                <a:gd name="connsiteX4" fmla="*/ 392524 w 452821"/>
                <a:gd name="connsiteY4" fmla="*/ 214918 h 307154"/>
                <a:gd name="connsiteX5" fmla="*/ 392524 w 452821"/>
                <a:gd name="connsiteY5" fmla="*/ 214918 h 307154"/>
                <a:gd name="connsiteX6" fmla="*/ 392524 w 452821"/>
                <a:gd name="connsiteY6" fmla="*/ 214918 h 307154"/>
                <a:gd name="connsiteX7" fmla="*/ 0 w 452821"/>
                <a:gd name="connsiteY7" fmla="*/ 291781 h 307154"/>
                <a:gd name="connsiteX8" fmla="*/ 15074 w 452821"/>
                <a:gd name="connsiteY8" fmla="*/ 307154 h 307154"/>
                <a:gd name="connsiteX9" fmla="*/ 437746 w 452821"/>
                <a:gd name="connsiteY9" fmla="*/ 307154 h 307154"/>
                <a:gd name="connsiteX10" fmla="*/ 452821 w 452821"/>
                <a:gd name="connsiteY10" fmla="*/ 291781 h 307154"/>
                <a:gd name="connsiteX11" fmla="*/ 445358 w 452821"/>
                <a:gd name="connsiteY11" fmla="*/ 268648 h 307154"/>
                <a:gd name="connsiteX12" fmla="*/ 392524 w 452821"/>
                <a:gd name="connsiteY12" fmla="*/ 214918 h 307154"/>
                <a:gd name="connsiteX13" fmla="*/ 60446 w 452821"/>
                <a:gd name="connsiteY13" fmla="*/ 214918 h 307154"/>
                <a:gd name="connsiteX14" fmla="*/ 7612 w 452821"/>
                <a:gd name="connsiteY14" fmla="*/ 268648 h 307154"/>
                <a:gd name="connsiteX15" fmla="*/ 0 w 452821"/>
                <a:gd name="connsiteY15" fmla="*/ 291781 h 307154"/>
                <a:gd name="connsiteX16" fmla="*/ 0 w 452821"/>
                <a:gd name="connsiteY16" fmla="*/ 291781 h 30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821" h="307154">
                  <a:moveTo>
                    <a:pt x="392524" y="214918"/>
                  </a:moveTo>
                  <a:lnTo>
                    <a:pt x="60446" y="214918"/>
                  </a:lnTo>
                  <a:lnTo>
                    <a:pt x="60446" y="0"/>
                  </a:lnTo>
                  <a:lnTo>
                    <a:pt x="392524" y="0"/>
                  </a:lnTo>
                  <a:lnTo>
                    <a:pt x="392524" y="214918"/>
                  </a:lnTo>
                  <a:lnTo>
                    <a:pt x="392524" y="214918"/>
                  </a:lnTo>
                  <a:lnTo>
                    <a:pt x="392524" y="214918"/>
                  </a:lnTo>
                  <a:close/>
                  <a:moveTo>
                    <a:pt x="0" y="291781"/>
                  </a:moveTo>
                  <a:cubicBezTo>
                    <a:pt x="0" y="300288"/>
                    <a:pt x="6716" y="307154"/>
                    <a:pt x="15074" y="307154"/>
                  </a:cubicBezTo>
                  <a:lnTo>
                    <a:pt x="437746" y="307154"/>
                  </a:lnTo>
                  <a:cubicBezTo>
                    <a:pt x="446104" y="307154"/>
                    <a:pt x="452821" y="300288"/>
                    <a:pt x="452821" y="291781"/>
                  </a:cubicBezTo>
                  <a:cubicBezTo>
                    <a:pt x="452821" y="282826"/>
                    <a:pt x="449985" y="274618"/>
                    <a:pt x="445358" y="268648"/>
                  </a:cubicBezTo>
                  <a:lnTo>
                    <a:pt x="392524" y="214918"/>
                  </a:lnTo>
                  <a:lnTo>
                    <a:pt x="60446" y="214918"/>
                  </a:lnTo>
                  <a:lnTo>
                    <a:pt x="7612" y="268648"/>
                  </a:lnTo>
                  <a:cubicBezTo>
                    <a:pt x="2985" y="274618"/>
                    <a:pt x="0" y="282826"/>
                    <a:pt x="0" y="291781"/>
                  </a:cubicBezTo>
                  <a:lnTo>
                    <a:pt x="0" y="291781"/>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EFEA0710-EC8F-49BB-B68B-69AB1B61F60A}"/>
                </a:ext>
              </a:extLst>
            </p:cNvPr>
            <p:cNvGrpSpPr/>
            <p:nvPr/>
          </p:nvGrpSpPr>
          <p:grpSpPr>
            <a:xfrm>
              <a:off x="3935297" y="2072453"/>
              <a:ext cx="475874" cy="475874"/>
              <a:chOff x="3935297" y="2072453"/>
              <a:chExt cx="475874" cy="475874"/>
            </a:xfrm>
          </p:grpSpPr>
          <p:sp>
            <p:nvSpPr>
              <p:cNvPr id="243" name="Oval 242">
                <a:extLst>
                  <a:ext uri="{FF2B5EF4-FFF2-40B4-BE49-F238E27FC236}">
                    <a16:creationId xmlns:a16="http://schemas.microsoft.com/office/drawing/2014/main" id="{9002340B-B700-BD48-BA4C-EACE50E2D672}"/>
                  </a:ext>
                </a:extLst>
              </p:cNvPr>
              <p:cNvSpPr/>
              <p:nvPr/>
            </p:nvSpPr>
            <p:spPr bwMode="auto">
              <a:xfrm>
                <a:off x="3935297" y="2072453"/>
                <a:ext cx="475874" cy="47587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2" name="watch">
                <a:extLst>
                  <a:ext uri="{FF2B5EF4-FFF2-40B4-BE49-F238E27FC236}">
                    <a16:creationId xmlns:a16="http://schemas.microsoft.com/office/drawing/2014/main" id="{D8A2A85A-AC82-4CDB-82FE-A3CEBADC2557}"/>
                  </a:ext>
                </a:extLst>
              </p:cNvPr>
              <p:cNvSpPr>
                <a:spLocks noChangeAspect="1" noEditPoints="1"/>
              </p:cNvSpPr>
              <p:nvPr/>
            </p:nvSpPr>
            <p:spPr bwMode="auto">
              <a:xfrm>
                <a:off x="4101401" y="2189172"/>
                <a:ext cx="143666" cy="242437"/>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EA76A4C7-9A31-4776-A109-9C233E37E098}"/>
                </a:ext>
              </a:extLst>
            </p:cNvPr>
            <p:cNvGrpSpPr/>
            <p:nvPr/>
          </p:nvGrpSpPr>
          <p:grpSpPr>
            <a:xfrm>
              <a:off x="1956311" y="2546529"/>
              <a:ext cx="475874" cy="475874"/>
              <a:chOff x="1956311" y="2546529"/>
              <a:chExt cx="475874" cy="475874"/>
            </a:xfrm>
          </p:grpSpPr>
          <p:sp>
            <p:nvSpPr>
              <p:cNvPr id="213" name="Oval 212">
                <a:extLst>
                  <a:ext uri="{FF2B5EF4-FFF2-40B4-BE49-F238E27FC236}">
                    <a16:creationId xmlns:a16="http://schemas.microsoft.com/office/drawing/2014/main" id="{BE40DD28-3EDC-9544-B430-6FBB21A16AAE}"/>
                  </a:ext>
                </a:extLst>
              </p:cNvPr>
              <p:cNvSpPr/>
              <p:nvPr/>
            </p:nvSpPr>
            <p:spPr bwMode="auto">
              <a:xfrm>
                <a:off x="1956311" y="2546529"/>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3" name="POI_ECAF">
                <a:extLst>
                  <a:ext uri="{FF2B5EF4-FFF2-40B4-BE49-F238E27FC236}">
                    <a16:creationId xmlns:a16="http://schemas.microsoft.com/office/drawing/2014/main" id="{C2844017-AFE2-434B-B9A3-DB49BB024B82}"/>
                  </a:ext>
                </a:extLst>
              </p:cNvPr>
              <p:cNvSpPr>
                <a:spLocks noChangeAspect="1" noEditPoints="1"/>
              </p:cNvSpPr>
              <p:nvPr/>
            </p:nvSpPr>
            <p:spPr bwMode="auto">
              <a:xfrm>
                <a:off x="2090436" y="2618351"/>
                <a:ext cx="207624" cy="332231"/>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38566EB2-00ED-44F8-914F-D0716E995BAF}"/>
                </a:ext>
              </a:extLst>
            </p:cNvPr>
            <p:cNvGrpSpPr/>
            <p:nvPr/>
          </p:nvGrpSpPr>
          <p:grpSpPr>
            <a:xfrm>
              <a:off x="2551578" y="4652274"/>
              <a:ext cx="475874" cy="475874"/>
              <a:chOff x="2551578" y="4652274"/>
              <a:chExt cx="475874" cy="475874"/>
            </a:xfrm>
          </p:grpSpPr>
          <p:sp>
            <p:nvSpPr>
              <p:cNvPr id="211" name="Oval 210">
                <a:extLst>
                  <a:ext uri="{FF2B5EF4-FFF2-40B4-BE49-F238E27FC236}">
                    <a16:creationId xmlns:a16="http://schemas.microsoft.com/office/drawing/2014/main" id="{115351BE-C27B-7546-94B9-DEA9B2D2E5E8}"/>
                  </a:ext>
                </a:extLst>
              </p:cNvPr>
              <p:cNvSpPr/>
              <p:nvPr/>
            </p:nvSpPr>
            <p:spPr bwMode="auto">
              <a:xfrm>
                <a:off x="2551578" y="4652274"/>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4" name="CellPhone_E8EA">
                <a:extLst>
                  <a:ext uri="{FF2B5EF4-FFF2-40B4-BE49-F238E27FC236}">
                    <a16:creationId xmlns:a16="http://schemas.microsoft.com/office/drawing/2014/main" id="{438035DA-C3E2-494E-B3C8-9A2B81272F4F}"/>
                  </a:ext>
                </a:extLst>
              </p:cNvPr>
              <p:cNvSpPr>
                <a:spLocks noChangeAspect="1" noEditPoints="1"/>
              </p:cNvSpPr>
              <p:nvPr/>
            </p:nvSpPr>
            <p:spPr bwMode="auto">
              <a:xfrm>
                <a:off x="2708195" y="4754700"/>
                <a:ext cx="162640" cy="27102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56" name="Graphic 6">
              <a:extLst>
                <a:ext uri="{FF2B5EF4-FFF2-40B4-BE49-F238E27FC236}">
                  <a16:creationId xmlns:a16="http://schemas.microsoft.com/office/drawing/2014/main" id="{CAD19AC4-6A8E-48CC-AA84-5FE0DC98A9B7}"/>
                </a:ext>
              </a:extLst>
            </p:cNvPr>
            <p:cNvSpPr/>
            <p:nvPr/>
          </p:nvSpPr>
          <p:spPr>
            <a:xfrm>
              <a:off x="1675400" y="3775533"/>
              <a:ext cx="286186" cy="210206"/>
            </a:xfrm>
            <a:custGeom>
              <a:avLst/>
              <a:gdLst>
                <a:gd name="connsiteX0" fmla="*/ 166949 w 500997"/>
                <a:gd name="connsiteY0" fmla="*/ 367987 h 367986"/>
                <a:gd name="connsiteX1" fmla="*/ 0 w 500997"/>
                <a:gd name="connsiteY1" fmla="*/ 367987 h 367986"/>
                <a:gd name="connsiteX2" fmla="*/ 0 w 500997"/>
                <a:gd name="connsiteY2" fmla="*/ 100443 h 367986"/>
                <a:gd name="connsiteX3" fmla="*/ 166949 w 500997"/>
                <a:gd name="connsiteY3" fmla="*/ 100443 h 367986"/>
                <a:gd name="connsiteX4" fmla="*/ 166949 w 500997"/>
                <a:gd name="connsiteY4" fmla="*/ 367987 h 367986"/>
                <a:gd name="connsiteX5" fmla="*/ 166949 w 500997"/>
                <a:gd name="connsiteY5" fmla="*/ 367987 h 367986"/>
                <a:gd name="connsiteX6" fmla="*/ 166949 w 500997"/>
                <a:gd name="connsiteY6" fmla="*/ 367987 h 367986"/>
                <a:gd name="connsiteX7" fmla="*/ 50069 w 500997"/>
                <a:gd name="connsiteY7" fmla="*/ 301025 h 367986"/>
                <a:gd name="connsiteX8" fmla="*/ 116879 w 500997"/>
                <a:gd name="connsiteY8" fmla="*/ 301025 h 367986"/>
                <a:gd name="connsiteX9" fmla="*/ 250347 w 500997"/>
                <a:gd name="connsiteY9" fmla="*/ 234215 h 367986"/>
                <a:gd name="connsiteX10" fmla="*/ 317157 w 500997"/>
                <a:gd name="connsiteY10" fmla="*/ 234215 h 367986"/>
                <a:gd name="connsiteX11" fmla="*/ 166949 w 500997"/>
                <a:gd name="connsiteY11" fmla="*/ 301025 h 367986"/>
                <a:gd name="connsiteX12" fmla="*/ 484257 w 500997"/>
                <a:gd name="connsiteY12" fmla="*/ 301025 h 367986"/>
                <a:gd name="connsiteX13" fmla="*/ 500998 w 500997"/>
                <a:gd name="connsiteY13" fmla="*/ 284284 h 367986"/>
                <a:gd name="connsiteX14" fmla="*/ 500998 w 500997"/>
                <a:gd name="connsiteY14" fmla="*/ 16741 h 367986"/>
                <a:gd name="connsiteX15" fmla="*/ 484257 w 500997"/>
                <a:gd name="connsiteY15" fmla="*/ 0 h 367986"/>
                <a:gd name="connsiteX16" fmla="*/ 83398 w 500997"/>
                <a:gd name="connsiteY16" fmla="*/ 0 h 367986"/>
                <a:gd name="connsiteX17" fmla="*/ 66658 w 500997"/>
                <a:gd name="connsiteY17" fmla="*/ 16741 h 367986"/>
                <a:gd name="connsiteX18" fmla="*/ 66658 w 500997"/>
                <a:gd name="connsiteY18" fmla="*/ 100291 h 367986"/>
                <a:gd name="connsiteX0" fmla="*/ 166949 w 500998"/>
                <a:gd name="connsiteY0" fmla="*/ 367987 h 367987"/>
                <a:gd name="connsiteX1" fmla="*/ 0 w 500998"/>
                <a:gd name="connsiteY1" fmla="*/ 367987 h 367987"/>
                <a:gd name="connsiteX2" fmla="*/ 0 w 500998"/>
                <a:gd name="connsiteY2" fmla="*/ 100443 h 367987"/>
                <a:gd name="connsiteX3" fmla="*/ 166949 w 500998"/>
                <a:gd name="connsiteY3" fmla="*/ 100443 h 367987"/>
                <a:gd name="connsiteX4" fmla="*/ 166949 w 500998"/>
                <a:gd name="connsiteY4" fmla="*/ 367987 h 367987"/>
                <a:gd name="connsiteX5" fmla="*/ 166949 w 500998"/>
                <a:gd name="connsiteY5" fmla="*/ 367987 h 367987"/>
                <a:gd name="connsiteX6" fmla="*/ 166949 w 500998"/>
                <a:gd name="connsiteY6" fmla="*/ 367987 h 367987"/>
                <a:gd name="connsiteX7" fmla="*/ 50069 w 500998"/>
                <a:gd name="connsiteY7" fmla="*/ 301025 h 367987"/>
                <a:gd name="connsiteX8" fmla="*/ 116879 w 500998"/>
                <a:gd name="connsiteY8" fmla="*/ 301025 h 367987"/>
                <a:gd name="connsiteX9" fmla="*/ 250347 w 500998"/>
                <a:gd name="connsiteY9" fmla="*/ 234215 h 367987"/>
                <a:gd name="connsiteX10" fmla="*/ 317157 w 500998"/>
                <a:gd name="connsiteY10" fmla="*/ 234215 h 367987"/>
                <a:gd name="connsiteX11" fmla="*/ 166949 w 500998"/>
                <a:gd name="connsiteY11" fmla="*/ 301025 h 367987"/>
                <a:gd name="connsiteX12" fmla="*/ 484257 w 500998"/>
                <a:gd name="connsiteY12" fmla="*/ 301025 h 367987"/>
                <a:gd name="connsiteX13" fmla="*/ 500998 w 500998"/>
                <a:gd name="connsiteY13" fmla="*/ 284284 h 367987"/>
                <a:gd name="connsiteX14" fmla="*/ 500998 w 500998"/>
                <a:gd name="connsiteY14" fmla="*/ 16741 h 367987"/>
                <a:gd name="connsiteX15" fmla="*/ 484257 w 500998"/>
                <a:gd name="connsiteY15" fmla="*/ 0 h 367987"/>
                <a:gd name="connsiteX16" fmla="*/ 83398 w 500998"/>
                <a:gd name="connsiteY16" fmla="*/ 0 h 367987"/>
                <a:gd name="connsiteX17" fmla="*/ 66658 w 500998"/>
                <a:gd name="connsiteY17" fmla="*/ 16741 h 367987"/>
                <a:gd name="connsiteX18" fmla="*/ 66658 w 500998"/>
                <a:gd name="connsiteY18" fmla="*/ 100291 h 36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998" h="367987">
                  <a:moveTo>
                    <a:pt x="166949" y="367987"/>
                  </a:moveTo>
                  <a:lnTo>
                    <a:pt x="0" y="367987"/>
                  </a:lnTo>
                  <a:lnTo>
                    <a:pt x="0" y="100443"/>
                  </a:lnTo>
                  <a:lnTo>
                    <a:pt x="166949" y="100443"/>
                  </a:lnTo>
                  <a:lnTo>
                    <a:pt x="166949" y="367987"/>
                  </a:lnTo>
                  <a:lnTo>
                    <a:pt x="166949" y="367987"/>
                  </a:lnTo>
                  <a:lnTo>
                    <a:pt x="166949" y="367987"/>
                  </a:lnTo>
                  <a:close/>
                  <a:moveTo>
                    <a:pt x="50069" y="301025"/>
                  </a:moveTo>
                  <a:lnTo>
                    <a:pt x="116879" y="301025"/>
                  </a:lnTo>
                  <a:moveTo>
                    <a:pt x="250347" y="234215"/>
                  </a:moveTo>
                  <a:lnTo>
                    <a:pt x="317157" y="234215"/>
                  </a:lnTo>
                  <a:moveTo>
                    <a:pt x="166949" y="301025"/>
                  </a:moveTo>
                  <a:lnTo>
                    <a:pt x="484257" y="301025"/>
                  </a:lnTo>
                  <a:cubicBezTo>
                    <a:pt x="493541" y="301025"/>
                    <a:pt x="500998" y="293568"/>
                    <a:pt x="500998" y="284284"/>
                  </a:cubicBezTo>
                  <a:lnTo>
                    <a:pt x="500998" y="16741"/>
                  </a:lnTo>
                  <a:cubicBezTo>
                    <a:pt x="500998" y="7457"/>
                    <a:pt x="493541" y="0"/>
                    <a:pt x="484257" y="0"/>
                  </a:cubicBezTo>
                  <a:lnTo>
                    <a:pt x="83398" y="0"/>
                  </a:lnTo>
                  <a:cubicBezTo>
                    <a:pt x="74115" y="0"/>
                    <a:pt x="66658" y="7457"/>
                    <a:pt x="66658" y="16741"/>
                  </a:cubicBezTo>
                  <a:lnTo>
                    <a:pt x="66658" y="10029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0A8F846B-7B16-453B-A0FB-BA4B4E833E92}"/>
                </a:ext>
              </a:extLst>
            </p:cNvPr>
            <p:cNvGrpSpPr/>
            <p:nvPr/>
          </p:nvGrpSpPr>
          <p:grpSpPr>
            <a:xfrm>
              <a:off x="3520287" y="3642699"/>
              <a:ext cx="475874" cy="475874"/>
              <a:chOff x="3520287" y="3642699"/>
              <a:chExt cx="475874" cy="475874"/>
            </a:xfrm>
          </p:grpSpPr>
          <p:sp>
            <p:nvSpPr>
              <p:cNvPr id="203" name="Oval 202">
                <a:extLst>
                  <a:ext uri="{FF2B5EF4-FFF2-40B4-BE49-F238E27FC236}">
                    <a16:creationId xmlns:a16="http://schemas.microsoft.com/office/drawing/2014/main" id="{B364B280-AFCB-2747-ADDD-0F34EE7F1B68}"/>
                  </a:ext>
                </a:extLst>
              </p:cNvPr>
              <p:cNvSpPr/>
              <p:nvPr/>
            </p:nvSpPr>
            <p:spPr bwMode="auto">
              <a:xfrm>
                <a:off x="3520287" y="3642699"/>
                <a:ext cx="475874" cy="47587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159" name="Commitments_EC4D">
                <a:extLst>
                  <a:ext uri="{FF2B5EF4-FFF2-40B4-BE49-F238E27FC236}">
                    <a16:creationId xmlns:a16="http://schemas.microsoft.com/office/drawing/2014/main" id="{147DADE1-11DE-49B3-B259-B3AA70F3A4DC}"/>
                  </a:ext>
                </a:extLst>
              </p:cNvPr>
              <p:cNvSpPr>
                <a:spLocks noChangeAspect="1" noEditPoints="1"/>
              </p:cNvSpPr>
              <p:nvPr/>
            </p:nvSpPr>
            <p:spPr bwMode="auto">
              <a:xfrm>
                <a:off x="3599489" y="3725077"/>
                <a:ext cx="317471" cy="29766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3" name="Group 12" descr="Replace up to 50 product categories">
            <a:extLst>
              <a:ext uri="{FF2B5EF4-FFF2-40B4-BE49-F238E27FC236}">
                <a16:creationId xmlns:a16="http://schemas.microsoft.com/office/drawing/2014/main" id="{CE063298-D356-4A9F-857F-05F1F1A66184}"/>
              </a:ext>
            </a:extLst>
          </p:cNvPr>
          <p:cNvGrpSpPr/>
          <p:nvPr/>
        </p:nvGrpSpPr>
        <p:grpSpPr>
          <a:xfrm>
            <a:off x="5332403" y="1184716"/>
            <a:ext cx="2873047" cy="1516895"/>
            <a:chOff x="6163003" y="311163"/>
            <a:chExt cx="1922520" cy="1516895"/>
          </a:xfrm>
        </p:grpSpPr>
        <p:sp>
          <p:nvSpPr>
            <p:cNvPr id="471" name="Rectangle 470">
              <a:extLst>
                <a:ext uri="{FF2B5EF4-FFF2-40B4-BE49-F238E27FC236}">
                  <a16:creationId xmlns:a16="http://schemas.microsoft.com/office/drawing/2014/main" id="{8E4D13FA-837D-0243-9114-A241055DCCE0}"/>
                </a:ext>
              </a:extLst>
            </p:cNvPr>
            <p:cNvSpPr/>
            <p:nvPr/>
          </p:nvSpPr>
          <p:spPr>
            <a:xfrm>
              <a:off x="6163003" y="566681"/>
              <a:ext cx="1922520"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dirty="0">
                  <a:gradFill>
                    <a:gsLst>
                      <a:gs pos="100000">
                        <a:srgbClr val="0078D4"/>
                      </a:gs>
                      <a:gs pos="83000">
                        <a:srgbClr val="0078D4"/>
                      </a:gs>
                    </a:gsLst>
                    <a:lin ang="5400000" scaled="1"/>
                  </a:gradFill>
                  <a:latin typeface="Segoe UI Semibold"/>
                </a:rPr>
                <a:t>5</a:t>
              </a:r>
              <a:r>
                <a:rPr kumimoji="0" lang="en-US" sz="6000" b="0" i="0" u="none" strike="noStrike" kern="1200" cap="none" spc="0" normalizeH="0" baseline="0" noProof="0" dirty="0">
                  <a:ln>
                    <a:noFill/>
                  </a:ln>
                  <a:gradFill>
                    <a:gsLst>
                      <a:gs pos="100000">
                        <a:srgbClr val="0078D4"/>
                      </a:gs>
                      <a:gs pos="83000">
                        <a:srgbClr val="0078D4"/>
                      </a:gs>
                    </a:gsLst>
                    <a:lin ang="5400000" scaled="1"/>
                  </a:gradFill>
                  <a:effectLst/>
                  <a:uLnTx/>
                  <a:uFillTx/>
                  <a:latin typeface="Segoe UI Semibold"/>
                  <a:ea typeface="+mn-ea"/>
                  <a:cs typeface="+mn-cs"/>
                </a:rPr>
                <a:t>0</a:t>
              </a:r>
            </a:p>
          </p:txBody>
        </p:sp>
        <p:sp>
          <p:nvSpPr>
            <p:cNvPr id="473" name="Rectangle 472">
              <a:extLst>
                <a:ext uri="{FF2B5EF4-FFF2-40B4-BE49-F238E27FC236}">
                  <a16:creationId xmlns:a16="http://schemas.microsoft.com/office/drawing/2014/main" id="{6973335A-9648-9645-ABD1-BBDBB3BA50F7}"/>
                </a:ext>
              </a:extLst>
            </p:cNvPr>
            <p:cNvSpPr/>
            <p:nvPr/>
          </p:nvSpPr>
          <p:spPr>
            <a:xfrm>
              <a:off x="6258181" y="1489504"/>
              <a:ext cx="1372598" cy="338554"/>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mn-cs"/>
                </a:rPr>
                <a:t>product categories</a:t>
              </a:r>
            </a:p>
          </p:txBody>
        </p:sp>
        <p:sp>
          <p:nvSpPr>
            <p:cNvPr id="168" name="Rectangle 167">
              <a:extLst>
                <a:ext uri="{FF2B5EF4-FFF2-40B4-BE49-F238E27FC236}">
                  <a16:creationId xmlns:a16="http://schemas.microsoft.com/office/drawing/2014/main" id="{F8811008-C094-45C8-BF3C-9F3CA89C75AF}"/>
                </a:ext>
              </a:extLst>
            </p:cNvPr>
            <p:cNvSpPr/>
            <p:nvPr/>
          </p:nvSpPr>
          <p:spPr>
            <a:xfrm>
              <a:off x="6258181" y="311163"/>
              <a:ext cx="1824865" cy="338554"/>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mn-cs"/>
                </a:rPr>
                <a:t>Replace up to</a:t>
              </a:r>
            </a:p>
          </p:txBody>
        </p:sp>
      </p:grpSp>
      <p:grpSp>
        <p:nvGrpSpPr>
          <p:cNvPr id="15" name="Group 14" descr="Up to 60% savings with Microsoft 365 E5 Security and Microsoft 365 E5 Compliance1 &#10;">
            <a:extLst>
              <a:ext uri="{FF2B5EF4-FFF2-40B4-BE49-F238E27FC236}">
                <a16:creationId xmlns:a16="http://schemas.microsoft.com/office/drawing/2014/main" id="{0AB883D0-9277-4E56-A016-D2C31C2649C6}"/>
              </a:ext>
            </a:extLst>
          </p:cNvPr>
          <p:cNvGrpSpPr/>
          <p:nvPr/>
        </p:nvGrpSpPr>
        <p:grpSpPr>
          <a:xfrm>
            <a:off x="8586320" y="1173128"/>
            <a:ext cx="3139429" cy="1952566"/>
            <a:chOff x="6130135" y="4409702"/>
            <a:chExt cx="5628483" cy="1545789"/>
          </a:xfrm>
        </p:grpSpPr>
        <p:sp>
          <p:nvSpPr>
            <p:cNvPr id="181" name="Rectangle 180">
              <a:extLst>
                <a:ext uri="{FF2B5EF4-FFF2-40B4-BE49-F238E27FC236}">
                  <a16:creationId xmlns:a16="http://schemas.microsoft.com/office/drawing/2014/main" id="{945C7D47-940D-CB47-93C2-D0A8C2FBD545}"/>
                </a:ext>
              </a:extLst>
            </p:cNvPr>
            <p:cNvSpPr/>
            <p:nvPr/>
          </p:nvSpPr>
          <p:spPr>
            <a:xfrm>
              <a:off x="6130135" y="4517360"/>
              <a:ext cx="3545178"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gradFill>
                    <a:gsLst>
                      <a:gs pos="100000">
                        <a:srgbClr val="0078D4"/>
                      </a:gs>
                      <a:gs pos="83000">
                        <a:srgbClr val="0078D4"/>
                      </a:gs>
                    </a:gsLst>
                    <a:lin ang="5400000" scaled="1"/>
                  </a:gradFill>
                  <a:effectLst/>
                  <a:uLnTx/>
                  <a:uFillTx/>
                  <a:latin typeface="Segoe UI Semibold"/>
                  <a:ea typeface="+mn-ea"/>
                  <a:cs typeface="+mn-cs"/>
                </a:rPr>
                <a:t>60%</a:t>
              </a:r>
            </a:p>
          </p:txBody>
        </p:sp>
        <p:sp>
          <p:nvSpPr>
            <p:cNvPr id="182" name="TextBox 181">
              <a:extLst>
                <a:ext uri="{FF2B5EF4-FFF2-40B4-BE49-F238E27FC236}">
                  <a16:creationId xmlns:a16="http://schemas.microsoft.com/office/drawing/2014/main" id="{8192E25A-F659-B548-A876-2698BEFE25AE}"/>
                </a:ext>
              </a:extLst>
            </p:cNvPr>
            <p:cNvSpPr txBox="1"/>
            <p:nvPr/>
          </p:nvSpPr>
          <p:spPr>
            <a:xfrm>
              <a:off x="6306079" y="5370713"/>
              <a:ext cx="5452539" cy="58477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savings with Microsoft 365 E5 Security and Microsoft 365 E5 Compliance</a:t>
              </a:r>
              <a:r>
                <a:rPr kumimoji="0" lang="en-US" sz="16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 </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sp>
          <p:nvSpPr>
            <p:cNvPr id="155" name="Rectangle 154">
              <a:extLst>
                <a:ext uri="{FF2B5EF4-FFF2-40B4-BE49-F238E27FC236}">
                  <a16:creationId xmlns:a16="http://schemas.microsoft.com/office/drawing/2014/main" id="{37A9971B-A001-40FC-9547-110324AA7894}"/>
                </a:ext>
              </a:extLst>
            </p:cNvPr>
            <p:cNvSpPr/>
            <p:nvPr/>
          </p:nvSpPr>
          <p:spPr>
            <a:xfrm>
              <a:off x="6294104" y="4409702"/>
              <a:ext cx="2052357" cy="331181"/>
            </a:xfrm>
            <a:prstGeom prst="rect">
              <a:avLst/>
            </a:prstGeom>
          </p:spPr>
          <p:txBody>
            <a:bodyPr wrap="square" lIns="0">
              <a:spAutoFit/>
            </a:bodyPr>
            <a:lstStyle/>
            <a:p>
              <a:pPr marL="0" marR="0" lvl="0" indent="0" algn="l" defTabSz="914400" rtl="0" eaLnBrk="1" fontAlgn="auto" latinLnBrk="0" hangingPunct="1">
                <a:lnSpc>
                  <a:spcPts val="1960"/>
                </a:lnSpc>
                <a:spcBef>
                  <a:spcPts val="0"/>
                </a:spcBef>
                <a:spcAft>
                  <a:spcPts val="0"/>
                </a:spcAft>
                <a:buClrTx/>
                <a:buSzTx/>
                <a:buFontTx/>
                <a:buNone/>
                <a:tabLst/>
                <a:defRPr/>
              </a:pPr>
              <a:r>
                <a:rPr kumimoji="0" lang="en-US" sz="16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mn-cs"/>
                </a:rPr>
                <a:t>Up to</a:t>
              </a:r>
            </a:p>
          </p:txBody>
        </p:sp>
      </p:grpSp>
      <p:grpSp>
        <p:nvGrpSpPr>
          <p:cNvPr id="14" name="Group 13" descr="$0 built in Cloud Security Posture Management with Microsoft Defender for Cloud&#10;">
            <a:extLst>
              <a:ext uri="{FF2B5EF4-FFF2-40B4-BE49-F238E27FC236}">
                <a16:creationId xmlns:a16="http://schemas.microsoft.com/office/drawing/2014/main" id="{268755B8-6986-4368-B5A5-E7BBB89948B2}"/>
              </a:ext>
            </a:extLst>
          </p:cNvPr>
          <p:cNvGrpSpPr/>
          <p:nvPr/>
        </p:nvGrpSpPr>
        <p:grpSpPr>
          <a:xfrm>
            <a:off x="5386536" y="3821049"/>
            <a:ext cx="2703644" cy="2025402"/>
            <a:chOff x="6163003" y="2241341"/>
            <a:chExt cx="2098503" cy="2025402"/>
          </a:xfrm>
        </p:grpSpPr>
        <p:sp>
          <p:nvSpPr>
            <p:cNvPr id="180" name="Rectangle 179">
              <a:extLst>
                <a:ext uri="{FF2B5EF4-FFF2-40B4-BE49-F238E27FC236}">
                  <a16:creationId xmlns:a16="http://schemas.microsoft.com/office/drawing/2014/main" id="{08F47049-2811-49A8-932E-B7CCE01A56AE}"/>
                </a:ext>
              </a:extLst>
            </p:cNvPr>
            <p:cNvSpPr/>
            <p:nvPr/>
          </p:nvSpPr>
          <p:spPr>
            <a:xfrm>
              <a:off x="6163003" y="2241341"/>
              <a:ext cx="1922520"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gradFill>
                    <a:gsLst>
                      <a:gs pos="100000">
                        <a:srgbClr val="0078D4"/>
                      </a:gs>
                      <a:gs pos="83000">
                        <a:srgbClr val="0078D4"/>
                      </a:gs>
                    </a:gsLst>
                    <a:lin ang="5400000" scaled="1"/>
                  </a:gradFill>
                  <a:effectLst/>
                  <a:uLnTx/>
                  <a:uFillTx/>
                  <a:latin typeface="Segoe UI Semibold"/>
                  <a:ea typeface="+mn-ea"/>
                  <a:cs typeface="+mn-cs"/>
                </a:rPr>
                <a:t>$0</a:t>
              </a:r>
            </a:p>
          </p:txBody>
        </p:sp>
        <p:sp>
          <p:nvSpPr>
            <p:cNvPr id="9" name="Rectangle 8">
              <a:extLst>
                <a:ext uri="{FF2B5EF4-FFF2-40B4-BE49-F238E27FC236}">
                  <a16:creationId xmlns:a16="http://schemas.microsoft.com/office/drawing/2014/main" id="{808146A2-53F8-4A58-85D7-05828864F325}"/>
                </a:ext>
              </a:extLst>
            </p:cNvPr>
            <p:cNvSpPr/>
            <p:nvPr/>
          </p:nvSpPr>
          <p:spPr>
            <a:xfrm>
              <a:off x="6300090" y="3189525"/>
              <a:ext cx="1961416" cy="1077218"/>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gradFill>
                    <a:gsLst>
                      <a:gs pos="83000">
                        <a:srgbClr val="000000"/>
                      </a:gs>
                      <a:gs pos="100000">
                        <a:srgbClr val="000000"/>
                      </a:gs>
                    </a:gsLst>
                    <a:lin ang="5400000" scaled="1"/>
                  </a:gradFill>
                  <a:latin typeface="Segoe UI Semibold"/>
                </a:rPr>
                <a:t>b</a:t>
              </a:r>
              <a:r>
                <a:rPr kumimoji="0" lang="en-US" sz="1600" b="0" i="0" u="none" strike="noStrike" kern="1200" cap="none" spc="0" normalizeH="0" baseline="0" noProof="0" dirty="0" err="1">
                  <a:ln>
                    <a:noFill/>
                  </a:ln>
                  <a:gradFill>
                    <a:gsLst>
                      <a:gs pos="83000">
                        <a:srgbClr val="000000"/>
                      </a:gs>
                      <a:gs pos="100000">
                        <a:srgbClr val="000000"/>
                      </a:gs>
                    </a:gsLst>
                    <a:lin ang="5400000" scaled="1"/>
                  </a:gradFill>
                  <a:effectLst/>
                  <a:uLnTx/>
                  <a:uFillTx/>
                  <a:latin typeface="Segoe UI Semibold"/>
                  <a:ea typeface="+mn-ea"/>
                  <a:cs typeface="+mn-cs"/>
                </a:rPr>
                <a:t>uilt</a:t>
              </a: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 in Cloud Security Posture Management with Microsoft Defender for Cloud</a:t>
              </a:r>
            </a:p>
          </p:txBody>
        </p:sp>
      </p:grpSp>
      <p:cxnSp>
        <p:nvCxnSpPr>
          <p:cNvPr id="174" name="Straight Connector 173">
            <a:extLst>
              <a:ext uri="{FF2B5EF4-FFF2-40B4-BE49-F238E27FC236}">
                <a16:creationId xmlns:a16="http://schemas.microsoft.com/office/drawing/2014/main" id="{67EA428A-86AE-42DB-8D4F-21D60D786053}"/>
              </a:ext>
              <a:ext uri="{C183D7F6-B498-43B3-948B-1728B52AA6E4}">
                <adec:decorative xmlns:adec="http://schemas.microsoft.com/office/drawing/2017/decorative" val="1"/>
              </a:ext>
            </a:extLst>
          </p:cNvPr>
          <p:cNvCxnSpPr>
            <a:cxnSpLocks/>
          </p:cNvCxnSpPr>
          <p:nvPr/>
        </p:nvCxnSpPr>
        <p:spPr>
          <a:xfrm>
            <a:off x="5386536" y="3504810"/>
            <a:ext cx="592650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descr="30% savings from unifying cloud security tools with Microsoft Defender for Cloud2&#10;">
            <a:extLst>
              <a:ext uri="{FF2B5EF4-FFF2-40B4-BE49-F238E27FC236}">
                <a16:creationId xmlns:a16="http://schemas.microsoft.com/office/drawing/2014/main" id="{D44EE45B-56AF-F51F-A194-78181894BADB}"/>
              </a:ext>
            </a:extLst>
          </p:cNvPr>
          <p:cNvGrpSpPr/>
          <p:nvPr/>
        </p:nvGrpSpPr>
        <p:grpSpPr>
          <a:xfrm>
            <a:off x="8586320" y="3881522"/>
            <a:ext cx="2956910" cy="2025403"/>
            <a:chOff x="6163003" y="2241341"/>
            <a:chExt cx="2562821" cy="2025403"/>
          </a:xfrm>
        </p:grpSpPr>
        <p:sp>
          <p:nvSpPr>
            <p:cNvPr id="19" name="Rectangle 18">
              <a:extLst>
                <a:ext uri="{FF2B5EF4-FFF2-40B4-BE49-F238E27FC236}">
                  <a16:creationId xmlns:a16="http://schemas.microsoft.com/office/drawing/2014/main" id="{971A913E-B150-95FA-98EE-5F4A7F97EA77}"/>
                </a:ext>
              </a:extLst>
            </p:cNvPr>
            <p:cNvSpPr/>
            <p:nvPr/>
          </p:nvSpPr>
          <p:spPr>
            <a:xfrm>
              <a:off x="6163003" y="2241341"/>
              <a:ext cx="1922520"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dirty="0">
                  <a:gradFill>
                    <a:gsLst>
                      <a:gs pos="100000">
                        <a:srgbClr val="0078D4"/>
                      </a:gs>
                      <a:gs pos="83000">
                        <a:srgbClr val="0078D4"/>
                      </a:gs>
                    </a:gsLst>
                    <a:lin ang="5400000" scaled="1"/>
                  </a:gradFill>
                  <a:latin typeface="Segoe UI Semibold"/>
                </a:rPr>
                <a:t>30%</a:t>
              </a:r>
              <a:endParaRPr kumimoji="0" lang="en-US" sz="6000" b="0" i="0" u="none" strike="noStrike" kern="1200" cap="none" spc="0" normalizeH="0" baseline="0" noProof="0" dirty="0">
                <a:ln>
                  <a:noFill/>
                </a:ln>
                <a:gradFill>
                  <a:gsLst>
                    <a:gs pos="100000">
                      <a:srgbClr val="0078D4"/>
                    </a:gs>
                    <a:gs pos="83000">
                      <a:srgbClr val="0078D4"/>
                    </a:gs>
                  </a:gsLst>
                  <a:lin ang="5400000" scaled="1"/>
                </a:gradFill>
                <a:effectLst/>
                <a:uLnTx/>
                <a:uFillTx/>
                <a:latin typeface="Segoe UI Semibold"/>
                <a:ea typeface="+mn-ea"/>
                <a:cs typeface="+mn-cs"/>
              </a:endParaRPr>
            </a:p>
          </p:txBody>
        </p:sp>
        <p:sp>
          <p:nvSpPr>
            <p:cNvPr id="20" name="Rectangle 19">
              <a:extLst>
                <a:ext uri="{FF2B5EF4-FFF2-40B4-BE49-F238E27FC236}">
                  <a16:creationId xmlns:a16="http://schemas.microsoft.com/office/drawing/2014/main" id="{9A98EC56-0CD4-BF1C-2955-45C4D467D2CF}"/>
                </a:ext>
              </a:extLst>
            </p:cNvPr>
            <p:cNvSpPr/>
            <p:nvPr/>
          </p:nvSpPr>
          <p:spPr>
            <a:xfrm>
              <a:off x="6300090" y="3189526"/>
              <a:ext cx="2425734" cy="1077218"/>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gradFill>
                    <a:gsLst>
                      <a:gs pos="83000">
                        <a:srgbClr val="000000"/>
                      </a:gs>
                      <a:gs pos="100000">
                        <a:srgbClr val="000000"/>
                      </a:gs>
                    </a:gsLst>
                    <a:lin ang="5400000" scaled="1"/>
                  </a:gradFill>
                  <a:latin typeface="Segoe UI Semibold"/>
                </a:rPr>
                <a:t>savings from unifying cloud security tools with Microsoft Defender for Cl</a:t>
              </a: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rPr>
                <a:t>oud</a:t>
              </a:r>
              <a:r>
                <a:rPr lang="en-US" sz="1600" b="1" baseline="30000" dirty="0">
                  <a:solidFill>
                    <a:srgbClr val="000000"/>
                  </a:solidFill>
                  <a:latin typeface="Segoe UI" panose="020B0502040204020203" pitchFamily="34" charset="0"/>
                </a:rPr>
                <a:t>2</a:t>
              </a:r>
              <a:endPar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mn-cs"/>
              </a:endParaRPr>
            </a:p>
          </p:txBody>
        </p:sp>
      </p:grpSp>
      <p:sp>
        <p:nvSpPr>
          <p:cNvPr id="124" name="TextBox 1">
            <a:extLst>
              <a:ext uri="{FF2B5EF4-FFF2-40B4-BE49-F238E27FC236}">
                <a16:creationId xmlns:a16="http://schemas.microsoft.com/office/drawing/2014/main" id="{FBF0B978-B536-43A9-89C8-D1A585BBBA78}"/>
              </a:ext>
            </a:extLst>
          </p:cNvPr>
          <p:cNvSpPr txBox="1"/>
          <p:nvPr/>
        </p:nvSpPr>
        <p:spPr>
          <a:xfrm>
            <a:off x="4972050" y="6445343"/>
            <a:ext cx="7074200" cy="304699"/>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9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1 </a:t>
            </a:r>
            <a:r>
              <a:rPr kumimoji="0" lang="en-US" sz="900" b="0" i="0" u="none" strike="noStrike" kern="1200" cap="none" spc="0" normalizeH="0" baseline="0" noProof="0" dirty="0">
                <a:ln>
                  <a:noFill/>
                </a:ln>
                <a:solidFill>
                  <a:srgbClr val="000000"/>
                </a:solidFill>
                <a:effectLst/>
                <a:uLnTx/>
                <a:uFillTx/>
                <a:latin typeface="Segoe UI"/>
                <a:ea typeface="+mn-ea"/>
                <a:cs typeface="+mn-cs"/>
              </a:rPr>
              <a:t>Savings based on</a:t>
            </a:r>
            <a:r>
              <a:rPr kumimoji="0" lang="en-US" sz="900" b="0" i="0" u="none" strike="noStrike" kern="0" cap="none" spc="0" normalizeH="0" baseline="0" noProof="0" dirty="0">
                <a:ln>
                  <a:noFill/>
                </a:ln>
                <a:solidFill>
                  <a:srgbClr val="1A1A1A"/>
                </a:solidFill>
                <a:effectLst/>
                <a:uLnTx/>
                <a:uFillTx/>
                <a:latin typeface="Segoe UI"/>
                <a:ea typeface="+mn-ea"/>
                <a:cs typeface="+mn-cs"/>
              </a:rPr>
              <a:t> publicly available estimated pricing for other vendor solutions and Web Direct/Base Price shown for Microsoft offerings  </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900" b="1" i="0" u="none" strike="noStrike" kern="1200" cap="none" spc="0" normalizeH="0" baseline="30000" noProof="0" dirty="0">
                <a:ln>
                  <a:noFill/>
                </a:ln>
                <a:solidFill>
                  <a:srgbClr val="000000"/>
                </a:solidFill>
                <a:effectLst/>
                <a:uLnTx/>
                <a:uFillTx/>
                <a:latin typeface="Segoe UI" panose="020B0502040204020203" pitchFamily="34" charset="0"/>
                <a:ea typeface="+mn-ea"/>
                <a:cs typeface="+mn-cs"/>
              </a:rPr>
              <a:t>2</a:t>
            </a:r>
            <a:r>
              <a:rPr lang="en-US" sz="900" kern="0" dirty="0">
                <a:solidFill>
                  <a:srgbClr val="1A1A1A"/>
                </a:solidFill>
                <a:latin typeface="Segoe UI"/>
              </a:rPr>
              <a:t> Forrester Consulting, “The Total Economic Impact ™ Of Microsoft Azure Security Center,” June, 2021, commissioned by Microsoft</a:t>
            </a:r>
          </a:p>
        </p:txBody>
      </p:sp>
    </p:spTree>
    <p:extLst>
      <p:ext uri="{BB962C8B-B14F-4D97-AF65-F5344CB8AC3E}">
        <p14:creationId xmlns:p14="http://schemas.microsoft.com/office/powerpoint/2010/main" val="2081475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361DBC00-292E-407A-EA23-F568CF83E286}"/>
              </a:ext>
            </a:extLst>
          </p:cNvPr>
          <p:cNvSpPr>
            <a:spLocks noGrp="1"/>
          </p:cNvSpPr>
          <p:nvPr>
            <p:ph type="title"/>
          </p:nvPr>
        </p:nvSpPr>
        <p:spPr>
          <a:xfrm>
            <a:off x="588263" y="489284"/>
            <a:ext cx="7402763" cy="1107996"/>
          </a:xfrm>
        </p:spPr>
        <p:txBody>
          <a:bodyPr/>
          <a:lstStyle/>
          <a:p>
            <a:r>
              <a:rPr lang="en-US"/>
              <a:t>Getting to the up to 60% savings </a:t>
            </a:r>
            <a:br>
              <a:rPr lang="en-US"/>
            </a:br>
            <a:endParaRPr lang="en-US"/>
          </a:p>
        </p:txBody>
      </p:sp>
      <p:sp>
        <p:nvSpPr>
          <p:cNvPr id="15" name="TextBox 14">
            <a:extLst>
              <a:ext uri="{FF2B5EF4-FFF2-40B4-BE49-F238E27FC236}">
                <a16:creationId xmlns:a16="http://schemas.microsoft.com/office/drawing/2014/main" id="{D4A9C5C2-C1E4-4DC4-8430-B8E15528C97B}"/>
              </a:ext>
            </a:extLst>
          </p:cNvPr>
          <p:cNvSpPr txBox="1"/>
          <p:nvPr/>
        </p:nvSpPr>
        <p:spPr>
          <a:xfrm>
            <a:off x="588263" y="2904622"/>
            <a:ext cx="1244953" cy="302521"/>
          </a:xfrm>
          <a:prstGeom prst="rect">
            <a:avLst/>
          </a:prstGeom>
          <a:noFill/>
        </p:spPr>
        <p:txBody>
          <a:bodyPr wrap="square" lIns="0" tIns="62750" rIns="179285" bIns="44821"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1"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mn-cs"/>
              </a:rPr>
              <a:t>Compliance</a:t>
            </a:r>
          </a:p>
        </p:txBody>
      </p:sp>
      <p:sp>
        <p:nvSpPr>
          <p:cNvPr id="27" name="Rectangle 26">
            <a:extLst>
              <a:ext uri="{FF2B5EF4-FFF2-40B4-BE49-F238E27FC236}">
                <a16:creationId xmlns:a16="http://schemas.microsoft.com/office/drawing/2014/main" id="{24115EA0-7C07-032B-F28C-17D55F59F334}"/>
              </a:ext>
            </a:extLst>
          </p:cNvPr>
          <p:cNvSpPr/>
          <p:nvPr/>
        </p:nvSpPr>
        <p:spPr>
          <a:xfrm>
            <a:off x="1661149" y="2901994"/>
            <a:ext cx="623666" cy="307777"/>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33)</a:t>
            </a:r>
          </a:p>
        </p:txBody>
      </p:sp>
      <p:sp>
        <p:nvSpPr>
          <p:cNvPr id="16" name="TextBox 15">
            <a:extLst>
              <a:ext uri="{FF2B5EF4-FFF2-40B4-BE49-F238E27FC236}">
                <a16:creationId xmlns:a16="http://schemas.microsoft.com/office/drawing/2014/main" id="{597E17C9-15FC-DE9B-A921-030C06968C71}"/>
              </a:ext>
            </a:extLst>
          </p:cNvPr>
          <p:cNvSpPr txBox="1"/>
          <p:nvPr/>
        </p:nvSpPr>
        <p:spPr>
          <a:xfrm>
            <a:off x="588263" y="4202539"/>
            <a:ext cx="1510495" cy="302521"/>
          </a:xfrm>
          <a:prstGeom prst="rect">
            <a:avLst/>
          </a:prstGeom>
          <a:noFill/>
        </p:spPr>
        <p:txBody>
          <a:bodyPr wrap="square" lIns="0" tIns="62750" rIns="179285" bIns="44821"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1"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mn-cs"/>
              </a:rPr>
              <a:t>Security</a:t>
            </a:r>
          </a:p>
        </p:txBody>
      </p:sp>
      <p:sp>
        <p:nvSpPr>
          <p:cNvPr id="26" name="Rectangle 25">
            <a:extLst>
              <a:ext uri="{FF2B5EF4-FFF2-40B4-BE49-F238E27FC236}">
                <a16:creationId xmlns:a16="http://schemas.microsoft.com/office/drawing/2014/main" id="{F0683A1F-9F41-EF77-55F3-FDF3478A6C53}"/>
              </a:ext>
            </a:extLst>
          </p:cNvPr>
          <p:cNvSpPr/>
          <p:nvPr/>
        </p:nvSpPr>
        <p:spPr>
          <a:xfrm>
            <a:off x="1731829" y="4199911"/>
            <a:ext cx="552986" cy="307777"/>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30)</a:t>
            </a:r>
          </a:p>
        </p:txBody>
      </p:sp>
      <p:sp>
        <p:nvSpPr>
          <p:cNvPr id="31" name="TextBox 1">
            <a:extLst>
              <a:ext uri="{FF2B5EF4-FFF2-40B4-BE49-F238E27FC236}">
                <a16:creationId xmlns:a16="http://schemas.microsoft.com/office/drawing/2014/main" id="{05A9116D-0070-4354-81DF-E797B947B3BF}"/>
              </a:ext>
            </a:extLst>
          </p:cNvPr>
          <p:cNvSpPr txBox="1"/>
          <p:nvPr/>
        </p:nvSpPr>
        <p:spPr>
          <a:xfrm flipH="1">
            <a:off x="2576550" y="1890484"/>
            <a:ext cx="3618925" cy="575094"/>
          </a:xfrm>
          <a:prstGeom prst="rect">
            <a:avLst/>
          </a:prstGeom>
        </p:spPr>
        <p:txBody>
          <a:bodyPr wrap="square"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147" normalizeH="0" baseline="0" noProof="0">
                <a:ln>
                  <a:noFill/>
                </a:ln>
                <a:solidFill>
                  <a:srgbClr val="000000"/>
                </a:solidFill>
                <a:effectLst/>
                <a:uLnTx/>
                <a:uFillTx/>
                <a:latin typeface="Segoe UI"/>
                <a:ea typeface="+mn-ea"/>
                <a:cs typeface="Bodoni Std Bold Italic"/>
              </a:rPr>
              <a:t>$63 </a:t>
            </a:r>
            <a:r>
              <a:rPr kumimoji="0" lang="en-US" sz="1176" b="0" i="0" u="none" strike="noStrike" kern="1200" cap="none" spc="0" normalizeH="0" baseline="0" noProof="0">
                <a:ln>
                  <a:noFill/>
                </a:ln>
                <a:solidFill>
                  <a:srgbClr val="000000"/>
                </a:solidFill>
                <a:effectLst/>
                <a:uLnTx/>
                <a:uFillTx/>
                <a:latin typeface="Segoe UI Semibold"/>
                <a:ea typeface="+mn-ea"/>
                <a:cs typeface="+mn-cs"/>
              </a:rPr>
              <a:t>per user</a:t>
            </a:r>
            <a:endParaRPr kumimoji="0" lang="en-US" sz="14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8" name="Group 27" descr="Compliance Management&#10;Search and eDiscovery; Auditing (Advanced)&#10;Insider Risk Management; Access Control Information Protection and Governance&#10;&#10;Identity and Access Management&#10;Intrusion detection, investigation, prevention, and threat intelligence&#10;Email protection Endpoint Protection and Response Cloud Access Security Broker">
            <a:extLst>
              <a:ext uri="{FF2B5EF4-FFF2-40B4-BE49-F238E27FC236}">
                <a16:creationId xmlns:a16="http://schemas.microsoft.com/office/drawing/2014/main" id="{0D1E917C-A664-F97D-7561-51F6DF050F55}"/>
              </a:ext>
            </a:extLst>
          </p:cNvPr>
          <p:cNvGrpSpPr/>
          <p:nvPr/>
        </p:nvGrpSpPr>
        <p:grpSpPr>
          <a:xfrm>
            <a:off x="2573095" y="2586523"/>
            <a:ext cx="3627174" cy="2431561"/>
            <a:chOff x="2573095" y="2627222"/>
            <a:chExt cx="3627174" cy="2431561"/>
          </a:xfrm>
        </p:grpSpPr>
        <p:sp>
          <p:nvSpPr>
            <p:cNvPr id="29" name="Rectangle 28">
              <a:extLst>
                <a:ext uri="{FF2B5EF4-FFF2-40B4-BE49-F238E27FC236}">
                  <a16:creationId xmlns:a16="http://schemas.microsoft.com/office/drawing/2014/main" id="{1B2AFFD7-D8B6-6E29-BE40-965B3F32BA3F}"/>
                </a:ext>
              </a:extLst>
            </p:cNvPr>
            <p:cNvSpPr>
              <a:spLocks/>
            </p:cNvSpPr>
            <p:nvPr/>
          </p:nvSpPr>
          <p:spPr>
            <a:xfrm flipH="1">
              <a:off x="2576551" y="3730214"/>
              <a:ext cx="3623718" cy="1328569"/>
            </a:xfrm>
            <a:prstGeom prst="rect">
              <a:avLst/>
            </a:prstGeom>
            <a:noFill/>
            <a:ln w="28575">
              <a:solidFill>
                <a:schemeClr val="accent3"/>
              </a:solidFill>
            </a:ln>
          </p:spPr>
          <p:txBody>
            <a:bodyPr wrap="square" tIns="91440" bIns="9144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Identity and Access Managemen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Intrusion detection, investigation, prevention,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and threat intelligence</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Email protection</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Endpoint Protection and Response</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Cloud Access Security Broker</a:t>
              </a:r>
            </a:p>
          </p:txBody>
        </p:sp>
        <p:sp>
          <p:nvSpPr>
            <p:cNvPr id="30" name="Rectangle 29">
              <a:extLst>
                <a:ext uri="{FF2B5EF4-FFF2-40B4-BE49-F238E27FC236}">
                  <a16:creationId xmlns:a16="http://schemas.microsoft.com/office/drawing/2014/main" id="{E3A73ABC-A776-8600-ABEE-6DB496FD5F83}"/>
                </a:ext>
              </a:extLst>
            </p:cNvPr>
            <p:cNvSpPr>
              <a:spLocks/>
            </p:cNvSpPr>
            <p:nvPr/>
          </p:nvSpPr>
          <p:spPr>
            <a:xfrm flipH="1">
              <a:off x="2573095" y="2627222"/>
              <a:ext cx="3627174" cy="938719"/>
            </a:xfrm>
            <a:prstGeom prst="rect">
              <a:avLst/>
            </a:prstGeom>
            <a:noFill/>
            <a:ln w="28575">
              <a:solidFill>
                <a:schemeClr val="accent1"/>
              </a:solidFill>
            </a:ln>
          </p:spPr>
          <p:txBody>
            <a:bodyPr wrap="square" tIns="91440" bIns="9144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Compliance Managemen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Search and eDiscovery; Auditing (Advanced)</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Insider Risk Management; Access Control</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Information Protection and Governance</a:t>
              </a:r>
            </a:p>
          </p:txBody>
        </p:sp>
      </p:grpSp>
      <p:sp>
        <p:nvSpPr>
          <p:cNvPr id="50" name="TextBox 1">
            <a:extLst>
              <a:ext uri="{FF2B5EF4-FFF2-40B4-BE49-F238E27FC236}">
                <a16:creationId xmlns:a16="http://schemas.microsoft.com/office/drawing/2014/main" id="{652DDC77-F3E4-3541-CB39-BD3D6CE23120}"/>
              </a:ext>
            </a:extLst>
          </p:cNvPr>
          <p:cNvSpPr txBox="1"/>
          <p:nvPr/>
        </p:nvSpPr>
        <p:spPr>
          <a:xfrm>
            <a:off x="2576549" y="5116010"/>
            <a:ext cx="3618927" cy="290476"/>
          </a:xfrm>
          <a:prstGeom prst="rect">
            <a:avLst/>
          </a:prstGeom>
          <a:solidFill>
            <a:schemeClr val="bg1"/>
          </a:solidFill>
          <a:ln w="12700">
            <a:noFill/>
          </a:ln>
        </p:spPr>
        <p:txBody>
          <a:bodyPr wrap="square" tIns="62750"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Semibold"/>
                <a:ea typeface="+mn-ea"/>
                <a:cs typeface="+mn-cs"/>
              </a:rPr>
              <a:t>Examples of multi-vendor standalones</a:t>
            </a:r>
          </a:p>
        </p:txBody>
      </p:sp>
      <p:sp>
        <p:nvSpPr>
          <p:cNvPr id="48" name="TextBox 1">
            <a:extLst>
              <a:ext uri="{FF2B5EF4-FFF2-40B4-BE49-F238E27FC236}">
                <a16:creationId xmlns:a16="http://schemas.microsoft.com/office/drawing/2014/main" id="{B2C10A8B-ED15-F4E0-AF48-1B61A3E65E34}"/>
              </a:ext>
            </a:extLst>
          </p:cNvPr>
          <p:cNvSpPr txBox="1"/>
          <p:nvPr/>
        </p:nvSpPr>
        <p:spPr>
          <a:xfrm flipH="1">
            <a:off x="6360886" y="2474565"/>
            <a:ext cx="2272750" cy="1146468"/>
          </a:xfrm>
          <a:prstGeom prst="rect">
            <a:avLst/>
          </a:prstGeom>
          <a:noFill/>
        </p:spPr>
        <p:txBody>
          <a:bodyPr wrap="square" tIns="0" bIns="0" rtlCol="0" anchor="ctr">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147" normalizeH="0" baseline="0" noProof="0">
                <a:ln>
                  <a:noFill/>
                </a:ln>
                <a:gradFill>
                  <a:gsLst>
                    <a:gs pos="83000">
                      <a:srgbClr val="000000"/>
                    </a:gs>
                    <a:gs pos="100000">
                      <a:srgbClr val="000000"/>
                    </a:gs>
                  </a:gsLst>
                  <a:lin ang="5400000" scaled="1"/>
                </a:gradFill>
                <a:effectLst/>
                <a:uLnTx/>
                <a:uFillTx/>
                <a:latin typeface="Segoe UI"/>
                <a:ea typeface="+mn-ea"/>
                <a:cs typeface="+mn-cs"/>
              </a:rPr>
              <a:t>$39</a:t>
            </a:r>
            <a:br>
              <a:rPr kumimoji="0" lang="en-US" sz="3137" b="1" i="0" u="none" strike="noStrike" kern="1200" cap="none" spc="-147" normalizeH="0" baseline="0" noProof="0">
                <a:ln>
                  <a:noFill/>
                </a:ln>
                <a:gradFill>
                  <a:gsLst>
                    <a:gs pos="83000">
                      <a:srgbClr val="000000"/>
                    </a:gs>
                    <a:gs pos="100000">
                      <a:srgbClr val="000000"/>
                    </a:gs>
                  </a:gsLst>
                  <a:lin ang="5400000" scaled="1"/>
                </a:gradFill>
                <a:effectLst/>
                <a:uLnTx/>
                <a:uFillTx/>
                <a:latin typeface="Segoe UI"/>
                <a:ea typeface="+mn-ea"/>
                <a:cs typeface="+mn-cs"/>
              </a:rPr>
            </a:br>
            <a:r>
              <a:rPr kumimoji="0" lang="en-US" sz="3137" b="1" i="0" u="none" strike="noStrike" kern="1200" cap="none" spc="-147" normalizeH="0" baseline="0" noProof="0">
                <a:ln>
                  <a:noFill/>
                </a:ln>
                <a:gradFill>
                  <a:gsLst>
                    <a:gs pos="83000">
                      <a:srgbClr val="000000"/>
                    </a:gs>
                    <a:gs pos="100000">
                      <a:srgbClr val="000000"/>
                    </a:gs>
                  </a:gsLst>
                  <a:lin ang="5400000" scaled="1"/>
                </a:gradFill>
                <a:effectLst/>
                <a:uLnTx/>
                <a:uFillTx/>
                <a:latin typeface="Segoe UI"/>
                <a:ea typeface="+mn-ea"/>
                <a:cs typeface="+mn-cs"/>
              </a:rPr>
              <a:t>more </a:t>
            </a:r>
            <a:br>
              <a:rPr kumimoji="0" lang="en-US" sz="3137" b="1" i="0" u="none" strike="noStrike" kern="1200" cap="none" spc="-147" normalizeH="0" baseline="0" noProof="0">
                <a:ln>
                  <a:noFill/>
                </a:ln>
                <a:solidFill>
                  <a:srgbClr val="243A5E"/>
                </a:solidFill>
                <a:effectLst/>
                <a:uLnTx/>
                <a:uFillTx/>
                <a:latin typeface="Segoe UI Semibold"/>
                <a:ea typeface="+mn-ea"/>
                <a:cs typeface="+mn-cs"/>
              </a:rPr>
            </a:br>
            <a:r>
              <a:rPr kumimoji="0" lang="en-US" sz="1176" b="0" i="0" u="none" strike="noStrike" kern="1200" cap="none" spc="0" normalizeH="0" baseline="0" noProof="0">
                <a:ln>
                  <a:noFill/>
                </a:ln>
                <a:solidFill>
                  <a:srgbClr val="000000"/>
                </a:solidFill>
                <a:effectLst/>
                <a:uLnTx/>
                <a:uFillTx/>
                <a:latin typeface="Segoe UI Semibold"/>
                <a:ea typeface="+mn-ea"/>
                <a:cs typeface="+mn-cs"/>
              </a:rPr>
              <a:t>per user</a:t>
            </a:r>
          </a:p>
        </p:txBody>
      </p:sp>
      <p:sp>
        <p:nvSpPr>
          <p:cNvPr id="32" name="TextBox 1">
            <a:extLst>
              <a:ext uri="{FF2B5EF4-FFF2-40B4-BE49-F238E27FC236}">
                <a16:creationId xmlns:a16="http://schemas.microsoft.com/office/drawing/2014/main" id="{01E67AC2-1BB7-A7B9-D693-D7B9EE2A8A3B}"/>
              </a:ext>
            </a:extLst>
          </p:cNvPr>
          <p:cNvSpPr txBox="1"/>
          <p:nvPr/>
        </p:nvSpPr>
        <p:spPr>
          <a:xfrm>
            <a:off x="8463114" y="1555170"/>
            <a:ext cx="2215961" cy="621394"/>
          </a:xfrm>
          <a:prstGeom prst="rect">
            <a:avLst/>
          </a:prstGeom>
        </p:spPr>
        <p:txBody>
          <a:bodyPr wrap="square"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147" normalizeH="0" baseline="0" noProof="0">
                <a:ln>
                  <a:noFill/>
                </a:ln>
                <a:gradFill>
                  <a:gsLst>
                    <a:gs pos="83000">
                      <a:srgbClr val="0078D4"/>
                    </a:gs>
                    <a:gs pos="100000">
                      <a:srgbClr val="0078D4"/>
                    </a:gs>
                  </a:gsLst>
                  <a:lin ang="5400000" scaled="1"/>
                </a:gradFill>
                <a:effectLst/>
                <a:uLnTx/>
                <a:uFillTx/>
                <a:latin typeface="Segoe UI"/>
                <a:ea typeface="+mn-ea"/>
                <a:cs typeface="+mn-cs"/>
              </a:rPr>
              <a:t>$24 </a:t>
            </a:r>
            <a:r>
              <a:rPr kumimoji="0" lang="en-US" sz="1200" b="0" i="0" u="none" strike="noStrike" kern="1200" cap="none" spc="0" normalizeH="0" baseline="0" noProof="0">
                <a:ln>
                  <a:noFill/>
                </a:ln>
                <a:solidFill>
                  <a:srgbClr val="000000"/>
                </a:solidFill>
                <a:effectLst/>
                <a:uLnTx/>
                <a:uFillTx/>
                <a:latin typeface="Segoe UI Semibold"/>
                <a:ea typeface="+mn-ea"/>
                <a:cs typeface="+mn-cs"/>
              </a:rPr>
              <a:t>per user</a:t>
            </a:r>
            <a:endParaRPr kumimoji="0" lang="en-US" sz="12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38" name="Rectangle 37">
            <a:extLst>
              <a:ext uri="{FF2B5EF4-FFF2-40B4-BE49-F238E27FC236}">
                <a16:creationId xmlns:a16="http://schemas.microsoft.com/office/drawing/2014/main" id="{48C8BF5B-45E9-3261-FFDE-0D7C11D5E83A}"/>
              </a:ext>
            </a:extLst>
          </p:cNvPr>
          <p:cNvSpPr/>
          <p:nvPr/>
        </p:nvSpPr>
        <p:spPr>
          <a:xfrm>
            <a:off x="8305807" y="2266649"/>
            <a:ext cx="2530575" cy="539632"/>
          </a:xfrm>
          <a:prstGeom prst="rect">
            <a:avLst/>
          </a:prstGeom>
          <a:noFill/>
          <a:ln w="28575">
            <a:solidFill>
              <a:schemeClr val="accent1"/>
            </a:solidFill>
          </a:ln>
        </p:spPr>
        <p:txBody>
          <a:bodyPr wrap="square" tIns="91440" bIns="9144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Microsoft 365 E5 Compliance </a:t>
            </a:r>
            <a:br>
              <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br>
            <a:r>
              <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add-on to Microsoft 365 E3</a:t>
            </a:r>
          </a:p>
        </p:txBody>
      </p:sp>
      <p:sp>
        <p:nvSpPr>
          <p:cNvPr id="39" name="Rectangle 38">
            <a:extLst>
              <a:ext uri="{FF2B5EF4-FFF2-40B4-BE49-F238E27FC236}">
                <a16:creationId xmlns:a16="http://schemas.microsoft.com/office/drawing/2014/main" id="{9592FF18-CABB-28D3-E4A6-11502AA6CD9F}"/>
              </a:ext>
            </a:extLst>
          </p:cNvPr>
          <p:cNvSpPr/>
          <p:nvPr/>
        </p:nvSpPr>
        <p:spPr>
          <a:xfrm>
            <a:off x="8298676" y="2876256"/>
            <a:ext cx="2530934" cy="539632"/>
          </a:xfrm>
          <a:prstGeom prst="rect">
            <a:avLst/>
          </a:prstGeom>
          <a:noFill/>
          <a:ln w="28575">
            <a:solidFill>
              <a:schemeClr val="accent1"/>
            </a:solidFill>
          </a:ln>
        </p:spPr>
        <p:txBody>
          <a:bodyPr wrap="square" tIns="91440" bIns="9144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Microsoft 365 E5 Security </a:t>
            </a:r>
            <a:br>
              <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br>
            <a:r>
              <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rPr>
              <a:t>add-on to Microsoft 365 E3</a:t>
            </a:r>
          </a:p>
        </p:txBody>
      </p:sp>
      <p:grpSp>
        <p:nvGrpSpPr>
          <p:cNvPr id="33" name="Group 32" descr="Full suite Microsoft 365">
            <a:extLst>
              <a:ext uri="{FF2B5EF4-FFF2-40B4-BE49-F238E27FC236}">
                <a16:creationId xmlns:a16="http://schemas.microsoft.com/office/drawing/2014/main" id="{8B8264A0-8768-782F-872E-F579A9185569}"/>
              </a:ext>
            </a:extLst>
          </p:cNvPr>
          <p:cNvGrpSpPr/>
          <p:nvPr/>
        </p:nvGrpSpPr>
        <p:grpSpPr>
          <a:xfrm>
            <a:off x="8302042" y="3485862"/>
            <a:ext cx="2530934" cy="968285"/>
            <a:chOff x="7506738" y="4006950"/>
            <a:chExt cx="2530934" cy="911223"/>
          </a:xfrm>
        </p:grpSpPr>
        <p:pic>
          <p:nvPicPr>
            <p:cNvPr id="34" name="Picture 4" descr="Image result for microsoft 365 logo">
              <a:extLst>
                <a:ext uri="{FF2B5EF4-FFF2-40B4-BE49-F238E27FC236}">
                  <a16:creationId xmlns:a16="http://schemas.microsoft.com/office/drawing/2014/main" id="{4371229C-A13C-EF2B-7781-F31D9119AD5C}"/>
                </a:ext>
              </a:extLst>
            </p:cNvPr>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7937930" y="4267736"/>
              <a:ext cx="1668551" cy="619489"/>
            </a:xfrm>
            <a:prstGeom prst="rect">
              <a:avLst/>
            </a:prstGeom>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FD564823-1440-01F9-2B5D-E7970044484B}"/>
                </a:ext>
              </a:extLst>
            </p:cNvPr>
            <p:cNvGrpSpPr/>
            <p:nvPr/>
          </p:nvGrpSpPr>
          <p:grpSpPr>
            <a:xfrm>
              <a:off x="7506738" y="4006950"/>
              <a:ext cx="2530934" cy="911223"/>
              <a:chOff x="8915203" y="5296861"/>
              <a:chExt cx="2581685" cy="1273627"/>
            </a:xfrm>
          </p:grpSpPr>
          <p:sp>
            <p:nvSpPr>
              <p:cNvPr id="36" name="TextBox 1">
                <a:extLst>
                  <a:ext uri="{FF2B5EF4-FFF2-40B4-BE49-F238E27FC236}">
                    <a16:creationId xmlns:a16="http://schemas.microsoft.com/office/drawing/2014/main" id="{8A69F13E-56D5-397E-9C2B-D6BF79B6EA9B}"/>
                  </a:ext>
                </a:extLst>
              </p:cNvPr>
              <p:cNvSpPr txBox="1"/>
              <p:nvPr/>
            </p:nvSpPr>
            <p:spPr>
              <a:xfrm>
                <a:off x="8919588" y="5299234"/>
                <a:ext cx="2573866" cy="411200"/>
              </a:xfrm>
              <a:prstGeom prst="rect">
                <a:avLst/>
              </a:prstGeom>
              <a:solidFill>
                <a:srgbClr val="E6E6E6"/>
              </a:solidFill>
              <a:ln w="12700">
                <a:solidFill>
                  <a:srgbClr val="E6E6E6"/>
                </a:solidFill>
              </a:ln>
            </p:spPr>
            <p:txBody>
              <a:bodyPr wrap="square" tIns="62750"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ull suite</a:t>
                </a:r>
              </a:p>
            </p:txBody>
          </p:sp>
          <p:sp>
            <p:nvSpPr>
              <p:cNvPr id="37" name="Rectangle 36">
                <a:extLst>
                  <a:ext uri="{FF2B5EF4-FFF2-40B4-BE49-F238E27FC236}">
                    <a16:creationId xmlns:a16="http://schemas.microsoft.com/office/drawing/2014/main" id="{F90AB629-742D-CF19-425C-FFA44A1378D6}"/>
                  </a:ext>
                </a:extLst>
              </p:cNvPr>
              <p:cNvSpPr/>
              <p:nvPr/>
            </p:nvSpPr>
            <p:spPr bwMode="auto">
              <a:xfrm>
                <a:off x="8915203" y="5296861"/>
                <a:ext cx="2581685" cy="1273627"/>
              </a:xfrm>
              <a:prstGeom prst="rect">
                <a:avLst/>
              </a:prstGeom>
              <a:noFill/>
              <a:ln w="28575">
                <a:solidFill>
                  <a:srgbClr val="D2D2D2"/>
                </a:solidFill>
              </a:ln>
            </p:spPr>
            <p:txBody>
              <a:bodyPr wrap="square" tIns="91440" bIns="9144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05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Semibold"/>
                  <a:ea typeface="+mn-ea"/>
                  <a:cs typeface="Segoe UI Semibold" panose="020B0702040204020203" pitchFamily="34" charset="0"/>
                </a:endParaRPr>
              </a:p>
            </p:txBody>
          </p:sp>
        </p:grpSp>
      </p:grpSp>
      <p:sp>
        <p:nvSpPr>
          <p:cNvPr id="40" name="Left Bracket 39">
            <a:extLst>
              <a:ext uri="{FF2B5EF4-FFF2-40B4-BE49-F238E27FC236}">
                <a16:creationId xmlns:a16="http://schemas.microsoft.com/office/drawing/2014/main" id="{49C7F3DB-52F9-D749-FA0E-CF410D758FEE}"/>
              </a:ext>
              <a:ext uri="{C183D7F6-B498-43B3-948B-1728B52AA6E4}">
                <adec:decorative xmlns:adec="http://schemas.microsoft.com/office/drawing/2017/decorative" val="1"/>
              </a:ext>
            </a:extLst>
          </p:cNvPr>
          <p:cNvSpPr/>
          <p:nvPr/>
        </p:nvSpPr>
        <p:spPr>
          <a:xfrm>
            <a:off x="2385025" y="2583178"/>
            <a:ext cx="90858" cy="945408"/>
          </a:xfrm>
          <a:prstGeom prst="leftBracket">
            <a:avLst/>
          </a:prstGeom>
          <a:ln w="1905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Left Bracket 40">
            <a:extLst>
              <a:ext uri="{FF2B5EF4-FFF2-40B4-BE49-F238E27FC236}">
                <a16:creationId xmlns:a16="http://schemas.microsoft.com/office/drawing/2014/main" id="{ADF75484-3E13-4647-F06A-BBE020580ABB}"/>
              </a:ext>
              <a:ext uri="{C183D7F6-B498-43B3-948B-1728B52AA6E4}">
                <adec:decorative xmlns:adec="http://schemas.microsoft.com/office/drawing/2017/decorative" val="1"/>
              </a:ext>
            </a:extLst>
          </p:cNvPr>
          <p:cNvSpPr/>
          <p:nvPr/>
        </p:nvSpPr>
        <p:spPr>
          <a:xfrm>
            <a:off x="2385025" y="3689515"/>
            <a:ext cx="90858" cy="1328569"/>
          </a:xfrm>
          <a:prstGeom prst="leftBracket">
            <a:avLst/>
          </a:prstGeom>
          <a:ln w="1905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descr="$12">
            <a:extLst>
              <a:ext uri="{FF2B5EF4-FFF2-40B4-BE49-F238E27FC236}">
                <a16:creationId xmlns:a16="http://schemas.microsoft.com/office/drawing/2014/main" id="{EC87C703-1DAD-2EAE-E4D1-359DDA2C14E1}"/>
              </a:ext>
            </a:extLst>
          </p:cNvPr>
          <p:cNvGrpSpPr/>
          <p:nvPr/>
        </p:nvGrpSpPr>
        <p:grpSpPr>
          <a:xfrm>
            <a:off x="10927147" y="2265286"/>
            <a:ext cx="803299" cy="539632"/>
            <a:chOff x="10998399" y="2235098"/>
            <a:chExt cx="803299" cy="539632"/>
          </a:xfrm>
        </p:grpSpPr>
        <p:sp>
          <p:nvSpPr>
            <p:cNvPr id="43" name="Rectangle 42">
              <a:extLst>
                <a:ext uri="{FF2B5EF4-FFF2-40B4-BE49-F238E27FC236}">
                  <a16:creationId xmlns:a16="http://schemas.microsoft.com/office/drawing/2014/main" id="{278D6E61-AF9E-B7EA-795F-84E1CF3A3763}"/>
                </a:ext>
              </a:extLst>
            </p:cNvPr>
            <p:cNvSpPr/>
            <p:nvPr/>
          </p:nvSpPr>
          <p:spPr>
            <a:xfrm flipH="1">
              <a:off x="11194034" y="2352389"/>
              <a:ext cx="607664" cy="307777"/>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12)</a:t>
              </a:r>
            </a:p>
          </p:txBody>
        </p:sp>
        <p:sp>
          <p:nvSpPr>
            <p:cNvPr id="44" name="Left Bracket 43">
              <a:extLst>
                <a:ext uri="{FF2B5EF4-FFF2-40B4-BE49-F238E27FC236}">
                  <a16:creationId xmlns:a16="http://schemas.microsoft.com/office/drawing/2014/main" id="{9EF74583-2522-6763-A358-7DE5D826EAC9}"/>
                </a:ext>
              </a:extLst>
            </p:cNvPr>
            <p:cNvSpPr/>
            <p:nvPr/>
          </p:nvSpPr>
          <p:spPr>
            <a:xfrm flipH="1">
              <a:off x="10998399" y="2235098"/>
              <a:ext cx="90858" cy="539632"/>
            </a:xfrm>
            <a:prstGeom prst="leftBracket">
              <a:avLst/>
            </a:prstGeom>
            <a:ln w="1905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5" name="Group 44" descr="$12">
            <a:extLst>
              <a:ext uri="{FF2B5EF4-FFF2-40B4-BE49-F238E27FC236}">
                <a16:creationId xmlns:a16="http://schemas.microsoft.com/office/drawing/2014/main" id="{1A388407-CA71-12D3-E871-BEE2005AE49A}"/>
              </a:ext>
            </a:extLst>
          </p:cNvPr>
          <p:cNvGrpSpPr/>
          <p:nvPr/>
        </p:nvGrpSpPr>
        <p:grpSpPr>
          <a:xfrm>
            <a:off x="10927147" y="2859091"/>
            <a:ext cx="803299" cy="539632"/>
            <a:chOff x="10998399" y="2798661"/>
            <a:chExt cx="803299" cy="539632"/>
          </a:xfrm>
        </p:grpSpPr>
        <p:sp>
          <p:nvSpPr>
            <p:cNvPr id="46" name="Rectangle 45">
              <a:extLst>
                <a:ext uri="{FF2B5EF4-FFF2-40B4-BE49-F238E27FC236}">
                  <a16:creationId xmlns:a16="http://schemas.microsoft.com/office/drawing/2014/main" id="{AF6EF650-C35D-986B-93DB-63C6043BC8DD}"/>
                </a:ext>
              </a:extLst>
            </p:cNvPr>
            <p:cNvSpPr/>
            <p:nvPr/>
          </p:nvSpPr>
          <p:spPr>
            <a:xfrm flipH="1">
              <a:off x="11194034" y="2914589"/>
              <a:ext cx="607664" cy="307777"/>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12)</a:t>
              </a:r>
            </a:p>
          </p:txBody>
        </p:sp>
        <p:sp>
          <p:nvSpPr>
            <p:cNvPr id="47" name="Left Bracket 46">
              <a:extLst>
                <a:ext uri="{FF2B5EF4-FFF2-40B4-BE49-F238E27FC236}">
                  <a16:creationId xmlns:a16="http://schemas.microsoft.com/office/drawing/2014/main" id="{D606FE92-12BB-034C-6AE1-868854447F6A}"/>
                </a:ext>
              </a:extLst>
            </p:cNvPr>
            <p:cNvSpPr/>
            <p:nvPr/>
          </p:nvSpPr>
          <p:spPr>
            <a:xfrm flipH="1">
              <a:off x="10998399" y="2798661"/>
              <a:ext cx="90858" cy="539632"/>
            </a:xfrm>
            <a:prstGeom prst="leftBracket">
              <a:avLst/>
            </a:prstGeom>
            <a:ln w="1905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49" name="Straight Arrow Connector 48">
            <a:extLst>
              <a:ext uri="{FF2B5EF4-FFF2-40B4-BE49-F238E27FC236}">
                <a16:creationId xmlns:a16="http://schemas.microsoft.com/office/drawing/2014/main" id="{D8EDFCF7-8ECB-B3C9-AE91-1E1E946882F5}"/>
              </a:ext>
              <a:ext uri="{C183D7F6-B498-43B3-948B-1728B52AA6E4}">
                <adec:decorative xmlns:adec="http://schemas.microsoft.com/office/drawing/2017/decorative" val="1"/>
              </a:ext>
            </a:extLst>
          </p:cNvPr>
          <p:cNvCxnSpPr>
            <a:cxnSpLocks/>
          </p:cNvCxnSpPr>
          <p:nvPr/>
        </p:nvCxnSpPr>
        <p:spPr>
          <a:xfrm flipH="1">
            <a:off x="6464276" y="2967845"/>
            <a:ext cx="412896" cy="0"/>
          </a:xfrm>
          <a:prstGeom prst="straightConnector1">
            <a:avLst/>
          </a:prstGeom>
          <a:ln w="38100">
            <a:solidFill>
              <a:schemeClr val="tx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nvGrpSpPr>
          <p:cNvPr id="6" name="Group 5" descr="Up to 60% savings">
            <a:extLst>
              <a:ext uri="{FF2B5EF4-FFF2-40B4-BE49-F238E27FC236}">
                <a16:creationId xmlns:a16="http://schemas.microsoft.com/office/drawing/2014/main" id="{EBF10846-97D1-EC76-EC1B-BAAF6CC84D31}"/>
              </a:ext>
            </a:extLst>
          </p:cNvPr>
          <p:cNvGrpSpPr/>
          <p:nvPr/>
        </p:nvGrpSpPr>
        <p:grpSpPr>
          <a:xfrm>
            <a:off x="7579292" y="4523489"/>
            <a:ext cx="3976474" cy="816377"/>
            <a:chOff x="7426632" y="5152894"/>
            <a:chExt cx="3976474" cy="816377"/>
          </a:xfrm>
        </p:grpSpPr>
        <p:sp>
          <p:nvSpPr>
            <p:cNvPr id="7" name="Rectangle: Rounded Corners 6">
              <a:extLst>
                <a:ext uri="{FF2B5EF4-FFF2-40B4-BE49-F238E27FC236}">
                  <a16:creationId xmlns:a16="http://schemas.microsoft.com/office/drawing/2014/main" id="{434C080C-4CBF-4C8F-7AC5-4100A18B03D9}"/>
                </a:ext>
              </a:extLst>
            </p:cNvPr>
            <p:cNvSpPr/>
            <p:nvPr/>
          </p:nvSpPr>
          <p:spPr bwMode="auto">
            <a:xfrm>
              <a:off x="7426632" y="5169016"/>
              <a:ext cx="3976474" cy="784134"/>
            </a:xfrm>
            <a:prstGeom prst="roundRect">
              <a:avLst>
                <a:gd name="adj" fmla="val 50000"/>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34464" rIns="179285" bIns="13446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0"/>
                </a:spcBef>
                <a:spcAft>
                  <a:spcPts val="1176"/>
                </a:spcAft>
                <a:buClrTx/>
                <a:buSzTx/>
                <a:buFontTx/>
                <a:buNone/>
                <a:tabLst/>
                <a:defRPr/>
              </a:pPr>
              <a:endParaRPr kumimoji="0" lang="en-US" sz="1176" b="0" i="0" u="none" strike="noStrike" kern="1200" cap="none" spc="0" normalizeH="0" baseline="0" noProof="0">
                <a:ln w="3175">
                  <a:noFill/>
                </a:ln>
                <a:gradFill>
                  <a:gsLst>
                    <a:gs pos="0">
                      <a:srgbClr val="0078D4"/>
                    </a:gs>
                    <a:gs pos="100000">
                      <a:srgbClr val="0078D4"/>
                    </a:gs>
                  </a:gsLst>
                  <a:lin ang="5400000" scaled="0"/>
                </a:gradFill>
                <a:effectLst/>
                <a:uLnTx/>
                <a:uFillTx/>
                <a:latin typeface="Segoe UI Semibold"/>
                <a:ea typeface="+mn-ea"/>
                <a:cs typeface="Segoe UI Semilight" panose="020B0402040204020203" pitchFamily="34" charset="0"/>
              </a:endParaRPr>
            </a:p>
          </p:txBody>
        </p:sp>
        <p:grpSp>
          <p:nvGrpSpPr>
            <p:cNvPr id="8" name="Group 7">
              <a:extLst>
                <a:ext uri="{FF2B5EF4-FFF2-40B4-BE49-F238E27FC236}">
                  <a16:creationId xmlns:a16="http://schemas.microsoft.com/office/drawing/2014/main" id="{CEE5F67E-DE5C-436A-4DC5-3B6910B94AA6}"/>
                </a:ext>
              </a:extLst>
            </p:cNvPr>
            <p:cNvGrpSpPr/>
            <p:nvPr/>
          </p:nvGrpSpPr>
          <p:grpSpPr>
            <a:xfrm>
              <a:off x="7838366" y="5152894"/>
              <a:ext cx="3153006" cy="816377"/>
              <a:chOff x="7597018" y="5161744"/>
              <a:chExt cx="3153006" cy="816377"/>
            </a:xfrm>
          </p:grpSpPr>
          <p:sp>
            <p:nvSpPr>
              <p:cNvPr id="9" name="TextBox 1">
                <a:extLst>
                  <a:ext uri="{FF2B5EF4-FFF2-40B4-BE49-F238E27FC236}">
                    <a16:creationId xmlns:a16="http://schemas.microsoft.com/office/drawing/2014/main" id="{648AAB83-1CFA-CB5C-648D-E36CCC6A929F}"/>
                  </a:ext>
                </a:extLst>
              </p:cNvPr>
              <p:cNvSpPr txBox="1"/>
              <p:nvPr/>
            </p:nvSpPr>
            <p:spPr>
              <a:xfrm>
                <a:off x="8302248" y="5161744"/>
                <a:ext cx="1542680" cy="816377"/>
              </a:xfrm>
              <a:prstGeom prst="rect">
                <a:avLst/>
              </a:prstGeom>
            </p:spPr>
            <p:txBody>
              <a:bodyPr wrap="square" rtlCol="0" anchor="ctr">
                <a:spAutoFit/>
              </a:bodyPr>
              <a:lstStyle/>
              <a:p>
                <a:pPr marL="0" marR="0" lvl="0" indent="0" algn="ctr" defTabSz="913709" rtl="0" eaLnBrk="1" fontAlgn="auto" latinLnBrk="0" hangingPunct="1">
                  <a:lnSpc>
                    <a:spcPct val="100000"/>
                  </a:lnSpc>
                  <a:spcBef>
                    <a:spcPts val="0"/>
                  </a:spcBef>
                  <a:spcAft>
                    <a:spcPts val="0"/>
                  </a:spcAft>
                  <a:buClrTx/>
                  <a:buSzTx/>
                  <a:buFontTx/>
                  <a:buNone/>
                  <a:tabLst/>
                  <a:defRPr/>
                </a:pPr>
                <a:r>
                  <a:rPr kumimoji="0" lang="en-US" sz="4705" b="1" i="0" u="none" strike="noStrike" kern="1200" cap="none" spc="-147" normalizeH="0" baseline="0" noProof="0">
                    <a:ln>
                      <a:noFill/>
                    </a:ln>
                    <a:gradFill>
                      <a:gsLst>
                        <a:gs pos="8300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60%</a:t>
                </a:r>
                <a:endParaRPr kumimoji="0" lang="en-US" sz="1961" b="0" i="0" u="none" strike="noStrike" kern="120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mn-cs"/>
                </a:endParaRPr>
              </a:p>
            </p:txBody>
          </p:sp>
          <p:sp>
            <p:nvSpPr>
              <p:cNvPr id="11" name="Rectangle 10">
                <a:extLst>
                  <a:ext uri="{FF2B5EF4-FFF2-40B4-BE49-F238E27FC236}">
                    <a16:creationId xmlns:a16="http://schemas.microsoft.com/office/drawing/2014/main" id="{4AE86775-FB11-E516-1300-282A4AD971B2}"/>
                  </a:ext>
                </a:extLst>
              </p:cNvPr>
              <p:cNvSpPr/>
              <p:nvPr/>
            </p:nvSpPr>
            <p:spPr>
              <a:xfrm>
                <a:off x="9765496" y="5378939"/>
                <a:ext cx="984528" cy="38198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mn-cs"/>
                  </a:rPr>
                  <a:t>savings</a:t>
                </a:r>
                <a:endParaRPr kumimoji="0" lang="en-US" sz="3529" b="0" i="0" u="none" strike="noStrike" kern="1200" cap="none" spc="0" normalizeH="0" baseline="0" noProof="0">
                  <a:ln>
                    <a:noFill/>
                  </a:ln>
                  <a:gradFill>
                    <a:gsLst>
                      <a:gs pos="83000">
                        <a:srgbClr val="FFFFFF"/>
                      </a:gs>
                      <a:gs pos="100000">
                        <a:srgbClr val="FFFFFF"/>
                      </a:gs>
                    </a:gsLst>
                    <a:lin ang="5400000" scaled="1"/>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29CA106B-E050-2F4B-3F2E-8A99834D3AD6}"/>
                  </a:ext>
                </a:extLst>
              </p:cNvPr>
              <p:cNvSpPr/>
              <p:nvPr/>
            </p:nvSpPr>
            <p:spPr>
              <a:xfrm>
                <a:off x="7597018" y="5379829"/>
                <a:ext cx="784663" cy="38020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gradFill>
                      <a:gsLst>
                        <a:gs pos="83000">
                          <a:srgbClr val="FFFFFF"/>
                        </a:gs>
                        <a:gs pos="100000">
                          <a:srgbClr val="FFFFFF"/>
                        </a:gs>
                      </a:gsLst>
                      <a:lin ang="5400000" scaled="1"/>
                    </a:gradFill>
                    <a:effectLst/>
                    <a:uLnTx/>
                    <a:uFillTx/>
                    <a:latin typeface="Segoe UI Semibold"/>
                    <a:ea typeface="+mn-ea"/>
                    <a:cs typeface="+mn-cs"/>
                  </a:rPr>
                  <a:t>Up to</a:t>
                </a:r>
                <a:endParaRPr kumimoji="0" lang="en-US" sz="3529" b="0" i="0" u="none" strike="noStrike" kern="1200" cap="none" spc="0" normalizeH="0" baseline="0" noProof="0">
                  <a:ln>
                    <a:noFill/>
                  </a:ln>
                  <a:gradFill>
                    <a:gsLst>
                      <a:gs pos="83000">
                        <a:srgbClr val="FFFFFF"/>
                      </a:gs>
                      <a:gs pos="100000">
                        <a:srgbClr val="FFFFFF"/>
                      </a:gs>
                    </a:gsLst>
                    <a:lin ang="5400000" scaled="1"/>
                  </a:gradFill>
                  <a:effectLst/>
                  <a:uLnTx/>
                  <a:uFillTx/>
                  <a:latin typeface="Segoe UI"/>
                  <a:ea typeface="+mn-ea"/>
                  <a:cs typeface="+mn-cs"/>
                </a:endParaRPr>
              </a:p>
            </p:txBody>
          </p:sp>
        </p:grpSp>
      </p:grpSp>
      <p:sp>
        <p:nvSpPr>
          <p:cNvPr id="5" name="TextBox 1">
            <a:extLst>
              <a:ext uri="{FF2B5EF4-FFF2-40B4-BE49-F238E27FC236}">
                <a16:creationId xmlns:a16="http://schemas.microsoft.com/office/drawing/2014/main" id="{7C8B9357-060F-A3DE-289E-489681A46E9F}"/>
              </a:ext>
            </a:extLst>
          </p:cNvPr>
          <p:cNvSpPr txBox="1"/>
          <p:nvPr/>
        </p:nvSpPr>
        <p:spPr>
          <a:xfrm>
            <a:off x="524908" y="6137255"/>
            <a:ext cx="11142184" cy="169277"/>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1067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Web Direct/Base Price shown for Microsoft offerings. Multi-vendor prices based on publicly available estimated pricing for other vendor solutions and are illustrative.</a:t>
            </a:r>
          </a:p>
        </p:txBody>
      </p:sp>
    </p:spTree>
    <p:custDataLst>
      <p:tags r:id="rId1"/>
    </p:custDataLst>
    <p:extLst>
      <p:ext uri="{BB962C8B-B14F-4D97-AF65-F5344CB8AC3E}">
        <p14:creationId xmlns:p14="http://schemas.microsoft.com/office/powerpoint/2010/main" val="12908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BC2A-E0AE-6646-B262-332BA5F67435}"/>
              </a:ext>
            </a:extLst>
          </p:cNvPr>
          <p:cNvSpPr>
            <a:spLocks noGrp="1"/>
          </p:cNvSpPr>
          <p:nvPr>
            <p:ph type="title"/>
          </p:nvPr>
        </p:nvSpPr>
        <p:spPr>
          <a:xfrm>
            <a:off x="587326" y="389383"/>
            <a:ext cx="9797349" cy="553998"/>
          </a:xfrm>
        </p:spPr>
        <p:txBody>
          <a:bodyPr/>
          <a:lstStyle/>
          <a:p>
            <a:r>
              <a:rPr lang="en-US" dirty="0"/>
              <a:t>Additional cost savings through vendor consolidation</a:t>
            </a:r>
          </a:p>
        </p:txBody>
      </p:sp>
      <p:sp>
        <p:nvSpPr>
          <p:cNvPr id="6" name="TextBox 5">
            <a:extLst>
              <a:ext uri="{FF2B5EF4-FFF2-40B4-BE49-F238E27FC236}">
                <a16:creationId xmlns:a16="http://schemas.microsoft.com/office/drawing/2014/main" id="{A6C21C10-A591-EF1F-8E53-E9C784533B97}"/>
              </a:ext>
            </a:extLst>
          </p:cNvPr>
          <p:cNvSpPr txBox="1"/>
          <p:nvPr/>
        </p:nvSpPr>
        <p:spPr>
          <a:xfrm>
            <a:off x="505687" y="1523051"/>
            <a:ext cx="6761180"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lang="en-US" sz="1800" b="0" kern="1200" noProof="0" dirty="0">
                <a:gradFill>
                  <a:gsLst>
                    <a:gs pos="1000">
                      <a:schemeClr val="tx1"/>
                    </a:gs>
                    <a:gs pos="99000">
                      <a:schemeClr val="tx1">
                        <a:alpha val="83000"/>
                      </a:schemeClr>
                    </a:gs>
                  </a:gsLst>
                  <a:lin ang="16200000" scaled="1"/>
                </a:gradFill>
                <a:latin typeface="+mj-lt"/>
                <a:ea typeface="+mn-ea"/>
                <a:cs typeface="+mn-cs"/>
              </a:rPr>
              <a:t>Vendor License Cost Consolidation</a:t>
            </a:r>
          </a:p>
        </p:txBody>
      </p:sp>
      <p:graphicFrame>
        <p:nvGraphicFramePr>
          <p:cNvPr id="9" name="Table 9">
            <a:extLst>
              <a:ext uri="{FF2B5EF4-FFF2-40B4-BE49-F238E27FC236}">
                <a16:creationId xmlns:a16="http://schemas.microsoft.com/office/drawing/2014/main" id="{C61F9EBA-1613-4366-AEF5-480683F1F3FC}"/>
              </a:ext>
            </a:extLst>
          </p:cNvPr>
          <p:cNvGraphicFramePr>
            <a:graphicFrameLocks noGrp="1"/>
          </p:cNvGraphicFramePr>
          <p:nvPr>
            <p:extLst>
              <p:ext uri="{D42A27DB-BD31-4B8C-83A1-F6EECF244321}">
                <p14:modId xmlns:p14="http://schemas.microsoft.com/office/powerpoint/2010/main" val="3776726370"/>
              </p:ext>
            </p:extLst>
          </p:nvPr>
        </p:nvGraphicFramePr>
        <p:xfrm>
          <a:off x="587326" y="1892383"/>
          <a:ext cx="8051627" cy="2468279"/>
        </p:xfrm>
        <a:graphic>
          <a:graphicData uri="http://schemas.openxmlformats.org/drawingml/2006/table">
            <a:tbl>
              <a:tblPr firstRow="1" bandRow="1">
                <a:tableStyleId>{5C22544A-7EE6-4342-B048-85BDC9FD1C3A}</a:tableStyleId>
              </a:tblPr>
              <a:tblGrid>
                <a:gridCol w="2573814">
                  <a:extLst>
                    <a:ext uri="{9D8B030D-6E8A-4147-A177-3AD203B41FA5}">
                      <a16:colId xmlns:a16="http://schemas.microsoft.com/office/drawing/2014/main" val="1806426583"/>
                    </a:ext>
                  </a:extLst>
                </a:gridCol>
                <a:gridCol w="5477813">
                  <a:extLst>
                    <a:ext uri="{9D8B030D-6E8A-4147-A177-3AD203B41FA5}">
                      <a16:colId xmlns:a16="http://schemas.microsoft.com/office/drawing/2014/main" val="2114392227"/>
                    </a:ext>
                  </a:extLst>
                </a:gridCol>
              </a:tblGrid>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nn-NO" sz="1200" b="1"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Sentinel, Microsoft 365 Defender, and Microsoft Defender for Cloud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Cost savings of </a:t>
                      </a:r>
                      <a:r>
                        <a:rPr kumimoji="0" lang="en-US" sz="1200" b="0" i="0" u="none" strike="noStrike" kern="1200" cap="none" spc="0" normalizeH="0" baseline="0" dirty="0">
                          <a:ln>
                            <a:noFill/>
                          </a:ln>
                          <a:solidFill>
                            <a:schemeClr val="accent1"/>
                          </a:solidFill>
                          <a:effectLst/>
                          <a:uLnTx/>
                          <a:uFillTx/>
                          <a:latin typeface="+mj-lt"/>
                          <a:ea typeface="+mn-ea"/>
                          <a:cs typeface="Calibri" panose="020F0502020204030204" pitchFamily="34" charset="0"/>
                        </a:rPr>
                        <a:t>$1.6 million </a:t>
                      </a:r>
                      <a:r>
                        <a:rPr kumimoji="0" lang="en-US" sz="1200" b="0" i="0" u="none" strike="noStrike" kern="1200" cap="none" spc="0" normalizeH="0" baseline="0" noProof="0" dirty="0">
                          <a:ln>
                            <a:noFill/>
                          </a:ln>
                          <a:solidFill>
                            <a:srgbClr val="000000"/>
                          </a:solidFill>
                          <a:effectLst/>
                          <a:uLnTx/>
                          <a:uFillTx/>
                          <a:latin typeface="+mn-lt"/>
                          <a:ea typeface="+mn-ea"/>
                          <a:cs typeface="+mn-cs"/>
                        </a:rPr>
                        <a:t>from SIEM and XDR consolidation</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1</a:t>
                      </a:r>
                      <a:endParaRPr kumimoji="0" lang="en-US" sz="1200" b="0" i="0" u="none" strike="noStrike" kern="1200" cap="none" spc="0" normalizeH="0" baseline="0" noProof="0" dirty="0">
                        <a:ln w="3175">
                          <a:noFill/>
                        </a:ln>
                        <a:gradFill>
                          <a:gsLst>
                            <a:gs pos="1000">
                              <a:schemeClr val="accent1"/>
                            </a:gs>
                            <a:gs pos="99000">
                              <a:schemeClr val="accent1"/>
                            </a:gs>
                          </a:gsLst>
                          <a:lin ang="16200000" scaled="1"/>
                        </a:gradFill>
                        <a:effectLst/>
                        <a:uLnTx/>
                        <a:uFillTx/>
                        <a:latin typeface="Segoe UI Semibold"/>
                        <a:ea typeface="+mn-ea"/>
                        <a:cs typeface="Segoe UI Semilight" panose="020B04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523244429"/>
                  </a:ext>
                </a:extLst>
              </a:tr>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w="3175">
                            <a:noFill/>
                          </a:ln>
                          <a:solidFill>
                            <a:schemeClr val="tx1"/>
                          </a:solidFill>
                          <a:effectLst/>
                          <a:uLnTx/>
                          <a:uFillTx/>
                          <a:latin typeface="Segoe UI Semibold"/>
                          <a:ea typeface="+mn-ea"/>
                          <a:cs typeface="Segoe UI Semilight" panose="020B0402040204020203" pitchFamily="34" charset="0"/>
                        </a:rPr>
                        <a:t>Microsoft Purview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Cost savings of </a:t>
                      </a:r>
                      <a:r>
                        <a:rPr kumimoji="0" lang="en-US" sz="1200" b="0" i="0" u="none" strike="noStrike" kern="1200" cap="none" spc="0" normalizeH="0" baseline="0" noProof="0" dirty="0">
                          <a:ln>
                            <a:noFill/>
                          </a:ln>
                          <a:solidFill>
                            <a:schemeClr val="accent1"/>
                          </a:solidFill>
                          <a:effectLst/>
                          <a:uLnTx/>
                          <a:uFillTx/>
                          <a:latin typeface="+mj-lt"/>
                          <a:ea typeface="+mn-ea"/>
                          <a:cs typeface="Calibri" panose="020F0502020204030204" pitchFamily="34" charset="0"/>
                        </a:rPr>
                        <a:t>$2.3 million </a:t>
                      </a:r>
                      <a:r>
                        <a:rPr kumimoji="0" lang="en-US" sz="12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from retiring legacy third-party software</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2</a:t>
                      </a:r>
                      <a:r>
                        <a:rPr kumimoji="0" lang="en-US" sz="12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a:t>
                      </a:r>
                      <a:endParaRPr kumimoji="0" lang="en-US" sz="1200" b="1" i="0" u="none" strike="noStrike" kern="1200" cap="none" spc="0" normalizeH="0" baseline="0" noProof="0" dirty="0">
                        <a:ln w="3175">
                          <a:noFill/>
                        </a:ln>
                        <a:gradFill>
                          <a:gsLst>
                            <a:gs pos="1000">
                              <a:schemeClr val="accent1"/>
                            </a:gs>
                            <a:gs pos="99000">
                              <a:schemeClr val="accent1"/>
                            </a:gs>
                          </a:gsLst>
                          <a:lin ang="16200000" scaled="1"/>
                        </a:gradFill>
                        <a:effectLst/>
                        <a:uLnTx/>
                        <a:uFillTx/>
                        <a:latin typeface="Segoe UI Semibold"/>
                        <a:ea typeface="+mn-ea"/>
                        <a:cs typeface="Segoe UI Semilight" panose="020B04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3147746460"/>
                  </a:ext>
                </a:extLst>
              </a:tr>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bold"/>
                          <a:ea typeface="+mn-ea"/>
                          <a:cs typeface="+mn-cs"/>
                        </a:rPr>
                        <a:t>Microsoft Endpoint Manager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tired endpoint management tools decrease costs by over </a:t>
                      </a:r>
                      <a:r>
                        <a:rPr kumimoji="0" lang="en-US" sz="1200" b="0" i="0" u="none" strike="noStrike" kern="1200" cap="none" spc="0" normalizeH="0" baseline="0" noProof="0">
                          <a:ln>
                            <a:noFill/>
                          </a:ln>
                          <a:solidFill>
                            <a:schemeClr val="accent1"/>
                          </a:solidFill>
                          <a:effectLst/>
                          <a:uLnTx/>
                          <a:uFillTx/>
                          <a:latin typeface="+mj-lt"/>
                          <a:ea typeface="+mn-ea"/>
                          <a:cs typeface="Calibri" panose="020F0502020204030204" pitchFamily="34" charset="0"/>
                        </a:rPr>
                        <a:t>$305,000</a:t>
                      </a:r>
                      <a:r>
                        <a:rPr kumimoji="0" lang="en-US" sz="1200" b="0" i="0" u="none" strike="noStrike" kern="1200" cap="none" spc="0" normalizeH="0" baseline="30000" noProof="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3</a:t>
                      </a:r>
                      <a:endParaRPr kumimoji="0" lang="en-US" sz="1200" b="0" i="0" u="none" strike="noStrike" kern="1200" cap="none" spc="0" normalizeH="0" baseline="0" noProof="0">
                        <a:ln>
                          <a:noFill/>
                        </a:ln>
                        <a:gradFill>
                          <a:gsLst>
                            <a:gs pos="1000">
                              <a:schemeClr val="accent1"/>
                            </a:gs>
                            <a:gs pos="99000">
                              <a:schemeClr val="accent1"/>
                            </a:gs>
                          </a:gsLst>
                          <a:lin ang="16200000" scaled="1"/>
                        </a:gradFill>
                        <a:effectLst/>
                        <a:uLnTx/>
                        <a:uFillTx/>
                        <a:latin typeface="Segoe UI Semibold"/>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2013934948"/>
                  </a:ext>
                </a:extLst>
              </a:tr>
              <a:tr h="4811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w="3175">
                            <a:noFill/>
                          </a:ln>
                          <a:solidFill>
                            <a:schemeClr val="tx1"/>
                          </a:solidFill>
                          <a:effectLst/>
                          <a:uLnTx/>
                          <a:uFillTx/>
                          <a:latin typeface="Segoe UI Semibold"/>
                          <a:ea typeface="+mn-ea"/>
                          <a:cs typeface="Segoe UI Semilight" panose="020B0402040204020203" pitchFamily="34" charset="0"/>
                        </a:rPr>
                        <a:t>Microsoft Sentinel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j-lt"/>
                          <a:ea typeface="+mn-ea"/>
                          <a:cs typeface="+mn-cs"/>
                        </a:rPr>
                        <a:t>48% less expensive </a:t>
                      </a:r>
                      <a:r>
                        <a:rPr kumimoji="0" lang="en-US" sz="1200" b="0" i="0" u="none" strike="noStrike" kern="1200" cap="none" spc="0" normalizeH="0" baseline="0" noProof="0">
                          <a:ln>
                            <a:noFill/>
                          </a:ln>
                          <a:solidFill>
                            <a:srgbClr val="000000"/>
                          </a:solidFill>
                          <a:effectLst/>
                          <a:uLnTx/>
                          <a:uFillTx/>
                          <a:latin typeface="+mn-lt"/>
                          <a:ea typeface="+mn-ea"/>
                          <a:cs typeface="+mn-cs"/>
                        </a:rPr>
                        <a:t>compared to legacy SI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mj-lt"/>
                          <a:ea typeface="+mn-ea"/>
                          <a:cs typeface="+mn-cs"/>
                        </a:rPr>
                        <a:t>201% ROI </a:t>
                      </a:r>
                      <a:r>
                        <a:rPr kumimoji="0" lang="en-US" sz="1200" b="0" i="0" u="none" strike="noStrike" kern="1200" cap="none" spc="0" normalizeH="0" baseline="0" noProof="0">
                          <a:ln>
                            <a:noFill/>
                          </a:ln>
                          <a:solidFill>
                            <a:srgbClr val="000000"/>
                          </a:solidFill>
                          <a:effectLst/>
                          <a:uLnTx/>
                          <a:uFillTx/>
                          <a:latin typeface="+mn-lt"/>
                          <a:ea typeface="+mn-ea"/>
                          <a:cs typeface="+mn-cs"/>
                        </a:rPr>
                        <a:t>over three years</a:t>
                      </a:r>
                      <a:r>
                        <a:rPr kumimoji="0" lang="en-US" sz="1200" b="0" i="0" u="none" strike="noStrike" kern="1200" cap="none" spc="0" normalizeH="0" baseline="30000" noProof="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4</a:t>
                      </a:r>
                      <a:endParaRPr kumimoji="0" lang="en-US" sz="1200" b="0" i="0" u="none" strike="noStrike" kern="1200" cap="none" spc="0" normalizeH="0" baseline="0" noProof="0">
                        <a:ln>
                          <a:noFill/>
                        </a:ln>
                        <a:gradFill>
                          <a:gsLst>
                            <a:gs pos="1000">
                              <a:schemeClr val="accent1"/>
                            </a:gs>
                            <a:gs pos="99000">
                              <a:schemeClr val="accent1"/>
                            </a:gs>
                          </a:gsLst>
                          <a:lin ang="16200000" scaled="1"/>
                        </a:gradFill>
                        <a:effectLst/>
                        <a:uLnTx/>
                        <a:uFillTx/>
                        <a:latin typeface="Segoe UI Semibold"/>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2258518509"/>
                  </a:ext>
                </a:extLst>
              </a:tr>
              <a:tr h="4811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w="3175">
                            <a:noFill/>
                          </a:ln>
                          <a:solidFill>
                            <a:schemeClr val="tx1"/>
                          </a:solidFill>
                          <a:effectLst/>
                          <a:uLnTx/>
                          <a:uFillTx/>
                          <a:latin typeface="Segoe UI Semibold"/>
                          <a:ea typeface="+mn-ea"/>
                          <a:cs typeface="Segoe UI Semilight" panose="020B0402040204020203" pitchFamily="34" charset="0"/>
                        </a:rPr>
                        <a:t>Microsoft Defender ATP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duced costs by sunsetting software and new capability purchase avoidance: </a:t>
                      </a:r>
                      <a:r>
                        <a:rPr kumimoji="0" lang="en-US" sz="1200" b="0" i="0" u="none" strike="noStrike" kern="1200" cap="none" spc="0" normalizeH="0" baseline="0">
                          <a:ln>
                            <a:noFill/>
                          </a:ln>
                          <a:solidFill>
                            <a:schemeClr val="accent1"/>
                          </a:solidFill>
                          <a:effectLst/>
                          <a:uLnTx/>
                          <a:uFillTx/>
                          <a:latin typeface="+mj-lt"/>
                          <a:ea typeface="+mn-ea"/>
                          <a:cs typeface="Calibri" panose="020F0502020204030204" pitchFamily="34" charset="0"/>
                        </a:rPr>
                        <a:t>$2,347,912</a:t>
                      </a:r>
                      <a:r>
                        <a:rPr kumimoji="0" lang="en-US" sz="1200" b="0" i="0" u="none" strike="noStrike" kern="1200" cap="none" spc="0" normalizeH="0" baseline="30000" noProof="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5</a:t>
                      </a:r>
                      <a:endParaRPr kumimoji="0" lang="en-US" sz="1200" b="1" i="0" u="none" strike="noStrike" kern="1200" cap="none" spc="0" normalizeH="0" baseline="0" noProof="0">
                        <a:ln w="3175">
                          <a:noFill/>
                        </a:ln>
                        <a:solidFill>
                          <a:schemeClr val="tx1"/>
                        </a:solidFill>
                        <a:effectLst/>
                        <a:uLnTx/>
                        <a:uFillTx/>
                        <a:latin typeface="Segoe UI Semibold"/>
                        <a:ea typeface="+mn-ea"/>
                        <a:cs typeface="Segoe UI Semilight" panose="020B04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1768391734"/>
                  </a:ext>
                </a:extLst>
              </a:tr>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Security solutions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duced spend from legacy software and infrastructure by over </a:t>
                      </a:r>
                      <a:r>
                        <a:rPr kumimoji="0" lang="en-US" sz="1200" b="0" i="0" u="none" strike="noStrike" kern="1200" cap="none" spc="0" normalizeH="0" baseline="0" dirty="0">
                          <a:ln>
                            <a:noFill/>
                          </a:ln>
                          <a:solidFill>
                            <a:schemeClr val="accent1"/>
                          </a:solidFill>
                          <a:effectLst/>
                          <a:uLnTx/>
                          <a:uFillTx/>
                          <a:latin typeface="+mj-lt"/>
                          <a:ea typeface="+mn-ea"/>
                          <a:cs typeface="Calibri" panose="020F0502020204030204" pitchFamily="34" charset="0"/>
                        </a:rPr>
                        <a:t>$7 million</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6</a:t>
                      </a:r>
                      <a:r>
                        <a:rPr kumimoji="0" lang="en-US" sz="12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 </a:t>
                      </a:r>
                      <a:endParaRPr kumimoji="0" lang="en-US" sz="1200" b="0" i="0" u="none" strike="noStrike" kern="1200" cap="none" spc="0" normalizeH="0" baseline="0" noProof="0" dirty="0">
                        <a:ln>
                          <a:noFill/>
                        </a:ln>
                        <a:solidFill>
                          <a:schemeClr val="tx1"/>
                        </a:solidFill>
                        <a:effectLst/>
                        <a:uLnTx/>
                        <a:uFillTx/>
                        <a:latin typeface="Segoe UI Semibold"/>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701861521"/>
                  </a:ext>
                </a:extLst>
              </a:tr>
            </a:tbl>
          </a:graphicData>
        </a:graphic>
      </p:graphicFrame>
      <p:sp>
        <p:nvSpPr>
          <p:cNvPr id="14" name="Rectangle 13">
            <a:extLst>
              <a:ext uri="{FF2B5EF4-FFF2-40B4-BE49-F238E27FC236}">
                <a16:creationId xmlns:a16="http://schemas.microsoft.com/office/drawing/2014/main" id="{52CB3F4F-C72B-4BEC-78B1-BD7BC1506027}"/>
              </a:ext>
              <a:ext uri="{C183D7F6-B498-43B3-948B-1728B52AA6E4}">
                <adec:decorative xmlns:adec="http://schemas.microsoft.com/office/drawing/2017/decorative" val="1"/>
              </a:ext>
            </a:extLst>
          </p:cNvPr>
          <p:cNvSpPr/>
          <p:nvPr/>
        </p:nvSpPr>
        <p:spPr bwMode="auto">
          <a:xfrm>
            <a:off x="9367935" y="0"/>
            <a:ext cx="283756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24" tIns="145939" rIns="182424" bIns="145939" numCol="1" spcCol="0" rtlCol="0" fromWordArt="0" anchor="t" anchorCtr="0" forceAA="0" compatLnSpc="1">
            <a:prstTxWarp prst="textNoShape">
              <a:avLst/>
            </a:prstTxWarp>
            <a:noAutofit/>
          </a:bodyPr>
          <a:lstStyle/>
          <a:p>
            <a:pPr marL="0" marR="0" lvl="0" indent="0" algn="l" defTabSz="930126" rtl="0" eaLnBrk="1" fontAlgn="base" latinLnBrk="0" hangingPunct="1">
              <a:lnSpc>
                <a:spcPct val="100000"/>
              </a:lnSpc>
              <a:spcBef>
                <a:spcPct val="0"/>
              </a:spcBef>
              <a:spcAft>
                <a:spcPct val="0"/>
              </a:spcAft>
              <a:buClrTx/>
              <a:buSzTx/>
              <a:buFontTx/>
              <a:buNone/>
              <a:tabLst/>
              <a:defRPr/>
            </a:pPr>
            <a:endParaRPr kumimoji="0" lang="en-US" sz="1995" b="0" i="0" u="none" strike="noStrike" kern="1200" cap="none" spc="0" normalizeH="0" baseline="0" noProof="0" err="1">
              <a:ln>
                <a:noFill/>
              </a:ln>
              <a:solidFill>
                <a:srgbClr val="FFFFFF"/>
              </a:solidFill>
              <a:effectLst/>
              <a:uLnTx/>
              <a:uFillTx/>
              <a:latin typeface="Helvetica"/>
              <a:ea typeface="Segoe UI" pitchFamily="34" charset="0"/>
              <a:cs typeface="Segoe UI" pitchFamily="34" charset="0"/>
            </a:endParaRPr>
          </a:p>
        </p:txBody>
      </p:sp>
      <p:sp>
        <p:nvSpPr>
          <p:cNvPr id="11" name="TextBox 10">
            <a:extLst>
              <a:ext uri="{FF2B5EF4-FFF2-40B4-BE49-F238E27FC236}">
                <a16:creationId xmlns:a16="http://schemas.microsoft.com/office/drawing/2014/main" id="{595D1457-E42C-3C86-B129-C01D538B49D4}"/>
              </a:ext>
            </a:extLst>
          </p:cNvPr>
          <p:cNvSpPr txBox="1"/>
          <p:nvPr/>
        </p:nvSpPr>
        <p:spPr>
          <a:xfrm>
            <a:off x="505687" y="4486034"/>
            <a:ext cx="6761180"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300"/>
              </a:spcAft>
              <a:buClrTx/>
              <a:buSzTx/>
              <a:buFontTx/>
              <a:buNone/>
              <a:tabLst/>
              <a:defRPr/>
            </a:pPr>
            <a:r>
              <a:rPr lang="en-US" sz="1800" b="0" kern="1200" noProof="0" dirty="0">
                <a:gradFill>
                  <a:gsLst>
                    <a:gs pos="1000">
                      <a:schemeClr val="tx1"/>
                    </a:gs>
                    <a:gs pos="99000">
                      <a:schemeClr val="tx1">
                        <a:alpha val="83000"/>
                      </a:schemeClr>
                    </a:gs>
                  </a:gsLst>
                  <a:lin ang="16200000" scaled="1"/>
                </a:gradFill>
                <a:latin typeface="+mj-lt"/>
                <a:ea typeface="+mn-ea"/>
                <a:cs typeface="+mn-cs"/>
              </a:rPr>
              <a:t>IT Administration &amp; Deployment Savings</a:t>
            </a:r>
          </a:p>
        </p:txBody>
      </p:sp>
      <p:graphicFrame>
        <p:nvGraphicFramePr>
          <p:cNvPr id="8" name="Table 7">
            <a:extLst>
              <a:ext uri="{FF2B5EF4-FFF2-40B4-BE49-F238E27FC236}">
                <a16:creationId xmlns:a16="http://schemas.microsoft.com/office/drawing/2014/main" id="{43C1A721-A8D7-793F-E1B8-2FBB80A3D8E3}"/>
              </a:ext>
            </a:extLst>
          </p:cNvPr>
          <p:cNvGraphicFramePr>
            <a:graphicFrameLocks noGrp="1"/>
          </p:cNvGraphicFramePr>
          <p:nvPr>
            <p:extLst>
              <p:ext uri="{D42A27DB-BD31-4B8C-83A1-F6EECF244321}">
                <p14:modId xmlns:p14="http://schemas.microsoft.com/office/powerpoint/2010/main" val="200076614"/>
              </p:ext>
            </p:extLst>
          </p:nvPr>
        </p:nvGraphicFramePr>
        <p:xfrm>
          <a:off x="587326" y="4848604"/>
          <a:ext cx="8051627" cy="1034526"/>
        </p:xfrm>
        <a:graphic>
          <a:graphicData uri="http://schemas.openxmlformats.org/drawingml/2006/table">
            <a:tbl>
              <a:tblPr firstRow="1" bandRow="1">
                <a:tableStyleId>{5C22544A-7EE6-4342-B048-85BDC9FD1C3A}</a:tableStyleId>
              </a:tblPr>
              <a:tblGrid>
                <a:gridCol w="2573814">
                  <a:extLst>
                    <a:ext uri="{9D8B030D-6E8A-4147-A177-3AD203B41FA5}">
                      <a16:colId xmlns:a16="http://schemas.microsoft.com/office/drawing/2014/main" val="2079566307"/>
                    </a:ext>
                  </a:extLst>
                </a:gridCol>
                <a:gridCol w="5477813">
                  <a:extLst>
                    <a:ext uri="{9D8B030D-6E8A-4147-A177-3AD203B41FA5}">
                      <a16:colId xmlns:a16="http://schemas.microsoft.com/office/drawing/2014/main" val="310843517"/>
                    </a:ext>
                  </a:extLst>
                </a:gridCol>
              </a:tblGrid>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Endpoint Manager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duced support needs save the organization </a:t>
                      </a:r>
                      <a:r>
                        <a:rPr kumimoji="0" lang="en-US" sz="1200" b="0" i="0" u="none" strike="noStrike" kern="1200" cap="none" spc="0" normalizeH="0" baseline="0" noProof="0" dirty="0">
                          <a:ln>
                            <a:noFill/>
                          </a:ln>
                          <a:solidFill>
                            <a:schemeClr val="accent1"/>
                          </a:solidFill>
                          <a:effectLst/>
                          <a:uLnTx/>
                          <a:uFillTx/>
                          <a:latin typeface="+mj-lt"/>
                          <a:ea typeface="+mn-ea"/>
                          <a:cs typeface="Calibri" panose="020F0502020204030204" pitchFamily="34" charset="0"/>
                        </a:rPr>
                        <a:t>$1.5 million</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3</a:t>
                      </a:r>
                      <a:endParaRPr kumimoji="0" lang="en-US" sz="1200" b="0" i="0" u="none" strike="noStrike" kern="1200" cap="none" spc="0" normalizeH="0" baseline="0" noProof="0" dirty="0">
                        <a:ln w="3175">
                          <a:noFill/>
                        </a:ln>
                        <a:gradFill>
                          <a:gsLst>
                            <a:gs pos="1000">
                              <a:schemeClr val="accent1"/>
                            </a:gs>
                            <a:gs pos="99000">
                              <a:schemeClr val="accent1"/>
                            </a:gs>
                          </a:gsLst>
                          <a:lin ang="16200000" scaled="1"/>
                        </a:gradFill>
                        <a:effectLst/>
                        <a:uLnTx/>
                        <a:uFillTx/>
                        <a:latin typeface="+mn-lt"/>
                        <a:ea typeface="+mn-ea"/>
                        <a:cs typeface="Segoe UI Semilight" panose="020B04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68915106"/>
                  </a:ext>
                </a:extLst>
              </a:tr>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Microsoft Purview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Improved process efficiency valued at </a:t>
                      </a:r>
                      <a:r>
                        <a:rPr kumimoji="0" lang="en-US" sz="1200" b="0" i="0" u="none" strike="noStrike" kern="1200" cap="none" spc="0" normalizeH="0" baseline="0" noProof="0" dirty="0">
                          <a:ln>
                            <a:noFill/>
                          </a:ln>
                          <a:solidFill>
                            <a:schemeClr val="accent1"/>
                          </a:solidFill>
                          <a:effectLst/>
                          <a:uLnTx/>
                          <a:uFillTx/>
                          <a:latin typeface="+mj-lt"/>
                          <a:ea typeface="+mn-ea"/>
                          <a:cs typeface="Calibri" panose="020F0502020204030204" pitchFamily="34" charset="0"/>
                        </a:rPr>
                        <a:t>$3.1 million</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solidFill>
                      <a:schemeClr val="bg1"/>
                    </a:solidFill>
                  </a:tcPr>
                </a:tc>
                <a:extLst>
                  <a:ext uri="{0D108BD9-81ED-4DB2-BD59-A6C34878D82A}">
                    <a16:rowId xmlns:a16="http://schemas.microsoft.com/office/drawing/2014/main" val="1743019498"/>
                  </a:ext>
                </a:extLst>
              </a:tr>
              <a:tr h="2886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Segoe UI Semibold"/>
                          <a:ea typeface="+mn-ea"/>
                          <a:cs typeface="Segoe UI Semilight" panose="020B0402040204020203" pitchFamily="34" charset="0"/>
                        </a:rPr>
                        <a:t>Azure Active Directory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Reduced IAM team effort led to </a:t>
                      </a:r>
                      <a:r>
                        <a:rPr kumimoji="0" lang="en-US" sz="1200" b="0" i="0" u="none" strike="noStrike" kern="1200" cap="none" spc="0" normalizeH="0" baseline="0" dirty="0">
                          <a:ln>
                            <a:noFill/>
                          </a:ln>
                          <a:solidFill>
                            <a:schemeClr val="accent1"/>
                          </a:solidFill>
                          <a:effectLst/>
                          <a:uLnTx/>
                          <a:uFillTx/>
                          <a:latin typeface="+mj-lt"/>
                          <a:ea typeface="+mn-ea"/>
                          <a:cs typeface="Calibri" panose="020F0502020204030204" pitchFamily="34" charset="0"/>
                        </a:rPr>
                        <a:t>$1.2 million </a:t>
                      </a:r>
                      <a:r>
                        <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in annual savings and the </a:t>
                      </a:r>
                      <a:br>
                        <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br>
                      <a:r>
                        <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ability to reallocate headcount to critical, value-adding areas </a:t>
                      </a:r>
                      <a:r>
                        <a:rPr kumimoji="0" lang="en-US" sz="1200" b="0" i="0" u="none" strike="noStrike" kern="1200" cap="none" spc="0" normalizeH="0" baseline="30000" noProof="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rPr>
                        <a:t>7</a:t>
                      </a:r>
                      <a:endParaRPr kumimoji="0" lang="en-US" sz="1200" b="0" i="0" u="none" strike="noStrike" kern="1200" cap="none" spc="0" normalizeH="0" baseline="0" dirty="0">
                        <a:ln>
                          <a:noFill/>
                        </a:ln>
                        <a:gradFill>
                          <a:gsLst>
                            <a:gs pos="1000">
                              <a:schemeClr val="tx1"/>
                            </a:gs>
                            <a:gs pos="99000">
                              <a:schemeClr val="tx1">
                                <a:alpha val="83000"/>
                              </a:schemeClr>
                            </a:gs>
                          </a:gsLst>
                          <a:lin ang="16200000" scaled="1"/>
                        </a:gra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2F2F2"/>
                      </a:solid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528475637"/>
                  </a:ext>
                </a:extLst>
              </a:tr>
            </a:tbl>
          </a:graphicData>
        </a:graphic>
      </p:graphicFrame>
      <p:sp>
        <p:nvSpPr>
          <p:cNvPr id="12" name="Text Placeholder 2">
            <a:extLst>
              <a:ext uri="{FF2B5EF4-FFF2-40B4-BE49-F238E27FC236}">
                <a16:creationId xmlns:a16="http://schemas.microsoft.com/office/drawing/2014/main" id="{89F8942D-3808-2384-ED1C-6872F8C95EF9}"/>
              </a:ext>
            </a:extLst>
          </p:cNvPr>
          <p:cNvSpPr>
            <a:spLocks noGrp="1"/>
          </p:cNvSpPr>
          <p:nvPr>
            <p:ph type="body" sz="quarter" idx="10"/>
          </p:nvPr>
        </p:nvSpPr>
        <p:spPr>
          <a:xfrm>
            <a:off x="748989" y="6094615"/>
            <a:ext cx="8542834" cy="184666"/>
          </a:xfrm>
        </p:spPr>
        <p:txBody>
          <a:bodyPr vert="horz" wrap="square" lIns="0" tIns="0" rIns="0" bIns="0" rtlCol="0">
            <a:spAutoFit/>
          </a:bodyPr>
          <a:lstStyle/>
          <a:p>
            <a:r>
              <a:rPr lang="en-US" sz="1200" dirty="0"/>
              <a:t>Forrester Consulting showed organizations saved substantially by moving to Microsoft Security  </a:t>
            </a:r>
          </a:p>
        </p:txBody>
      </p:sp>
      <p:sp>
        <p:nvSpPr>
          <p:cNvPr id="5" name="TextBox 4">
            <a:extLst>
              <a:ext uri="{FF2B5EF4-FFF2-40B4-BE49-F238E27FC236}">
                <a16:creationId xmlns:a16="http://schemas.microsoft.com/office/drawing/2014/main" id="{FBC1F409-BB7D-6A75-7806-5D01C4CA1BB9}"/>
              </a:ext>
            </a:extLst>
          </p:cNvPr>
          <p:cNvSpPr txBox="1"/>
          <p:nvPr/>
        </p:nvSpPr>
        <p:spPr>
          <a:xfrm>
            <a:off x="9583066" y="1871472"/>
            <a:ext cx="2407298" cy="2614562"/>
          </a:xfrm>
          <a:prstGeom prst="rect">
            <a:avLst/>
          </a:prstGeom>
          <a:noFill/>
        </p:spPr>
        <p:txBody>
          <a:bodyPr wrap="square" lIns="0">
            <a:spAutoFit/>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78D4"/>
                </a:solidFill>
                <a:effectLst/>
                <a:uLnTx/>
                <a:uFillTx/>
                <a:latin typeface="Segoe UI"/>
                <a:ea typeface="Calibri" panose="020F0502020204030204" pitchFamily="34" charset="0"/>
                <a:cs typeface="Times New Roman" panose="02020603050405020304" pitchFamily="18" charset="0"/>
              </a:rPr>
              <a:t>“Security for Wiley is security for our customers. With Azure Active Directory, we saved $1 million a year”</a:t>
            </a:r>
          </a:p>
          <a:p>
            <a:pPr marL="0" marR="0" lvl="0" indent="0" algn="l" defTabSz="914367" rtl="0" eaLnBrk="1" fontAlgn="auto" latinLnBrk="0" hangingPunct="1">
              <a:lnSpc>
                <a:spcPct val="107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78D4"/>
              </a:solidFill>
              <a:effectLst/>
              <a:uLnTx/>
              <a:uFillTx/>
              <a:latin typeface="Segoe UI"/>
              <a:ea typeface="Calibri" panose="020F0502020204030204" pitchFamily="34" charset="0"/>
              <a:cs typeface="Times New Roman" panose="02020603050405020304" pitchFamily="18" charset="0"/>
            </a:endParaRPr>
          </a:p>
          <a:p>
            <a:pPr marL="0" marR="0" lvl="0" indent="4757" algn="l" defTabSz="913144" rtl="0" eaLnBrk="1" fontAlgn="auto" latinLnBrk="0" hangingPunct="1">
              <a:lnSpc>
                <a:spcPct val="100000"/>
              </a:lnSpc>
              <a:spcBef>
                <a:spcPts val="0"/>
              </a:spcBef>
              <a:spcAft>
                <a:spcPts val="0"/>
              </a:spcAft>
              <a:buClrTx/>
              <a:buSzTx/>
              <a:buFontTx/>
              <a:buNone/>
              <a:tabLst/>
              <a:defRPr b="1">
                <a:gradFill flip="none" rotWithShape="1">
                  <a:gsLst>
                    <a:gs pos="0">
                      <a:srgbClr val="282828"/>
                    </a:gs>
                    <a:gs pos="100000">
                      <a:srgbClr val="282828"/>
                    </a:gs>
                  </a:gsLst>
                  <a:lin ang="5400000" scaled="0"/>
                </a:gradFill>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Sean Mack </a:t>
            </a:r>
            <a:endParaRPr kumimoji="0" lang="en-US" sz="1600" b="1" i="0" u="none" strike="noStrike" kern="1200" cap="none" spc="-49" normalizeH="0" baseline="0" noProof="0" dirty="0">
              <a:ln>
                <a:noFill/>
              </a:ln>
              <a:solidFill>
                <a:srgbClr val="0078D4"/>
              </a:solidFill>
              <a:effectLst/>
              <a:uLnTx/>
              <a:uFillTx/>
              <a:latin typeface="Segoe UI Semibold"/>
              <a:ea typeface="Segoe UI"/>
              <a:cs typeface="Segoe UI"/>
              <a:sym typeface="Segoe UI"/>
            </a:endParaRPr>
          </a:p>
          <a:p>
            <a:pPr marL="0" marR="0" lvl="0" indent="4757" algn="l" defTabSz="913144" rtl="0" eaLnBrk="1" fontAlgn="auto" latinLnBrk="0" hangingPunct="1">
              <a:lnSpc>
                <a:spcPct val="100000"/>
              </a:lnSpc>
              <a:spcBef>
                <a:spcPts val="400"/>
              </a:spcBef>
              <a:spcAft>
                <a:spcPts val="0"/>
              </a:spcAft>
              <a:buClrTx/>
              <a:buSzTx/>
              <a:buFontTx/>
              <a:buNone/>
              <a:tabLst/>
              <a:defRPr sz="1300">
                <a:gradFill flip="none" rotWithShape="1">
                  <a:gsLst>
                    <a:gs pos="0">
                      <a:srgbClr val="282828"/>
                    </a:gs>
                    <a:gs pos="100000">
                      <a:srgbClr val="282828"/>
                    </a:gs>
                  </a:gsLst>
                  <a:lin ang="5400000" scaled="0"/>
                </a:gradFill>
              </a:defRPr>
            </a:pPr>
            <a:r>
              <a:rPr kumimoji="0" lang="en-US" sz="1200" b="0" i="0" u="none" strike="noStrike" kern="1200" cap="none" spc="0" normalizeH="0" baseline="0" noProof="0" dirty="0">
                <a:ln>
                  <a:noFill/>
                </a:ln>
                <a:solidFill>
                  <a:srgbClr val="0078D4"/>
                </a:solidFill>
                <a:effectLst/>
                <a:uLnTx/>
                <a:uFillTx/>
                <a:latin typeface="Segoe UI"/>
                <a:ea typeface="+mn-ea"/>
                <a:cs typeface="+mn-cs"/>
              </a:rPr>
              <a:t>CISO and CIO,</a:t>
            </a:r>
            <a:br>
              <a:rPr kumimoji="0" lang="en-US" sz="1200" b="0" i="0" u="none" strike="noStrike" kern="1200" cap="none" spc="0" normalizeH="0" baseline="0" noProof="0" dirty="0">
                <a:ln>
                  <a:noFill/>
                </a:ln>
                <a:solidFill>
                  <a:srgbClr val="0078D4"/>
                </a:solidFill>
                <a:effectLst/>
                <a:uLnTx/>
                <a:uFillTx/>
                <a:latin typeface="Segoe UI"/>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Wiley</a:t>
            </a:r>
          </a:p>
          <a:p>
            <a:pPr marL="0" marR="0" lvl="0" indent="0" algn="l" defTabSz="914367" rtl="0" eaLnBrk="1" fontAlgn="auto" latinLnBrk="0" hangingPunct="1">
              <a:lnSpc>
                <a:spcPct val="107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0078D4"/>
              </a:solidFill>
              <a:effectLst/>
              <a:uLnTx/>
              <a:uFillTx/>
              <a:latin typeface="Segoe UI"/>
              <a:ea typeface="Calibri" panose="020F0502020204030204" pitchFamily="34" charset="0"/>
              <a:cs typeface="Times New Roman" panose="02020603050405020304" pitchFamily="18" charset="0"/>
            </a:endParaRPr>
          </a:p>
        </p:txBody>
      </p:sp>
      <p:pic>
        <p:nvPicPr>
          <p:cNvPr id="16" name="Graphic 15">
            <a:extLst>
              <a:ext uri="{FF2B5EF4-FFF2-40B4-BE49-F238E27FC236}">
                <a16:creationId xmlns:a16="http://schemas.microsoft.com/office/drawing/2014/main" id="{9708BDAF-A763-E35E-35A0-F36E59C1D83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515282" y="6104211"/>
            <a:ext cx="149715" cy="165475"/>
          </a:xfrm>
          <a:prstGeom prst="rect">
            <a:avLst/>
          </a:prstGeom>
        </p:spPr>
      </p:pic>
      <p:pic>
        <p:nvPicPr>
          <p:cNvPr id="18" name="Picture 17">
            <a:extLst>
              <a:ext uri="{FF2B5EF4-FFF2-40B4-BE49-F238E27FC236}">
                <a16:creationId xmlns:a16="http://schemas.microsoft.com/office/drawing/2014/main" id="{03277F34-1A96-F975-079B-AB57FF9EAA0C}"/>
              </a:ext>
              <a:ext uri="{C183D7F6-B498-43B3-948B-1728B52AA6E4}">
                <adec:decorative xmlns:adec="http://schemas.microsoft.com/office/drawing/2017/decorative" val="1"/>
              </a:ext>
            </a:extLst>
          </p:cNvPr>
          <p:cNvPicPr>
            <a:picLocks noChangeAspect="1"/>
          </p:cNvPicPr>
          <p:nvPr/>
        </p:nvPicPr>
        <p:blipFill rotWithShape="1">
          <a:blip r:embed="rId5"/>
          <a:srcRect r="21023" b="23518"/>
          <a:stretch/>
        </p:blipFill>
        <p:spPr>
          <a:xfrm flipV="1">
            <a:off x="10646229" y="-191064"/>
            <a:ext cx="1559268" cy="1640501"/>
          </a:xfrm>
          <a:prstGeom prst="rect">
            <a:avLst/>
          </a:prstGeom>
        </p:spPr>
      </p:pic>
      <p:sp>
        <p:nvSpPr>
          <p:cNvPr id="32" name="TextBox 31">
            <a:extLst>
              <a:ext uri="{FF2B5EF4-FFF2-40B4-BE49-F238E27FC236}">
                <a16:creationId xmlns:a16="http://schemas.microsoft.com/office/drawing/2014/main" id="{D42173E4-F9C7-4D58-991F-C5A5C0B2A788}"/>
              </a:ext>
            </a:extLst>
          </p:cNvPr>
          <p:cNvSpPr txBox="1"/>
          <p:nvPr/>
        </p:nvSpPr>
        <p:spPr>
          <a:xfrm>
            <a:off x="507402" y="6490072"/>
            <a:ext cx="7991543" cy="323165"/>
          </a:xfrm>
          <a:prstGeom prst="rect">
            <a:avLst/>
          </a:prstGeom>
          <a:noFill/>
        </p:spPr>
        <p:txBody>
          <a:bodyPr wrap="square" lIns="0" tIns="0" rIns="0" bIns="0" rtlCol="0" anchor="b" anchorCtr="0">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1</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Microsoft SIEM and XDR”, August 2022, </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commissioned by Microsoft</a:t>
            </a:r>
            <a:endParaRPr kumimoji="0" lang="en-US" sz="7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2</a:t>
            </a:r>
            <a:r>
              <a:rPr kumimoji="0" lang="en-US" sz="700" b="0" i="0" u="none" strike="noStrike" kern="0" cap="none" spc="0" normalizeH="0" baseline="0" noProof="0" dirty="0">
                <a:ln>
                  <a:noFill/>
                </a:ln>
                <a:solidFill>
                  <a:srgbClr val="000000"/>
                </a:solidFill>
                <a:effectLst/>
                <a:uLnTx/>
                <a:uFillTx/>
                <a:latin typeface="Segoe UI"/>
                <a:ea typeface="+mn-ea"/>
                <a:cs typeface="+mn-cs"/>
              </a:rPr>
              <a:t>Forrester Consulting, “The Total Economic Impact</a:t>
            </a:r>
            <a:r>
              <a:rPr kumimoji="0" lang="en-US" sz="700" b="0" i="0" u="none" strike="noStrike" kern="1200" cap="none" spc="0" normalizeH="0" baseline="0" noProof="0" dirty="0">
                <a:ln>
                  <a:noFill/>
                </a:ln>
                <a:solidFill>
                  <a:srgbClr val="000000"/>
                </a:solidFill>
                <a:effectLst/>
                <a:uLnTx/>
                <a:uFillTx/>
                <a:latin typeface="Segoe UI"/>
                <a:ea typeface="+mn-ea"/>
                <a:cs typeface="+mn-cs"/>
              </a:rPr>
              <a:t>™</a:t>
            </a:r>
            <a:r>
              <a:rPr kumimoji="0" lang="en-US" sz="700" b="0" i="0" u="none" strike="noStrike" kern="0" cap="none" spc="0" normalizeH="0" baseline="0" noProof="0" dirty="0">
                <a:ln>
                  <a:noFill/>
                </a:ln>
                <a:solidFill>
                  <a:srgbClr val="000000"/>
                </a:solidFill>
                <a:effectLst/>
                <a:uLnTx/>
                <a:uFillTx/>
                <a:latin typeface="Segoe UI"/>
                <a:ea typeface="+mn-ea"/>
                <a:cs typeface="+mn-cs"/>
              </a:rPr>
              <a:t> Of Microsoft 365 E5 Compliance,” June, 2021,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3</a:t>
            </a:r>
            <a:r>
              <a:rPr kumimoji="0" lang="en-US" sz="700" b="0" i="0" u="none" strike="noStrike" kern="0" cap="none" spc="0" normalizeH="0" baseline="0" noProof="0" dirty="0">
                <a:ln>
                  <a:noFill/>
                </a:ln>
                <a:solidFill>
                  <a:srgbClr val="000000"/>
                </a:solidFill>
                <a:effectLst/>
                <a:uLnTx/>
                <a:uFillTx/>
                <a:latin typeface="Segoe UI"/>
                <a:ea typeface="+mn-ea"/>
                <a:cs typeface="+mn-cs"/>
              </a:rPr>
              <a:t>Forrester Consulting, “The Total Economic Impact</a:t>
            </a:r>
            <a:r>
              <a:rPr kumimoji="0" lang="en-US" sz="700" b="0" i="0" u="none" strike="noStrike" kern="1200" cap="none" spc="0" normalizeH="0" baseline="0" noProof="0" dirty="0">
                <a:ln>
                  <a:noFill/>
                </a:ln>
                <a:solidFill>
                  <a:srgbClr val="000000"/>
                </a:solidFill>
                <a:effectLst/>
                <a:uLnTx/>
                <a:uFillTx/>
                <a:latin typeface="Segoe UI"/>
                <a:ea typeface="+mn-ea"/>
                <a:cs typeface="+mn-cs"/>
              </a:rPr>
              <a:t>™</a:t>
            </a:r>
            <a:r>
              <a:rPr kumimoji="0" lang="en-US" sz="700" b="0" i="0" u="none" strike="noStrike" kern="0" cap="none" spc="0" normalizeH="0" baseline="0" noProof="0" dirty="0">
                <a:ln>
                  <a:noFill/>
                </a:ln>
                <a:solidFill>
                  <a:srgbClr val="000000"/>
                </a:solidFill>
                <a:effectLst/>
                <a:uLnTx/>
                <a:uFillTx/>
                <a:latin typeface="Segoe UI"/>
                <a:ea typeface="+mn-ea"/>
                <a:cs typeface="+mn-cs"/>
              </a:rPr>
              <a:t> Of Microsoft Endpoint Manager,” April 2021, commissioned by Microsoft </a:t>
            </a:r>
          </a:p>
        </p:txBody>
      </p:sp>
      <p:sp>
        <p:nvSpPr>
          <p:cNvPr id="4" name="TextBox 3">
            <a:extLst>
              <a:ext uri="{FF2B5EF4-FFF2-40B4-BE49-F238E27FC236}">
                <a16:creationId xmlns:a16="http://schemas.microsoft.com/office/drawing/2014/main" id="{FF806901-D49C-FC71-FA3F-0EBFC2BE2649}"/>
              </a:ext>
            </a:extLst>
          </p:cNvPr>
          <p:cNvSpPr txBox="1"/>
          <p:nvPr/>
        </p:nvSpPr>
        <p:spPr>
          <a:xfrm>
            <a:off x="6727453" y="6382349"/>
            <a:ext cx="5478043" cy="430888"/>
          </a:xfrm>
          <a:prstGeom prst="rect">
            <a:avLst/>
          </a:prstGeom>
          <a:noFill/>
        </p:spPr>
        <p:txBody>
          <a:bodyPr wrap="square" lIns="0" tIns="0" rIns="0" bIns="0" rtlCol="0" anchor="b" anchorCtr="0">
            <a:spAutoFit/>
          </a:bodyPr>
          <a:lstStyle/>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4</a:t>
            </a:r>
            <a:r>
              <a:rPr kumimoji="0" lang="en-US" sz="700" b="0" i="0" u="none" strike="noStrike" kern="0" cap="none" spc="0" normalizeH="0" baseline="0" noProof="0" dirty="0">
                <a:ln>
                  <a:noFill/>
                </a:ln>
                <a:solidFill>
                  <a:srgbClr val="000000"/>
                </a:solidFill>
                <a:effectLst/>
                <a:uLnTx/>
                <a:uFillTx/>
                <a:latin typeface="Segoe UI"/>
                <a:ea typeface="+mn-ea"/>
                <a:cs typeface="+mn-cs"/>
              </a:rPr>
              <a:t>Forrester Consulting, “The Total Economic Impact</a:t>
            </a:r>
            <a:r>
              <a:rPr kumimoji="0" lang="en-US" sz="700" b="0" i="0" u="none" strike="noStrike" kern="1200" cap="none" spc="0" normalizeH="0" baseline="0" noProof="0" dirty="0">
                <a:ln>
                  <a:noFill/>
                </a:ln>
                <a:solidFill>
                  <a:srgbClr val="000000"/>
                </a:solidFill>
                <a:effectLst/>
                <a:uLnTx/>
                <a:uFillTx/>
                <a:latin typeface="Segoe UI"/>
                <a:ea typeface="+mn-ea"/>
                <a:cs typeface="+mn-cs"/>
              </a:rPr>
              <a:t>™</a:t>
            </a:r>
            <a:r>
              <a:rPr kumimoji="0" lang="en-US" sz="700" b="0" i="0" u="none" strike="noStrike" kern="0" cap="none" spc="0" normalizeH="0" baseline="0" noProof="0" dirty="0">
                <a:ln>
                  <a:noFill/>
                </a:ln>
                <a:solidFill>
                  <a:srgbClr val="000000"/>
                </a:solidFill>
                <a:effectLst/>
                <a:uLnTx/>
                <a:uFillTx/>
                <a:latin typeface="Segoe UI"/>
                <a:ea typeface="+mn-ea"/>
                <a:cs typeface="+mn-cs"/>
              </a:rPr>
              <a:t> Of Microsoft Azure Sentinel,” November, 2020, commissioned by Microsoft </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5</a:t>
            </a:r>
            <a:r>
              <a:rPr kumimoji="0" lang="en-US" sz="700" b="0" i="0" u="none" strike="noStrike" kern="0" cap="none" spc="0" normalizeH="0" baseline="0" noProof="0" dirty="0">
                <a:ln>
                  <a:noFill/>
                </a:ln>
                <a:solidFill>
                  <a:srgbClr val="000000"/>
                </a:soli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Microsoft Defender ATP”,</a:t>
            </a:r>
            <a:r>
              <a:rPr kumimoji="0" lang="en-US" sz="700" b="0" i="0" u="none" strike="noStrike" kern="0" cap="none" spc="0" normalizeH="0" baseline="0" noProof="0" dirty="0">
                <a:ln>
                  <a:noFill/>
                </a:ln>
                <a:solidFill>
                  <a:srgbClr val="000000"/>
                </a:solidFill>
                <a:effectLst/>
                <a:uLnTx/>
                <a:uFillTx/>
                <a:latin typeface="Segoe UI"/>
                <a:ea typeface="+mn-ea"/>
                <a:cs typeface="+mn-cs"/>
              </a:rPr>
              <a:t> April 2019, commissioned by Microsoft</a:t>
            </a: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6</a:t>
            </a:r>
            <a:r>
              <a:rPr kumimoji="0" lang="en-US" sz="700" b="0" i="0" u="none" strike="noStrike" kern="0" cap="none" spc="0" normalizeH="0" baseline="0" noProof="0" dirty="0">
                <a:ln>
                  <a:noFill/>
                </a:ln>
                <a:solidFill>
                  <a:srgbClr val="000000"/>
                </a:solidFill>
                <a:effectLst/>
                <a:uLnTx/>
                <a:uFillTx/>
                <a:latin typeface="Segoe UI"/>
                <a:ea typeface="+mn-ea"/>
                <a:cs typeface="+mn-cs"/>
              </a:rPr>
              <a:t>Forrester Consulting, “</a:t>
            </a:r>
            <a:r>
              <a:rPr kumimoji="0" lang="en-US" sz="700" b="0" i="0" u="none" strike="noStrike" kern="1200" cap="none" spc="0" normalizeH="0" baseline="0" noProof="0" dirty="0">
                <a:ln>
                  <a:noFill/>
                </a:ln>
                <a:solidFill>
                  <a:srgbClr val="000000"/>
                </a:solidFill>
                <a:effectLst/>
                <a:uLnTx/>
                <a:uFillTx/>
                <a:latin typeface="Segoe UI"/>
                <a:ea typeface="+mn-ea"/>
                <a:cs typeface="+mn-cs"/>
              </a:rPr>
              <a:t>The Total Economic Impact™ Of Zero Trust Solutions From Microsoft”, </a:t>
            </a:r>
            <a:r>
              <a:rPr kumimoji="0" lang="en-US" sz="700" b="0" i="0" u="none" strike="noStrike" kern="0" cap="none" spc="0" normalizeH="0" baseline="0" noProof="0" dirty="0">
                <a:ln>
                  <a:noFill/>
                </a:ln>
                <a:solidFill>
                  <a:srgbClr val="000000"/>
                </a:solidFill>
                <a:effectLst/>
                <a:uLnTx/>
                <a:uFillTx/>
                <a:latin typeface="Segoe UI"/>
                <a:ea typeface="+mn-ea"/>
                <a:cs typeface="+mn-cs"/>
              </a:rPr>
              <a:t>December 2021, commissioned by Microsoft</a:t>
            </a:r>
            <a:endParaRPr kumimoji="0" lang="en-US" sz="6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endParaRPr>
          </a:p>
          <a:p>
            <a:pPr marL="0" marR="0" lvl="0" indent="0" algn="l" defTabSz="71054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30000" noProof="0" dirty="0">
                <a:ln>
                  <a:noFill/>
                </a:ln>
                <a:solidFill>
                  <a:srgbClr val="000000"/>
                </a:solidFill>
                <a:effectLst/>
                <a:uLnTx/>
                <a:uFillTx/>
                <a:latin typeface="Segoe UI"/>
                <a:ea typeface="+mn-ea"/>
                <a:cs typeface="+mn-cs"/>
              </a:rPr>
              <a:t>7</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Forrester Consulting, “The Total Economic Impact</a:t>
            </a:r>
            <a:r>
              <a:rPr kumimoji="0" lang="en-US" sz="700" b="0" i="0" u="none" strike="noStrike" kern="1200" cap="none" spc="0" normalizeH="0" baseline="0" noProof="0" dirty="0">
                <a:ln>
                  <a:noFill/>
                </a:ln>
                <a:solidFill>
                  <a:srgbClr val="000000"/>
                </a:solidFill>
                <a:effectLst/>
                <a:uLnTx/>
                <a:uFillTx/>
                <a:latin typeface="Segoe UI"/>
                <a:ea typeface="+mn-ea"/>
                <a:cs typeface="+mn-cs"/>
              </a:rPr>
              <a:t>™</a:t>
            </a:r>
            <a:r>
              <a:rPr kumimoji="0" lang="en-US" sz="700" b="0" i="0" u="none" strike="noStrike" kern="0" cap="none" spc="0" normalizeH="0" baseline="0" noProof="0" dirty="0">
                <a:ln>
                  <a:noFill/>
                </a:ln>
                <a:gradFill>
                  <a:gsLst>
                    <a:gs pos="83000">
                      <a:srgbClr val="282828"/>
                    </a:gs>
                    <a:gs pos="100000">
                      <a:srgbClr val="282828"/>
                    </a:gs>
                  </a:gsLst>
                  <a:lin ang="5400000" scaled="1"/>
                </a:gradFill>
                <a:effectLst/>
                <a:uLnTx/>
                <a:uFillTx/>
                <a:latin typeface="Segoe UI"/>
                <a:ea typeface="+mn-ea"/>
                <a:cs typeface="+mn-cs"/>
              </a:rPr>
              <a:t> Of Microsoft Azure Active Directory,” August, 2020, commissioned by Microsoft </a:t>
            </a:r>
          </a:p>
        </p:txBody>
      </p:sp>
    </p:spTree>
    <p:extLst>
      <p:ext uri="{BB962C8B-B14F-4D97-AF65-F5344CB8AC3E}">
        <p14:creationId xmlns:p14="http://schemas.microsoft.com/office/powerpoint/2010/main" val="320869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7852D-91C3-3C71-6885-2EA275A420CA}"/>
              </a:ext>
              <a:ext uri="{C183D7F6-B498-43B3-948B-1728B52AA6E4}">
                <adec:decorative xmlns:adec="http://schemas.microsoft.com/office/drawing/2017/decorative" val="1"/>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dirty="0"/>
              <a:t>.  </a:t>
            </a:r>
          </a:p>
        </p:txBody>
      </p:sp>
      <p:grpSp>
        <p:nvGrpSpPr>
          <p:cNvPr id="5" name="Group 4">
            <a:extLst>
              <a:ext uri="{FF2B5EF4-FFF2-40B4-BE49-F238E27FC236}">
                <a16:creationId xmlns:a16="http://schemas.microsoft.com/office/drawing/2014/main" id="{0A4AB8E9-7D59-E3DF-3F9B-89CFC7B16546}"/>
              </a:ext>
              <a:ext uri="{C183D7F6-B498-43B3-948B-1728B52AA6E4}">
                <adec:decorative xmlns:adec="http://schemas.microsoft.com/office/drawing/2017/decorative" val="1"/>
              </a:ext>
            </a:extLst>
          </p:cNvPr>
          <p:cNvGrpSpPr/>
          <p:nvPr/>
        </p:nvGrpSpPr>
        <p:grpSpPr>
          <a:xfrm>
            <a:off x="4454736" y="1254626"/>
            <a:ext cx="6597652" cy="3628523"/>
            <a:chOff x="5172931" y="2452800"/>
            <a:chExt cx="6436457" cy="3164198"/>
          </a:xfrm>
        </p:grpSpPr>
        <p:cxnSp>
          <p:nvCxnSpPr>
            <p:cNvPr id="7" name="Straight Connector 6">
              <a:extLst>
                <a:ext uri="{FF2B5EF4-FFF2-40B4-BE49-F238E27FC236}">
                  <a16:creationId xmlns:a16="http://schemas.microsoft.com/office/drawing/2014/main" id="{B06DFB7D-AE5B-8475-529D-274F5486D1B7}"/>
                </a:ext>
                <a:ext uri="{C183D7F6-B498-43B3-948B-1728B52AA6E4}">
                  <adec:decorative xmlns:adec="http://schemas.microsoft.com/office/drawing/2017/decorative" val="1"/>
                </a:ext>
              </a:extLst>
            </p:cNvPr>
            <p:cNvCxnSpPr>
              <a:cxnSpLocks/>
            </p:cNvCxnSpPr>
            <p:nvPr/>
          </p:nvCxnSpPr>
          <p:spPr>
            <a:xfrm>
              <a:off x="5172931" y="4157079"/>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4A95125-EC9C-BB3F-4E90-3733F5151C5A}"/>
                </a:ext>
                <a:ext uri="{C183D7F6-B498-43B3-948B-1728B52AA6E4}">
                  <adec:decorative xmlns:adec="http://schemas.microsoft.com/office/drawing/2017/decorative" val="1"/>
                </a:ext>
              </a:extLst>
            </p:cNvPr>
            <p:cNvCxnSpPr>
              <a:cxnSpLocks/>
            </p:cNvCxnSpPr>
            <p:nvPr/>
          </p:nvCxnSpPr>
          <p:spPr>
            <a:xfrm>
              <a:off x="5172932" y="5616998"/>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EA284B-7449-B687-4863-940731C4FD8A}"/>
                </a:ext>
                <a:ext uri="{C183D7F6-B498-43B3-948B-1728B52AA6E4}">
                  <adec:decorative xmlns:adec="http://schemas.microsoft.com/office/drawing/2017/decorative" val="1"/>
                </a:ext>
              </a:extLst>
            </p:cNvPr>
            <p:cNvCxnSpPr>
              <a:cxnSpLocks/>
            </p:cNvCxnSpPr>
            <p:nvPr/>
          </p:nvCxnSpPr>
          <p:spPr>
            <a:xfrm>
              <a:off x="5172932" y="2452800"/>
              <a:ext cx="6436456" cy="0"/>
            </a:xfrm>
            <a:prstGeom prst="line">
              <a:avLst/>
            </a:prstGeom>
            <a:ln w="19050">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descr="80% of Organizations interested in vendor consolidation strategy1 &#10;">
            <a:extLst>
              <a:ext uri="{FF2B5EF4-FFF2-40B4-BE49-F238E27FC236}">
                <a16:creationId xmlns:a16="http://schemas.microsoft.com/office/drawing/2014/main" id="{131A80EA-87DD-59B3-5D02-A805492F9D90}"/>
              </a:ext>
            </a:extLst>
          </p:cNvPr>
          <p:cNvGrpSpPr/>
          <p:nvPr/>
        </p:nvGrpSpPr>
        <p:grpSpPr>
          <a:xfrm>
            <a:off x="4448390" y="1411830"/>
            <a:ext cx="2638818" cy="1623045"/>
            <a:chOff x="7699113" y="1917923"/>
            <a:chExt cx="3530850" cy="1623045"/>
          </a:xfrm>
        </p:grpSpPr>
        <p:sp>
          <p:nvSpPr>
            <p:cNvPr id="24" name="TextBox 23">
              <a:extLst>
                <a:ext uri="{FF2B5EF4-FFF2-40B4-BE49-F238E27FC236}">
                  <a16:creationId xmlns:a16="http://schemas.microsoft.com/office/drawing/2014/main" id="{50F90C14-C986-A0CC-E7A2-7E3D46FB4953}"/>
                </a:ext>
              </a:extLst>
            </p:cNvPr>
            <p:cNvSpPr txBox="1"/>
            <p:nvPr/>
          </p:nvSpPr>
          <p:spPr>
            <a:xfrm>
              <a:off x="7707608" y="2709971"/>
              <a:ext cx="3522355" cy="830997"/>
            </a:xfrm>
            <a:prstGeom prst="rect">
              <a:avLst/>
            </a:prstGeom>
            <a:noFill/>
          </p:spPr>
          <p:txBody>
            <a:bodyPr wrap="square" lIns="0">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higher costs when security AI and automation was not fully deployed</a:t>
              </a:r>
              <a:r>
                <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1</a:t>
              </a:r>
            </a:p>
          </p:txBody>
        </p:sp>
        <p:sp>
          <p:nvSpPr>
            <p:cNvPr id="25" name="Rectangle 24">
              <a:extLst>
                <a:ext uri="{FF2B5EF4-FFF2-40B4-BE49-F238E27FC236}">
                  <a16:creationId xmlns:a16="http://schemas.microsoft.com/office/drawing/2014/main" id="{CCD8CB08-AECE-C780-07D2-3E1A7CB10A68}"/>
                </a:ext>
              </a:extLst>
            </p:cNvPr>
            <p:cNvSpPr/>
            <p:nvPr/>
          </p:nvSpPr>
          <p:spPr>
            <a:xfrm>
              <a:off x="7699113" y="1917923"/>
              <a:ext cx="1920044"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107C10"/>
                  </a:solidFill>
                  <a:effectLst/>
                  <a:uLnTx/>
                  <a:uFillTx/>
                  <a:latin typeface="Segoe UI Semibold"/>
                  <a:ea typeface="+mn-ea"/>
                  <a:cs typeface="+mn-cs"/>
                </a:rPr>
                <a:t>80%</a:t>
              </a:r>
            </a:p>
          </p:txBody>
        </p:sp>
      </p:grpSp>
      <p:grpSp>
        <p:nvGrpSpPr>
          <p:cNvPr id="19" name="Group 18" descr="34% of all data breaches are caused by insider threats2 &#10;">
            <a:extLst>
              <a:ext uri="{FF2B5EF4-FFF2-40B4-BE49-F238E27FC236}">
                <a16:creationId xmlns:a16="http://schemas.microsoft.com/office/drawing/2014/main" id="{688FFF28-1099-4E8F-8424-39AB4B626DC6}"/>
              </a:ext>
            </a:extLst>
          </p:cNvPr>
          <p:cNvGrpSpPr/>
          <p:nvPr/>
        </p:nvGrpSpPr>
        <p:grpSpPr>
          <a:xfrm>
            <a:off x="7936126" y="1408929"/>
            <a:ext cx="3522355" cy="1383479"/>
            <a:chOff x="7707608" y="1911267"/>
            <a:chExt cx="3522355" cy="1383479"/>
          </a:xfrm>
        </p:grpSpPr>
        <p:sp>
          <p:nvSpPr>
            <p:cNvPr id="21" name="TextBox 20" descr="&#10;">
              <a:extLst>
                <a:ext uri="{FF2B5EF4-FFF2-40B4-BE49-F238E27FC236}">
                  <a16:creationId xmlns:a16="http://schemas.microsoft.com/office/drawing/2014/main" id="{F528A801-84B2-67A1-9142-BAE0BD7148C7}"/>
                </a:ext>
              </a:extLst>
            </p:cNvPr>
            <p:cNvSpPr txBox="1"/>
            <p:nvPr/>
          </p:nvSpPr>
          <p:spPr>
            <a:xfrm>
              <a:off x="7707608" y="2709971"/>
              <a:ext cx="3522355" cy="584775"/>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of all data breaches are caused by insider </a:t>
              </a: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threats</a:t>
              </a:r>
              <a:r>
                <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2</a:t>
              </a:r>
              <a:r>
                <a:rPr kumimoji="0" lang="en-US" sz="1600"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a:ea typeface="+mn-ea"/>
                  <a:cs typeface="+mn-cs"/>
                </a:rPr>
                <a:t> </a:t>
              </a:r>
              <a:endParaRPr kumimoji="0" lang="en-US" sz="1600" b="0" i="0" u="none" strike="noStrike" kern="1200" cap="none" spc="0" normalizeH="0" baseline="30000" noProof="0" dirty="0">
                <a:ln>
                  <a:noFill/>
                </a:ln>
                <a:gradFill>
                  <a:gsLst>
                    <a:gs pos="83000">
                      <a:srgbClr val="000000"/>
                    </a:gs>
                    <a:gs pos="100000">
                      <a:srgbClr val="000000"/>
                    </a:gs>
                  </a:gsLst>
                  <a:lin ang="5400000" scaled="1"/>
                </a:gradFill>
                <a:effectLst/>
                <a:uLnTx/>
                <a:uFillTx/>
                <a:latin typeface="Segoe UI"/>
                <a:ea typeface="+mn-ea"/>
                <a:cs typeface="+mn-cs"/>
              </a:endParaRPr>
            </a:p>
          </p:txBody>
        </p:sp>
        <p:sp>
          <p:nvSpPr>
            <p:cNvPr id="22" name="Rectangle 21">
              <a:extLst>
                <a:ext uri="{FF2B5EF4-FFF2-40B4-BE49-F238E27FC236}">
                  <a16:creationId xmlns:a16="http://schemas.microsoft.com/office/drawing/2014/main" id="{6B3B8D04-2355-C239-14D0-D4F907B6AD0C}"/>
                </a:ext>
              </a:extLst>
            </p:cNvPr>
            <p:cNvSpPr/>
            <p:nvPr/>
          </p:nvSpPr>
          <p:spPr>
            <a:xfrm>
              <a:off x="7707609" y="1911267"/>
              <a:ext cx="1920044" cy="971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107C10"/>
                  </a:solidFill>
                  <a:effectLst/>
                  <a:uLnTx/>
                  <a:uFillTx/>
                  <a:latin typeface="Segoe UI Semibold"/>
                  <a:ea typeface="+mn-ea"/>
                  <a:cs typeface="+mn-cs"/>
                </a:rPr>
                <a:t>34%</a:t>
              </a:r>
            </a:p>
          </p:txBody>
        </p:sp>
      </p:grpSp>
      <p:grpSp>
        <p:nvGrpSpPr>
          <p:cNvPr id="26" name="Group 25" descr="85% reduction in alert queues due &#10;to Automation.3&#10;">
            <a:extLst>
              <a:ext uri="{FF2B5EF4-FFF2-40B4-BE49-F238E27FC236}">
                <a16:creationId xmlns:a16="http://schemas.microsoft.com/office/drawing/2014/main" id="{F0669A1B-8876-0F5E-29A1-8AFA457F7FA8}"/>
              </a:ext>
              <a:ext uri="{C183D7F6-B498-43B3-948B-1728B52AA6E4}">
                <adec:decorative xmlns:adec="http://schemas.microsoft.com/office/drawing/2017/decorative" val="0"/>
              </a:ext>
            </a:extLst>
          </p:cNvPr>
          <p:cNvGrpSpPr/>
          <p:nvPr/>
        </p:nvGrpSpPr>
        <p:grpSpPr>
          <a:xfrm>
            <a:off x="4349750" y="3387811"/>
            <a:ext cx="3036812" cy="1278766"/>
            <a:chOff x="7946156" y="5304424"/>
            <a:chExt cx="3036812" cy="1278766"/>
          </a:xfrm>
        </p:grpSpPr>
        <p:sp>
          <p:nvSpPr>
            <p:cNvPr id="27" name="TextBox 26">
              <a:extLst>
                <a:ext uri="{FF2B5EF4-FFF2-40B4-BE49-F238E27FC236}">
                  <a16:creationId xmlns:a16="http://schemas.microsoft.com/office/drawing/2014/main" id="{533F2586-4418-AE21-21EF-2447D55242CA}"/>
                </a:ext>
              </a:extLst>
            </p:cNvPr>
            <p:cNvSpPr txBox="1"/>
            <p:nvPr/>
          </p:nvSpPr>
          <p:spPr>
            <a:xfrm>
              <a:off x="7955682" y="5998415"/>
              <a:ext cx="302728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Segoe UI"/>
                  <a:ea typeface="+mn-ea"/>
                  <a:cs typeface="Segoe UI Semibold" panose="020B0502040204020203" pitchFamily="34" charset="0"/>
                </a:rPr>
                <a:t>reduction in alert queues due </a:t>
              </a:r>
              <a:br>
                <a:rPr kumimoji="0" lang="en-US" sz="1600" b="0" i="0" u="none" strike="noStrike" kern="1200" cap="none" spc="0" normalizeH="0" baseline="0" noProof="0" dirty="0">
                  <a:ln>
                    <a:noFill/>
                  </a:ln>
                  <a:solidFill>
                    <a:sysClr val="windowText" lastClr="000000"/>
                  </a:solidFill>
                  <a:effectLst/>
                  <a:uLnTx/>
                  <a:uFillTx/>
                  <a:latin typeface="Segoe UI"/>
                  <a:ea typeface="+mn-ea"/>
                  <a:cs typeface="Segoe UI Semibold" panose="020B0502040204020203" pitchFamily="34" charset="0"/>
                </a:rPr>
              </a:br>
              <a:r>
                <a:rPr kumimoji="0" lang="en-US" sz="1600" b="0" i="0" u="none" strike="noStrike" kern="1200" cap="none" spc="0" normalizeH="0" baseline="0" noProof="0" dirty="0">
                  <a:ln>
                    <a:noFill/>
                  </a:ln>
                  <a:solidFill>
                    <a:sysClr val="windowText" lastClr="000000"/>
                  </a:solidFill>
                  <a:effectLst/>
                  <a:uLnTx/>
                  <a:uFillTx/>
                  <a:latin typeface="Segoe UI"/>
                  <a:ea typeface="+mn-ea"/>
                  <a:cs typeface="Segoe UI Semibold" panose="020B0502040204020203" pitchFamily="34" charset="0"/>
                </a:rPr>
                <a:t>to Automation</a:t>
              </a:r>
              <a:r>
                <a:rPr kumimoji="0" lang="en-US" sz="1600" b="0" i="0" u="none" strike="noStrike" kern="1200" cap="none" spc="0" normalizeH="0" baseline="0" noProof="0" dirty="0">
                  <a:ln>
                    <a:noFill/>
                  </a:ln>
                  <a:solidFill>
                    <a:sysClr val="windowText" lastClr="000000"/>
                  </a:solidFill>
                  <a:effectLst/>
                  <a:uLnTx/>
                  <a:uFillTx/>
                  <a:latin typeface="Segoe UI Semibold"/>
                  <a:ea typeface="+mn-ea"/>
                  <a:cs typeface="Segoe UI Semibold" panose="020B0502040204020203" pitchFamily="34" charset="0"/>
                </a:rPr>
                <a:t>.</a:t>
              </a:r>
              <a:r>
                <a:rPr kumimoji="0" lang="en-US" sz="1600" b="0" i="0" u="none" strike="noStrike" kern="1200" cap="none" spc="0" normalizeH="0" baseline="30000" noProof="0" dirty="0">
                  <a:ln>
                    <a:noFill/>
                  </a:ln>
                  <a:solidFill>
                    <a:sysClr val="windowText" lastClr="000000"/>
                  </a:solidFill>
                  <a:effectLst/>
                  <a:uLnTx/>
                  <a:uFillTx/>
                  <a:latin typeface="Segoe UI Semibold"/>
                  <a:ea typeface="+mn-ea"/>
                  <a:cs typeface="Segoe UI Semibold" panose="020B0502040204020203" pitchFamily="34" charset="0"/>
                </a:rPr>
                <a:t>3</a:t>
              </a:r>
            </a:p>
          </p:txBody>
        </p:sp>
        <p:sp>
          <p:nvSpPr>
            <p:cNvPr id="28" name="TextBox 27">
              <a:extLst>
                <a:ext uri="{FF2B5EF4-FFF2-40B4-BE49-F238E27FC236}">
                  <a16:creationId xmlns:a16="http://schemas.microsoft.com/office/drawing/2014/main" id="{2ABFCE98-46E2-8A49-4466-EDA9BFA3DEB7}"/>
                </a:ext>
              </a:extLst>
            </p:cNvPr>
            <p:cNvSpPr txBox="1"/>
            <p:nvPr/>
          </p:nvSpPr>
          <p:spPr>
            <a:xfrm>
              <a:off x="7946156" y="5304424"/>
              <a:ext cx="167907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107C10"/>
                  </a:solidFill>
                  <a:effectLst/>
                  <a:uLnTx/>
                  <a:uFillTx/>
                  <a:latin typeface="Segoe UI Semibold"/>
                  <a:ea typeface="+mn-ea"/>
                  <a:cs typeface="+mn-cs"/>
                </a:rPr>
                <a:t>85%</a:t>
              </a:r>
            </a:p>
          </p:txBody>
        </p:sp>
      </p:grpSp>
      <p:grpSp>
        <p:nvGrpSpPr>
          <p:cNvPr id="12" name="Group 11" descr="$2.3m higher costs for breaches with high level of compliance failure1">
            <a:extLst>
              <a:ext uri="{FF2B5EF4-FFF2-40B4-BE49-F238E27FC236}">
                <a16:creationId xmlns:a16="http://schemas.microsoft.com/office/drawing/2014/main" id="{D4EF2104-A62A-61D0-D7EB-9939939E06C9}"/>
              </a:ext>
            </a:extLst>
          </p:cNvPr>
          <p:cNvGrpSpPr/>
          <p:nvPr/>
        </p:nvGrpSpPr>
        <p:grpSpPr>
          <a:xfrm>
            <a:off x="7809028" y="3451464"/>
            <a:ext cx="3322154" cy="1188150"/>
            <a:chOff x="7094157" y="3245850"/>
            <a:chExt cx="3322154" cy="1188150"/>
          </a:xfrm>
        </p:grpSpPr>
        <p:sp>
          <p:nvSpPr>
            <p:cNvPr id="13" name="Rectangle 12">
              <a:extLst>
                <a:ext uri="{FF2B5EF4-FFF2-40B4-BE49-F238E27FC236}">
                  <a16:creationId xmlns:a16="http://schemas.microsoft.com/office/drawing/2014/main" id="{38E48A05-B612-BAA0-B483-A43B5EE9F86B}"/>
                </a:ext>
              </a:extLst>
            </p:cNvPr>
            <p:cNvSpPr/>
            <p:nvPr/>
          </p:nvSpPr>
          <p:spPr>
            <a:xfrm>
              <a:off x="7094157" y="3245850"/>
              <a:ext cx="1857469" cy="701727"/>
            </a:xfrm>
            <a:prstGeom prst="rect">
              <a:avLst/>
            </a:prstGeom>
          </p:spPr>
          <p:txBody>
            <a:bodyPr wrap="square" lIns="91438" tIns="45718" rIns="91438" bIns="45718">
              <a:spAutoFit/>
            </a:bodyPr>
            <a:lstStyle/>
            <a:p>
              <a:pPr marL="0" marR="0" lvl="3" indent="0" algn="l" defTabSz="950430" rtl="0" eaLnBrk="1" fontAlgn="base" latinLnBrk="0" hangingPunct="1">
                <a:lnSpc>
                  <a:spcPct val="90000"/>
                </a:lnSpc>
                <a:spcBef>
                  <a:spcPts val="1836"/>
                </a:spcBef>
                <a:spcAft>
                  <a:spcPts val="0"/>
                </a:spcAft>
                <a:buClrTx/>
                <a:buSzTx/>
                <a:buFontTx/>
                <a:buNone/>
                <a:tabLst/>
                <a:defRPr/>
              </a:pPr>
              <a:r>
                <a:rPr kumimoji="0" lang="en-US" sz="4400" b="0" i="0" u="none" strike="noStrike" kern="1200" cap="none" spc="-204" normalizeH="0" baseline="0" noProof="0" dirty="0">
                  <a:ln>
                    <a:noFill/>
                  </a:ln>
                  <a:solidFill>
                    <a:srgbClr val="107C10"/>
                  </a:solidFill>
                  <a:effectLst/>
                  <a:uLnTx/>
                  <a:uFillTx/>
                  <a:latin typeface="Segoe UI Semibold"/>
                  <a:ea typeface="ＭＳ Ｐゴシック" charset="0"/>
                  <a:cs typeface="Segoe UI Semibold" panose="020B0702040204020203" pitchFamily="34" charset="0"/>
                </a:rPr>
                <a:t>$2.3m</a:t>
              </a:r>
            </a:p>
          </p:txBody>
        </p:sp>
        <p:sp>
          <p:nvSpPr>
            <p:cNvPr id="14" name="Rectangle 13" descr="&#10;">
              <a:extLst>
                <a:ext uri="{FF2B5EF4-FFF2-40B4-BE49-F238E27FC236}">
                  <a16:creationId xmlns:a16="http://schemas.microsoft.com/office/drawing/2014/main" id="{25ABC8EF-6C33-5969-5765-8B6DF8FD3876}"/>
                </a:ext>
              </a:extLst>
            </p:cNvPr>
            <p:cNvSpPr/>
            <p:nvPr/>
          </p:nvSpPr>
          <p:spPr>
            <a:xfrm>
              <a:off x="7122733" y="3849225"/>
              <a:ext cx="3293578" cy="584775"/>
            </a:xfrm>
            <a:prstGeom prst="rect">
              <a:avLst/>
            </a:prstGeom>
          </p:spPr>
          <p:txBody>
            <a:bodyPr wrap="square">
              <a:spAutoFit/>
            </a:bodyPr>
            <a:lstStyle/>
            <a:p>
              <a:pPr marL="0" marR="0" lvl="0" indent="0" algn="l" defTabSz="932418" rtl="0" eaLnBrk="1" fontAlgn="auto" latinLnBrk="0" hangingPunct="1">
                <a:lnSpc>
                  <a:spcPct val="100000"/>
                </a:lnSpc>
                <a:spcBef>
                  <a:spcPts val="0"/>
                </a:spcBef>
                <a:spcAft>
                  <a:spcPts val="3000"/>
                </a:spcAft>
                <a:buClrTx/>
                <a:buSzTx/>
                <a:buFontTx/>
                <a:buNone/>
                <a:tabLst/>
                <a:defRPr/>
              </a:pPr>
              <a:r>
                <a:rPr kumimoji="0" lang="en-US" sz="1600" b="0" i="0" u="none" strike="noStrike" kern="1200" cap="none" spc="0" normalizeH="0" baseline="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higher costs for breaches with high level of compliance failure</a:t>
              </a:r>
              <a:r>
                <a:rPr kumimoji="0" lang="en-US" sz="1600" b="0" i="0" u="none" strike="noStrike" kern="1200" cap="none" spc="0" normalizeH="0" baseline="30000" noProof="0" dirty="0">
                  <a:ln w="3175">
                    <a:noFill/>
                  </a:ln>
                  <a:gradFill>
                    <a:gsLst>
                      <a:gs pos="0">
                        <a:srgbClr val="282828"/>
                      </a:gs>
                      <a:gs pos="100000">
                        <a:srgbClr val="282828"/>
                      </a:gs>
                    </a:gsLst>
                    <a:lin ang="5400000" scaled="0"/>
                  </a:gradFill>
                  <a:effectLst/>
                  <a:uLnTx/>
                  <a:uFillTx/>
                  <a:latin typeface="Segoe Pro Display" panose="020B0502040504020203" pitchFamily="34" charset="0"/>
                  <a:ea typeface="+mn-ea"/>
                  <a:cs typeface="Segoe UI Semilight" panose="020B0402040204020203" pitchFamily="34" charset="0"/>
                </a:rPr>
                <a:t>1</a:t>
              </a:r>
            </a:p>
          </p:txBody>
        </p:sp>
      </p:grpSp>
      <p:sp>
        <p:nvSpPr>
          <p:cNvPr id="30" name="TextBox 1">
            <a:extLst>
              <a:ext uri="{FF2B5EF4-FFF2-40B4-BE49-F238E27FC236}">
                <a16:creationId xmlns:a16="http://schemas.microsoft.com/office/drawing/2014/main" id="{FEAFFD8A-4D22-2A51-110A-0F95D04235C3}"/>
              </a:ext>
            </a:extLst>
          </p:cNvPr>
          <p:cNvSpPr txBox="1"/>
          <p:nvPr/>
        </p:nvSpPr>
        <p:spPr>
          <a:xfrm>
            <a:off x="4349750" y="6173429"/>
            <a:ext cx="4532378" cy="418576"/>
          </a:xfrm>
          <a:prstGeom prst="rect">
            <a:avLst/>
          </a:prstGeom>
          <a:noFill/>
        </p:spPr>
        <p:txBody>
          <a:bodyPr wrap="square"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1 </a:t>
            </a:r>
            <a:r>
              <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rPr>
              <a:t>Ponemon Institute Cost of Breach Data 2021</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2</a:t>
            </a:r>
            <a:r>
              <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rPr>
              <a:t> </a:t>
            </a:r>
            <a:r>
              <a:rPr kumimoji="0" lang="en-US" sz="800" b="0" i="0" u="none" strike="noStrike" kern="1200" cap="none" spc="0" normalizeH="0" baseline="0" noProof="0" err="1">
                <a:ln>
                  <a:noFill/>
                </a:ln>
                <a:solidFill>
                  <a:srgbClr val="525252"/>
                </a:solidFill>
                <a:effectLst/>
                <a:uLnTx/>
                <a:uFillTx/>
                <a:latin typeface="Segoe UI" panose="020B0502040204020203" pitchFamily="34" charset="0"/>
                <a:ea typeface="+mn-ea"/>
                <a:cs typeface="+mn-cs"/>
              </a:rPr>
              <a:t>Ponemon</a:t>
            </a:r>
            <a:r>
              <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rPr>
              <a:t> Institute Cost of Insider Risk,  2020</a:t>
            </a:r>
          </a:p>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800" b="0" i="0" u="none" strike="noStrike" kern="1200" cap="none" spc="0" normalizeH="0" baseline="30000" noProof="0">
                <a:ln>
                  <a:noFill/>
                </a:ln>
                <a:solidFill>
                  <a:srgbClr val="525252"/>
                </a:solidFill>
                <a:effectLst/>
                <a:uLnTx/>
                <a:uFillTx/>
                <a:latin typeface="Segoe UI" panose="020B0502040204020203" pitchFamily="34" charset="0"/>
                <a:ea typeface="+mn-ea"/>
                <a:cs typeface="+mn-cs"/>
              </a:rPr>
              <a:t>3</a:t>
            </a:r>
            <a:r>
              <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rPr>
              <a:t> </a:t>
            </a:r>
            <a:r>
              <a:rPr kumimoji="0" lang="en-US" sz="800" b="0" i="0" u="none" strike="noStrike" kern="1200" cap="none" spc="0" normalizeH="0" baseline="0" noProof="0">
                <a:ln>
                  <a:noFill/>
                </a:ln>
                <a:solidFill>
                  <a:srgbClr val="525252"/>
                </a:solidFill>
                <a:effectLst/>
                <a:uLnTx/>
                <a:uFillTx/>
                <a:latin typeface="Segoe UI"/>
                <a:ea typeface="+mn-ea"/>
                <a:cs typeface="+mn-cs"/>
              </a:rPr>
              <a:t>The Total Economic Impact of Microsoft 365 E5 from Forrester Consulting. </a:t>
            </a:r>
            <a:endParaRPr kumimoji="0" lang="en-US" sz="800" b="0" i="0" u="none" strike="noStrike" kern="1200" cap="none" spc="0" normalizeH="0" baseline="0" noProof="0">
              <a:ln>
                <a:noFill/>
              </a:ln>
              <a:solidFill>
                <a:srgbClr val="525252"/>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5217835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treamline &amp; Strengthen">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Office Theme">
  <a:themeElements>
    <a:clrScheme name="M365">
      <a:dk1>
        <a:srgbClr val="000000"/>
      </a:dk1>
      <a:lt1>
        <a:srgbClr val="FFFFFF"/>
      </a:lt1>
      <a:dk2>
        <a:srgbClr val="44546A"/>
      </a:dk2>
      <a:lt2>
        <a:srgbClr val="E7E6E6"/>
      </a:lt2>
      <a:accent1>
        <a:srgbClr val="0078D4"/>
      </a:accent1>
      <a:accent2>
        <a:srgbClr val="0078D4"/>
      </a:accent2>
      <a:accent3>
        <a:srgbClr val="0078D4"/>
      </a:accent3>
      <a:accent4>
        <a:srgbClr val="0078D4"/>
      </a:accent4>
      <a:accent5>
        <a:srgbClr val="0078D4"/>
      </a:accent5>
      <a:accent6>
        <a:srgbClr val="0078D4"/>
      </a:accent6>
      <a:hlink>
        <a:srgbClr val="0078D4"/>
      </a:hlink>
      <a:folHlink>
        <a:srgbClr val="C00000"/>
      </a:folHlink>
    </a:clrScheme>
    <a:fontScheme name="MSFT">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8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4.xml><?xml version="1.0" encoding="utf-8"?>
<a:theme xmlns:a="http://schemas.openxmlformats.org/drawingml/2006/main" name="9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7.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bg1"/>
            </a:solidFill>
          </a:defRPr>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8.xml><?xml version="1.0" encoding="utf-8"?>
<a:theme xmlns:a="http://schemas.openxmlformats.org/drawingml/2006/main" name="4_Office Theme">
  <a:themeElements>
    <a:clrScheme name="M365">
      <a:dk1>
        <a:srgbClr val="000000"/>
      </a:dk1>
      <a:lt1>
        <a:srgbClr val="FFFFFF"/>
      </a:lt1>
      <a:dk2>
        <a:srgbClr val="44546A"/>
      </a:dk2>
      <a:lt2>
        <a:srgbClr val="E7E6E6"/>
      </a:lt2>
      <a:accent1>
        <a:srgbClr val="0078D4"/>
      </a:accent1>
      <a:accent2>
        <a:srgbClr val="0078D4"/>
      </a:accent2>
      <a:accent3>
        <a:srgbClr val="0078D4"/>
      </a:accent3>
      <a:accent4>
        <a:srgbClr val="0078D4"/>
      </a:accent4>
      <a:accent5>
        <a:srgbClr val="0078D4"/>
      </a:accent5>
      <a:accent6>
        <a:srgbClr val="0078D4"/>
      </a:accent6>
      <a:hlink>
        <a:srgbClr val="0078D4"/>
      </a:hlink>
      <a:folHlink>
        <a:srgbClr val="C00000"/>
      </a:folHlink>
    </a:clrScheme>
    <a:fontScheme name="MSFT">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4.xml><?xml version="1.0" encoding="utf-8"?>
<a:theme xmlns:a="http://schemas.openxmlformats.org/drawingml/2006/main" name="5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5.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6.xml><?xml version="1.0" encoding="utf-8"?>
<a:theme xmlns:a="http://schemas.openxmlformats.org/drawingml/2006/main" name="6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7.xml><?xml version="1.0" encoding="utf-8"?>
<a:theme xmlns:a="http://schemas.openxmlformats.org/drawingml/2006/main" name="4_2021 Standard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flip="none" rotWithShape="1">
          <a:gsLst>
            <a:gs pos="0">
              <a:srgbClr val="0B79D5"/>
            </a:gs>
            <a:gs pos="100000">
              <a:srgbClr val="4CB1FF"/>
            </a:gs>
          </a:gsLst>
          <a:lin ang="0" scaled="1"/>
          <a:tileRect/>
        </a:gra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2021 Standard template" id="{EC6A8D81-7910-41A3-AAC8-F063E2E88CA7}" vid="{6D34A0C9-284E-4FAF-876B-8942045D6D66}"/>
    </a:ext>
  </a:extLst>
</a:theme>
</file>

<file path=ppt/theme/theme8.xml><?xml version="1.0" encoding="utf-8"?>
<a:theme xmlns:a="http://schemas.openxmlformats.org/drawingml/2006/main" name="1_Streamline &amp; Strengthen">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7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VariableListDefinition name="System" displayName="System" id="b19b6187-f552-48df-9d06-7786d338aa6c" isdomainofvalue="False" dataSourceId="ff3319df-d005-40c2-8aa5-1a065b9acce6"/>
</file>

<file path=customXml/item2.xml><?xml version="1.0" encoding="utf-8"?>
<p:properties xmlns:p="http://schemas.microsoft.com/office/2006/metadata/properties" xmlns:xsi="http://www.w3.org/2001/XMLSchema-instance" xmlns:pc="http://schemas.microsoft.com/office/infopath/2007/PartnerControls">
  <documentManagement>
    <SharedWithUsers xmlns="9194355b-9ee4-492f-a71c-b77c202b3e83">
      <UserInfo>
        <DisplayName>Hye Jun</DisplayName>
        <AccountId>9</AccountId>
        <AccountType/>
      </UserInfo>
      <UserInfo>
        <DisplayName>Madhu Prasha</DisplayName>
        <AccountId>391</AccountId>
        <AccountType/>
      </UserInfo>
      <UserInfo>
        <DisplayName>Maria Mei</DisplayName>
        <AccountId>113</AccountId>
        <AccountType/>
      </UserInfo>
      <UserInfo>
        <DisplayName>Stephanie Harth</DisplayName>
        <AccountId>72</AccountId>
        <AccountType/>
      </UserInfo>
      <UserInfo>
        <DisplayName>Michael Grenetz</DisplayName>
        <AccountId>157</AccountId>
        <AccountType/>
      </UserInfo>
      <UserInfo>
        <DisplayName>Adam Harbour</DisplayName>
        <AccountId>468</AccountId>
        <AccountType/>
      </UserInfo>
      <UserInfo>
        <DisplayName>Ryan McGee</DisplayName>
        <AccountId>131</AccountId>
        <AccountType/>
      </UserInfo>
      <UserInfo>
        <DisplayName>Sandy Mathews</DisplayName>
        <AccountId>81</AccountId>
        <AccountType/>
      </UserInfo>
      <UserInfo>
        <DisplayName>Mark Walton</DisplayName>
        <AccountId>216</AccountId>
        <AccountType/>
      </UserInfo>
    </SharedWithUsers>
    <lcf76f155ced4ddcb4097134ff3c332f xmlns="2a1ed015-0f9e-4369-a070-8f79b3208244">
      <Terms xmlns="http://schemas.microsoft.com/office/infopath/2007/PartnerControls"/>
    </lcf76f155ced4ddcb4097134ff3c332f>
    <TaxCatchAll xmlns="230e9df3-be65-4c73-a93b-d1236ebd677e" xsi:nil="true"/>
    <_ip_UnifiedCompliancePolicyUIAction xmlns="http://schemas.microsoft.com/sharepoint/v3" xsi:nil="true"/>
    <_ip_UnifiedCompliancePolicyProperties xmlns="http://schemas.microsoft.com/sharepoint/v3" xsi:nil="true"/>
    <MediaLengthInSeconds xmlns="2a1ed015-0f9e-4369-a070-8f79b32082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569E0385E63944929F66A2ECF6E2CD" ma:contentTypeVersion="17" ma:contentTypeDescription="Create a new document." ma:contentTypeScope="" ma:versionID="230708b0a785153f9fadf7deb20ae716">
  <xsd:schema xmlns:xsd="http://www.w3.org/2001/XMLSchema" xmlns:xs="http://www.w3.org/2001/XMLSchema" xmlns:p="http://schemas.microsoft.com/office/2006/metadata/properties" xmlns:ns1="http://schemas.microsoft.com/sharepoint/v3" xmlns:ns2="2a1ed015-0f9e-4369-a070-8f79b3208244" xmlns:ns3="9194355b-9ee4-492f-a71c-b77c202b3e83" xmlns:ns4="230e9df3-be65-4c73-a93b-d1236ebd677e" targetNamespace="http://schemas.microsoft.com/office/2006/metadata/properties" ma:root="true" ma:fieldsID="b66343ce0cf66f1107e5332335f67813" ns1:_="" ns2:_="" ns3:_="" ns4:_="">
    <xsd:import namespace="http://schemas.microsoft.com/sharepoint/v3"/>
    <xsd:import namespace="2a1ed015-0f9e-4369-a070-8f79b3208244"/>
    <xsd:import namespace="9194355b-9ee4-492f-a71c-b77c202b3e8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1ed015-0f9e-4369-a070-8f79b32082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194355b-9ee4-492f-a71c-b77c202b3e8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4f6b9846-8ab5-4508-aa20-4e5087c6618d}" ma:internalName="TaxCatchAll" ma:showField="CatchAllData" ma:web="9194355b-9ee4-492f-a71c-b77c202b3e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AllExternalAdhocVariableMappings/>
</file>

<file path=customXml/item5.xml><?xml version="1.0" encoding="utf-8"?>
<VariableList UniqueId="016dec01-e404-477c-af0f-fb045747213c" Name="Computed" ContentType="XML" MajorVersion="0" MinorVersion="1" isLocalCopy="False" IsBaseObject="False" DataSourceId="841565c1-7570-4dc6-ac64-3c7a15c0c7db" DataSourceMajorVersion="0" DataSourceMinorVersion="1"/>
</file>

<file path=customXml/item6.xml><?xml version="1.0" encoding="utf-8"?>
<VariableListDefinition name="Computed" displayName="Computed" id="016dec01-e404-477c-af0f-fb045747213c" isdomainofvalue="False" dataSourceId="841565c1-7570-4dc6-ac64-3c7a15c0c7db"/>
</file>

<file path=customXml/item7.xml><?xml version="1.0" encoding="utf-8"?>
<VariableList UniqueId="7385b3aa-006c-494b-b990-048663197412" Name="AD_HOC" ContentType="XML" MajorVersion="0" MinorVersion="1" isLocalCopy="False" IsBaseObject="False" DataSourceId="cb52370b-f225-4566-a7f0-28cf1354e953" DataSourceMajorVersion="0" DataSourceMinorVersion="1"/>
</file>

<file path=customXml/item8.xml><?xml version="1.0" encoding="utf-8"?>
<VariableList UniqueId="b19b6187-f552-48df-9d06-7786d338aa6c" Name="System" ContentType="XML" MajorVersion="0" MinorVersion="1" isLocalCopy="False" IsBaseObject="False" DataSourceId="ff3319df-d005-40c2-8aa5-1a065b9acce6" DataSourceMajorVersion="0" DataSourceMinorVersion="1"/>
</file>

<file path=customXml/item9.xml><?xml version="1.0" encoding="utf-8"?>
<VariableListDefinition name="AD_HOC" displayName="AD_HOC" id="7385b3aa-006c-494b-b990-048663197412" isdomainofvalue="False" dataSourceId="cb52370b-f225-4566-a7f0-28cf1354e953"/>
</file>

<file path=customXml/itemProps1.xml><?xml version="1.0" encoding="utf-8"?>
<ds:datastoreItem xmlns:ds="http://schemas.openxmlformats.org/officeDocument/2006/customXml" ds:itemID="{8DA69CD6-8407-4C8F-BB69-7DD4DB48ED64}">
  <ds:schemaRefs>
    <ds:schemaRef ds:uri="http://schemas.microsoft.com/sharepoint/v3/contenttype/forms"/>
  </ds:schemaRefs>
</ds:datastoreItem>
</file>

<file path=customXml/itemProps10.xml><?xml version="1.0" encoding="utf-8"?>
<ds:datastoreItem xmlns:ds="http://schemas.openxmlformats.org/officeDocument/2006/customXml" ds:itemID="{50C2C219-1F4D-4B72-B4C9-32D71435ECCC}">
  <ds:schemaRefs/>
</ds:datastoreItem>
</file>

<file path=customXml/itemProps2.xml><?xml version="1.0" encoding="utf-8"?>
<ds:datastoreItem xmlns:ds="http://schemas.openxmlformats.org/officeDocument/2006/customXml" ds:itemID="{8BCC7D1B-72BF-4051-BB39-E723E3DBB198}">
  <ds:schemaRefs>
    <ds:schemaRef ds:uri="http://www.w3.org/XML/1998/namespace"/>
    <ds:schemaRef ds:uri="230e9df3-be65-4c73-a93b-d1236ebd677e"/>
    <ds:schemaRef ds:uri="http://schemas.microsoft.com/office/2006/documentManagement/types"/>
    <ds:schemaRef ds:uri="http://purl.org/dc/dcmitype/"/>
    <ds:schemaRef ds:uri="2a1ed015-0f9e-4369-a070-8f79b3208244"/>
    <ds:schemaRef ds:uri="http://purl.org/dc/elements/1.1/"/>
    <ds:schemaRef ds:uri="http://purl.org/dc/terms/"/>
    <ds:schemaRef ds:uri="http://schemas.microsoft.com/office/infopath/2007/PartnerControls"/>
    <ds:schemaRef ds:uri="http://schemas.microsoft.com/office/2006/metadata/properties"/>
    <ds:schemaRef ds:uri="http://schemas.openxmlformats.org/package/2006/metadata/core-properties"/>
    <ds:schemaRef ds:uri="9194355b-9ee4-492f-a71c-b77c202b3e83"/>
    <ds:schemaRef ds:uri="http://schemas.microsoft.com/sharepoint/v3"/>
  </ds:schemaRefs>
</ds:datastoreItem>
</file>

<file path=customXml/itemProps3.xml><?xml version="1.0" encoding="utf-8"?>
<ds:datastoreItem xmlns:ds="http://schemas.openxmlformats.org/officeDocument/2006/customXml" ds:itemID="{DC1BD589-70FE-47F8-B199-31734697EE1C}">
  <ds:schemaRefs>
    <ds:schemaRef ds:uri="230e9df3-be65-4c73-a93b-d1236ebd677e"/>
    <ds:schemaRef ds:uri="2a1ed015-0f9e-4369-a070-8f79b3208244"/>
    <ds:schemaRef ds:uri="9194355b-9ee4-492f-a71c-b77c202b3e8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630914A8-AC7F-4ED7-BE5D-A6B82DB5C47F}">
  <ds:schemaRefs/>
</ds:datastoreItem>
</file>

<file path=customXml/itemProps5.xml><?xml version="1.0" encoding="utf-8"?>
<ds:datastoreItem xmlns:ds="http://schemas.openxmlformats.org/officeDocument/2006/customXml" ds:itemID="{23C336F1-E0D9-43F7-A7C6-F7F238382FD3}">
  <ds:schemaRefs/>
</ds:datastoreItem>
</file>

<file path=customXml/itemProps6.xml><?xml version="1.0" encoding="utf-8"?>
<ds:datastoreItem xmlns:ds="http://schemas.openxmlformats.org/officeDocument/2006/customXml" ds:itemID="{CB116A5A-7C60-4AE7-B8DD-63C8A2B71E87}">
  <ds:schemaRefs/>
</ds:datastoreItem>
</file>

<file path=customXml/itemProps7.xml><?xml version="1.0" encoding="utf-8"?>
<ds:datastoreItem xmlns:ds="http://schemas.openxmlformats.org/officeDocument/2006/customXml" ds:itemID="{B37BDE4C-3AD1-416E-9600-B7DDD16DDF7F}">
  <ds:schemaRefs/>
</ds:datastoreItem>
</file>

<file path=customXml/itemProps8.xml><?xml version="1.0" encoding="utf-8"?>
<ds:datastoreItem xmlns:ds="http://schemas.openxmlformats.org/officeDocument/2006/customXml" ds:itemID="{CA3AF4F5-4CF9-4ADA-AF92-B9170F6582D6}">
  <ds:schemaRefs/>
</ds:datastoreItem>
</file>

<file path=customXml/itemProps9.xml><?xml version="1.0" encoding="utf-8"?>
<ds:datastoreItem xmlns:ds="http://schemas.openxmlformats.org/officeDocument/2006/customXml" ds:itemID="{87670E0D-2E71-4759-B709-6EB83456BC77}">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976</TotalTime>
  <Words>13328</Words>
  <Application>Microsoft Office PowerPoint</Application>
  <PresentationFormat>Widescreen</PresentationFormat>
  <Paragraphs>1134</Paragraphs>
  <Slides>37</Slides>
  <Notes>31</Notes>
  <HiddenSlides>0</HiddenSlides>
  <MMClips>0</MMClips>
  <ScaleCrop>false</ScaleCrop>
  <HeadingPairs>
    <vt:vector size="8" baseType="variant">
      <vt:variant>
        <vt:lpstr>Fonts Used</vt:lpstr>
      </vt:variant>
      <vt:variant>
        <vt:i4>16</vt:i4>
      </vt:variant>
      <vt:variant>
        <vt:lpstr>Theme</vt:lpstr>
      </vt:variant>
      <vt:variant>
        <vt:i4>18</vt:i4>
      </vt:variant>
      <vt:variant>
        <vt:lpstr>Embedded OLE Servers</vt:lpstr>
      </vt:variant>
      <vt:variant>
        <vt:i4>1</vt:i4>
      </vt:variant>
      <vt:variant>
        <vt:lpstr>Slide Titles</vt:lpstr>
      </vt:variant>
      <vt:variant>
        <vt:i4>37</vt:i4>
      </vt:variant>
    </vt:vector>
  </HeadingPairs>
  <TitlesOfParts>
    <vt:vector size="72" baseType="lpstr">
      <vt:lpstr>-apple-system</vt:lpstr>
      <vt:lpstr>Arial</vt:lpstr>
      <vt:lpstr>Calibri</vt:lpstr>
      <vt:lpstr>Calibri Light</vt:lpstr>
      <vt:lpstr>Consolas</vt:lpstr>
      <vt:lpstr>Gartner sans</vt:lpstr>
      <vt:lpstr>Helvetica</vt:lpstr>
      <vt:lpstr>Segoe Pro Display</vt:lpstr>
      <vt:lpstr>Segoe UI</vt:lpstr>
      <vt:lpstr>Segoe UI Light</vt:lpstr>
      <vt:lpstr>Segoe UI Semibold</vt:lpstr>
      <vt:lpstr>Segoe UI Semilight</vt:lpstr>
      <vt:lpstr>SegoeUI</vt:lpstr>
      <vt:lpstr>Symbol</vt:lpstr>
      <vt:lpstr>Times New Roman</vt:lpstr>
      <vt:lpstr>Wingdings</vt:lpstr>
      <vt:lpstr>Streamline &amp; Strengthen</vt:lpstr>
      <vt:lpstr>1_Microsoft Security template</vt:lpstr>
      <vt:lpstr>USE THIS ONE_Microsoft Security template</vt:lpstr>
      <vt:lpstr>5_Microsoft Security template</vt:lpstr>
      <vt:lpstr>White Template</vt:lpstr>
      <vt:lpstr>6_Microsoft Security template</vt:lpstr>
      <vt:lpstr>4_2021 Standard template</vt:lpstr>
      <vt:lpstr>1_Streamline &amp; Strengthen</vt:lpstr>
      <vt:lpstr>7_Microsoft Security template</vt:lpstr>
      <vt:lpstr>Office Theme</vt:lpstr>
      <vt:lpstr>1_Office Theme</vt:lpstr>
      <vt:lpstr>2_Office Theme</vt:lpstr>
      <vt:lpstr>8_Microsoft Security template</vt:lpstr>
      <vt:lpstr>9_Microsoft Security template</vt:lpstr>
      <vt:lpstr>3_Office Theme</vt:lpstr>
      <vt:lpstr>Microsoft Security template</vt:lpstr>
      <vt:lpstr>2_Microsoft Security template</vt:lpstr>
      <vt:lpstr>4_Office Theme</vt:lpstr>
      <vt:lpstr>think-cell Slide</vt:lpstr>
      <vt:lpstr>Do More with Less</vt:lpstr>
      <vt:lpstr>CISOs are under pressure to contain costs </vt:lpstr>
      <vt:lpstr>Microsoft Security helps you do more with less</vt:lpstr>
      <vt:lpstr>Do More With Less with Microsoft Security </vt:lpstr>
      <vt:lpstr>.</vt:lpstr>
      <vt:lpstr>Simplify vendor management </vt:lpstr>
      <vt:lpstr>Getting to the up to 60% savings  </vt:lpstr>
      <vt:lpstr>Additional cost savings through vendor consolidation</vt:lpstr>
      <vt:lpstr>.  </vt:lpstr>
      <vt:lpstr>Reduce threats with AI and Automation </vt:lpstr>
      <vt:lpstr>Additional cost savings through AI and  Automation</vt:lpstr>
      <vt:lpstr>. </vt:lpstr>
      <vt:lpstr>Improve Operational Efficiency</vt:lpstr>
      <vt:lpstr>Additional cost savings through improved operational efficiency</vt:lpstr>
      <vt:lpstr>Cost Savings Calculations</vt:lpstr>
      <vt:lpstr>Annual potential cost savings </vt:lpstr>
      <vt:lpstr>Estimated cost savings from consolidation ​</vt:lpstr>
      <vt:lpstr>Estimated cost savings from reducing risk through AI &amp; automation </vt:lpstr>
      <vt:lpstr>Estimated cost savings from Improved Operational Efficiency </vt:lpstr>
      <vt:lpstr>Next steps</vt:lpstr>
      <vt:lpstr>.   </vt:lpstr>
      <vt:lpstr>.    </vt:lpstr>
      <vt:lpstr>.    .</vt:lpstr>
      <vt:lpstr>..</vt:lpstr>
      <vt:lpstr>….</vt:lpstr>
      <vt:lpstr>…..</vt:lpstr>
      <vt:lpstr>-    </vt:lpstr>
      <vt:lpstr>-  </vt:lpstr>
      <vt:lpstr>Simplify the complex with solutions that work together, and integrate with third-party products, platforms, and clouds</vt:lpstr>
      <vt:lpstr>-</vt:lpstr>
      <vt:lpstr>Simplify the complex with solutions that work together, and integrate with third-party products, platforms, and clouds </vt:lpstr>
      <vt:lpstr>Grow your future with the company that is investing in continuous improvement on a scale that few if any other organizations can match</vt:lpstr>
      <vt:lpstr>A Leader in Security, Compliance, Identity &amp; Management</vt:lpstr>
      <vt:lpstr>Industry-leading security from Microsoft</vt:lpstr>
      <vt:lpstr>Augment your security teams with our world-class research and intelligence teams </vt:lpstr>
      <vt:lpstr>Microsoft Security ecosystem—the experts other experts rely on </vt:lpstr>
      <vt:lpstr>Protection aligned to where you're go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ssaging: Deliver a unified, end-to-end solution for cost-effective security</dc:title>
  <dc:creator>Tim Goggin</dc:creator>
  <cp:lastModifiedBy>Brian Stockbrugger</cp:lastModifiedBy>
  <cp:revision>5</cp:revision>
  <cp:lastPrinted>2020-07-07T19:19:39Z</cp:lastPrinted>
  <dcterms:created xsi:type="dcterms:W3CDTF">2020-05-31T17:14:29Z</dcterms:created>
  <dcterms:modified xsi:type="dcterms:W3CDTF">2022-09-01T13:2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569E0385E63944929F66A2ECF6E2CD</vt:lpwstr>
  </property>
  <property fmtid="{D5CDD505-2E9C-101B-9397-08002B2CF9AE}" pid="3" name="MediaServiceImageTags">
    <vt:lpwstr/>
  </property>
  <property fmtid="{D5CDD505-2E9C-101B-9397-08002B2CF9AE}" pid="4" name="Order">
    <vt:lpwstr>28666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